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3.xml" ContentType="application/vnd.openxmlformats-officedocument.presentationml.tags+xml"/>
  <Override PartName="/ppt/notesSlides/notesSlide4.xml" ContentType="application/vnd.openxmlformats-officedocument.presentationml.notesSlide+xml"/>
  <Override PartName="/ppt/tags/tag44.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5.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46.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47.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48.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49.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1.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2.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50.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51.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6.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7.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p:sldMasterIdLst>
    <p:sldMasterId id="2147484111" r:id="rId4"/>
    <p:sldMasterId id="2147484222" r:id="rId5"/>
  </p:sldMasterIdLst>
  <p:notesMasterIdLst>
    <p:notesMasterId r:id="rId54"/>
  </p:notesMasterIdLst>
  <p:handoutMasterIdLst>
    <p:handoutMasterId r:id="rId55"/>
  </p:handoutMasterIdLst>
  <p:sldIdLst>
    <p:sldId id="256" r:id="rId6"/>
    <p:sldId id="11291" r:id="rId7"/>
    <p:sldId id="11274" r:id="rId8"/>
    <p:sldId id="363" r:id="rId9"/>
    <p:sldId id="262" r:id="rId10"/>
    <p:sldId id="263" r:id="rId11"/>
    <p:sldId id="307" r:id="rId12"/>
    <p:sldId id="325" r:id="rId13"/>
    <p:sldId id="299" r:id="rId14"/>
    <p:sldId id="300" r:id="rId15"/>
    <p:sldId id="301" r:id="rId16"/>
    <p:sldId id="329" r:id="rId17"/>
    <p:sldId id="330" r:id="rId18"/>
    <p:sldId id="332" r:id="rId19"/>
    <p:sldId id="302" r:id="rId20"/>
    <p:sldId id="303" r:id="rId21"/>
    <p:sldId id="11295" r:id="rId22"/>
    <p:sldId id="333" r:id="rId23"/>
    <p:sldId id="334" r:id="rId24"/>
    <p:sldId id="337" r:id="rId25"/>
    <p:sldId id="336" r:id="rId26"/>
    <p:sldId id="335" r:id="rId27"/>
    <p:sldId id="11280" r:id="rId28"/>
    <p:sldId id="11275" r:id="rId29"/>
    <p:sldId id="11283" r:id="rId30"/>
    <p:sldId id="11282" r:id="rId31"/>
    <p:sldId id="11281" r:id="rId32"/>
    <p:sldId id="11254" r:id="rId33"/>
    <p:sldId id="11294" r:id="rId34"/>
    <p:sldId id="11278" r:id="rId35"/>
    <p:sldId id="11105" r:id="rId36"/>
    <p:sldId id="11107" r:id="rId37"/>
    <p:sldId id="11277" r:id="rId38"/>
    <p:sldId id="11289" r:id="rId39"/>
    <p:sldId id="326" r:id="rId40"/>
    <p:sldId id="261" r:id="rId41"/>
    <p:sldId id="324" r:id="rId42"/>
    <p:sldId id="11256" r:id="rId43"/>
    <p:sldId id="11276" r:id="rId44"/>
    <p:sldId id="11279" r:id="rId45"/>
    <p:sldId id="339" r:id="rId46"/>
    <p:sldId id="11285" r:id="rId47"/>
    <p:sldId id="11286" r:id="rId48"/>
    <p:sldId id="11284" r:id="rId49"/>
    <p:sldId id="11290" r:id="rId50"/>
    <p:sldId id="369" r:id="rId51"/>
    <p:sldId id="327" r:id="rId52"/>
    <p:sldId id="328" r:id="rId53"/>
  </p:sldIdLst>
  <p:sldSz cx="9906000" cy="6858000" type="A4"/>
  <p:notesSz cx="6735763" cy="9866313"/>
  <p:custDataLst>
    <p:tags r:id="rId5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1049" userDrawn="1">
          <p15:clr>
            <a:srgbClr val="A4A3A4"/>
          </p15:clr>
        </p15:guide>
        <p15:guide id="3" pos="240" userDrawn="1">
          <p15:clr>
            <a:srgbClr val="A4A3A4"/>
          </p15:clr>
        </p15:guide>
        <p15:guide id="4" pos="535" userDrawn="1">
          <p15:clr>
            <a:srgbClr val="A4A3A4"/>
          </p15:clr>
        </p15:guide>
        <p15:guide id="5" orient="horz" pos="278" userDrawn="1">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guide id="3" orient="horz" pos="3108">
          <p15:clr>
            <a:srgbClr val="A4A3A4"/>
          </p15:clr>
        </p15:guide>
        <p15:guide id="4" pos="212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E6E6E7"/>
    <a:srgbClr val="F8F8F8"/>
    <a:srgbClr val="FFFFFF"/>
    <a:srgbClr val="9EA09F"/>
    <a:srgbClr val="CBBEA1"/>
    <a:srgbClr val="5C5B5B"/>
    <a:srgbClr val="F1B2D2"/>
    <a:srgbClr val="CBBDA1"/>
    <a:srgbClr val="F1B2D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B3B4EFF-CE60-494E-BECC-B61895DB44D3}" v="1128" dt="2024-05-24T03:17:45.985"/>
    <p1510:client id="{FE5803BF-6207-4B37-AF25-E2212107113F}" v="621" dt="2024-05-24T03:35:44.47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502" autoAdjust="0"/>
    <p:restoredTop sz="97572" autoAdjust="0"/>
  </p:normalViewPr>
  <p:slideViewPr>
    <p:cSldViewPr snapToGrid="0" showGuides="1">
      <p:cViewPr>
        <p:scale>
          <a:sx n="66" d="100"/>
          <a:sy n="66" d="100"/>
        </p:scale>
        <p:origin x="758" y="240"/>
      </p:cViewPr>
      <p:guideLst>
        <p:guide orient="horz" pos="1049"/>
        <p:guide pos="240"/>
        <p:guide pos="535"/>
        <p:guide orient="horz" pos="278"/>
      </p:guideLst>
    </p:cSldViewPr>
  </p:slideViewPr>
  <p:outlineViewPr>
    <p:cViewPr>
      <p:scale>
        <a:sx n="33" d="100"/>
        <a:sy n="33" d="100"/>
      </p:scale>
      <p:origin x="-40" y="-7200"/>
    </p:cViewPr>
  </p:outlineViewPr>
  <p:notesTextViewPr>
    <p:cViewPr>
      <p:scale>
        <a:sx n="100" d="100"/>
        <a:sy n="100" d="100"/>
      </p:scale>
      <p:origin x="0" y="0"/>
    </p:cViewPr>
  </p:notesTextViewPr>
  <p:sorterViewPr>
    <p:cViewPr>
      <p:scale>
        <a:sx n="1" d="1"/>
        <a:sy n="1" d="1"/>
      </p:scale>
      <p:origin x="0" y="-2707"/>
    </p:cViewPr>
  </p:sorterViewPr>
  <p:notesViewPr>
    <p:cSldViewPr snapToGrid="0" showGuides="1">
      <p:cViewPr varScale="1">
        <p:scale>
          <a:sx n="60" d="100"/>
          <a:sy n="60" d="100"/>
        </p:scale>
        <p:origin x="3211" y="62"/>
      </p:cViewPr>
      <p:guideLst>
        <p:guide orient="horz" pos="3127"/>
        <p:guide pos="2141"/>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handoutMaster" Target="handoutMasters/handoutMaster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viewProps" Target="viewProps.xml"/><Relationship Id="rId5" Type="http://schemas.openxmlformats.org/officeDocument/2006/relationships/slideMaster" Target="slideMasters/slideMaster2.xml"/><Relationship Id="rId61" Type="http://schemas.microsoft.com/office/2016/11/relationships/changesInfo" Target="changesInfos/changesInfo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presProps" Target="presProp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ianca Ardito" userId="3dbb30f507a110b6" providerId="LiveId" clId="{6B3B4EFF-CE60-494E-BECC-B61895DB44D3}"/>
    <pc:docChg chg="undo custSel modSld modMainMaster replTag">
      <pc:chgData name="Bianca Ardito" userId="3dbb30f507a110b6" providerId="LiveId" clId="{6B3B4EFF-CE60-494E-BECC-B61895DB44D3}" dt="2024-05-24T03:17:45.985" v="4032"/>
      <pc:docMkLst>
        <pc:docMk/>
      </pc:docMkLst>
      <pc:sldChg chg="addSp delSp modSp mod">
        <pc:chgData name="Bianca Ardito" userId="3dbb30f507a110b6" providerId="LiveId" clId="{6B3B4EFF-CE60-494E-BECC-B61895DB44D3}" dt="2024-05-24T02:50:12.708" v="3004"/>
        <pc:sldMkLst>
          <pc:docMk/>
          <pc:sldMk cId="2650854113" sldId="299"/>
        </pc:sldMkLst>
        <pc:spChg chg="add del mod modVis">
          <ac:chgData name="Bianca Ardito" userId="3dbb30f507a110b6" providerId="LiveId" clId="{6B3B4EFF-CE60-494E-BECC-B61895DB44D3}" dt="2024-05-24T02:02:15.457" v="705"/>
          <ac:spMkLst>
            <pc:docMk/>
            <pc:sldMk cId="2650854113" sldId="299"/>
            <ac:spMk id="2" creationId="{33B8CF52-0077-F298-715C-CF7235FD8BF0}"/>
          </ac:spMkLst>
        </pc:spChg>
        <pc:spChg chg="mod">
          <ac:chgData name="Bianca Ardito" userId="3dbb30f507a110b6" providerId="LiveId" clId="{6B3B4EFF-CE60-494E-BECC-B61895DB44D3}" dt="2024-05-24T02:50:12.708" v="3000" actId="948"/>
          <ac:spMkLst>
            <pc:docMk/>
            <pc:sldMk cId="2650854113" sldId="299"/>
            <ac:spMk id="3" creationId="{26F52ABF-064E-43AF-A6A2-827750A7CFEC}"/>
          </ac:spMkLst>
        </pc:spChg>
        <pc:graphicFrameChg chg="mod">
          <ac:chgData name="Bianca Ardito" userId="3dbb30f507a110b6" providerId="LiveId" clId="{6B3B4EFF-CE60-494E-BECC-B61895DB44D3}" dt="2024-05-24T02:50:12.708" v="3004"/>
          <ac:graphicFrameMkLst>
            <pc:docMk/>
            <pc:sldMk cId="2650854113" sldId="299"/>
            <ac:graphicFrameMk id="5" creationId="{F29EF140-EEBA-85DC-E8B3-CEE6DDBC520F}"/>
          </ac:graphicFrameMkLst>
        </pc:graphicFrameChg>
      </pc:sldChg>
      <pc:sldChg chg="addSp delSp modSp mod">
        <pc:chgData name="Bianca Ardito" userId="3dbb30f507a110b6" providerId="LiveId" clId="{6B3B4EFF-CE60-494E-BECC-B61895DB44D3}" dt="2024-05-24T02:50:23.598" v="3014"/>
        <pc:sldMkLst>
          <pc:docMk/>
          <pc:sldMk cId="2733215077" sldId="300"/>
        </pc:sldMkLst>
        <pc:spChg chg="mod">
          <ac:chgData name="Bianca Ardito" userId="3dbb30f507a110b6" providerId="LiveId" clId="{6B3B4EFF-CE60-494E-BECC-B61895DB44D3}" dt="2024-05-24T02:50:23.590" v="3010" actId="948"/>
          <ac:spMkLst>
            <pc:docMk/>
            <pc:sldMk cId="2733215077" sldId="300"/>
            <ac:spMk id="3" creationId="{8C457B26-0657-485F-A27E-0DB6D0537B5F}"/>
          </ac:spMkLst>
        </pc:spChg>
        <pc:spChg chg="add del mod modVis">
          <ac:chgData name="Bianca Ardito" userId="3dbb30f507a110b6" providerId="LiveId" clId="{6B3B4EFF-CE60-494E-BECC-B61895DB44D3}" dt="2024-05-24T02:02:15.489" v="743"/>
          <ac:spMkLst>
            <pc:docMk/>
            <pc:sldMk cId="2733215077" sldId="300"/>
            <ac:spMk id="5" creationId="{DF2525FC-FFDA-40D1-DF46-4421CE055450}"/>
          </ac:spMkLst>
        </pc:spChg>
        <pc:graphicFrameChg chg="add mod ord modVis replST">
          <ac:chgData name="Bianca Ardito" userId="3dbb30f507a110b6" providerId="LiveId" clId="{6B3B4EFF-CE60-494E-BECC-B61895DB44D3}" dt="2024-05-24T02:50:23.598" v="3014"/>
          <ac:graphicFrameMkLst>
            <pc:docMk/>
            <pc:sldMk cId="2733215077" sldId="300"/>
            <ac:graphicFrameMk id="7" creationId="{E03C6834-C050-F17B-A14D-D8A2D21742A7}"/>
          </ac:graphicFrameMkLst>
        </pc:graphicFrameChg>
      </pc:sldChg>
      <pc:sldChg chg="addSp delSp modSp mod">
        <pc:chgData name="Bianca Ardito" userId="3dbb30f507a110b6" providerId="LiveId" clId="{6B3B4EFF-CE60-494E-BECC-B61895DB44D3}" dt="2024-05-24T02:50:24.530" v="3019"/>
        <pc:sldMkLst>
          <pc:docMk/>
          <pc:sldMk cId="734152909" sldId="301"/>
        </pc:sldMkLst>
        <pc:spChg chg="mod">
          <ac:chgData name="Bianca Ardito" userId="3dbb30f507a110b6" providerId="LiveId" clId="{6B3B4EFF-CE60-494E-BECC-B61895DB44D3}" dt="2024-05-24T02:50:24.514" v="3015" actId="948"/>
          <ac:spMkLst>
            <pc:docMk/>
            <pc:sldMk cId="734152909" sldId="301"/>
            <ac:spMk id="3" creationId="{50EE96D8-1876-4FDB-95D5-6E7326C92DF7}"/>
          </ac:spMkLst>
        </pc:spChg>
        <pc:spChg chg="add del mod modVis">
          <ac:chgData name="Bianca Ardito" userId="3dbb30f507a110b6" providerId="LiveId" clId="{6B3B4EFF-CE60-494E-BECC-B61895DB44D3}" dt="2024-05-24T02:02:15.520" v="781"/>
          <ac:spMkLst>
            <pc:docMk/>
            <pc:sldMk cId="734152909" sldId="301"/>
            <ac:spMk id="5" creationId="{59CE863F-BDA4-10C1-34E7-DB0FA0841784}"/>
          </ac:spMkLst>
        </pc:spChg>
        <pc:graphicFrameChg chg="add mod ord modVis replST">
          <ac:chgData name="Bianca Ardito" userId="3dbb30f507a110b6" providerId="LiveId" clId="{6B3B4EFF-CE60-494E-BECC-B61895DB44D3}" dt="2024-05-24T02:50:24.530" v="3019"/>
          <ac:graphicFrameMkLst>
            <pc:docMk/>
            <pc:sldMk cId="734152909" sldId="301"/>
            <ac:graphicFrameMk id="7" creationId="{3A9225A4-ED8E-0C51-0E83-D7603444D1B5}"/>
          </ac:graphicFrameMkLst>
        </pc:graphicFrameChg>
      </pc:sldChg>
      <pc:sldChg chg="addSp delSp modSp mod">
        <pc:chgData name="Bianca Ardito" userId="3dbb30f507a110b6" providerId="LiveId" clId="{6B3B4EFF-CE60-494E-BECC-B61895DB44D3}" dt="2024-05-24T02:52:55.641" v="3081" actId="1076"/>
        <pc:sldMkLst>
          <pc:docMk/>
          <pc:sldMk cId="1738494508" sldId="302"/>
        </pc:sldMkLst>
        <pc:spChg chg="mod">
          <ac:chgData name="Bianca Ardito" userId="3dbb30f507a110b6" providerId="LiveId" clId="{6B3B4EFF-CE60-494E-BECC-B61895DB44D3}" dt="2024-05-24T02:51:58.030" v="3052" actId="948"/>
          <ac:spMkLst>
            <pc:docMk/>
            <pc:sldMk cId="1738494508" sldId="302"/>
            <ac:spMk id="3" creationId="{CCEF14A6-6FCC-42A6-833C-C1307FA22577}"/>
          </ac:spMkLst>
        </pc:spChg>
        <pc:spChg chg="add del mod modVis">
          <ac:chgData name="Bianca Ardito" userId="3dbb30f507a110b6" providerId="LiveId" clId="{6B3B4EFF-CE60-494E-BECC-B61895DB44D3}" dt="2024-05-24T02:02:15.547" v="802"/>
          <ac:spMkLst>
            <pc:docMk/>
            <pc:sldMk cId="1738494508" sldId="302"/>
            <ac:spMk id="5" creationId="{9154F31B-1B96-AB9D-3A4A-D5A2DAEBC070}"/>
          </ac:spMkLst>
        </pc:spChg>
        <pc:spChg chg="mod">
          <ac:chgData name="Bianca Ardito" userId="3dbb30f507a110b6" providerId="LiveId" clId="{6B3B4EFF-CE60-494E-BECC-B61895DB44D3}" dt="2024-05-24T02:52:55.641" v="3081" actId="1076"/>
          <ac:spMkLst>
            <pc:docMk/>
            <pc:sldMk cId="1738494508" sldId="302"/>
            <ac:spMk id="9" creationId="{2127D1AC-E455-FA44-96FA-8FEFE3132EE6}"/>
          </ac:spMkLst>
        </pc:spChg>
        <pc:spChg chg="mod">
          <ac:chgData name="Bianca Ardito" userId="3dbb30f507a110b6" providerId="LiveId" clId="{6B3B4EFF-CE60-494E-BECC-B61895DB44D3}" dt="2024-05-24T02:52:39.348" v="3074" actId="1038"/>
          <ac:spMkLst>
            <pc:docMk/>
            <pc:sldMk cId="1738494508" sldId="302"/>
            <ac:spMk id="10" creationId="{2E529DA7-00F0-FE45-8615-1F6425845CD4}"/>
          </ac:spMkLst>
        </pc:spChg>
        <pc:spChg chg="mod">
          <ac:chgData name="Bianca Ardito" userId="3dbb30f507a110b6" providerId="LiveId" clId="{6B3B4EFF-CE60-494E-BECC-B61895DB44D3}" dt="2024-05-24T02:52:48.224" v="3079" actId="1035"/>
          <ac:spMkLst>
            <pc:docMk/>
            <pc:sldMk cId="1738494508" sldId="302"/>
            <ac:spMk id="11" creationId="{F7E6E933-DA0B-6242-BB0C-86CF73272E45}"/>
          </ac:spMkLst>
        </pc:spChg>
        <pc:graphicFrameChg chg="mod">
          <ac:chgData name="Bianca Ardito" userId="3dbb30f507a110b6" providerId="LiveId" clId="{6B3B4EFF-CE60-494E-BECC-B61895DB44D3}" dt="2024-05-24T02:52:19.225" v="3062" actId="207"/>
          <ac:graphicFrameMkLst>
            <pc:docMk/>
            <pc:sldMk cId="1738494508" sldId="302"/>
            <ac:graphicFrameMk id="6" creationId="{22945438-15AF-4F00-9651-BAC73D16D005}"/>
          </ac:graphicFrameMkLst>
        </pc:graphicFrameChg>
        <pc:graphicFrameChg chg="mod">
          <ac:chgData name="Bianca Ardito" userId="3dbb30f507a110b6" providerId="LiveId" clId="{6B3B4EFF-CE60-494E-BECC-B61895DB44D3}" dt="2024-05-24T02:51:58.046" v="3056"/>
          <ac:graphicFrameMkLst>
            <pc:docMk/>
            <pc:sldMk cId="1738494508" sldId="302"/>
            <ac:graphicFrameMk id="12" creationId="{B91662C4-E954-4235-7026-398316B4A0E1}"/>
          </ac:graphicFrameMkLst>
        </pc:graphicFrameChg>
      </pc:sldChg>
      <pc:sldChg chg="addSp delSp modSp mod">
        <pc:chgData name="Bianca Ardito" userId="3dbb30f507a110b6" providerId="LiveId" clId="{6B3B4EFF-CE60-494E-BECC-B61895DB44D3}" dt="2024-05-24T02:53:16.591" v="3090" actId="693"/>
        <pc:sldMkLst>
          <pc:docMk/>
          <pc:sldMk cId="3695694706" sldId="303"/>
        </pc:sldMkLst>
        <pc:spChg chg="add del mod modVis">
          <ac:chgData name="Bianca Ardito" userId="3dbb30f507a110b6" providerId="LiveId" clId="{6B3B4EFF-CE60-494E-BECC-B61895DB44D3}" dt="2024-05-24T02:02:15.552" v="806"/>
          <ac:spMkLst>
            <pc:docMk/>
            <pc:sldMk cId="3695694706" sldId="303"/>
            <ac:spMk id="2" creationId="{06986B9B-E400-3D4B-83A7-5E3B5D7929CE}"/>
          </ac:spMkLst>
        </pc:spChg>
        <pc:spChg chg="mod">
          <ac:chgData name="Bianca Ardito" userId="3dbb30f507a110b6" providerId="LiveId" clId="{6B3B4EFF-CE60-494E-BECC-B61895DB44D3}" dt="2024-05-24T02:52:59.278" v="3082" actId="948"/>
          <ac:spMkLst>
            <pc:docMk/>
            <pc:sldMk cId="3695694706" sldId="303"/>
            <ac:spMk id="3" creationId="{67E0ED0F-E0F6-4CDB-8330-7F98EF108590}"/>
          </ac:spMkLst>
        </pc:spChg>
        <pc:graphicFrameChg chg="mod">
          <ac:chgData name="Bianca Ardito" userId="3dbb30f507a110b6" providerId="LiveId" clId="{6B3B4EFF-CE60-494E-BECC-B61895DB44D3}" dt="2024-05-24T02:53:09.779" v="3088" actId="207"/>
          <ac:graphicFrameMkLst>
            <pc:docMk/>
            <pc:sldMk cId="3695694706" sldId="303"/>
            <ac:graphicFrameMk id="6" creationId="{9FB11CAC-CC66-4EBC-AFC7-8F092FD13C3D}"/>
          </ac:graphicFrameMkLst>
        </pc:graphicFrameChg>
        <pc:graphicFrameChg chg="mod">
          <ac:chgData name="Bianca Ardito" userId="3dbb30f507a110b6" providerId="LiveId" clId="{6B3B4EFF-CE60-494E-BECC-B61895DB44D3}" dt="2024-05-24T02:52:59.278" v="3086"/>
          <ac:graphicFrameMkLst>
            <pc:docMk/>
            <pc:sldMk cId="3695694706" sldId="303"/>
            <ac:graphicFrameMk id="11" creationId="{028E7A85-2BFB-32C6-1FE7-D5B2162FD5AA}"/>
          </ac:graphicFrameMkLst>
        </pc:graphicFrameChg>
        <pc:cxnChg chg="mod">
          <ac:chgData name="Bianca Ardito" userId="3dbb30f507a110b6" providerId="LiveId" clId="{6B3B4EFF-CE60-494E-BECC-B61895DB44D3}" dt="2024-05-24T02:53:16.591" v="3090" actId="693"/>
          <ac:cxnSpMkLst>
            <pc:docMk/>
            <pc:sldMk cId="3695694706" sldId="303"/>
            <ac:cxnSpMk id="10" creationId="{1E3F8F26-C843-4097-A49E-88E96E2EB582}"/>
          </ac:cxnSpMkLst>
        </pc:cxnChg>
      </pc:sldChg>
      <pc:sldChg chg="addSp delSp modSp mod">
        <pc:chgData name="Bianca Ardito" userId="3dbb30f507a110b6" providerId="LiveId" clId="{6B3B4EFF-CE60-494E-BECC-B61895DB44D3}" dt="2024-05-24T02:50:03.752" v="2999"/>
        <pc:sldMkLst>
          <pc:docMk/>
          <pc:sldMk cId="334684121" sldId="307"/>
        </pc:sldMkLst>
        <pc:spChg chg="add del mod modVis">
          <ac:chgData name="Bianca Ardito" userId="3dbb30f507a110b6" providerId="LiveId" clId="{6B3B4EFF-CE60-494E-BECC-B61895DB44D3}" dt="2024-05-24T02:02:15.446" v="688"/>
          <ac:spMkLst>
            <pc:docMk/>
            <pc:sldMk cId="334684121" sldId="307"/>
            <ac:spMk id="3" creationId="{50129260-63C1-3C05-C4C6-49E34386D5F4}"/>
          </ac:spMkLst>
        </pc:spChg>
        <pc:spChg chg="mod">
          <ac:chgData name="Bianca Ardito" userId="3dbb30f507a110b6" providerId="LiveId" clId="{6B3B4EFF-CE60-494E-BECC-B61895DB44D3}" dt="2024-05-24T02:50:03.745" v="2995" actId="948"/>
          <ac:spMkLst>
            <pc:docMk/>
            <pc:sldMk cId="334684121" sldId="307"/>
            <ac:spMk id="5" creationId="{AC4453E9-4E8B-094B-8B18-EE2014EB2097}"/>
          </ac:spMkLst>
        </pc:spChg>
        <pc:graphicFrameChg chg="add mod ord modVis replST">
          <ac:chgData name="Bianca Ardito" userId="3dbb30f507a110b6" providerId="LiveId" clId="{6B3B4EFF-CE60-494E-BECC-B61895DB44D3}" dt="2024-05-24T02:50:03.752" v="2999"/>
          <ac:graphicFrameMkLst>
            <pc:docMk/>
            <pc:sldMk cId="334684121" sldId="307"/>
            <ac:graphicFrameMk id="4" creationId="{1A984485-0AAD-1A67-AA82-047C01D2F6F3}"/>
          </ac:graphicFrameMkLst>
        </pc:graphicFrameChg>
      </pc:sldChg>
      <pc:sldChg chg="addSp delSp modSp mod">
        <pc:chgData name="Bianca Ardito" userId="3dbb30f507a110b6" providerId="LiveId" clId="{6B3B4EFF-CE60-494E-BECC-B61895DB44D3}" dt="2024-05-24T03:07:10.154" v="3503" actId="165"/>
        <pc:sldMkLst>
          <pc:docMk/>
          <pc:sldMk cId="2508522238" sldId="324"/>
        </pc:sldMkLst>
        <pc:spChg chg="del">
          <ac:chgData name="Bianca Ardito" userId="3dbb30f507a110b6" providerId="LiveId" clId="{6B3B4EFF-CE60-494E-BECC-B61895DB44D3}" dt="2024-05-24T03:06:01.940" v="3477" actId="478"/>
          <ac:spMkLst>
            <pc:docMk/>
            <pc:sldMk cId="2508522238" sldId="324"/>
            <ac:spMk id="2" creationId="{0FBEFC11-2D1C-804C-BAB4-1978457E6FE7}"/>
          </ac:spMkLst>
        </pc:spChg>
        <pc:spChg chg="del">
          <ac:chgData name="Bianca Ardito" userId="3dbb30f507a110b6" providerId="LiveId" clId="{6B3B4EFF-CE60-494E-BECC-B61895DB44D3}" dt="2024-05-24T03:06:01.940" v="3477" actId="478"/>
          <ac:spMkLst>
            <pc:docMk/>
            <pc:sldMk cId="2508522238" sldId="324"/>
            <ac:spMk id="3" creationId="{62A196D4-6628-2F40-9C2C-D4984F4B6913}"/>
          </ac:spMkLst>
        </pc:spChg>
        <pc:spChg chg="add del mod modVis">
          <ac:chgData name="Bianca Ardito" userId="3dbb30f507a110b6" providerId="LiveId" clId="{6B3B4EFF-CE60-494E-BECC-B61895DB44D3}" dt="2024-05-24T02:02:15.410" v="633"/>
          <ac:spMkLst>
            <pc:docMk/>
            <pc:sldMk cId="2508522238" sldId="324"/>
            <ac:spMk id="5" creationId="{66AF30C6-2368-B3F6-F9D8-65B7DA5E72A0}"/>
          </ac:spMkLst>
        </pc:spChg>
        <pc:spChg chg="mod">
          <ac:chgData name="Bianca Ardito" userId="3dbb30f507a110b6" providerId="LiveId" clId="{6B3B4EFF-CE60-494E-BECC-B61895DB44D3}" dt="2024-05-24T03:05:22.068" v="3463" actId="948"/>
          <ac:spMkLst>
            <pc:docMk/>
            <pc:sldMk cId="2508522238" sldId="324"/>
            <ac:spMk id="8" creationId="{5088C15A-C182-1446-8C6C-732390AFA250}"/>
          </ac:spMkLst>
        </pc:spChg>
        <pc:spChg chg="add mod">
          <ac:chgData name="Bianca Ardito" userId="3dbb30f507a110b6" providerId="LiveId" clId="{6B3B4EFF-CE60-494E-BECC-B61895DB44D3}" dt="2024-05-24T03:06:05.896" v="3479" actId="1076"/>
          <ac:spMkLst>
            <pc:docMk/>
            <pc:sldMk cId="2508522238" sldId="324"/>
            <ac:spMk id="10" creationId="{D806EE47-A56E-0FDE-80F2-F093D5F659BA}"/>
          </ac:spMkLst>
        </pc:spChg>
        <pc:spChg chg="del">
          <ac:chgData name="Bianca Ardito" userId="3dbb30f507a110b6" providerId="LiveId" clId="{6B3B4EFF-CE60-494E-BECC-B61895DB44D3}" dt="2024-05-24T03:06:01.940" v="3477" actId="478"/>
          <ac:spMkLst>
            <pc:docMk/>
            <pc:sldMk cId="2508522238" sldId="324"/>
            <ac:spMk id="19" creationId="{AE73ACF8-273F-2947-B9FC-3701452C9831}"/>
          </ac:spMkLst>
        </pc:spChg>
        <pc:spChg chg="del">
          <ac:chgData name="Bianca Ardito" userId="3dbb30f507a110b6" providerId="LiveId" clId="{6B3B4EFF-CE60-494E-BECC-B61895DB44D3}" dt="2024-05-24T03:06:11.462" v="3482" actId="478"/>
          <ac:spMkLst>
            <pc:docMk/>
            <pc:sldMk cId="2508522238" sldId="324"/>
            <ac:spMk id="26" creationId="{2AE74D7C-7C9F-7641-BEEB-5FA08F9C3A0B}"/>
          </ac:spMkLst>
        </pc:spChg>
        <pc:spChg chg="del">
          <ac:chgData name="Bianca Ardito" userId="3dbb30f507a110b6" providerId="LiveId" clId="{6B3B4EFF-CE60-494E-BECC-B61895DB44D3}" dt="2024-05-24T03:06:11.462" v="3482" actId="478"/>
          <ac:spMkLst>
            <pc:docMk/>
            <pc:sldMk cId="2508522238" sldId="324"/>
            <ac:spMk id="28" creationId="{EE0DEFB6-FBAF-E84E-B73F-4D0C849078C2}"/>
          </ac:spMkLst>
        </pc:spChg>
        <pc:spChg chg="del">
          <ac:chgData name="Bianca Ardito" userId="3dbb30f507a110b6" providerId="LiveId" clId="{6B3B4EFF-CE60-494E-BECC-B61895DB44D3}" dt="2024-05-24T03:06:11.462" v="3482" actId="478"/>
          <ac:spMkLst>
            <pc:docMk/>
            <pc:sldMk cId="2508522238" sldId="324"/>
            <ac:spMk id="30" creationId="{E7F9138E-68EB-8D40-AA9C-5F7FF71425D2}"/>
          </ac:spMkLst>
        </pc:spChg>
        <pc:spChg chg="add mod">
          <ac:chgData name="Bianca Ardito" userId="3dbb30f507a110b6" providerId="LiveId" clId="{6B3B4EFF-CE60-494E-BECC-B61895DB44D3}" dt="2024-05-24T03:06:05.896" v="3479" actId="1076"/>
          <ac:spMkLst>
            <pc:docMk/>
            <pc:sldMk cId="2508522238" sldId="324"/>
            <ac:spMk id="32" creationId="{6785310F-2E18-D6FC-5C28-615CE50CF95D}"/>
          </ac:spMkLst>
        </pc:spChg>
        <pc:spChg chg="mod topLvl">
          <ac:chgData name="Bianca Ardito" userId="3dbb30f507a110b6" providerId="LiveId" clId="{6B3B4EFF-CE60-494E-BECC-B61895DB44D3}" dt="2024-05-24T03:07:10.154" v="3503" actId="165"/>
          <ac:spMkLst>
            <pc:docMk/>
            <pc:sldMk cId="2508522238" sldId="324"/>
            <ac:spMk id="36" creationId="{0AAC1F2C-44EB-E34F-892E-3F2BA19B03DC}"/>
          </ac:spMkLst>
        </pc:spChg>
        <pc:spChg chg="mod topLvl">
          <ac:chgData name="Bianca Ardito" userId="3dbb30f507a110b6" providerId="LiveId" clId="{6B3B4EFF-CE60-494E-BECC-B61895DB44D3}" dt="2024-05-24T03:07:10.154" v="3503" actId="165"/>
          <ac:spMkLst>
            <pc:docMk/>
            <pc:sldMk cId="2508522238" sldId="324"/>
            <ac:spMk id="38" creationId="{134B18A5-4741-7A4D-882F-7C3BA2696F96}"/>
          </ac:spMkLst>
        </pc:spChg>
        <pc:spChg chg="mod topLvl">
          <ac:chgData name="Bianca Ardito" userId="3dbb30f507a110b6" providerId="LiveId" clId="{6B3B4EFF-CE60-494E-BECC-B61895DB44D3}" dt="2024-05-24T03:07:10.154" v="3503" actId="165"/>
          <ac:spMkLst>
            <pc:docMk/>
            <pc:sldMk cId="2508522238" sldId="324"/>
            <ac:spMk id="40" creationId="{6B8DC3E9-66D2-4646-9F17-F58C7EC11D31}"/>
          </ac:spMkLst>
        </pc:spChg>
        <pc:spChg chg="mod">
          <ac:chgData name="Bianca Ardito" userId="3dbb30f507a110b6" providerId="LiveId" clId="{6B3B4EFF-CE60-494E-BECC-B61895DB44D3}" dt="2024-05-24T03:06:24.887" v="3486" actId="207"/>
          <ac:spMkLst>
            <pc:docMk/>
            <pc:sldMk cId="2508522238" sldId="324"/>
            <ac:spMk id="52" creationId="{43DB8F7D-3CC3-B948-B248-64C70CB7BC3D}"/>
          </ac:spMkLst>
        </pc:spChg>
        <pc:spChg chg="mod">
          <ac:chgData name="Bianca Ardito" userId="3dbb30f507a110b6" providerId="LiveId" clId="{6B3B4EFF-CE60-494E-BECC-B61895DB44D3}" dt="2024-05-24T03:06:21.761" v="3485" actId="207"/>
          <ac:spMkLst>
            <pc:docMk/>
            <pc:sldMk cId="2508522238" sldId="324"/>
            <ac:spMk id="58" creationId="{A8DBA89A-2B6F-AA43-A66F-0C1633A058D5}"/>
          </ac:spMkLst>
        </pc:spChg>
        <pc:spChg chg="add mod">
          <ac:chgData name="Bianca Ardito" userId="3dbb30f507a110b6" providerId="LiveId" clId="{6B3B4EFF-CE60-494E-BECC-B61895DB44D3}" dt="2024-05-24T03:06:05.896" v="3479" actId="1076"/>
          <ac:spMkLst>
            <pc:docMk/>
            <pc:sldMk cId="2508522238" sldId="324"/>
            <ac:spMk id="64" creationId="{71B7FBC1-7FB7-6D18-76BB-DCACB4C8890A}"/>
          </ac:spMkLst>
        </pc:spChg>
        <pc:spChg chg="add mod">
          <ac:chgData name="Bianca Ardito" userId="3dbb30f507a110b6" providerId="LiveId" clId="{6B3B4EFF-CE60-494E-BECC-B61895DB44D3}" dt="2024-05-24T03:06:08.935" v="3481" actId="207"/>
          <ac:spMkLst>
            <pc:docMk/>
            <pc:sldMk cId="2508522238" sldId="324"/>
            <ac:spMk id="66" creationId="{FDF90A7A-DD5E-68B4-62D2-A24E36E5541F}"/>
          </ac:spMkLst>
        </pc:spChg>
        <pc:spChg chg="add mod">
          <ac:chgData name="Bianca Ardito" userId="3dbb30f507a110b6" providerId="LiveId" clId="{6B3B4EFF-CE60-494E-BECC-B61895DB44D3}" dt="2024-05-24T03:06:08.935" v="3481" actId="207"/>
          <ac:spMkLst>
            <pc:docMk/>
            <pc:sldMk cId="2508522238" sldId="324"/>
            <ac:spMk id="67" creationId="{C28B9F86-65BF-2146-34BE-249A5900BDA3}"/>
          </ac:spMkLst>
        </pc:spChg>
        <pc:spChg chg="add mod">
          <ac:chgData name="Bianca Ardito" userId="3dbb30f507a110b6" providerId="LiveId" clId="{6B3B4EFF-CE60-494E-BECC-B61895DB44D3}" dt="2024-05-24T03:06:08.935" v="3481" actId="207"/>
          <ac:spMkLst>
            <pc:docMk/>
            <pc:sldMk cId="2508522238" sldId="324"/>
            <ac:spMk id="68" creationId="{D1118D85-E191-C7D5-2FE7-269142B45E16}"/>
          </ac:spMkLst>
        </pc:spChg>
        <pc:grpChg chg="del mod">
          <ac:chgData name="Bianca Ardito" userId="3dbb30f507a110b6" providerId="LiveId" clId="{6B3B4EFF-CE60-494E-BECC-B61895DB44D3}" dt="2024-05-24T03:07:10.154" v="3503" actId="165"/>
          <ac:grpSpMkLst>
            <pc:docMk/>
            <pc:sldMk cId="2508522238" sldId="324"/>
            <ac:grpSpMk id="34" creationId="{951CD4D2-7CC4-F549-9E49-8241CD42965B}"/>
          </ac:grpSpMkLst>
        </pc:grpChg>
        <pc:grpChg chg="add mod topLvl">
          <ac:chgData name="Bianca Ardito" userId="3dbb30f507a110b6" providerId="LiveId" clId="{6B3B4EFF-CE60-494E-BECC-B61895DB44D3}" dt="2024-05-24T03:07:10.154" v="3503" actId="165"/>
          <ac:grpSpMkLst>
            <pc:docMk/>
            <pc:sldMk cId="2508522238" sldId="324"/>
            <ac:grpSpMk id="69" creationId="{B6E51842-8BD7-DE2E-04AE-9290F46E4410}"/>
          </ac:grpSpMkLst>
        </pc:grpChg>
        <pc:grpChg chg="add mod topLvl">
          <ac:chgData name="Bianca Ardito" userId="3dbb30f507a110b6" providerId="LiveId" clId="{6B3B4EFF-CE60-494E-BECC-B61895DB44D3}" dt="2024-05-24T03:07:10.154" v="3503" actId="165"/>
          <ac:grpSpMkLst>
            <pc:docMk/>
            <pc:sldMk cId="2508522238" sldId="324"/>
            <ac:grpSpMk id="70" creationId="{E9B9F85E-34AF-C031-25E3-3D50EE087BAD}"/>
          </ac:grpSpMkLst>
        </pc:grpChg>
        <pc:grpChg chg="add mod topLvl">
          <ac:chgData name="Bianca Ardito" userId="3dbb30f507a110b6" providerId="LiveId" clId="{6B3B4EFF-CE60-494E-BECC-B61895DB44D3}" dt="2024-05-24T03:07:10.154" v="3503" actId="165"/>
          <ac:grpSpMkLst>
            <pc:docMk/>
            <pc:sldMk cId="2508522238" sldId="324"/>
            <ac:grpSpMk id="71" creationId="{CC804C5D-03D1-CA30-3533-A5701EB0D3BE}"/>
          </ac:grpSpMkLst>
        </pc:grpChg>
        <pc:grpChg chg="add del mod">
          <ac:chgData name="Bianca Ardito" userId="3dbb30f507a110b6" providerId="LiveId" clId="{6B3B4EFF-CE60-494E-BECC-B61895DB44D3}" dt="2024-05-24T03:07:10.154" v="3503" actId="165"/>
          <ac:grpSpMkLst>
            <pc:docMk/>
            <pc:sldMk cId="2508522238" sldId="324"/>
            <ac:grpSpMk id="72" creationId="{A8EDB733-7829-E654-F6C5-FFC16C5FA9EC}"/>
          </ac:grpSpMkLst>
        </pc:grpChg>
        <pc:graphicFrameChg chg="mod">
          <ac:chgData name="Bianca Ardito" userId="3dbb30f507a110b6" providerId="LiveId" clId="{6B3B4EFF-CE60-494E-BECC-B61895DB44D3}" dt="2024-05-24T03:05:22.083" v="3467"/>
          <ac:graphicFrameMkLst>
            <pc:docMk/>
            <pc:sldMk cId="2508522238" sldId="324"/>
            <ac:graphicFrameMk id="55" creationId="{C046F978-4EB2-05F8-0DB4-966324481789}"/>
          </ac:graphicFrameMkLst>
        </pc:graphicFrameChg>
        <pc:picChg chg="mod">
          <ac:chgData name="Bianca Ardito" userId="3dbb30f507a110b6" providerId="LiveId" clId="{6B3B4EFF-CE60-494E-BECC-B61895DB44D3}" dt="2024-05-24T03:05:35.381" v="3470" actId="14100"/>
          <ac:picMkLst>
            <pc:docMk/>
            <pc:sldMk cId="2508522238" sldId="324"/>
            <ac:picMk id="4" creationId="{0E2D8F91-60D6-DE46-BDF2-7BE796244EC9}"/>
          </ac:picMkLst>
        </pc:picChg>
        <pc:picChg chg="mod">
          <ac:chgData name="Bianca Ardito" userId="3dbb30f507a110b6" providerId="LiveId" clId="{6B3B4EFF-CE60-494E-BECC-B61895DB44D3}" dt="2024-05-24T03:07:10.154" v="3503" actId="165"/>
          <ac:picMkLst>
            <pc:docMk/>
            <pc:sldMk cId="2508522238" sldId="324"/>
            <ac:picMk id="6" creationId="{2C1FA732-B3BE-8F4D-B4F9-BF82E18CC0D1}"/>
          </ac:picMkLst>
        </pc:picChg>
        <pc:picChg chg="mod">
          <ac:chgData name="Bianca Ardito" userId="3dbb30f507a110b6" providerId="LiveId" clId="{6B3B4EFF-CE60-494E-BECC-B61895DB44D3}" dt="2024-05-24T03:05:35.381" v="3470" actId="14100"/>
          <ac:picMkLst>
            <pc:docMk/>
            <pc:sldMk cId="2508522238" sldId="324"/>
            <ac:picMk id="7" creationId="{7D90C765-B9ED-7E49-AD65-906CAE6CE8A0}"/>
          </ac:picMkLst>
        </pc:picChg>
        <pc:picChg chg="mod">
          <ac:chgData name="Bianca Ardito" userId="3dbb30f507a110b6" providerId="LiveId" clId="{6B3B4EFF-CE60-494E-BECC-B61895DB44D3}" dt="2024-05-24T03:05:35.381" v="3470" actId="14100"/>
          <ac:picMkLst>
            <pc:docMk/>
            <pc:sldMk cId="2508522238" sldId="324"/>
            <ac:picMk id="9" creationId="{09E6C885-F123-3548-9008-17E49B716E19}"/>
          </ac:picMkLst>
        </pc:picChg>
        <pc:picChg chg="mod">
          <ac:chgData name="Bianca Ardito" userId="3dbb30f507a110b6" providerId="LiveId" clId="{6B3B4EFF-CE60-494E-BECC-B61895DB44D3}" dt="2024-05-24T03:05:35.381" v="3470" actId="14100"/>
          <ac:picMkLst>
            <pc:docMk/>
            <pc:sldMk cId="2508522238" sldId="324"/>
            <ac:picMk id="11" creationId="{DEA53627-653D-9147-8A4F-E2AD32765F31}"/>
          </ac:picMkLst>
        </pc:picChg>
        <pc:picChg chg="mod">
          <ac:chgData name="Bianca Ardito" userId="3dbb30f507a110b6" providerId="LiveId" clId="{6B3B4EFF-CE60-494E-BECC-B61895DB44D3}" dt="2024-05-24T03:05:35.381" v="3470" actId="14100"/>
          <ac:picMkLst>
            <pc:docMk/>
            <pc:sldMk cId="2508522238" sldId="324"/>
            <ac:picMk id="12" creationId="{93A9A031-3CCC-6749-B843-61AE76B088BB}"/>
          </ac:picMkLst>
        </pc:picChg>
        <pc:picChg chg="mod">
          <ac:chgData name="Bianca Ardito" userId="3dbb30f507a110b6" providerId="LiveId" clId="{6B3B4EFF-CE60-494E-BECC-B61895DB44D3}" dt="2024-05-24T03:05:35.381" v="3470" actId="14100"/>
          <ac:picMkLst>
            <pc:docMk/>
            <pc:sldMk cId="2508522238" sldId="324"/>
            <ac:picMk id="13" creationId="{83E2013B-1636-B045-AF1F-50EE050E2359}"/>
          </ac:picMkLst>
        </pc:picChg>
        <pc:picChg chg="mod">
          <ac:chgData name="Bianca Ardito" userId="3dbb30f507a110b6" providerId="LiveId" clId="{6B3B4EFF-CE60-494E-BECC-B61895DB44D3}" dt="2024-05-24T03:05:35.381" v="3470" actId="14100"/>
          <ac:picMkLst>
            <pc:docMk/>
            <pc:sldMk cId="2508522238" sldId="324"/>
            <ac:picMk id="15" creationId="{22666581-BCC1-A04E-BA65-CB3D505C4253}"/>
          </ac:picMkLst>
        </pc:picChg>
        <pc:picChg chg="mod">
          <ac:chgData name="Bianca Ardito" userId="3dbb30f507a110b6" providerId="LiveId" clId="{6B3B4EFF-CE60-494E-BECC-B61895DB44D3}" dt="2024-05-24T03:07:10.154" v="3503" actId="165"/>
          <ac:picMkLst>
            <pc:docMk/>
            <pc:sldMk cId="2508522238" sldId="324"/>
            <ac:picMk id="16" creationId="{ADEF02AB-3362-DA4E-9826-2F8CA306A6F7}"/>
          </ac:picMkLst>
        </pc:picChg>
        <pc:picChg chg="mod">
          <ac:chgData name="Bianca Ardito" userId="3dbb30f507a110b6" providerId="LiveId" clId="{6B3B4EFF-CE60-494E-BECC-B61895DB44D3}" dt="2024-05-24T03:05:35.381" v="3470" actId="14100"/>
          <ac:picMkLst>
            <pc:docMk/>
            <pc:sldMk cId="2508522238" sldId="324"/>
            <ac:picMk id="17" creationId="{3242D1D0-EC64-D445-94F1-BCEDDB17B61F}"/>
          </ac:picMkLst>
        </pc:picChg>
        <pc:picChg chg="mod">
          <ac:chgData name="Bianca Ardito" userId="3dbb30f507a110b6" providerId="LiveId" clId="{6B3B4EFF-CE60-494E-BECC-B61895DB44D3}" dt="2024-05-24T03:05:35.381" v="3470" actId="14100"/>
          <ac:picMkLst>
            <pc:docMk/>
            <pc:sldMk cId="2508522238" sldId="324"/>
            <ac:picMk id="21" creationId="{2876A249-B0CA-AC42-80FC-5D5DAF141190}"/>
          </ac:picMkLst>
        </pc:picChg>
        <pc:picChg chg="mod">
          <ac:chgData name="Bianca Ardito" userId="3dbb30f507a110b6" providerId="LiveId" clId="{6B3B4EFF-CE60-494E-BECC-B61895DB44D3}" dt="2024-05-24T03:05:35.381" v="3470" actId="14100"/>
          <ac:picMkLst>
            <pc:docMk/>
            <pc:sldMk cId="2508522238" sldId="324"/>
            <ac:picMk id="23" creationId="{F9C3220D-1A44-1E4A-BE9C-5344FB417FB2}"/>
          </ac:picMkLst>
        </pc:picChg>
        <pc:picChg chg="mod">
          <ac:chgData name="Bianca Ardito" userId="3dbb30f507a110b6" providerId="LiveId" clId="{6B3B4EFF-CE60-494E-BECC-B61895DB44D3}" dt="2024-05-24T03:05:35.381" v="3470" actId="14100"/>
          <ac:picMkLst>
            <pc:docMk/>
            <pc:sldMk cId="2508522238" sldId="324"/>
            <ac:picMk id="25" creationId="{54D13201-E1AD-3141-99B9-6067B94CB7EF}"/>
          </ac:picMkLst>
        </pc:picChg>
        <pc:picChg chg="mod">
          <ac:chgData name="Bianca Ardito" userId="3dbb30f507a110b6" providerId="LiveId" clId="{6B3B4EFF-CE60-494E-BECC-B61895DB44D3}" dt="2024-05-24T03:05:35.381" v="3470" actId="14100"/>
          <ac:picMkLst>
            <pc:docMk/>
            <pc:sldMk cId="2508522238" sldId="324"/>
            <ac:picMk id="27" creationId="{E63B94BB-261F-0948-AF9C-BA1DC149A0D9}"/>
          </ac:picMkLst>
        </pc:picChg>
        <pc:picChg chg="mod">
          <ac:chgData name="Bianca Ardito" userId="3dbb30f507a110b6" providerId="LiveId" clId="{6B3B4EFF-CE60-494E-BECC-B61895DB44D3}" dt="2024-05-24T03:05:35.381" v="3470" actId="14100"/>
          <ac:picMkLst>
            <pc:docMk/>
            <pc:sldMk cId="2508522238" sldId="324"/>
            <ac:picMk id="29" creationId="{4D00D64F-ACD6-B642-A049-814165ACFE00}"/>
          </ac:picMkLst>
        </pc:picChg>
        <pc:picChg chg="mod">
          <ac:chgData name="Bianca Ardito" userId="3dbb30f507a110b6" providerId="LiveId" clId="{6B3B4EFF-CE60-494E-BECC-B61895DB44D3}" dt="2024-05-24T03:07:10.154" v="3503" actId="165"/>
          <ac:picMkLst>
            <pc:docMk/>
            <pc:sldMk cId="2508522238" sldId="324"/>
            <ac:picMk id="31" creationId="{CFB0B649-4D64-A241-A5E4-548102668488}"/>
          </ac:picMkLst>
        </pc:picChg>
        <pc:picChg chg="mod">
          <ac:chgData name="Bianca Ardito" userId="3dbb30f507a110b6" providerId="LiveId" clId="{6B3B4EFF-CE60-494E-BECC-B61895DB44D3}" dt="2024-05-24T03:07:10.154" v="3503" actId="165"/>
          <ac:picMkLst>
            <pc:docMk/>
            <pc:sldMk cId="2508522238" sldId="324"/>
            <ac:picMk id="33" creationId="{6F12D15E-C300-E541-8683-F7ABF09F7EF5}"/>
          </ac:picMkLst>
        </pc:picChg>
        <pc:picChg chg="mod">
          <ac:chgData name="Bianca Ardito" userId="3dbb30f507a110b6" providerId="LiveId" clId="{6B3B4EFF-CE60-494E-BECC-B61895DB44D3}" dt="2024-05-24T03:05:35.381" v="3470" actId="14100"/>
          <ac:picMkLst>
            <pc:docMk/>
            <pc:sldMk cId="2508522238" sldId="324"/>
            <ac:picMk id="35" creationId="{00B85603-099C-C041-97B2-B76616BE13FE}"/>
          </ac:picMkLst>
        </pc:picChg>
        <pc:picChg chg="mod">
          <ac:chgData name="Bianca Ardito" userId="3dbb30f507a110b6" providerId="LiveId" clId="{6B3B4EFF-CE60-494E-BECC-B61895DB44D3}" dt="2024-05-24T03:07:10.154" v="3503" actId="165"/>
          <ac:picMkLst>
            <pc:docMk/>
            <pc:sldMk cId="2508522238" sldId="324"/>
            <ac:picMk id="37" creationId="{3D7A839A-FE3D-8545-8F64-12F005181C27}"/>
          </ac:picMkLst>
        </pc:picChg>
        <pc:picChg chg="mod">
          <ac:chgData name="Bianca Ardito" userId="3dbb30f507a110b6" providerId="LiveId" clId="{6B3B4EFF-CE60-494E-BECC-B61895DB44D3}" dt="2024-05-24T03:07:10.154" v="3503" actId="165"/>
          <ac:picMkLst>
            <pc:docMk/>
            <pc:sldMk cId="2508522238" sldId="324"/>
            <ac:picMk id="39" creationId="{0F85FB72-B148-A14B-AEF1-443B7091CBFB}"/>
          </ac:picMkLst>
        </pc:picChg>
        <pc:picChg chg="mod">
          <ac:chgData name="Bianca Ardito" userId="3dbb30f507a110b6" providerId="LiveId" clId="{6B3B4EFF-CE60-494E-BECC-B61895DB44D3}" dt="2024-05-24T03:07:10.154" v="3503" actId="165"/>
          <ac:picMkLst>
            <pc:docMk/>
            <pc:sldMk cId="2508522238" sldId="324"/>
            <ac:picMk id="41" creationId="{51F5AD0C-D3EE-DA48-A269-3CD8BC260575}"/>
          </ac:picMkLst>
        </pc:picChg>
        <pc:picChg chg="mod">
          <ac:chgData name="Bianca Ardito" userId="3dbb30f507a110b6" providerId="LiveId" clId="{6B3B4EFF-CE60-494E-BECC-B61895DB44D3}" dt="2024-05-24T03:07:10.154" v="3503" actId="165"/>
          <ac:picMkLst>
            <pc:docMk/>
            <pc:sldMk cId="2508522238" sldId="324"/>
            <ac:picMk id="59" creationId="{2AE7C12A-5D06-4947-9BB9-334BECD07202}"/>
          </ac:picMkLst>
        </pc:picChg>
        <pc:picChg chg="mod">
          <ac:chgData name="Bianca Ardito" userId="3dbb30f507a110b6" providerId="LiveId" clId="{6B3B4EFF-CE60-494E-BECC-B61895DB44D3}" dt="2024-05-24T03:07:10.154" v="3503" actId="165"/>
          <ac:picMkLst>
            <pc:docMk/>
            <pc:sldMk cId="2508522238" sldId="324"/>
            <ac:picMk id="60" creationId="{CE74D726-F034-634D-8365-84B695CFBA1B}"/>
          </ac:picMkLst>
        </pc:picChg>
        <pc:picChg chg="mod">
          <ac:chgData name="Bianca Ardito" userId="3dbb30f507a110b6" providerId="LiveId" clId="{6B3B4EFF-CE60-494E-BECC-B61895DB44D3}" dt="2024-05-24T03:05:35.381" v="3470" actId="14100"/>
          <ac:picMkLst>
            <pc:docMk/>
            <pc:sldMk cId="2508522238" sldId="324"/>
            <ac:picMk id="61" creationId="{B7382095-60CA-2B4D-A0A5-18E29CFA4756}"/>
          </ac:picMkLst>
        </pc:picChg>
        <pc:picChg chg="mod">
          <ac:chgData name="Bianca Ardito" userId="3dbb30f507a110b6" providerId="LiveId" clId="{6B3B4EFF-CE60-494E-BECC-B61895DB44D3}" dt="2024-05-24T03:07:10.154" v="3503" actId="165"/>
          <ac:picMkLst>
            <pc:docMk/>
            <pc:sldMk cId="2508522238" sldId="324"/>
            <ac:picMk id="62" creationId="{35F31972-7AF6-644D-B79B-184B831E8A83}"/>
          </ac:picMkLst>
        </pc:picChg>
        <pc:picChg chg="mod">
          <ac:chgData name="Bianca Ardito" userId="3dbb30f507a110b6" providerId="LiveId" clId="{6B3B4EFF-CE60-494E-BECC-B61895DB44D3}" dt="2024-05-24T03:05:35.381" v="3470" actId="14100"/>
          <ac:picMkLst>
            <pc:docMk/>
            <pc:sldMk cId="2508522238" sldId="324"/>
            <ac:picMk id="63" creationId="{FE253C76-61D8-8F47-8627-3198FAC0535E}"/>
          </ac:picMkLst>
        </pc:picChg>
        <pc:picChg chg="mod">
          <ac:chgData name="Bianca Ardito" userId="3dbb30f507a110b6" providerId="LiveId" clId="{6B3B4EFF-CE60-494E-BECC-B61895DB44D3}" dt="2024-05-24T03:07:10.154" v="3503" actId="165"/>
          <ac:picMkLst>
            <pc:docMk/>
            <pc:sldMk cId="2508522238" sldId="324"/>
            <ac:picMk id="65" creationId="{53FFE96A-03F9-3844-95AB-0787473B51CD}"/>
          </ac:picMkLst>
        </pc:picChg>
      </pc:sldChg>
      <pc:sldChg chg="addSp delSp modSp mod chgLayout">
        <pc:chgData name="Bianca Ardito" userId="3dbb30f507a110b6" providerId="LiveId" clId="{6B3B4EFF-CE60-494E-BECC-B61895DB44D3}" dt="2024-05-24T02:33:26.316" v="1507" actId="6264"/>
        <pc:sldMkLst>
          <pc:docMk/>
          <pc:sldMk cId="3249242921" sldId="327"/>
        </pc:sldMkLst>
        <pc:spChg chg="add del mod">
          <ac:chgData name="Bianca Ardito" userId="3dbb30f507a110b6" providerId="LiveId" clId="{6B3B4EFF-CE60-494E-BECC-B61895DB44D3}" dt="2024-05-24T02:33:26.316" v="1507" actId="6264"/>
          <ac:spMkLst>
            <pc:docMk/>
            <pc:sldMk cId="3249242921" sldId="327"/>
            <ac:spMk id="2" creationId="{29943327-065A-7591-F0E6-935C367A7476}"/>
          </ac:spMkLst>
        </pc:spChg>
        <pc:spChg chg="add del mod">
          <ac:chgData name="Bianca Ardito" userId="3dbb30f507a110b6" providerId="LiveId" clId="{6B3B4EFF-CE60-494E-BECC-B61895DB44D3}" dt="2024-05-24T02:33:26.316" v="1507" actId="6264"/>
          <ac:spMkLst>
            <pc:docMk/>
            <pc:sldMk cId="3249242921" sldId="327"/>
            <ac:spMk id="7" creationId="{5BD26D12-07FE-A848-2E31-A6468DFA560F}"/>
          </ac:spMkLst>
        </pc:spChg>
        <pc:spChg chg="add del mod">
          <ac:chgData name="Bianca Ardito" userId="3dbb30f507a110b6" providerId="LiveId" clId="{6B3B4EFF-CE60-494E-BECC-B61895DB44D3}" dt="2024-05-24T02:33:26.316" v="1507" actId="6264"/>
          <ac:spMkLst>
            <pc:docMk/>
            <pc:sldMk cId="3249242921" sldId="327"/>
            <ac:spMk id="9" creationId="{80486DEC-7BF6-4532-BFA5-E4E6FDB10C1C}"/>
          </ac:spMkLst>
        </pc:spChg>
        <pc:spChg chg="mod ord">
          <ac:chgData name="Bianca Ardito" userId="3dbb30f507a110b6" providerId="LiveId" clId="{6B3B4EFF-CE60-494E-BECC-B61895DB44D3}" dt="2024-05-24T02:33:26.316" v="1507" actId="6264"/>
          <ac:spMkLst>
            <pc:docMk/>
            <pc:sldMk cId="3249242921" sldId="327"/>
            <ac:spMk id="10" creationId="{1A0D825A-F58C-9745-AFAE-37FBCF280891}"/>
          </ac:spMkLst>
        </pc:spChg>
        <pc:spChg chg="mod ord">
          <ac:chgData name="Bianca Ardito" userId="3dbb30f507a110b6" providerId="LiveId" clId="{6B3B4EFF-CE60-494E-BECC-B61895DB44D3}" dt="2024-05-24T02:33:26.316" v="1507" actId="6264"/>
          <ac:spMkLst>
            <pc:docMk/>
            <pc:sldMk cId="3249242921" sldId="327"/>
            <ac:spMk id="11" creationId="{CE2DFB3C-0D5B-494C-A642-94A005096C84}"/>
          </ac:spMkLst>
        </pc:spChg>
        <pc:picChg chg="mod ord">
          <ac:chgData name="Bianca Ardito" userId="3dbb30f507a110b6" providerId="LiveId" clId="{6B3B4EFF-CE60-494E-BECC-B61895DB44D3}" dt="2024-05-24T02:33:26.316" v="1507" actId="6264"/>
          <ac:picMkLst>
            <pc:docMk/>
            <pc:sldMk cId="3249242921" sldId="327"/>
            <ac:picMk id="8" creationId="{237EDF46-A48A-964C-A35F-5CE5B6F521B4}"/>
          </ac:picMkLst>
        </pc:picChg>
      </pc:sldChg>
      <pc:sldChg chg="addSp delSp modSp mod chgLayout">
        <pc:chgData name="Bianca Ardito" userId="3dbb30f507a110b6" providerId="LiveId" clId="{6B3B4EFF-CE60-494E-BECC-B61895DB44D3}" dt="2024-05-24T02:45:13.135" v="2710" actId="20577"/>
        <pc:sldMkLst>
          <pc:docMk/>
          <pc:sldMk cId="3014416030" sldId="328"/>
        </pc:sldMkLst>
        <pc:spChg chg="add del mod">
          <ac:chgData name="Bianca Ardito" userId="3dbb30f507a110b6" providerId="LiveId" clId="{6B3B4EFF-CE60-494E-BECC-B61895DB44D3}" dt="2024-05-24T02:32:17.782" v="1494" actId="6264"/>
          <ac:spMkLst>
            <pc:docMk/>
            <pc:sldMk cId="3014416030" sldId="328"/>
            <ac:spMk id="2" creationId="{014FD774-881D-9157-E486-4663CEF86BF9}"/>
          </ac:spMkLst>
        </pc:spChg>
        <pc:spChg chg="mod ord">
          <ac:chgData name="Bianca Ardito" userId="3dbb30f507a110b6" providerId="LiveId" clId="{6B3B4EFF-CE60-494E-BECC-B61895DB44D3}" dt="2024-05-24T02:32:20.726" v="1495"/>
          <ac:spMkLst>
            <pc:docMk/>
            <pc:sldMk cId="3014416030" sldId="328"/>
            <ac:spMk id="3" creationId="{ADC54570-B39D-BF47-A961-B2ECCA1D2627}"/>
          </ac:spMkLst>
        </pc:spChg>
        <pc:spChg chg="mod ord">
          <ac:chgData name="Bianca Ardito" userId="3dbb30f507a110b6" providerId="LiveId" clId="{6B3B4EFF-CE60-494E-BECC-B61895DB44D3}" dt="2024-05-24T02:45:13.135" v="2710" actId="20577"/>
          <ac:spMkLst>
            <pc:docMk/>
            <pc:sldMk cId="3014416030" sldId="328"/>
            <ac:spMk id="4" creationId="{AF323748-4D3B-C84D-ABD3-6093B3F01F29}"/>
          </ac:spMkLst>
        </pc:spChg>
        <pc:spChg chg="add del mod">
          <ac:chgData name="Bianca Ardito" userId="3dbb30f507a110b6" providerId="LiveId" clId="{6B3B4EFF-CE60-494E-BECC-B61895DB44D3}" dt="2024-05-24T02:32:17.782" v="1494" actId="6264"/>
          <ac:spMkLst>
            <pc:docMk/>
            <pc:sldMk cId="3014416030" sldId="328"/>
            <ac:spMk id="5" creationId="{9C709ACA-F63E-4624-908C-B8535570B531}"/>
          </ac:spMkLst>
        </pc:spChg>
        <pc:spChg chg="add del mod">
          <ac:chgData name="Bianca Ardito" userId="3dbb30f507a110b6" providerId="LiveId" clId="{6B3B4EFF-CE60-494E-BECC-B61895DB44D3}" dt="2024-05-24T02:32:17.782" v="1494" actId="6264"/>
          <ac:spMkLst>
            <pc:docMk/>
            <pc:sldMk cId="3014416030" sldId="328"/>
            <ac:spMk id="6" creationId="{046C4DBF-CA19-E7FD-DEA8-08886A305DC5}"/>
          </ac:spMkLst>
        </pc:spChg>
        <pc:spChg chg="add mod">
          <ac:chgData name="Bianca Ardito" userId="3dbb30f507a110b6" providerId="LiveId" clId="{6B3B4EFF-CE60-494E-BECC-B61895DB44D3}" dt="2024-05-24T02:32:42.525" v="1499" actId="553"/>
          <ac:spMkLst>
            <pc:docMk/>
            <pc:sldMk cId="3014416030" sldId="328"/>
            <ac:spMk id="8" creationId="{71F8A5C8-F857-7012-7846-67C7C64B7F0D}"/>
          </ac:spMkLst>
        </pc:spChg>
        <pc:picChg chg="add mod modCrop">
          <ac:chgData name="Bianca Ardito" userId="3dbb30f507a110b6" providerId="LiveId" clId="{6B3B4EFF-CE60-494E-BECC-B61895DB44D3}" dt="2024-05-24T02:32:48.451" v="1500" actId="732"/>
          <ac:picMkLst>
            <pc:docMk/>
            <pc:sldMk cId="3014416030" sldId="328"/>
            <ac:picMk id="9" creationId="{7C1D22BE-1F34-F444-7021-D753FEB86D01}"/>
          </ac:picMkLst>
        </pc:picChg>
        <pc:picChg chg="del mod ord">
          <ac:chgData name="Bianca Ardito" userId="3dbb30f507a110b6" providerId="LiveId" clId="{6B3B4EFF-CE60-494E-BECC-B61895DB44D3}" dt="2024-05-24T02:32:24.585" v="1496" actId="478"/>
          <ac:picMkLst>
            <pc:docMk/>
            <pc:sldMk cId="3014416030" sldId="328"/>
            <ac:picMk id="16" creationId="{421D455B-8F8F-F64E-9490-507D28AE5329}"/>
          </ac:picMkLst>
        </pc:picChg>
      </pc:sldChg>
      <pc:sldChg chg="addSp delSp modSp mod">
        <pc:chgData name="Bianca Ardito" userId="3dbb30f507a110b6" providerId="LiveId" clId="{6B3B4EFF-CE60-494E-BECC-B61895DB44D3}" dt="2024-05-24T02:50:25.331" v="3024"/>
        <pc:sldMkLst>
          <pc:docMk/>
          <pc:sldMk cId="2153145067" sldId="329"/>
        </pc:sldMkLst>
        <pc:spChg chg="mod">
          <ac:chgData name="Bianca Ardito" userId="3dbb30f507a110b6" providerId="LiveId" clId="{6B3B4EFF-CE60-494E-BECC-B61895DB44D3}" dt="2024-05-24T02:50:25.331" v="3020" actId="948"/>
          <ac:spMkLst>
            <pc:docMk/>
            <pc:sldMk cId="2153145067" sldId="329"/>
            <ac:spMk id="3" creationId="{50EE96D8-1876-4FDB-95D5-6E7326C92DF7}"/>
          </ac:spMkLst>
        </pc:spChg>
        <pc:spChg chg="add del mod modVis">
          <ac:chgData name="Bianca Ardito" userId="3dbb30f507a110b6" providerId="LiveId" clId="{6B3B4EFF-CE60-494E-BECC-B61895DB44D3}" dt="2024-05-24T02:02:15.457" v="709"/>
          <ac:spMkLst>
            <pc:docMk/>
            <pc:sldMk cId="2153145067" sldId="329"/>
            <ac:spMk id="5" creationId="{8E2238C9-6AEB-DC74-94BF-7C9C6EE375E7}"/>
          </ac:spMkLst>
        </pc:spChg>
        <pc:graphicFrameChg chg="add mod ord modVis replST">
          <ac:chgData name="Bianca Ardito" userId="3dbb30f507a110b6" providerId="LiveId" clId="{6B3B4EFF-CE60-494E-BECC-B61895DB44D3}" dt="2024-05-24T02:50:25.331" v="3024"/>
          <ac:graphicFrameMkLst>
            <pc:docMk/>
            <pc:sldMk cId="2153145067" sldId="329"/>
            <ac:graphicFrameMk id="6" creationId="{E7CD19A8-500B-4F3B-5100-CBDB668EAB69}"/>
          </ac:graphicFrameMkLst>
        </pc:graphicFrameChg>
      </pc:sldChg>
      <pc:sldChg chg="addSp delSp modSp mod">
        <pc:chgData name="Bianca Ardito" userId="3dbb30f507a110b6" providerId="LiveId" clId="{6B3B4EFF-CE60-494E-BECC-B61895DB44D3}" dt="2024-05-24T02:51:04.358" v="3038" actId="208"/>
        <pc:sldMkLst>
          <pc:docMk/>
          <pc:sldMk cId="4109041084" sldId="330"/>
        </pc:sldMkLst>
        <pc:spChg chg="add del mod modVis">
          <ac:chgData name="Bianca Ardito" userId="3dbb30f507a110b6" providerId="LiveId" clId="{6B3B4EFF-CE60-494E-BECC-B61895DB44D3}" dt="2024-05-24T02:02:15.474" v="726"/>
          <ac:spMkLst>
            <pc:docMk/>
            <pc:sldMk cId="4109041084" sldId="330"/>
            <ac:spMk id="2" creationId="{CC50460B-6969-255A-57C4-142626D437E1}"/>
          </ac:spMkLst>
        </pc:spChg>
        <pc:spChg chg="mod">
          <ac:chgData name="Bianca Ardito" userId="3dbb30f507a110b6" providerId="LiveId" clId="{6B3B4EFF-CE60-494E-BECC-B61895DB44D3}" dt="2024-05-24T02:50:26.051" v="3025" actId="948"/>
          <ac:spMkLst>
            <pc:docMk/>
            <pc:sldMk cId="4109041084" sldId="330"/>
            <ac:spMk id="5" creationId="{9611BD2B-71CC-EF4E-8A2D-A395ADD682AF}"/>
          </ac:spMkLst>
        </pc:spChg>
        <pc:spChg chg="add del mod">
          <ac:chgData name="Bianca Ardito" userId="3dbb30f507a110b6" providerId="LiveId" clId="{6B3B4EFF-CE60-494E-BECC-B61895DB44D3}" dt="2024-05-24T02:50:35.507" v="3031" actId="478"/>
          <ac:spMkLst>
            <pc:docMk/>
            <pc:sldMk cId="4109041084" sldId="330"/>
            <ac:spMk id="12" creationId="{A4C53521-3EF4-F9CC-B553-5DD051886B4E}"/>
          </ac:spMkLst>
        </pc:spChg>
        <pc:spChg chg="add del mod">
          <ac:chgData name="Bianca Ardito" userId="3dbb30f507a110b6" providerId="LiveId" clId="{6B3B4EFF-CE60-494E-BECC-B61895DB44D3}" dt="2024-05-24T02:50:35.507" v="3031" actId="478"/>
          <ac:spMkLst>
            <pc:docMk/>
            <pc:sldMk cId="4109041084" sldId="330"/>
            <ac:spMk id="17" creationId="{75581301-EFB9-D7CF-CE91-7966859A8B3D}"/>
          </ac:spMkLst>
        </pc:spChg>
        <pc:graphicFrameChg chg="add mod ord modVis replST">
          <ac:chgData name="Bianca Ardito" userId="3dbb30f507a110b6" providerId="LiveId" clId="{6B3B4EFF-CE60-494E-BECC-B61895DB44D3}" dt="2024-05-24T02:50:26.051" v="3029"/>
          <ac:graphicFrameMkLst>
            <pc:docMk/>
            <pc:sldMk cId="4109041084" sldId="330"/>
            <ac:graphicFrameMk id="3" creationId="{986F7777-7494-568C-94FB-D0E1574C52B8}"/>
          </ac:graphicFrameMkLst>
        </pc:graphicFrameChg>
        <pc:graphicFrameChg chg="mod">
          <ac:chgData name="Bianca Ardito" userId="3dbb30f507a110b6" providerId="LiveId" clId="{6B3B4EFF-CE60-494E-BECC-B61895DB44D3}" dt="2024-05-24T02:51:01.931" v="3036" actId="208"/>
          <ac:graphicFrameMkLst>
            <pc:docMk/>
            <pc:sldMk cId="4109041084" sldId="330"/>
            <ac:graphicFrameMk id="14" creationId="{9A5755E4-E38E-264F-A7CD-F61E28DC3333}"/>
          </ac:graphicFrameMkLst>
        </pc:graphicFrameChg>
        <pc:graphicFrameChg chg="add del mod">
          <ac:chgData name="Bianca Ardito" userId="3dbb30f507a110b6" providerId="LiveId" clId="{6B3B4EFF-CE60-494E-BECC-B61895DB44D3}" dt="2024-05-24T02:51:03.543" v="3037" actId="208"/>
          <ac:graphicFrameMkLst>
            <pc:docMk/>
            <pc:sldMk cId="4109041084" sldId="330"/>
            <ac:graphicFrameMk id="15" creationId="{46730FA1-8BBB-7743-9623-DA3F0B3AF37F}"/>
          </ac:graphicFrameMkLst>
        </pc:graphicFrameChg>
        <pc:graphicFrameChg chg="add del mod">
          <ac:chgData name="Bianca Ardito" userId="3dbb30f507a110b6" providerId="LiveId" clId="{6B3B4EFF-CE60-494E-BECC-B61895DB44D3}" dt="2024-05-24T02:51:04.358" v="3038" actId="208"/>
          <ac:graphicFrameMkLst>
            <pc:docMk/>
            <pc:sldMk cId="4109041084" sldId="330"/>
            <ac:graphicFrameMk id="16" creationId="{C2FEEB98-432A-D644-A8EB-C3564098DBB7}"/>
          </ac:graphicFrameMkLst>
        </pc:graphicFrameChg>
      </pc:sldChg>
      <pc:sldChg chg="addSp delSp modSp mod">
        <pc:chgData name="Bianca Ardito" userId="3dbb30f507a110b6" providerId="LiveId" clId="{6B3B4EFF-CE60-494E-BECC-B61895DB44D3}" dt="2024-05-24T02:50:20.516" v="3009"/>
        <pc:sldMkLst>
          <pc:docMk/>
          <pc:sldMk cId="3863353278" sldId="331"/>
        </pc:sldMkLst>
        <pc:spChg chg="add del mod modVis">
          <ac:chgData name="Bianca Ardito" userId="3dbb30f507a110b6" providerId="LiveId" clId="{6B3B4EFF-CE60-494E-BECC-B61895DB44D3}" dt="2024-05-24T02:02:15.520" v="777"/>
          <ac:spMkLst>
            <pc:docMk/>
            <pc:sldMk cId="3863353278" sldId="331"/>
            <ac:spMk id="2" creationId="{3151B55E-8537-6D5B-FA29-6008B028C4B6}"/>
          </ac:spMkLst>
        </pc:spChg>
        <pc:spChg chg="mod">
          <ac:chgData name="Bianca Ardito" userId="3dbb30f507a110b6" providerId="LiveId" clId="{6B3B4EFF-CE60-494E-BECC-B61895DB44D3}" dt="2024-05-24T02:50:20.516" v="3005" actId="948"/>
          <ac:spMkLst>
            <pc:docMk/>
            <pc:sldMk cId="3863353278" sldId="331"/>
            <ac:spMk id="3" creationId="{26F52ABF-064E-43AF-A6A2-827750A7CFEC}"/>
          </ac:spMkLst>
        </pc:spChg>
        <pc:graphicFrameChg chg="mod">
          <ac:chgData name="Bianca Ardito" userId="3dbb30f507a110b6" providerId="LiveId" clId="{6B3B4EFF-CE60-494E-BECC-B61895DB44D3}" dt="2024-05-24T02:50:20.516" v="3009"/>
          <ac:graphicFrameMkLst>
            <pc:docMk/>
            <pc:sldMk cId="3863353278" sldId="331"/>
            <ac:graphicFrameMk id="10" creationId="{CC3E97D6-7A1B-4E8A-E1CB-438005B10F8F}"/>
          </ac:graphicFrameMkLst>
        </pc:graphicFrameChg>
      </pc:sldChg>
      <pc:sldChg chg="addSp delSp modSp mod">
        <pc:chgData name="Bianca Ardito" userId="3dbb30f507a110b6" providerId="LiveId" clId="{6B3B4EFF-CE60-494E-BECC-B61895DB44D3}" dt="2024-05-24T02:51:55.632" v="3051" actId="207"/>
        <pc:sldMkLst>
          <pc:docMk/>
          <pc:sldMk cId="2641451638" sldId="332"/>
        </pc:sldMkLst>
        <pc:spChg chg="mod">
          <ac:chgData name="Bianca Ardito" userId="3dbb30f507a110b6" providerId="LiveId" clId="{6B3B4EFF-CE60-494E-BECC-B61895DB44D3}" dt="2024-05-24T02:51:09.908" v="3039" actId="948"/>
          <ac:spMkLst>
            <pc:docMk/>
            <pc:sldMk cId="2641451638" sldId="332"/>
            <ac:spMk id="4" creationId="{865CC974-3D39-314B-9E53-0F00D5A825AA}"/>
          </ac:spMkLst>
        </pc:spChg>
        <pc:spChg chg="add del mod modVis">
          <ac:chgData name="Bianca Ardito" userId="3dbb30f507a110b6" providerId="LiveId" clId="{6B3B4EFF-CE60-494E-BECC-B61895DB44D3}" dt="2024-05-24T02:02:15.505" v="760"/>
          <ac:spMkLst>
            <pc:docMk/>
            <pc:sldMk cId="2641451638" sldId="332"/>
            <ac:spMk id="8" creationId="{6A9E85AF-7E0D-45AE-3528-B3F1083217FA}"/>
          </ac:spMkLst>
        </pc:spChg>
        <pc:graphicFrameChg chg="add mod ord modVis replST">
          <ac:chgData name="Bianca Ardito" userId="3dbb30f507a110b6" providerId="LiveId" clId="{6B3B4EFF-CE60-494E-BECC-B61895DB44D3}" dt="2024-05-24T02:51:09.908" v="3043"/>
          <ac:graphicFrameMkLst>
            <pc:docMk/>
            <pc:sldMk cId="2641451638" sldId="332"/>
            <ac:graphicFrameMk id="9" creationId="{6AC92A13-FBA3-AF1F-C3C2-53C3FA9B247E}"/>
          </ac:graphicFrameMkLst>
        </pc:graphicFrameChg>
        <pc:graphicFrameChg chg="mod">
          <ac:chgData name="Bianca Ardito" userId="3dbb30f507a110b6" providerId="LiveId" clId="{6B3B4EFF-CE60-494E-BECC-B61895DB44D3}" dt="2024-05-24T02:51:27.784" v="3047" actId="207"/>
          <ac:graphicFrameMkLst>
            <pc:docMk/>
            <pc:sldMk cId="2641451638" sldId="332"/>
            <ac:graphicFrameMk id="12" creationId="{163FB56A-DCD7-774B-A509-22DFE83B06E6}"/>
          </ac:graphicFrameMkLst>
        </pc:graphicFrameChg>
        <pc:graphicFrameChg chg="mod">
          <ac:chgData name="Bianca Ardito" userId="3dbb30f507a110b6" providerId="LiveId" clId="{6B3B4EFF-CE60-494E-BECC-B61895DB44D3}" dt="2024-05-24T02:51:40.864" v="3049" actId="208"/>
          <ac:graphicFrameMkLst>
            <pc:docMk/>
            <pc:sldMk cId="2641451638" sldId="332"/>
            <ac:graphicFrameMk id="13" creationId="{68C8E5E1-A6D1-934E-BD8C-43542740B7C9}"/>
          </ac:graphicFrameMkLst>
        </pc:graphicFrameChg>
        <pc:graphicFrameChg chg="mod">
          <ac:chgData name="Bianca Ardito" userId="3dbb30f507a110b6" providerId="LiveId" clId="{6B3B4EFF-CE60-494E-BECC-B61895DB44D3}" dt="2024-05-24T02:51:55.632" v="3051" actId="207"/>
          <ac:graphicFrameMkLst>
            <pc:docMk/>
            <pc:sldMk cId="2641451638" sldId="332"/>
            <ac:graphicFrameMk id="14" creationId="{199639A7-8102-2F4C-AA53-FC6F691E1B12}"/>
          </ac:graphicFrameMkLst>
        </pc:graphicFrameChg>
      </pc:sldChg>
      <pc:sldChg chg="addSp delSp modSp mod">
        <pc:chgData name="Bianca Ardito" userId="3dbb30f507a110b6" providerId="LiveId" clId="{6B3B4EFF-CE60-494E-BECC-B61895DB44D3}" dt="2024-05-24T02:54:09.212" v="3107" actId="572"/>
        <pc:sldMkLst>
          <pc:docMk/>
          <pc:sldMk cId="811792675" sldId="334"/>
        </pc:sldMkLst>
        <pc:spChg chg="add del mod modVis">
          <ac:chgData name="Bianca Ardito" userId="3dbb30f507a110b6" providerId="LiveId" clId="{6B3B4EFF-CE60-494E-BECC-B61895DB44D3}" dt="2024-05-24T02:02:15.552" v="827"/>
          <ac:spMkLst>
            <pc:docMk/>
            <pc:sldMk cId="811792675" sldId="334"/>
            <ac:spMk id="2" creationId="{2FC41FC1-4592-39A0-9CE9-4BF539B31A1D}"/>
          </ac:spMkLst>
        </pc:spChg>
        <pc:spChg chg="mod">
          <ac:chgData name="Bianca Ardito" userId="3dbb30f507a110b6" providerId="LiveId" clId="{6B3B4EFF-CE60-494E-BECC-B61895DB44D3}" dt="2024-05-24T02:53:41.537" v="3097" actId="948"/>
          <ac:spMkLst>
            <pc:docMk/>
            <pc:sldMk cId="811792675" sldId="334"/>
            <ac:spMk id="5" creationId="{5303CCFF-BA52-A64A-8BB6-07AD821FFC1F}"/>
          </ac:spMkLst>
        </pc:spChg>
        <pc:graphicFrameChg chg="add mod ord modVis replST">
          <ac:chgData name="Bianca Ardito" userId="3dbb30f507a110b6" providerId="LiveId" clId="{6B3B4EFF-CE60-494E-BECC-B61895DB44D3}" dt="2024-05-24T02:53:41.537" v="3101"/>
          <ac:graphicFrameMkLst>
            <pc:docMk/>
            <pc:sldMk cId="811792675" sldId="334"/>
            <ac:graphicFrameMk id="7" creationId="{43DBF374-FDC1-546F-9A8D-012EF2728EDF}"/>
          </ac:graphicFrameMkLst>
        </pc:graphicFrameChg>
        <pc:graphicFrameChg chg="mod modGraphic">
          <ac:chgData name="Bianca Ardito" userId="3dbb30f507a110b6" providerId="LiveId" clId="{6B3B4EFF-CE60-494E-BECC-B61895DB44D3}" dt="2024-05-24T02:54:09.212" v="3107" actId="572"/>
          <ac:graphicFrameMkLst>
            <pc:docMk/>
            <pc:sldMk cId="811792675" sldId="334"/>
            <ac:graphicFrameMk id="8" creationId="{D3D0E45B-E7D3-A945-AB16-A9CF28B13F74}"/>
          </ac:graphicFrameMkLst>
        </pc:graphicFrameChg>
      </pc:sldChg>
      <pc:sldChg chg="addSp delSp modSp mod">
        <pc:chgData name="Bianca Ardito" userId="3dbb30f507a110b6" providerId="LiveId" clId="{6B3B4EFF-CE60-494E-BECC-B61895DB44D3}" dt="2024-05-24T02:55:26.453" v="3137" actId="207"/>
        <pc:sldMkLst>
          <pc:docMk/>
          <pc:sldMk cId="1155733277" sldId="335"/>
        </pc:sldMkLst>
        <pc:spChg chg="add del mod modVis">
          <ac:chgData name="Bianca Ardito" userId="3dbb30f507a110b6" providerId="LiveId" clId="{6B3B4EFF-CE60-494E-BECC-B61895DB44D3}" dt="2024-05-24T02:02:15.583" v="863"/>
          <ac:spMkLst>
            <pc:docMk/>
            <pc:sldMk cId="1155733277" sldId="335"/>
            <ac:spMk id="2" creationId="{E7228EA6-79CC-BD76-0B36-DE997FBF2859}"/>
          </ac:spMkLst>
        </pc:spChg>
        <pc:spChg chg="mod">
          <ac:chgData name="Bianca Ardito" userId="3dbb30f507a110b6" providerId="LiveId" clId="{6B3B4EFF-CE60-494E-BECC-B61895DB44D3}" dt="2024-05-24T02:54:55.658" v="3125" actId="948"/>
          <ac:spMkLst>
            <pc:docMk/>
            <pc:sldMk cId="1155733277" sldId="335"/>
            <ac:spMk id="5" creationId="{5303CCFF-BA52-A64A-8BB6-07AD821FFC1F}"/>
          </ac:spMkLst>
        </pc:spChg>
        <pc:graphicFrameChg chg="add mod ord modVis replST">
          <ac:chgData name="Bianca Ardito" userId="3dbb30f507a110b6" providerId="LiveId" clId="{6B3B4EFF-CE60-494E-BECC-B61895DB44D3}" dt="2024-05-24T02:54:55.658" v="3129"/>
          <ac:graphicFrameMkLst>
            <pc:docMk/>
            <pc:sldMk cId="1155733277" sldId="335"/>
            <ac:graphicFrameMk id="3" creationId="{C992D1C2-4329-8F80-CF3E-F9E7903D080F}"/>
          </ac:graphicFrameMkLst>
        </pc:graphicFrameChg>
        <pc:graphicFrameChg chg="mod modGraphic">
          <ac:chgData name="Bianca Ardito" userId="3dbb30f507a110b6" providerId="LiveId" clId="{6B3B4EFF-CE60-494E-BECC-B61895DB44D3}" dt="2024-05-24T02:55:17.115" v="3136" actId="207"/>
          <ac:graphicFrameMkLst>
            <pc:docMk/>
            <pc:sldMk cId="1155733277" sldId="335"/>
            <ac:graphicFrameMk id="16" creationId="{EC21F79C-ECDA-EA49-9AC6-78B80C48632E}"/>
          </ac:graphicFrameMkLst>
        </pc:graphicFrameChg>
        <pc:graphicFrameChg chg="mod modGraphic">
          <ac:chgData name="Bianca Ardito" userId="3dbb30f507a110b6" providerId="LiveId" clId="{6B3B4EFF-CE60-494E-BECC-B61895DB44D3}" dt="2024-05-24T02:55:26.453" v="3137" actId="207"/>
          <ac:graphicFrameMkLst>
            <pc:docMk/>
            <pc:sldMk cId="1155733277" sldId="335"/>
            <ac:graphicFrameMk id="17" creationId="{FD3C34E2-57D2-6245-A471-70042A946B30}"/>
          </ac:graphicFrameMkLst>
        </pc:graphicFrameChg>
      </pc:sldChg>
      <pc:sldChg chg="addSp delSp modSp mod">
        <pc:chgData name="Bianca Ardito" userId="3dbb30f507a110b6" providerId="LiveId" clId="{6B3B4EFF-CE60-494E-BECC-B61895DB44D3}" dt="2024-05-24T02:56:00.788" v="3151"/>
        <pc:sldMkLst>
          <pc:docMk/>
          <pc:sldMk cId="1676811444" sldId="336"/>
        </pc:sldMkLst>
        <pc:spChg chg="add del mod modVis">
          <ac:chgData name="Bianca Ardito" userId="3dbb30f507a110b6" providerId="LiveId" clId="{6B3B4EFF-CE60-494E-BECC-B61895DB44D3}" dt="2024-05-24T02:02:15.552" v="810"/>
          <ac:spMkLst>
            <pc:docMk/>
            <pc:sldMk cId="1676811444" sldId="336"/>
            <ac:spMk id="2" creationId="{4EC0ABF0-5817-7CE5-6125-B505148F8383}"/>
          </ac:spMkLst>
        </pc:spChg>
        <pc:spChg chg="mod">
          <ac:chgData name="Bianca Ardito" userId="3dbb30f507a110b6" providerId="LiveId" clId="{6B3B4EFF-CE60-494E-BECC-B61895DB44D3}" dt="2024-05-24T02:54:43.819" v="3118" actId="948"/>
          <ac:spMkLst>
            <pc:docMk/>
            <pc:sldMk cId="1676811444" sldId="336"/>
            <ac:spMk id="5" creationId="{5303CCFF-BA52-A64A-8BB6-07AD821FFC1F}"/>
          </ac:spMkLst>
        </pc:spChg>
        <pc:graphicFrameChg chg="add mod ord modVis replST">
          <ac:chgData name="Bianca Ardito" userId="3dbb30f507a110b6" providerId="LiveId" clId="{6B3B4EFF-CE60-494E-BECC-B61895DB44D3}" dt="2024-05-24T02:54:43.831" v="3122"/>
          <ac:graphicFrameMkLst>
            <pc:docMk/>
            <pc:sldMk cId="1676811444" sldId="336"/>
            <ac:graphicFrameMk id="7" creationId="{7DF370F6-503F-126C-DA36-887FE057C9A2}"/>
          </ac:graphicFrameMkLst>
        </pc:graphicFrameChg>
        <pc:graphicFrameChg chg="mod modGraphic">
          <ac:chgData name="Bianca Ardito" userId="3dbb30f507a110b6" providerId="LiveId" clId="{6B3B4EFF-CE60-494E-BECC-B61895DB44D3}" dt="2024-05-24T02:56:00.788" v="3151"/>
          <ac:graphicFrameMkLst>
            <pc:docMk/>
            <pc:sldMk cId="1676811444" sldId="336"/>
            <ac:graphicFrameMk id="8" creationId="{D3D0E45B-E7D3-A945-AB16-A9CF28B13F74}"/>
          </ac:graphicFrameMkLst>
        </pc:graphicFrameChg>
      </pc:sldChg>
      <pc:sldChg chg="addSp delSp modSp mod">
        <pc:chgData name="Bianca Ardito" userId="3dbb30f507a110b6" providerId="LiveId" clId="{6B3B4EFF-CE60-494E-BECC-B61895DB44D3}" dt="2024-05-24T02:54:36.323" v="3117" actId="207"/>
        <pc:sldMkLst>
          <pc:docMk/>
          <pc:sldMk cId="1403274909" sldId="337"/>
        </pc:sldMkLst>
        <pc:spChg chg="add del mod modVis">
          <ac:chgData name="Bianca Ardito" userId="3dbb30f507a110b6" providerId="LiveId" clId="{6B3B4EFF-CE60-494E-BECC-B61895DB44D3}" dt="2024-05-24T02:02:15.615" v="880"/>
          <ac:spMkLst>
            <pc:docMk/>
            <pc:sldMk cId="1403274909" sldId="337"/>
            <ac:spMk id="2" creationId="{31CCAC65-B281-7FC9-E853-2DCB0FE0496D}"/>
          </ac:spMkLst>
        </pc:spChg>
        <pc:spChg chg="mod">
          <ac:chgData name="Bianca Ardito" userId="3dbb30f507a110b6" providerId="LiveId" clId="{6B3B4EFF-CE60-494E-BECC-B61895DB44D3}" dt="2024-05-24T02:54:12.669" v="3108" actId="948"/>
          <ac:spMkLst>
            <pc:docMk/>
            <pc:sldMk cId="1403274909" sldId="337"/>
            <ac:spMk id="5" creationId="{5303CCFF-BA52-A64A-8BB6-07AD821FFC1F}"/>
          </ac:spMkLst>
        </pc:spChg>
        <pc:graphicFrameChg chg="add mod ord modVis replST">
          <ac:chgData name="Bianca Ardito" userId="3dbb30f507a110b6" providerId="LiveId" clId="{6B3B4EFF-CE60-494E-BECC-B61895DB44D3}" dt="2024-05-24T02:54:12.669" v="3112"/>
          <ac:graphicFrameMkLst>
            <pc:docMk/>
            <pc:sldMk cId="1403274909" sldId="337"/>
            <ac:graphicFrameMk id="7" creationId="{28BD1613-5C92-90BA-5575-67E7E836BB2D}"/>
          </ac:graphicFrameMkLst>
        </pc:graphicFrameChg>
        <pc:graphicFrameChg chg="mod modGraphic">
          <ac:chgData name="Bianca Ardito" userId="3dbb30f507a110b6" providerId="LiveId" clId="{6B3B4EFF-CE60-494E-BECC-B61895DB44D3}" dt="2024-05-24T02:54:36.323" v="3117" actId="207"/>
          <ac:graphicFrameMkLst>
            <pc:docMk/>
            <pc:sldMk cId="1403274909" sldId="337"/>
            <ac:graphicFrameMk id="8" creationId="{D3D0E45B-E7D3-A945-AB16-A9CF28B13F74}"/>
          </ac:graphicFrameMkLst>
        </pc:graphicFrameChg>
      </pc:sldChg>
      <pc:sldChg chg="addSp delSp modSp mod">
        <pc:chgData name="Bianca Ardito" userId="3dbb30f507a110b6" providerId="LiveId" clId="{6B3B4EFF-CE60-494E-BECC-B61895DB44D3}" dt="2024-05-24T03:16:06.760" v="3989" actId="208"/>
        <pc:sldMkLst>
          <pc:docMk/>
          <pc:sldMk cId="546405558" sldId="339"/>
        </pc:sldMkLst>
        <pc:spChg chg="add del mod modVis">
          <ac:chgData name="Bianca Ardito" userId="3dbb30f507a110b6" providerId="LiveId" clId="{6B3B4EFF-CE60-494E-BECC-B61895DB44D3}" dt="2024-05-24T02:02:15.426" v="664"/>
          <ac:spMkLst>
            <pc:docMk/>
            <pc:sldMk cId="546405558" sldId="339"/>
            <ac:spMk id="2" creationId="{CC13082C-B408-7F2B-FB36-315DBF6AFEC7}"/>
          </ac:spMkLst>
        </pc:spChg>
        <pc:spChg chg="mod">
          <ac:chgData name="Bianca Ardito" userId="3dbb30f507a110b6" providerId="LiveId" clId="{6B3B4EFF-CE60-494E-BECC-B61895DB44D3}" dt="2024-05-24T03:14:33.220" v="3956" actId="948"/>
          <ac:spMkLst>
            <pc:docMk/>
            <pc:sldMk cId="546405558" sldId="339"/>
            <ac:spMk id="3" creationId="{614064D2-9FA9-AD4E-BA4B-0F37DB3868F6}"/>
          </ac:spMkLst>
        </pc:spChg>
        <pc:spChg chg="mod">
          <ac:chgData name="Bianca Ardito" userId="3dbb30f507a110b6" providerId="LiveId" clId="{6B3B4EFF-CE60-494E-BECC-B61895DB44D3}" dt="2024-05-24T03:14:54.037" v="3968" actId="207"/>
          <ac:spMkLst>
            <pc:docMk/>
            <pc:sldMk cId="546405558" sldId="339"/>
            <ac:spMk id="6" creationId="{D24532DF-D513-C64E-B6BB-C614882079B3}"/>
          </ac:spMkLst>
        </pc:spChg>
        <pc:spChg chg="mod">
          <ac:chgData name="Bianca Ardito" userId="3dbb30f507a110b6" providerId="LiveId" clId="{6B3B4EFF-CE60-494E-BECC-B61895DB44D3}" dt="2024-05-24T03:14:50.601" v="3967" actId="207"/>
          <ac:spMkLst>
            <pc:docMk/>
            <pc:sldMk cId="546405558" sldId="339"/>
            <ac:spMk id="21" creationId="{C76957A9-1B24-EC4E-ADE0-AD67893E5657}"/>
          </ac:spMkLst>
        </pc:spChg>
        <pc:spChg chg="mod">
          <ac:chgData name="Bianca Ardito" userId="3dbb30f507a110b6" providerId="LiveId" clId="{6B3B4EFF-CE60-494E-BECC-B61895DB44D3}" dt="2024-05-24T03:15:01.328" v="3970" actId="207"/>
          <ac:spMkLst>
            <pc:docMk/>
            <pc:sldMk cId="546405558" sldId="339"/>
            <ac:spMk id="104" creationId="{511D7A78-F029-6C40-88CA-11E7798F1492}"/>
          </ac:spMkLst>
        </pc:spChg>
        <pc:spChg chg="mod">
          <ac:chgData name="Bianca Ardito" userId="3dbb30f507a110b6" providerId="LiveId" clId="{6B3B4EFF-CE60-494E-BECC-B61895DB44D3}" dt="2024-05-24T03:14:43.623" v="3963" actId="207"/>
          <ac:spMkLst>
            <pc:docMk/>
            <pc:sldMk cId="546405558" sldId="339"/>
            <ac:spMk id="160" creationId="{9E206A14-40A2-E544-96DE-C2B5544369E4}"/>
          </ac:spMkLst>
        </pc:spChg>
        <pc:spChg chg="mod">
          <ac:chgData name="Bianca Ardito" userId="3dbb30f507a110b6" providerId="LiveId" clId="{6B3B4EFF-CE60-494E-BECC-B61895DB44D3}" dt="2024-05-24T03:14:42.276" v="3962" actId="207"/>
          <ac:spMkLst>
            <pc:docMk/>
            <pc:sldMk cId="546405558" sldId="339"/>
            <ac:spMk id="163" creationId="{3A1E6EAB-2BE8-5B4B-AE4C-5344AEFA2863}"/>
          </ac:spMkLst>
        </pc:spChg>
        <pc:spChg chg="mod">
          <ac:chgData name="Bianca Ardito" userId="3dbb30f507a110b6" providerId="LiveId" clId="{6B3B4EFF-CE60-494E-BECC-B61895DB44D3}" dt="2024-05-24T03:14:45.006" v="3964" actId="207"/>
          <ac:spMkLst>
            <pc:docMk/>
            <pc:sldMk cId="546405558" sldId="339"/>
            <ac:spMk id="180" creationId="{73FF287C-52D7-EE46-839E-5CD6F6E7C371}"/>
          </ac:spMkLst>
        </pc:spChg>
        <pc:spChg chg="mod">
          <ac:chgData name="Bianca Ardito" userId="3dbb30f507a110b6" providerId="LiveId" clId="{6B3B4EFF-CE60-494E-BECC-B61895DB44D3}" dt="2024-05-24T03:14:40.510" v="3961" actId="207"/>
          <ac:spMkLst>
            <pc:docMk/>
            <pc:sldMk cId="546405558" sldId="339"/>
            <ac:spMk id="181" creationId="{B6F2A8BD-C105-7A42-8B97-10C0E806D537}"/>
          </ac:spMkLst>
        </pc:spChg>
        <pc:spChg chg="mod">
          <ac:chgData name="Bianca Ardito" userId="3dbb30f507a110b6" providerId="LiveId" clId="{6B3B4EFF-CE60-494E-BECC-B61895DB44D3}" dt="2024-05-24T03:15:04.715" v="3971" actId="207"/>
          <ac:spMkLst>
            <pc:docMk/>
            <pc:sldMk cId="546405558" sldId="339"/>
            <ac:spMk id="183" creationId="{A727C750-BA27-D145-85D2-4F4F01A22E74}"/>
          </ac:spMkLst>
        </pc:spChg>
        <pc:spChg chg="mod">
          <ac:chgData name="Bianca Ardito" userId="3dbb30f507a110b6" providerId="LiveId" clId="{6B3B4EFF-CE60-494E-BECC-B61895DB44D3}" dt="2024-05-24T03:14:46.979" v="3965" actId="207"/>
          <ac:spMkLst>
            <pc:docMk/>
            <pc:sldMk cId="546405558" sldId="339"/>
            <ac:spMk id="184" creationId="{22DB1EA9-141E-C64F-BC5C-71975D39BB3F}"/>
          </ac:spMkLst>
        </pc:spChg>
        <pc:spChg chg="mod">
          <ac:chgData name="Bianca Ardito" userId="3dbb30f507a110b6" providerId="LiveId" clId="{6B3B4EFF-CE60-494E-BECC-B61895DB44D3}" dt="2024-05-24T03:14:48.251" v="3966" actId="207"/>
          <ac:spMkLst>
            <pc:docMk/>
            <pc:sldMk cId="546405558" sldId="339"/>
            <ac:spMk id="197" creationId="{60E244D8-6AEC-9D48-8AEA-9FD93BCD5BFE}"/>
          </ac:spMkLst>
        </pc:spChg>
        <pc:spChg chg="mod">
          <ac:chgData name="Bianca Ardito" userId="3dbb30f507a110b6" providerId="LiveId" clId="{6B3B4EFF-CE60-494E-BECC-B61895DB44D3}" dt="2024-05-24T03:15:07.144" v="3972" actId="207"/>
          <ac:spMkLst>
            <pc:docMk/>
            <pc:sldMk cId="546405558" sldId="339"/>
            <ac:spMk id="199" creationId="{A6A99826-85A2-AD41-A0F8-FB12328BEC23}"/>
          </ac:spMkLst>
        </pc:spChg>
        <pc:spChg chg="mod">
          <ac:chgData name="Bianca Ardito" userId="3dbb30f507a110b6" providerId="LiveId" clId="{6B3B4EFF-CE60-494E-BECC-B61895DB44D3}" dt="2024-05-24T03:14:56.576" v="3969" actId="207"/>
          <ac:spMkLst>
            <pc:docMk/>
            <pc:sldMk cId="546405558" sldId="339"/>
            <ac:spMk id="202" creationId="{E38B0980-459D-3D4D-BC07-A6AA465F296F}"/>
          </ac:spMkLst>
        </pc:spChg>
        <pc:spChg chg="mod">
          <ac:chgData name="Bianca Ardito" userId="3dbb30f507a110b6" providerId="LiveId" clId="{6B3B4EFF-CE60-494E-BECC-B61895DB44D3}" dt="2024-05-24T03:15:25.895" v="3975" actId="207"/>
          <ac:spMkLst>
            <pc:docMk/>
            <pc:sldMk cId="546405558" sldId="339"/>
            <ac:spMk id="279" creationId="{3304AF18-02ED-9844-8FE0-51EDB1553CD9}"/>
          </ac:spMkLst>
        </pc:spChg>
        <pc:spChg chg="mod">
          <ac:chgData name="Bianca Ardito" userId="3dbb30f507a110b6" providerId="LiveId" clId="{6B3B4EFF-CE60-494E-BECC-B61895DB44D3}" dt="2024-05-24T03:15:32.139" v="3980" actId="108"/>
          <ac:spMkLst>
            <pc:docMk/>
            <pc:sldMk cId="546405558" sldId="339"/>
            <ac:spMk id="286" creationId="{7CDEC265-985F-5044-8A70-FB39A24F69D4}"/>
          </ac:spMkLst>
        </pc:spChg>
        <pc:spChg chg="mod">
          <ac:chgData name="Bianca Ardito" userId="3dbb30f507a110b6" providerId="LiveId" clId="{6B3B4EFF-CE60-494E-BECC-B61895DB44D3}" dt="2024-05-24T03:15:30.662" v="3978" actId="108"/>
          <ac:spMkLst>
            <pc:docMk/>
            <pc:sldMk cId="546405558" sldId="339"/>
            <ac:spMk id="298" creationId="{8A839F6C-7320-A54B-AC8D-3A1D0B9B7AE2}"/>
          </ac:spMkLst>
        </pc:spChg>
        <pc:spChg chg="mod">
          <ac:chgData name="Bianca Ardito" userId="3dbb30f507a110b6" providerId="LiveId" clId="{6B3B4EFF-CE60-494E-BECC-B61895DB44D3}" dt="2024-05-24T03:15:31.228" v="3979" actId="108"/>
          <ac:spMkLst>
            <pc:docMk/>
            <pc:sldMk cId="546405558" sldId="339"/>
            <ac:spMk id="299" creationId="{DEDB93F2-E7E5-F04E-8C24-19C28C658C01}"/>
          </ac:spMkLst>
        </pc:spChg>
        <pc:spChg chg="mod">
          <ac:chgData name="Bianca Ardito" userId="3dbb30f507a110b6" providerId="LiveId" clId="{6B3B4EFF-CE60-494E-BECC-B61895DB44D3}" dt="2024-05-24T03:15:35.055" v="3982" actId="121"/>
          <ac:spMkLst>
            <pc:docMk/>
            <pc:sldMk cId="546405558" sldId="339"/>
            <ac:spMk id="300" creationId="{C4B25AE4-8F9B-6542-B92A-24B4D25E0CD7}"/>
          </ac:spMkLst>
        </pc:spChg>
        <pc:spChg chg="mod">
          <ac:chgData name="Bianca Ardito" userId="3dbb30f507a110b6" providerId="LiveId" clId="{6B3B4EFF-CE60-494E-BECC-B61895DB44D3}" dt="2024-05-24T03:15:29.568" v="3977" actId="108"/>
          <ac:spMkLst>
            <pc:docMk/>
            <pc:sldMk cId="546405558" sldId="339"/>
            <ac:spMk id="301" creationId="{BF845D3A-9186-8443-849D-506D0E7C6D0C}"/>
          </ac:spMkLst>
        </pc:spChg>
        <pc:spChg chg="mod">
          <ac:chgData name="Bianca Ardito" userId="3dbb30f507a110b6" providerId="LiveId" clId="{6B3B4EFF-CE60-494E-BECC-B61895DB44D3}" dt="2024-05-24T03:15:28.673" v="3976" actId="108"/>
          <ac:spMkLst>
            <pc:docMk/>
            <pc:sldMk cId="546405558" sldId="339"/>
            <ac:spMk id="302" creationId="{8BCA64BC-4D43-C747-AA32-DE9208C0FC46}"/>
          </ac:spMkLst>
        </pc:spChg>
        <pc:graphicFrameChg chg="mod">
          <ac:chgData name="Bianca Ardito" userId="3dbb30f507a110b6" providerId="LiveId" clId="{6B3B4EFF-CE60-494E-BECC-B61895DB44D3}" dt="2024-05-24T03:14:33.230" v="3960"/>
          <ac:graphicFrameMkLst>
            <pc:docMk/>
            <pc:sldMk cId="546405558" sldId="339"/>
            <ac:graphicFrameMk id="205" creationId="{9C4C6C38-70C4-8088-C290-AE05EFE5F61A}"/>
          </ac:graphicFrameMkLst>
        </pc:graphicFrameChg>
        <pc:cxnChg chg="mod">
          <ac:chgData name="Bianca Ardito" userId="3dbb30f507a110b6" providerId="LiveId" clId="{6B3B4EFF-CE60-494E-BECC-B61895DB44D3}" dt="2024-05-24T03:15:54.043" v="3986" actId="208"/>
          <ac:cxnSpMkLst>
            <pc:docMk/>
            <pc:sldMk cId="546405558" sldId="339"/>
            <ac:cxnSpMk id="242" creationId="{19B9ED04-B7FF-8D45-A450-9799CB582462}"/>
          </ac:cxnSpMkLst>
        </pc:cxnChg>
        <pc:cxnChg chg="mod">
          <ac:chgData name="Bianca Ardito" userId="3dbb30f507a110b6" providerId="LiveId" clId="{6B3B4EFF-CE60-494E-BECC-B61895DB44D3}" dt="2024-05-24T03:15:50.689" v="3985" actId="208"/>
          <ac:cxnSpMkLst>
            <pc:docMk/>
            <pc:sldMk cId="546405558" sldId="339"/>
            <ac:cxnSpMk id="281" creationId="{337B043C-3FF4-6F4D-A46D-AD985D6843E0}"/>
          </ac:cxnSpMkLst>
        </pc:cxnChg>
        <pc:cxnChg chg="mod">
          <ac:chgData name="Bianca Ardito" userId="3dbb30f507a110b6" providerId="LiveId" clId="{6B3B4EFF-CE60-494E-BECC-B61895DB44D3}" dt="2024-05-24T03:16:00.834" v="3988" actId="208"/>
          <ac:cxnSpMkLst>
            <pc:docMk/>
            <pc:sldMk cId="546405558" sldId="339"/>
            <ac:cxnSpMk id="287" creationId="{4156D082-7E3E-C047-AFD2-304F3FCDF5AC}"/>
          </ac:cxnSpMkLst>
        </pc:cxnChg>
        <pc:cxnChg chg="mod">
          <ac:chgData name="Bianca Ardito" userId="3dbb30f507a110b6" providerId="LiveId" clId="{6B3B4EFF-CE60-494E-BECC-B61895DB44D3}" dt="2024-05-24T03:16:06.760" v="3989" actId="208"/>
          <ac:cxnSpMkLst>
            <pc:docMk/>
            <pc:sldMk cId="546405558" sldId="339"/>
            <ac:cxnSpMk id="303" creationId="{4F8E996B-DC4C-3644-B83A-78283AE7F8AB}"/>
          </ac:cxnSpMkLst>
        </pc:cxnChg>
        <pc:cxnChg chg="mod">
          <ac:chgData name="Bianca Ardito" userId="3dbb30f507a110b6" providerId="LiveId" clId="{6B3B4EFF-CE60-494E-BECC-B61895DB44D3}" dt="2024-05-24T03:15:44.476" v="3983" actId="208"/>
          <ac:cxnSpMkLst>
            <pc:docMk/>
            <pc:sldMk cId="546405558" sldId="339"/>
            <ac:cxnSpMk id="313" creationId="{9B138FA7-3B23-BA4A-A15F-C9BA5C4698A4}"/>
          </ac:cxnSpMkLst>
        </pc:cxnChg>
        <pc:cxnChg chg="mod">
          <ac:chgData name="Bianca Ardito" userId="3dbb30f507a110b6" providerId="LiveId" clId="{6B3B4EFF-CE60-494E-BECC-B61895DB44D3}" dt="2024-05-24T03:15:58.324" v="3987" actId="208"/>
          <ac:cxnSpMkLst>
            <pc:docMk/>
            <pc:sldMk cId="546405558" sldId="339"/>
            <ac:cxnSpMk id="320" creationId="{D7702DEF-DD97-7C48-B9D0-5463977334C3}"/>
          </ac:cxnSpMkLst>
        </pc:cxnChg>
      </pc:sldChg>
      <pc:sldChg chg="addSp delSp modSp mod chgLayout">
        <pc:chgData name="Bianca Ardito" userId="3dbb30f507a110b6" providerId="LiveId" clId="{6B3B4EFF-CE60-494E-BECC-B61895DB44D3}" dt="2024-05-24T02:50:00.883" v="2994" actId="207"/>
        <pc:sldMkLst>
          <pc:docMk/>
          <pc:sldMk cId="4264889004" sldId="363"/>
        </pc:sldMkLst>
        <pc:spChg chg="add del mod modVis">
          <ac:chgData name="Bianca Ardito" userId="3dbb30f507a110b6" providerId="LiveId" clId="{6B3B4EFF-CE60-494E-BECC-B61895DB44D3}" dt="2024-05-24T02:02:15.441" v="680"/>
          <ac:spMkLst>
            <pc:docMk/>
            <pc:sldMk cId="4264889004" sldId="363"/>
            <ac:spMk id="2" creationId="{467557AB-3AAB-B325-5596-42A481F62839}"/>
          </ac:spMkLst>
        </pc:spChg>
        <pc:spChg chg="mod ord">
          <ac:chgData name="Bianca Ardito" userId="3dbb30f507a110b6" providerId="LiveId" clId="{6B3B4EFF-CE60-494E-BECC-B61895DB44D3}" dt="2024-05-24T02:49:36.195" v="2966" actId="948"/>
          <ac:spMkLst>
            <pc:docMk/>
            <pc:sldMk cId="4264889004" sldId="363"/>
            <ac:spMk id="3" creationId="{1939EA66-E2A2-FA4F-B5D7-928E77D7A618}"/>
          </ac:spMkLst>
        </pc:spChg>
        <pc:spChg chg="add del mod">
          <ac:chgData name="Bianca Ardito" userId="3dbb30f507a110b6" providerId="LiveId" clId="{6B3B4EFF-CE60-494E-BECC-B61895DB44D3}" dt="2024-05-24T02:49:35.685" v="2965" actId="6264"/>
          <ac:spMkLst>
            <pc:docMk/>
            <pc:sldMk cId="4264889004" sldId="363"/>
            <ac:spMk id="4" creationId="{228EF76B-EF29-AE2C-DB7D-1F7016EEF5F8}"/>
          </ac:spMkLst>
        </pc:spChg>
        <pc:spChg chg="add del mod">
          <ac:chgData name="Bianca Ardito" userId="3dbb30f507a110b6" providerId="LiveId" clId="{6B3B4EFF-CE60-494E-BECC-B61895DB44D3}" dt="2024-05-24T02:49:35.685" v="2965" actId="6264"/>
          <ac:spMkLst>
            <pc:docMk/>
            <pc:sldMk cId="4264889004" sldId="363"/>
            <ac:spMk id="5" creationId="{9F48F887-6656-7973-B9B8-CDAFB5052878}"/>
          </ac:spMkLst>
        </pc:spChg>
        <pc:spChg chg="add mod ord">
          <ac:chgData name="Bianca Ardito" userId="3dbb30f507a110b6" providerId="LiveId" clId="{6B3B4EFF-CE60-494E-BECC-B61895DB44D3}" dt="2024-05-24T02:49:35.685" v="2965" actId="6264"/>
          <ac:spMkLst>
            <pc:docMk/>
            <pc:sldMk cId="4264889004" sldId="363"/>
            <ac:spMk id="6" creationId="{6789A6E8-0FA3-3F6F-71DB-8B69C466CB43}"/>
          </ac:spMkLst>
        </pc:spChg>
        <pc:spChg chg="mod ord">
          <ac:chgData name="Bianca Ardito" userId="3dbb30f507a110b6" providerId="LiveId" clId="{6B3B4EFF-CE60-494E-BECC-B61895DB44D3}" dt="2024-05-24T02:49:35.685" v="2965" actId="6264"/>
          <ac:spMkLst>
            <pc:docMk/>
            <pc:sldMk cId="4264889004" sldId="363"/>
            <ac:spMk id="7" creationId="{ED59BF25-8337-4F45-B04F-334C460BDE0A}"/>
          </ac:spMkLst>
        </pc:spChg>
        <pc:spChg chg="add del mod modVis">
          <ac:chgData name="Bianca Ardito" userId="3dbb30f507a110b6" providerId="LiveId" clId="{6B3B4EFF-CE60-494E-BECC-B61895DB44D3}" dt="2024-05-24T02:49:36.202" v="2989"/>
          <ac:spMkLst>
            <pc:docMk/>
            <pc:sldMk cId="4264889004" sldId="363"/>
            <ac:spMk id="8" creationId="{F07D3C54-9283-DB49-2B34-64F3BF12101B}"/>
          </ac:spMkLst>
        </pc:spChg>
        <pc:spChg chg="mod">
          <ac:chgData name="Bianca Ardito" userId="3dbb30f507a110b6" providerId="LiveId" clId="{6B3B4EFF-CE60-494E-BECC-B61895DB44D3}" dt="2024-05-24T02:50:00.883" v="2994" actId="207"/>
          <ac:spMkLst>
            <pc:docMk/>
            <pc:sldMk cId="4264889004" sldId="363"/>
            <ac:spMk id="15" creationId="{56675A3A-C32E-B02F-16E5-709624097026}"/>
          </ac:spMkLst>
        </pc:spChg>
        <pc:spChg chg="del">
          <ac:chgData name="Bianca Ardito" userId="3dbb30f507a110b6" providerId="LiveId" clId="{6B3B4EFF-CE60-494E-BECC-B61895DB44D3}" dt="2024-05-24T02:49:35.685" v="2965" actId="6264"/>
          <ac:spMkLst>
            <pc:docMk/>
            <pc:sldMk cId="4264889004" sldId="363"/>
            <ac:spMk id="18" creationId="{A433E6BA-3BA4-547B-50A2-DCB3E8B0A164}"/>
          </ac:spMkLst>
        </pc:spChg>
        <pc:graphicFrameChg chg="mod">
          <ac:chgData name="Bianca Ardito" userId="3dbb30f507a110b6" providerId="LiveId" clId="{6B3B4EFF-CE60-494E-BECC-B61895DB44D3}" dt="2024-05-24T02:49:36.202" v="2991"/>
          <ac:graphicFrameMkLst>
            <pc:docMk/>
            <pc:sldMk cId="4264889004" sldId="363"/>
            <ac:graphicFrameMk id="13" creationId="{4515D52E-22B6-6DD7-82C9-6CC01B094033}"/>
          </ac:graphicFrameMkLst>
        </pc:graphicFrameChg>
      </pc:sldChg>
      <pc:sldChg chg="addSp delSp modSp mod chgLayout">
        <pc:chgData name="Bianca Ardito" userId="3dbb30f507a110b6" providerId="LiveId" clId="{6B3B4EFF-CE60-494E-BECC-B61895DB44D3}" dt="2024-05-24T03:17:45.985" v="4032"/>
        <pc:sldMkLst>
          <pc:docMk/>
          <pc:sldMk cId="2909848633" sldId="369"/>
        </pc:sldMkLst>
        <pc:spChg chg="del">
          <ac:chgData name="Bianca Ardito" userId="3dbb30f507a110b6" providerId="LiveId" clId="{6B3B4EFF-CE60-494E-BECC-B61895DB44D3}" dt="2024-05-24T02:33:42.082" v="1508" actId="6264"/>
          <ac:spMkLst>
            <pc:docMk/>
            <pc:sldMk cId="2909848633" sldId="369"/>
            <ac:spMk id="3" creationId="{D19B6018-E459-374E-975F-EBF2E9099818}"/>
          </ac:spMkLst>
        </pc:spChg>
        <pc:spChg chg="add mod ord">
          <ac:chgData name="Bianca Ardito" userId="3dbb30f507a110b6" providerId="LiveId" clId="{6B3B4EFF-CE60-494E-BECC-B61895DB44D3}" dt="2024-05-24T02:33:42.082" v="1508" actId="6264"/>
          <ac:spMkLst>
            <pc:docMk/>
            <pc:sldMk cId="2909848633" sldId="369"/>
            <ac:spMk id="6" creationId="{98D0D54C-59A1-FAD2-0D1D-780162DCCD85}"/>
          </ac:spMkLst>
        </pc:spChg>
        <pc:graphicFrameChg chg="add mod ord modVis replST">
          <ac:chgData name="Bianca Ardito" userId="3dbb30f507a110b6" providerId="LiveId" clId="{6B3B4EFF-CE60-494E-BECC-B61895DB44D3}" dt="2024-05-24T03:17:45.985" v="4032"/>
          <ac:graphicFrameMkLst>
            <pc:docMk/>
            <pc:sldMk cId="2909848633" sldId="369"/>
            <ac:graphicFrameMk id="4" creationId="{01E2C1D7-A7EB-5F69-81C6-D5EEF843D63F}"/>
          </ac:graphicFrameMkLst>
        </pc:graphicFrameChg>
      </pc:sldChg>
      <pc:sldChg chg="addSp delSp modSp mod">
        <pc:chgData name="Bianca Ardito" userId="3dbb30f507a110b6" providerId="LiveId" clId="{6B3B4EFF-CE60-494E-BECC-B61895DB44D3}" dt="2024-05-24T02:59:31.676" v="3221" actId="207"/>
        <pc:sldMkLst>
          <pc:docMk/>
          <pc:sldMk cId="2209342424" sldId="11105"/>
        </pc:sldMkLst>
        <pc:spChg chg="add del mod modVis">
          <ac:chgData name="Bianca Ardito" userId="3dbb30f507a110b6" providerId="LiveId" clId="{6B3B4EFF-CE60-494E-BECC-B61895DB44D3}" dt="2024-05-24T02:02:15.646" v="918"/>
          <ac:spMkLst>
            <pc:docMk/>
            <pc:sldMk cId="2209342424" sldId="11105"/>
            <ac:spMk id="2" creationId="{7AC78C7E-1E04-CAA0-5D2A-97E72314E70D}"/>
          </ac:spMkLst>
        </pc:spChg>
        <pc:spChg chg="mod">
          <ac:chgData name="Bianca Ardito" userId="3dbb30f507a110b6" providerId="LiveId" clId="{6B3B4EFF-CE60-494E-BECC-B61895DB44D3}" dt="2024-05-24T02:02:15.302" v="529" actId="948"/>
          <ac:spMkLst>
            <pc:docMk/>
            <pc:sldMk cId="2209342424" sldId="11105"/>
            <ac:spMk id="3" creationId="{AE8094CE-82D3-7D4A-9A48-3F9B55A47590}"/>
          </ac:spMkLst>
        </pc:spChg>
        <pc:spChg chg="mod">
          <ac:chgData name="Bianca Ardito" userId="3dbb30f507a110b6" providerId="LiveId" clId="{6B3B4EFF-CE60-494E-BECC-B61895DB44D3}" dt="2024-05-24T02:59:31.676" v="3221" actId="207"/>
          <ac:spMkLst>
            <pc:docMk/>
            <pc:sldMk cId="2209342424" sldId="11105"/>
            <ac:spMk id="38" creationId="{E4D6E7EC-AC63-CB49-AA2E-CEB9C5D8A6E5}"/>
          </ac:spMkLst>
        </pc:spChg>
        <pc:graphicFrameChg chg="mod">
          <ac:chgData name="Bianca Ardito" userId="3dbb30f507a110b6" providerId="LiveId" clId="{6B3B4EFF-CE60-494E-BECC-B61895DB44D3}" dt="2024-05-24T02:02:15.663" v="920"/>
          <ac:graphicFrameMkLst>
            <pc:docMk/>
            <pc:sldMk cId="2209342424" sldId="11105"/>
            <ac:graphicFrameMk id="4" creationId="{C104A4BF-15ED-9348-DC0A-396EE6867FD4}"/>
          </ac:graphicFrameMkLst>
        </pc:graphicFrameChg>
      </pc:sldChg>
      <pc:sldChg chg="addSp delSp modSp mod">
        <pc:chgData name="Bianca Ardito" userId="3dbb30f507a110b6" providerId="LiveId" clId="{6B3B4EFF-CE60-494E-BECC-B61895DB44D3}" dt="2024-05-24T02:59:36.176" v="3223" actId="207"/>
        <pc:sldMkLst>
          <pc:docMk/>
          <pc:sldMk cId="3571950430" sldId="11107"/>
        </pc:sldMkLst>
        <pc:spChg chg="add del mod modVis">
          <ac:chgData name="Bianca Ardito" userId="3dbb30f507a110b6" providerId="LiveId" clId="{6B3B4EFF-CE60-494E-BECC-B61895DB44D3}" dt="2024-05-24T02:02:15.663" v="922"/>
          <ac:spMkLst>
            <pc:docMk/>
            <pc:sldMk cId="3571950430" sldId="11107"/>
            <ac:spMk id="2" creationId="{42FE3119-C848-DE52-2D6F-C5D564F5DA34}"/>
          </ac:spMkLst>
        </pc:spChg>
        <pc:spChg chg="mod">
          <ac:chgData name="Bianca Ardito" userId="3dbb30f507a110b6" providerId="LiveId" clId="{6B3B4EFF-CE60-494E-BECC-B61895DB44D3}" dt="2024-05-24T02:02:15.317" v="555" actId="948"/>
          <ac:spMkLst>
            <pc:docMk/>
            <pc:sldMk cId="3571950430" sldId="11107"/>
            <ac:spMk id="3" creationId="{8DC6A029-6165-4B92-BEA5-462CD5651651}"/>
          </ac:spMkLst>
        </pc:spChg>
        <pc:spChg chg="mod">
          <ac:chgData name="Bianca Ardito" userId="3dbb30f507a110b6" providerId="LiveId" clId="{6B3B4EFF-CE60-494E-BECC-B61895DB44D3}" dt="2024-05-24T02:59:35.126" v="3222" actId="207"/>
          <ac:spMkLst>
            <pc:docMk/>
            <pc:sldMk cId="3571950430" sldId="11107"/>
            <ac:spMk id="56" creationId="{7AF536A9-A409-E044-B04C-64DA0B453220}"/>
          </ac:spMkLst>
        </pc:spChg>
        <pc:spChg chg="mod">
          <ac:chgData name="Bianca Ardito" userId="3dbb30f507a110b6" providerId="LiveId" clId="{6B3B4EFF-CE60-494E-BECC-B61895DB44D3}" dt="2024-05-24T02:59:36.176" v="3223" actId="207"/>
          <ac:spMkLst>
            <pc:docMk/>
            <pc:sldMk cId="3571950430" sldId="11107"/>
            <ac:spMk id="57" creationId="{F2DCC9E7-0881-314E-8DC3-8622E049686C}"/>
          </ac:spMkLst>
        </pc:spChg>
        <pc:graphicFrameChg chg="mod">
          <ac:chgData name="Bianca Ardito" userId="3dbb30f507a110b6" providerId="LiveId" clId="{6B3B4EFF-CE60-494E-BECC-B61895DB44D3}" dt="2024-05-24T02:02:15.663" v="924"/>
          <ac:graphicFrameMkLst>
            <pc:docMk/>
            <pc:sldMk cId="3571950430" sldId="11107"/>
            <ac:graphicFrameMk id="4" creationId="{D49C34DF-EE6C-2AF5-A8E9-08CF25187EBC}"/>
          </ac:graphicFrameMkLst>
        </pc:graphicFrameChg>
      </pc:sldChg>
      <pc:sldChg chg="addSp delSp modSp mod">
        <pc:chgData name="Bianca Ardito" userId="3dbb30f507a110b6" providerId="LiveId" clId="{6B3B4EFF-CE60-494E-BECC-B61895DB44D3}" dt="2024-05-24T03:14:14.552" v="3945" actId="208"/>
        <pc:sldMkLst>
          <pc:docMk/>
          <pc:sldMk cId="985718795" sldId="11213"/>
        </pc:sldMkLst>
        <pc:spChg chg="mod ord">
          <ac:chgData name="Bianca Ardito" userId="3dbb30f507a110b6" providerId="LiveId" clId="{6B3B4EFF-CE60-494E-BECC-B61895DB44D3}" dt="2024-05-24T03:13:10.692" v="3672"/>
          <ac:spMkLst>
            <pc:docMk/>
            <pc:sldMk cId="985718795" sldId="11213"/>
            <ac:spMk id="2" creationId="{9FB510F5-6051-814C-A6FC-810B8B1E9CA5}"/>
          </ac:spMkLst>
        </pc:spChg>
        <pc:spChg chg="add del mod modVis">
          <ac:chgData name="Bianca Ardito" userId="3dbb30f507a110b6" providerId="LiveId" clId="{6B3B4EFF-CE60-494E-BECC-B61895DB44D3}" dt="2024-05-24T02:02:15.410" v="645"/>
          <ac:spMkLst>
            <pc:docMk/>
            <pc:sldMk cId="985718795" sldId="11213"/>
            <ac:spMk id="3" creationId="{FCBA764C-9AA4-BDE4-F40F-12585445C4E9}"/>
          </ac:spMkLst>
        </pc:spChg>
        <pc:spChg chg="mod ord">
          <ac:chgData name="Bianca Ardito" userId="3dbb30f507a110b6" providerId="LiveId" clId="{6B3B4EFF-CE60-494E-BECC-B61895DB44D3}" dt="2024-05-24T03:13:10.692" v="3670"/>
          <ac:spMkLst>
            <pc:docMk/>
            <pc:sldMk cId="985718795" sldId="11213"/>
            <ac:spMk id="12" creationId="{D8E0C32D-5E23-D946-A7CD-6BF2C4D6FEB2}"/>
          </ac:spMkLst>
        </pc:spChg>
        <pc:spChg chg="mod ord">
          <ac:chgData name="Bianca Ardito" userId="3dbb30f507a110b6" providerId="LiveId" clId="{6B3B4EFF-CE60-494E-BECC-B61895DB44D3}" dt="2024-05-24T03:13:10.692" v="3668"/>
          <ac:spMkLst>
            <pc:docMk/>
            <pc:sldMk cId="985718795" sldId="11213"/>
            <ac:spMk id="13" creationId="{993BF722-A6CF-A34B-9DA6-EF8881FF0B0C}"/>
          </ac:spMkLst>
        </pc:spChg>
        <pc:spChg chg="mod ord">
          <ac:chgData name="Bianca Ardito" userId="3dbb30f507a110b6" providerId="LiveId" clId="{6B3B4EFF-CE60-494E-BECC-B61895DB44D3}" dt="2024-05-24T03:13:10.703" v="3708"/>
          <ac:spMkLst>
            <pc:docMk/>
            <pc:sldMk cId="985718795" sldId="11213"/>
            <ac:spMk id="193" creationId="{CEA4A867-6AAD-0D49-8BAB-0D17ACBD509A}"/>
          </ac:spMkLst>
        </pc:spChg>
        <pc:spChg chg="mod ord">
          <ac:chgData name="Bianca Ardito" userId="3dbb30f507a110b6" providerId="LiveId" clId="{6B3B4EFF-CE60-494E-BECC-B61895DB44D3}" dt="2024-05-24T03:13:10.703" v="3710"/>
          <ac:spMkLst>
            <pc:docMk/>
            <pc:sldMk cId="985718795" sldId="11213"/>
            <ac:spMk id="194" creationId="{C3BB00E6-E5B4-0D48-A421-C6BEBE904566}"/>
          </ac:spMkLst>
        </pc:spChg>
        <pc:spChg chg="mod ord">
          <ac:chgData name="Bianca Ardito" userId="3dbb30f507a110b6" providerId="LiveId" clId="{6B3B4EFF-CE60-494E-BECC-B61895DB44D3}" dt="2024-05-24T03:13:10.703" v="3712"/>
          <ac:spMkLst>
            <pc:docMk/>
            <pc:sldMk cId="985718795" sldId="11213"/>
            <ac:spMk id="195" creationId="{313C3A3B-2B8E-DE40-9BDE-B1E9C81B32D2}"/>
          </ac:spMkLst>
        </pc:spChg>
        <pc:spChg chg="mod ord">
          <ac:chgData name="Bianca Ardito" userId="3dbb30f507a110b6" providerId="LiveId" clId="{6B3B4EFF-CE60-494E-BECC-B61895DB44D3}" dt="2024-05-24T03:13:10.703" v="3714"/>
          <ac:spMkLst>
            <pc:docMk/>
            <pc:sldMk cId="985718795" sldId="11213"/>
            <ac:spMk id="196" creationId="{D29D13A6-54C1-5946-92F9-09CED693619B}"/>
          </ac:spMkLst>
        </pc:spChg>
        <pc:spChg chg="mod ord">
          <ac:chgData name="Bianca Ardito" userId="3dbb30f507a110b6" providerId="LiveId" clId="{6B3B4EFF-CE60-494E-BECC-B61895DB44D3}" dt="2024-05-24T03:13:10.703" v="3716"/>
          <ac:spMkLst>
            <pc:docMk/>
            <pc:sldMk cId="985718795" sldId="11213"/>
            <ac:spMk id="197" creationId="{45637C87-B810-1240-A409-237B672BBCB9}"/>
          </ac:spMkLst>
        </pc:spChg>
        <pc:spChg chg="mod ord">
          <ac:chgData name="Bianca Ardito" userId="3dbb30f507a110b6" providerId="LiveId" clId="{6B3B4EFF-CE60-494E-BECC-B61895DB44D3}" dt="2024-05-24T03:13:10.703" v="3718"/>
          <ac:spMkLst>
            <pc:docMk/>
            <pc:sldMk cId="985718795" sldId="11213"/>
            <ac:spMk id="198" creationId="{A8B15034-1A86-B449-B497-EB724A9E3C94}"/>
          </ac:spMkLst>
        </pc:spChg>
        <pc:spChg chg="mod ord">
          <ac:chgData name="Bianca Ardito" userId="3dbb30f507a110b6" providerId="LiveId" clId="{6B3B4EFF-CE60-494E-BECC-B61895DB44D3}" dt="2024-05-24T03:13:10.703" v="3720"/>
          <ac:spMkLst>
            <pc:docMk/>
            <pc:sldMk cId="985718795" sldId="11213"/>
            <ac:spMk id="204" creationId="{FAA94C7D-9B10-8A44-89F1-29A7DB8402DC}"/>
          </ac:spMkLst>
        </pc:spChg>
        <pc:spChg chg="mod ord">
          <ac:chgData name="Bianca Ardito" userId="3dbb30f507a110b6" providerId="LiveId" clId="{6B3B4EFF-CE60-494E-BECC-B61895DB44D3}" dt="2024-05-24T03:13:10.703" v="3722"/>
          <ac:spMkLst>
            <pc:docMk/>
            <pc:sldMk cId="985718795" sldId="11213"/>
            <ac:spMk id="206" creationId="{4CEAB88A-D192-1C42-8FF8-FC0BDE9CC302}"/>
          </ac:spMkLst>
        </pc:spChg>
        <pc:spChg chg="mod ord">
          <ac:chgData name="Bianca Ardito" userId="3dbb30f507a110b6" providerId="LiveId" clId="{6B3B4EFF-CE60-494E-BECC-B61895DB44D3}" dt="2024-05-24T03:13:10.703" v="3724"/>
          <ac:spMkLst>
            <pc:docMk/>
            <pc:sldMk cId="985718795" sldId="11213"/>
            <ac:spMk id="207" creationId="{A705CE45-B746-4A40-A69B-9F1B17813A5F}"/>
          </ac:spMkLst>
        </pc:spChg>
        <pc:spChg chg="mod ord">
          <ac:chgData name="Bianca Ardito" userId="3dbb30f507a110b6" providerId="LiveId" clId="{6B3B4EFF-CE60-494E-BECC-B61895DB44D3}" dt="2024-05-24T03:13:10.703" v="3726"/>
          <ac:spMkLst>
            <pc:docMk/>
            <pc:sldMk cId="985718795" sldId="11213"/>
            <ac:spMk id="208" creationId="{49916D9F-E8BB-4146-9776-C2D4947A7EDE}"/>
          </ac:spMkLst>
        </pc:spChg>
        <pc:spChg chg="mod ord">
          <ac:chgData name="Bianca Ardito" userId="3dbb30f507a110b6" providerId="LiveId" clId="{6B3B4EFF-CE60-494E-BECC-B61895DB44D3}" dt="2024-05-24T03:13:10.692" v="3665"/>
          <ac:spMkLst>
            <pc:docMk/>
            <pc:sldMk cId="985718795" sldId="11213"/>
            <ac:spMk id="210" creationId="{F1B1FF38-C748-8342-A089-FB40F86CD3D9}"/>
          </ac:spMkLst>
        </pc:spChg>
        <pc:spChg chg="mod">
          <ac:chgData name="Bianca Ardito" userId="3dbb30f507a110b6" providerId="LiveId" clId="{6B3B4EFF-CE60-494E-BECC-B61895DB44D3}" dt="2024-05-24T03:11:27.293" v="3618" actId="207"/>
          <ac:spMkLst>
            <pc:docMk/>
            <pc:sldMk cId="985718795" sldId="11213"/>
            <ac:spMk id="220" creationId="{CC18BD07-B9D2-0A4A-B0BD-8A775FB904BC}"/>
          </ac:spMkLst>
        </pc:spChg>
        <pc:spChg chg="mod">
          <ac:chgData name="Bianca Ardito" userId="3dbb30f507a110b6" providerId="LiveId" clId="{6B3B4EFF-CE60-494E-BECC-B61895DB44D3}" dt="2024-05-24T03:11:26.895" v="3617" actId="207"/>
          <ac:spMkLst>
            <pc:docMk/>
            <pc:sldMk cId="985718795" sldId="11213"/>
            <ac:spMk id="235" creationId="{AC0E5796-8DCC-EE4F-8C2C-4613017E4C6C}"/>
          </ac:spMkLst>
        </pc:spChg>
        <pc:spChg chg="mod">
          <ac:chgData name="Bianca Ardito" userId="3dbb30f507a110b6" providerId="LiveId" clId="{6B3B4EFF-CE60-494E-BECC-B61895DB44D3}" dt="2024-05-24T03:11:28.233" v="3620" actId="207"/>
          <ac:spMkLst>
            <pc:docMk/>
            <pc:sldMk cId="985718795" sldId="11213"/>
            <ac:spMk id="245" creationId="{27A061C0-E3AC-444B-A100-0B2242F40C03}"/>
          </ac:spMkLst>
        </pc:spChg>
        <pc:spChg chg="mod">
          <ac:chgData name="Bianca Ardito" userId="3dbb30f507a110b6" providerId="LiveId" clId="{6B3B4EFF-CE60-494E-BECC-B61895DB44D3}" dt="2024-05-24T03:11:30.493" v="3622" actId="207"/>
          <ac:spMkLst>
            <pc:docMk/>
            <pc:sldMk cId="985718795" sldId="11213"/>
            <ac:spMk id="250" creationId="{967BA9E9-593A-A44A-9525-DF2B417D7CA4}"/>
          </ac:spMkLst>
        </pc:spChg>
        <pc:spChg chg="mod">
          <ac:chgData name="Bianca Ardito" userId="3dbb30f507a110b6" providerId="LiveId" clId="{6B3B4EFF-CE60-494E-BECC-B61895DB44D3}" dt="2024-05-24T03:11:48.995" v="3638" actId="207"/>
          <ac:spMkLst>
            <pc:docMk/>
            <pc:sldMk cId="985718795" sldId="11213"/>
            <ac:spMk id="254" creationId="{E3211484-E614-3C45-A6CD-FFF8ED9935F3}"/>
          </ac:spMkLst>
        </pc:spChg>
        <pc:spChg chg="mod">
          <ac:chgData name="Bianca Ardito" userId="3dbb30f507a110b6" providerId="LiveId" clId="{6B3B4EFF-CE60-494E-BECC-B61895DB44D3}" dt="2024-05-24T03:11:56.080" v="3646" actId="207"/>
          <ac:spMkLst>
            <pc:docMk/>
            <pc:sldMk cId="985718795" sldId="11213"/>
            <ac:spMk id="259" creationId="{7CE5CCB8-F55A-2F4A-A3C9-D1DA61BD23C9}"/>
          </ac:spMkLst>
        </pc:spChg>
        <pc:spChg chg="mod">
          <ac:chgData name="Bianca Ardito" userId="3dbb30f507a110b6" providerId="LiveId" clId="{6B3B4EFF-CE60-494E-BECC-B61895DB44D3}" dt="2024-05-24T03:11:50.341" v="3639" actId="207"/>
          <ac:spMkLst>
            <pc:docMk/>
            <pc:sldMk cId="985718795" sldId="11213"/>
            <ac:spMk id="269" creationId="{A34688FD-8E4D-0F43-AF53-F0008D1DB1CE}"/>
          </ac:spMkLst>
        </pc:spChg>
        <pc:spChg chg="mod">
          <ac:chgData name="Bianca Ardito" userId="3dbb30f507a110b6" providerId="LiveId" clId="{6B3B4EFF-CE60-494E-BECC-B61895DB44D3}" dt="2024-05-24T03:11:30.063" v="3621" actId="207"/>
          <ac:spMkLst>
            <pc:docMk/>
            <pc:sldMk cId="985718795" sldId="11213"/>
            <ac:spMk id="273" creationId="{C7579C79-579E-FC4B-B941-94697D3C6584}"/>
          </ac:spMkLst>
        </pc:spChg>
        <pc:spChg chg="mod ord">
          <ac:chgData name="Bianca Ardito" userId="3dbb30f507a110b6" providerId="LiveId" clId="{6B3B4EFF-CE60-494E-BECC-B61895DB44D3}" dt="2024-05-24T03:13:10.703" v="3752"/>
          <ac:spMkLst>
            <pc:docMk/>
            <pc:sldMk cId="985718795" sldId="11213"/>
            <ac:spMk id="276" creationId="{8A73D67C-1E4A-6140-87DF-169A82960437}"/>
          </ac:spMkLst>
        </pc:spChg>
        <pc:spChg chg="mod ord">
          <ac:chgData name="Bianca Ardito" userId="3dbb30f507a110b6" providerId="LiveId" clId="{6B3B4EFF-CE60-494E-BECC-B61895DB44D3}" dt="2024-05-24T03:13:10.703" v="3754"/>
          <ac:spMkLst>
            <pc:docMk/>
            <pc:sldMk cId="985718795" sldId="11213"/>
            <ac:spMk id="277" creationId="{7B753AB2-88DF-734C-8250-9C80E4CF1E7F}"/>
          </ac:spMkLst>
        </pc:spChg>
        <pc:spChg chg="mod ord">
          <ac:chgData name="Bianca Ardito" userId="3dbb30f507a110b6" providerId="LiveId" clId="{6B3B4EFF-CE60-494E-BECC-B61895DB44D3}" dt="2024-05-24T03:13:10.703" v="3756"/>
          <ac:spMkLst>
            <pc:docMk/>
            <pc:sldMk cId="985718795" sldId="11213"/>
            <ac:spMk id="280" creationId="{CF8EC811-381F-D745-A8DD-758AB2A1BE78}"/>
          </ac:spMkLst>
        </pc:spChg>
        <pc:spChg chg="mod ord">
          <ac:chgData name="Bianca Ardito" userId="3dbb30f507a110b6" providerId="LiveId" clId="{6B3B4EFF-CE60-494E-BECC-B61895DB44D3}" dt="2024-05-24T03:13:10.703" v="3758"/>
          <ac:spMkLst>
            <pc:docMk/>
            <pc:sldMk cId="985718795" sldId="11213"/>
            <ac:spMk id="281" creationId="{7F97C864-6A01-964E-A28A-D3DB14511936}"/>
          </ac:spMkLst>
        </pc:spChg>
        <pc:spChg chg="mod">
          <ac:chgData name="Bianca Ardito" userId="3dbb30f507a110b6" providerId="LiveId" clId="{6B3B4EFF-CE60-494E-BECC-B61895DB44D3}" dt="2024-05-24T03:11:54.026" v="3644" actId="207"/>
          <ac:spMkLst>
            <pc:docMk/>
            <pc:sldMk cId="985718795" sldId="11213"/>
            <ac:spMk id="283" creationId="{5CCABDFC-A3C8-894C-841A-FF50FE24A947}"/>
          </ac:spMkLst>
        </pc:spChg>
        <pc:spChg chg="mod">
          <ac:chgData name="Bianca Ardito" userId="3dbb30f507a110b6" providerId="LiveId" clId="{6B3B4EFF-CE60-494E-BECC-B61895DB44D3}" dt="2024-05-24T03:11:51.567" v="3641" actId="207"/>
          <ac:spMkLst>
            <pc:docMk/>
            <pc:sldMk cId="985718795" sldId="11213"/>
            <ac:spMk id="289" creationId="{08A66005-9ECD-3B47-8188-A0D245F7E504}"/>
          </ac:spMkLst>
        </pc:spChg>
        <pc:spChg chg="mod">
          <ac:chgData name="Bianca Ardito" userId="3dbb30f507a110b6" providerId="LiveId" clId="{6B3B4EFF-CE60-494E-BECC-B61895DB44D3}" dt="2024-05-24T03:11:52.168" v="3642" actId="207"/>
          <ac:spMkLst>
            <pc:docMk/>
            <pc:sldMk cId="985718795" sldId="11213"/>
            <ac:spMk id="291" creationId="{5BF486D2-9626-1A47-98A2-8BFD2CF64E44}"/>
          </ac:spMkLst>
        </pc:spChg>
        <pc:spChg chg="mod ord">
          <ac:chgData name="Bianca Ardito" userId="3dbb30f507a110b6" providerId="LiveId" clId="{6B3B4EFF-CE60-494E-BECC-B61895DB44D3}" dt="2024-05-24T03:13:10.703" v="3764"/>
          <ac:spMkLst>
            <pc:docMk/>
            <pc:sldMk cId="985718795" sldId="11213"/>
            <ac:spMk id="296" creationId="{C9D6BBAA-5751-6544-B69E-10C7AE052402}"/>
          </ac:spMkLst>
        </pc:spChg>
        <pc:spChg chg="mod ord">
          <ac:chgData name="Bianca Ardito" userId="3dbb30f507a110b6" providerId="LiveId" clId="{6B3B4EFF-CE60-494E-BECC-B61895DB44D3}" dt="2024-05-24T03:13:10.703" v="3766"/>
          <ac:spMkLst>
            <pc:docMk/>
            <pc:sldMk cId="985718795" sldId="11213"/>
            <ac:spMk id="298" creationId="{0E57E456-C886-9144-9F00-64618F6FE8D3}"/>
          </ac:spMkLst>
        </pc:spChg>
        <pc:spChg chg="mod ord">
          <ac:chgData name="Bianca Ardito" userId="3dbb30f507a110b6" providerId="LiveId" clId="{6B3B4EFF-CE60-494E-BECC-B61895DB44D3}" dt="2024-05-24T03:13:10.703" v="3768"/>
          <ac:spMkLst>
            <pc:docMk/>
            <pc:sldMk cId="985718795" sldId="11213"/>
            <ac:spMk id="302" creationId="{CEF1FE54-554A-D54E-923F-AD21FF60D7D1}"/>
          </ac:spMkLst>
        </pc:spChg>
        <pc:spChg chg="mod ord">
          <ac:chgData name="Bianca Ardito" userId="3dbb30f507a110b6" providerId="LiveId" clId="{6B3B4EFF-CE60-494E-BECC-B61895DB44D3}" dt="2024-05-24T03:13:10.703" v="3770"/>
          <ac:spMkLst>
            <pc:docMk/>
            <pc:sldMk cId="985718795" sldId="11213"/>
            <ac:spMk id="306" creationId="{D1CBE876-156F-D740-894D-F0AB7376C872}"/>
          </ac:spMkLst>
        </pc:spChg>
        <pc:spChg chg="mod ord">
          <ac:chgData name="Bianca Ardito" userId="3dbb30f507a110b6" providerId="LiveId" clId="{6B3B4EFF-CE60-494E-BECC-B61895DB44D3}" dt="2024-05-24T03:13:10.703" v="3772"/>
          <ac:spMkLst>
            <pc:docMk/>
            <pc:sldMk cId="985718795" sldId="11213"/>
            <ac:spMk id="337" creationId="{980D7475-F8D5-3249-832D-676C77748378}"/>
          </ac:spMkLst>
        </pc:spChg>
        <pc:spChg chg="mod ord">
          <ac:chgData name="Bianca Ardito" userId="3dbb30f507a110b6" providerId="LiveId" clId="{6B3B4EFF-CE60-494E-BECC-B61895DB44D3}" dt="2024-05-24T03:13:10.703" v="3774"/>
          <ac:spMkLst>
            <pc:docMk/>
            <pc:sldMk cId="985718795" sldId="11213"/>
            <ac:spMk id="338" creationId="{056E753F-6204-7C43-A33D-454EC18CE31B}"/>
          </ac:spMkLst>
        </pc:spChg>
        <pc:spChg chg="mod ord">
          <ac:chgData name="Bianca Ardito" userId="3dbb30f507a110b6" providerId="LiveId" clId="{6B3B4EFF-CE60-494E-BECC-B61895DB44D3}" dt="2024-05-24T03:13:10.703" v="3776"/>
          <ac:spMkLst>
            <pc:docMk/>
            <pc:sldMk cId="985718795" sldId="11213"/>
            <ac:spMk id="339" creationId="{F68680B8-08FE-1E4E-A7CA-A266815D4522}"/>
          </ac:spMkLst>
        </pc:spChg>
        <pc:spChg chg="mod ord">
          <ac:chgData name="Bianca Ardito" userId="3dbb30f507a110b6" providerId="LiveId" clId="{6B3B4EFF-CE60-494E-BECC-B61895DB44D3}" dt="2024-05-24T03:13:10.703" v="3778"/>
          <ac:spMkLst>
            <pc:docMk/>
            <pc:sldMk cId="985718795" sldId="11213"/>
            <ac:spMk id="340" creationId="{4AF85F58-7D2A-0749-A246-DF740E00249D}"/>
          </ac:spMkLst>
        </pc:spChg>
        <pc:spChg chg="mod ord">
          <ac:chgData name="Bianca Ardito" userId="3dbb30f507a110b6" providerId="LiveId" clId="{6B3B4EFF-CE60-494E-BECC-B61895DB44D3}" dt="2024-05-24T03:13:10.703" v="3780"/>
          <ac:spMkLst>
            <pc:docMk/>
            <pc:sldMk cId="985718795" sldId="11213"/>
            <ac:spMk id="341" creationId="{F4428D14-8EDF-D24F-AA38-3E03CFEE9658}"/>
          </ac:spMkLst>
        </pc:spChg>
        <pc:spChg chg="mod ord">
          <ac:chgData name="Bianca Ardito" userId="3dbb30f507a110b6" providerId="LiveId" clId="{6B3B4EFF-CE60-494E-BECC-B61895DB44D3}" dt="2024-05-24T03:13:10.703" v="3782"/>
          <ac:spMkLst>
            <pc:docMk/>
            <pc:sldMk cId="985718795" sldId="11213"/>
            <ac:spMk id="342" creationId="{1BE1ED26-B8AC-7A4D-A272-4A1F09575CE0}"/>
          </ac:spMkLst>
        </pc:spChg>
        <pc:spChg chg="mod ord">
          <ac:chgData name="Bianca Ardito" userId="3dbb30f507a110b6" providerId="LiveId" clId="{6B3B4EFF-CE60-494E-BECC-B61895DB44D3}" dt="2024-05-24T03:13:10.703" v="3784"/>
          <ac:spMkLst>
            <pc:docMk/>
            <pc:sldMk cId="985718795" sldId="11213"/>
            <ac:spMk id="343" creationId="{9EB9CABE-8D2E-D140-9484-681742523A01}"/>
          </ac:spMkLst>
        </pc:spChg>
        <pc:spChg chg="mod ord">
          <ac:chgData name="Bianca Ardito" userId="3dbb30f507a110b6" providerId="LiveId" clId="{6B3B4EFF-CE60-494E-BECC-B61895DB44D3}" dt="2024-05-24T03:13:10.703" v="3786"/>
          <ac:spMkLst>
            <pc:docMk/>
            <pc:sldMk cId="985718795" sldId="11213"/>
            <ac:spMk id="344" creationId="{EB687161-87CD-6C4F-A62E-BE0D83680BC0}"/>
          </ac:spMkLst>
        </pc:spChg>
        <pc:spChg chg="mod ord">
          <ac:chgData name="Bianca Ardito" userId="3dbb30f507a110b6" providerId="LiveId" clId="{6B3B4EFF-CE60-494E-BECC-B61895DB44D3}" dt="2024-05-24T03:13:10.703" v="3788"/>
          <ac:spMkLst>
            <pc:docMk/>
            <pc:sldMk cId="985718795" sldId="11213"/>
            <ac:spMk id="345" creationId="{A7D9CBEC-84AD-8D4A-A919-B563E1C5E80B}"/>
          </ac:spMkLst>
        </pc:spChg>
        <pc:spChg chg="mod ord">
          <ac:chgData name="Bianca Ardito" userId="3dbb30f507a110b6" providerId="LiveId" clId="{6B3B4EFF-CE60-494E-BECC-B61895DB44D3}" dt="2024-05-24T03:13:10.703" v="3790"/>
          <ac:spMkLst>
            <pc:docMk/>
            <pc:sldMk cId="985718795" sldId="11213"/>
            <ac:spMk id="346" creationId="{99307B0C-0C3C-E54A-86D0-CB65DB582748}"/>
          </ac:spMkLst>
        </pc:spChg>
        <pc:spChg chg="mod">
          <ac:chgData name="Bianca Ardito" userId="3dbb30f507a110b6" providerId="LiveId" clId="{6B3B4EFF-CE60-494E-BECC-B61895DB44D3}" dt="2024-05-24T03:11:17.177" v="3607" actId="207"/>
          <ac:spMkLst>
            <pc:docMk/>
            <pc:sldMk cId="985718795" sldId="11213"/>
            <ac:spMk id="348" creationId="{250C28F4-E141-F74F-9267-272334D20CC2}"/>
          </ac:spMkLst>
        </pc:spChg>
        <pc:spChg chg="mod ord">
          <ac:chgData name="Bianca Ardito" userId="3dbb30f507a110b6" providerId="LiveId" clId="{6B3B4EFF-CE60-494E-BECC-B61895DB44D3}" dt="2024-05-24T03:13:10.719" v="3794"/>
          <ac:spMkLst>
            <pc:docMk/>
            <pc:sldMk cId="985718795" sldId="11213"/>
            <ac:spMk id="350" creationId="{4FB26A69-4112-1B4A-BF61-2D87F07938D8}"/>
          </ac:spMkLst>
        </pc:spChg>
        <pc:spChg chg="mod ord">
          <ac:chgData name="Bianca Ardito" userId="3dbb30f507a110b6" providerId="LiveId" clId="{6B3B4EFF-CE60-494E-BECC-B61895DB44D3}" dt="2024-05-24T03:13:10.719" v="3796"/>
          <ac:spMkLst>
            <pc:docMk/>
            <pc:sldMk cId="985718795" sldId="11213"/>
            <ac:spMk id="351" creationId="{FB683FE7-1481-8148-8DCD-F735CA6D2970}"/>
          </ac:spMkLst>
        </pc:spChg>
        <pc:spChg chg="mod ord">
          <ac:chgData name="Bianca Ardito" userId="3dbb30f507a110b6" providerId="LiveId" clId="{6B3B4EFF-CE60-494E-BECC-B61895DB44D3}" dt="2024-05-24T03:13:10.719" v="3798"/>
          <ac:spMkLst>
            <pc:docMk/>
            <pc:sldMk cId="985718795" sldId="11213"/>
            <ac:spMk id="352" creationId="{158010FF-AD17-9747-B47E-087F7362BD2E}"/>
          </ac:spMkLst>
        </pc:spChg>
        <pc:spChg chg="mod ord">
          <ac:chgData name="Bianca Ardito" userId="3dbb30f507a110b6" providerId="LiveId" clId="{6B3B4EFF-CE60-494E-BECC-B61895DB44D3}" dt="2024-05-24T03:13:10.719" v="3800"/>
          <ac:spMkLst>
            <pc:docMk/>
            <pc:sldMk cId="985718795" sldId="11213"/>
            <ac:spMk id="353" creationId="{8BC97162-58BB-D545-A242-72AB11E37F04}"/>
          </ac:spMkLst>
        </pc:spChg>
        <pc:spChg chg="mod ord">
          <ac:chgData name="Bianca Ardito" userId="3dbb30f507a110b6" providerId="LiveId" clId="{6B3B4EFF-CE60-494E-BECC-B61895DB44D3}" dt="2024-05-24T03:13:10.719" v="3806"/>
          <ac:spMkLst>
            <pc:docMk/>
            <pc:sldMk cId="985718795" sldId="11213"/>
            <ac:spMk id="356" creationId="{DB4E399E-94D5-D14E-8BB6-4B4A3DBDC402}"/>
          </ac:spMkLst>
        </pc:spChg>
        <pc:spChg chg="mod ord">
          <ac:chgData name="Bianca Ardito" userId="3dbb30f507a110b6" providerId="LiveId" clId="{6B3B4EFF-CE60-494E-BECC-B61895DB44D3}" dt="2024-05-24T03:13:10.719" v="3808"/>
          <ac:spMkLst>
            <pc:docMk/>
            <pc:sldMk cId="985718795" sldId="11213"/>
            <ac:spMk id="357" creationId="{823EEEB0-3565-D646-A67C-51878A9C6F2C}"/>
          </ac:spMkLst>
        </pc:spChg>
        <pc:spChg chg="mod ord">
          <ac:chgData name="Bianca Ardito" userId="3dbb30f507a110b6" providerId="LiveId" clId="{6B3B4EFF-CE60-494E-BECC-B61895DB44D3}" dt="2024-05-24T03:13:10.719" v="3810"/>
          <ac:spMkLst>
            <pc:docMk/>
            <pc:sldMk cId="985718795" sldId="11213"/>
            <ac:spMk id="358" creationId="{E061B283-DEA0-FC43-9F62-0E17785A55A6}"/>
          </ac:spMkLst>
        </pc:spChg>
        <pc:spChg chg="mod ord">
          <ac:chgData name="Bianca Ardito" userId="3dbb30f507a110b6" providerId="LiveId" clId="{6B3B4EFF-CE60-494E-BECC-B61895DB44D3}" dt="2024-05-24T03:13:10.719" v="3812"/>
          <ac:spMkLst>
            <pc:docMk/>
            <pc:sldMk cId="985718795" sldId="11213"/>
            <ac:spMk id="359" creationId="{004A8A78-90C9-0748-9A5A-AFA7D8E2021C}"/>
          </ac:spMkLst>
        </pc:spChg>
        <pc:spChg chg="mod ord">
          <ac:chgData name="Bianca Ardito" userId="3dbb30f507a110b6" providerId="LiveId" clId="{6B3B4EFF-CE60-494E-BECC-B61895DB44D3}" dt="2024-05-24T03:13:10.719" v="3814"/>
          <ac:spMkLst>
            <pc:docMk/>
            <pc:sldMk cId="985718795" sldId="11213"/>
            <ac:spMk id="360" creationId="{B2D9CCA3-B19A-AF4D-A2CB-6B02F43A6D4D}"/>
          </ac:spMkLst>
        </pc:spChg>
        <pc:spChg chg="mod ord">
          <ac:chgData name="Bianca Ardito" userId="3dbb30f507a110b6" providerId="LiveId" clId="{6B3B4EFF-CE60-494E-BECC-B61895DB44D3}" dt="2024-05-24T03:13:10.719" v="3816"/>
          <ac:spMkLst>
            <pc:docMk/>
            <pc:sldMk cId="985718795" sldId="11213"/>
            <ac:spMk id="361" creationId="{494A971E-1C03-934B-8265-402779EC3E2E}"/>
          </ac:spMkLst>
        </pc:spChg>
        <pc:spChg chg="mod ord">
          <ac:chgData name="Bianca Ardito" userId="3dbb30f507a110b6" providerId="LiveId" clId="{6B3B4EFF-CE60-494E-BECC-B61895DB44D3}" dt="2024-05-24T03:13:10.719" v="3818"/>
          <ac:spMkLst>
            <pc:docMk/>
            <pc:sldMk cId="985718795" sldId="11213"/>
            <ac:spMk id="362" creationId="{04F4B936-EECC-EC48-8CD3-F1142248506F}"/>
          </ac:spMkLst>
        </pc:spChg>
        <pc:spChg chg="mod ord">
          <ac:chgData name="Bianca Ardito" userId="3dbb30f507a110b6" providerId="LiveId" clId="{6B3B4EFF-CE60-494E-BECC-B61895DB44D3}" dt="2024-05-24T03:13:10.719" v="3820"/>
          <ac:spMkLst>
            <pc:docMk/>
            <pc:sldMk cId="985718795" sldId="11213"/>
            <ac:spMk id="363" creationId="{A1861876-0BD1-6444-92FB-26487B206B38}"/>
          </ac:spMkLst>
        </pc:spChg>
        <pc:spChg chg="mod ord">
          <ac:chgData name="Bianca Ardito" userId="3dbb30f507a110b6" providerId="LiveId" clId="{6B3B4EFF-CE60-494E-BECC-B61895DB44D3}" dt="2024-05-24T03:13:10.719" v="3822"/>
          <ac:spMkLst>
            <pc:docMk/>
            <pc:sldMk cId="985718795" sldId="11213"/>
            <ac:spMk id="364" creationId="{C0E8BF39-0280-FC49-A82D-6282BAF84C19}"/>
          </ac:spMkLst>
        </pc:spChg>
        <pc:spChg chg="mod ord">
          <ac:chgData name="Bianca Ardito" userId="3dbb30f507a110b6" providerId="LiveId" clId="{6B3B4EFF-CE60-494E-BECC-B61895DB44D3}" dt="2024-05-24T03:13:10.719" v="3824"/>
          <ac:spMkLst>
            <pc:docMk/>
            <pc:sldMk cId="985718795" sldId="11213"/>
            <ac:spMk id="365" creationId="{D0EBE6D5-5482-FD4F-A141-9E0C6AFEBA26}"/>
          </ac:spMkLst>
        </pc:spChg>
        <pc:spChg chg="mod ord">
          <ac:chgData name="Bianca Ardito" userId="3dbb30f507a110b6" providerId="LiveId" clId="{6B3B4EFF-CE60-494E-BECC-B61895DB44D3}" dt="2024-05-24T03:13:10.719" v="3826"/>
          <ac:spMkLst>
            <pc:docMk/>
            <pc:sldMk cId="985718795" sldId="11213"/>
            <ac:spMk id="366" creationId="{67DBC4B8-3F65-9C41-8611-03FAEA7F26FB}"/>
          </ac:spMkLst>
        </pc:spChg>
        <pc:spChg chg="mod">
          <ac:chgData name="Bianca Ardito" userId="3dbb30f507a110b6" providerId="LiveId" clId="{6B3B4EFF-CE60-494E-BECC-B61895DB44D3}" dt="2024-05-24T03:11:52.648" v="3643" actId="207"/>
          <ac:spMkLst>
            <pc:docMk/>
            <pc:sldMk cId="985718795" sldId="11213"/>
            <ac:spMk id="368" creationId="{2E134F52-F1E6-C54F-9D95-6E3C1E6A0690}"/>
          </ac:spMkLst>
        </pc:spChg>
        <pc:spChg chg="mod">
          <ac:chgData name="Bianca Ardito" userId="3dbb30f507a110b6" providerId="LiveId" clId="{6B3B4EFF-CE60-494E-BECC-B61895DB44D3}" dt="2024-05-24T03:11:51.048" v="3640" actId="207"/>
          <ac:spMkLst>
            <pc:docMk/>
            <pc:sldMk cId="985718795" sldId="11213"/>
            <ac:spMk id="371" creationId="{C465DC5A-1B36-0F48-BD22-227971290392}"/>
          </ac:spMkLst>
        </pc:spChg>
        <pc:spChg chg="mod">
          <ac:chgData name="Bianca Ardito" userId="3dbb30f507a110b6" providerId="LiveId" clId="{6B3B4EFF-CE60-494E-BECC-B61895DB44D3}" dt="2024-05-24T03:11:48.399" v="3637" actId="207"/>
          <ac:spMkLst>
            <pc:docMk/>
            <pc:sldMk cId="985718795" sldId="11213"/>
            <ac:spMk id="374" creationId="{9B86395C-8C83-D649-AB61-201C1BC25F82}"/>
          </ac:spMkLst>
        </pc:spChg>
        <pc:spChg chg="mod">
          <ac:chgData name="Bianca Ardito" userId="3dbb30f507a110b6" providerId="LiveId" clId="{6B3B4EFF-CE60-494E-BECC-B61895DB44D3}" dt="2024-05-24T03:11:38.645" v="3630" actId="207"/>
          <ac:spMkLst>
            <pc:docMk/>
            <pc:sldMk cId="985718795" sldId="11213"/>
            <ac:spMk id="377" creationId="{DB107D48-326F-6348-933B-2F23126B780A}"/>
          </ac:spMkLst>
        </pc:spChg>
        <pc:spChg chg="mod">
          <ac:chgData name="Bianca Ardito" userId="3dbb30f507a110b6" providerId="LiveId" clId="{6B3B4EFF-CE60-494E-BECC-B61895DB44D3}" dt="2024-05-24T03:11:35.163" v="3626" actId="207"/>
          <ac:spMkLst>
            <pc:docMk/>
            <pc:sldMk cId="985718795" sldId="11213"/>
            <ac:spMk id="379" creationId="{FA8F2A10-9F55-9F41-994A-7DE4EAAA57A3}"/>
          </ac:spMkLst>
        </pc:spChg>
        <pc:spChg chg="mod">
          <ac:chgData name="Bianca Ardito" userId="3dbb30f507a110b6" providerId="LiveId" clId="{6B3B4EFF-CE60-494E-BECC-B61895DB44D3}" dt="2024-05-24T03:11:35.571" v="3627" actId="207"/>
          <ac:spMkLst>
            <pc:docMk/>
            <pc:sldMk cId="985718795" sldId="11213"/>
            <ac:spMk id="381" creationId="{58289A40-D5B8-C241-AF08-81F0A7663162}"/>
          </ac:spMkLst>
        </pc:spChg>
        <pc:spChg chg="mod">
          <ac:chgData name="Bianca Ardito" userId="3dbb30f507a110b6" providerId="LiveId" clId="{6B3B4EFF-CE60-494E-BECC-B61895DB44D3}" dt="2024-05-24T03:11:36.045" v="3628" actId="207"/>
          <ac:spMkLst>
            <pc:docMk/>
            <pc:sldMk cId="985718795" sldId="11213"/>
            <ac:spMk id="383" creationId="{C2D2B959-E29B-3F47-A61A-4BA92F355FB9}"/>
          </ac:spMkLst>
        </pc:spChg>
        <pc:spChg chg="mod">
          <ac:chgData name="Bianca Ardito" userId="3dbb30f507a110b6" providerId="LiveId" clId="{6B3B4EFF-CE60-494E-BECC-B61895DB44D3}" dt="2024-05-24T03:11:36.480" v="3629" actId="207"/>
          <ac:spMkLst>
            <pc:docMk/>
            <pc:sldMk cId="985718795" sldId="11213"/>
            <ac:spMk id="385" creationId="{327F2A5B-DAFA-2247-8ED5-5614C6FF086D}"/>
          </ac:spMkLst>
        </pc:spChg>
        <pc:spChg chg="mod ord">
          <ac:chgData name="Bianca Ardito" userId="3dbb30f507a110b6" providerId="LiveId" clId="{6B3B4EFF-CE60-494E-BECC-B61895DB44D3}" dt="2024-05-24T03:13:10.719" v="3836"/>
          <ac:spMkLst>
            <pc:docMk/>
            <pc:sldMk cId="985718795" sldId="11213"/>
            <ac:spMk id="387" creationId="{A8CF7FED-3161-F04B-BF94-480A512A4E97}"/>
          </ac:spMkLst>
        </pc:spChg>
        <pc:spChg chg="mod ord">
          <ac:chgData name="Bianca Ardito" userId="3dbb30f507a110b6" providerId="LiveId" clId="{6B3B4EFF-CE60-494E-BECC-B61895DB44D3}" dt="2024-05-24T03:13:10.719" v="3838"/>
          <ac:spMkLst>
            <pc:docMk/>
            <pc:sldMk cId="985718795" sldId="11213"/>
            <ac:spMk id="388" creationId="{C04024E6-99CD-4B4D-9183-2D2341D66B07}"/>
          </ac:spMkLst>
        </pc:spChg>
        <pc:spChg chg="mod ord">
          <ac:chgData name="Bianca Ardito" userId="3dbb30f507a110b6" providerId="LiveId" clId="{6B3B4EFF-CE60-494E-BECC-B61895DB44D3}" dt="2024-05-24T03:13:10.719" v="3840"/>
          <ac:spMkLst>
            <pc:docMk/>
            <pc:sldMk cId="985718795" sldId="11213"/>
            <ac:spMk id="389" creationId="{966EF9DD-623E-1942-A046-435A408B06CB}"/>
          </ac:spMkLst>
        </pc:spChg>
        <pc:spChg chg="mod ord">
          <ac:chgData name="Bianca Ardito" userId="3dbb30f507a110b6" providerId="LiveId" clId="{6B3B4EFF-CE60-494E-BECC-B61895DB44D3}" dt="2024-05-24T03:13:10.719" v="3842"/>
          <ac:spMkLst>
            <pc:docMk/>
            <pc:sldMk cId="985718795" sldId="11213"/>
            <ac:spMk id="390" creationId="{9FE9F666-E587-114D-9E3D-04B00D86E3BF}"/>
          </ac:spMkLst>
        </pc:spChg>
        <pc:spChg chg="mod ord">
          <ac:chgData name="Bianca Ardito" userId="3dbb30f507a110b6" providerId="LiveId" clId="{6B3B4EFF-CE60-494E-BECC-B61895DB44D3}" dt="2024-05-24T03:13:10.719" v="3844"/>
          <ac:spMkLst>
            <pc:docMk/>
            <pc:sldMk cId="985718795" sldId="11213"/>
            <ac:spMk id="391" creationId="{E617D5E8-B188-BE45-97DD-11CF579D73CB}"/>
          </ac:spMkLst>
        </pc:spChg>
        <pc:spChg chg="mod ord">
          <ac:chgData name="Bianca Ardito" userId="3dbb30f507a110b6" providerId="LiveId" clId="{6B3B4EFF-CE60-494E-BECC-B61895DB44D3}" dt="2024-05-24T03:13:10.719" v="3846"/>
          <ac:spMkLst>
            <pc:docMk/>
            <pc:sldMk cId="985718795" sldId="11213"/>
            <ac:spMk id="392" creationId="{619091A0-C91B-324D-B33B-21DAE7EC801D}"/>
          </ac:spMkLst>
        </pc:spChg>
        <pc:spChg chg="mod ord">
          <ac:chgData name="Bianca Ardito" userId="3dbb30f507a110b6" providerId="LiveId" clId="{6B3B4EFF-CE60-494E-BECC-B61895DB44D3}" dt="2024-05-24T03:13:10.719" v="3848"/>
          <ac:spMkLst>
            <pc:docMk/>
            <pc:sldMk cId="985718795" sldId="11213"/>
            <ac:spMk id="393" creationId="{A349965E-248B-E743-9FF0-A66E5BBA19A7}"/>
          </ac:spMkLst>
        </pc:spChg>
        <pc:spChg chg="mod ord">
          <ac:chgData name="Bianca Ardito" userId="3dbb30f507a110b6" providerId="LiveId" clId="{6B3B4EFF-CE60-494E-BECC-B61895DB44D3}" dt="2024-05-24T03:13:35.995" v="3935" actId="208"/>
          <ac:spMkLst>
            <pc:docMk/>
            <pc:sldMk cId="985718795" sldId="11213"/>
            <ac:spMk id="394" creationId="{59B10DE1-990F-7344-96C9-399AE7F53F00}"/>
          </ac:spMkLst>
        </pc:spChg>
        <pc:spChg chg="mod ord">
          <ac:chgData name="Bianca Ardito" userId="3dbb30f507a110b6" providerId="LiveId" clId="{6B3B4EFF-CE60-494E-BECC-B61895DB44D3}" dt="2024-05-24T03:13:10.719" v="3852"/>
          <ac:spMkLst>
            <pc:docMk/>
            <pc:sldMk cId="985718795" sldId="11213"/>
            <ac:spMk id="395" creationId="{3EAFC933-5207-314B-A81B-4F18FAC132B7}"/>
          </ac:spMkLst>
        </pc:spChg>
        <pc:spChg chg="mod ord">
          <ac:chgData name="Bianca Ardito" userId="3dbb30f507a110b6" providerId="LiveId" clId="{6B3B4EFF-CE60-494E-BECC-B61895DB44D3}" dt="2024-05-24T03:13:10.719" v="3854"/>
          <ac:spMkLst>
            <pc:docMk/>
            <pc:sldMk cId="985718795" sldId="11213"/>
            <ac:spMk id="396" creationId="{33588772-DF6A-2649-8613-1ECD93902A68}"/>
          </ac:spMkLst>
        </pc:spChg>
        <pc:spChg chg="mod ord">
          <ac:chgData name="Bianca Ardito" userId="3dbb30f507a110b6" providerId="LiveId" clId="{6B3B4EFF-CE60-494E-BECC-B61895DB44D3}" dt="2024-05-24T03:13:10.719" v="3856"/>
          <ac:spMkLst>
            <pc:docMk/>
            <pc:sldMk cId="985718795" sldId="11213"/>
            <ac:spMk id="397" creationId="{3C5388F1-41B3-BF48-AA1B-06D0FE44B239}"/>
          </ac:spMkLst>
        </pc:spChg>
        <pc:spChg chg="mod ord">
          <ac:chgData name="Bianca Ardito" userId="3dbb30f507a110b6" providerId="LiveId" clId="{6B3B4EFF-CE60-494E-BECC-B61895DB44D3}" dt="2024-05-24T03:13:10.719" v="3858"/>
          <ac:spMkLst>
            <pc:docMk/>
            <pc:sldMk cId="985718795" sldId="11213"/>
            <ac:spMk id="398" creationId="{E5D40789-2645-5546-925B-25D9E9A46C10}"/>
          </ac:spMkLst>
        </pc:spChg>
        <pc:spChg chg="mod ord">
          <ac:chgData name="Bianca Ardito" userId="3dbb30f507a110b6" providerId="LiveId" clId="{6B3B4EFF-CE60-494E-BECC-B61895DB44D3}" dt="2024-05-24T03:13:10.719" v="3860"/>
          <ac:spMkLst>
            <pc:docMk/>
            <pc:sldMk cId="985718795" sldId="11213"/>
            <ac:spMk id="399" creationId="{AA9B6563-FBAD-D34D-9BBE-A9D18E55E49C}"/>
          </ac:spMkLst>
        </pc:spChg>
        <pc:spChg chg="mod ord">
          <ac:chgData name="Bianca Ardito" userId="3dbb30f507a110b6" providerId="LiveId" clId="{6B3B4EFF-CE60-494E-BECC-B61895DB44D3}" dt="2024-05-24T03:13:10.719" v="3862"/>
          <ac:spMkLst>
            <pc:docMk/>
            <pc:sldMk cId="985718795" sldId="11213"/>
            <ac:spMk id="400" creationId="{2AB4E904-D09D-9B4D-83AE-DDAE8F2887C1}"/>
          </ac:spMkLst>
        </pc:spChg>
        <pc:spChg chg="mod">
          <ac:chgData name="Bianca Ardito" userId="3dbb30f507a110b6" providerId="LiveId" clId="{6B3B4EFF-CE60-494E-BECC-B61895DB44D3}" dt="2024-05-24T03:11:47.347" v="3636" actId="207"/>
          <ac:spMkLst>
            <pc:docMk/>
            <pc:sldMk cId="985718795" sldId="11213"/>
            <ac:spMk id="414" creationId="{09D55886-EB1A-DE4B-B919-7A72D3D59A0D}"/>
          </ac:spMkLst>
        </pc:spChg>
        <pc:spChg chg="mod ord">
          <ac:chgData name="Bianca Ardito" userId="3dbb30f507a110b6" providerId="LiveId" clId="{6B3B4EFF-CE60-494E-BECC-B61895DB44D3}" dt="2024-05-24T03:13:10.736" v="3890"/>
          <ac:spMkLst>
            <pc:docMk/>
            <pc:sldMk cId="985718795" sldId="11213"/>
            <ac:spMk id="416" creationId="{2CD57AAD-1802-7045-8EE5-4FFDAAF734FA}"/>
          </ac:spMkLst>
        </pc:spChg>
        <pc:spChg chg="mod ord">
          <ac:chgData name="Bianca Ardito" userId="3dbb30f507a110b6" providerId="LiveId" clId="{6B3B4EFF-CE60-494E-BECC-B61895DB44D3}" dt="2024-05-24T03:13:10.736" v="3892"/>
          <ac:spMkLst>
            <pc:docMk/>
            <pc:sldMk cId="985718795" sldId="11213"/>
            <ac:spMk id="417" creationId="{3B81AB17-C1D2-074D-93DF-3E5992E97D52}"/>
          </ac:spMkLst>
        </pc:spChg>
        <pc:spChg chg="mod">
          <ac:chgData name="Bianca Ardito" userId="3dbb30f507a110b6" providerId="LiveId" clId="{6B3B4EFF-CE60-494E-BECC-B61895DB44D3}" dt="2024-05-24T03:11:30.962" v="3623" actId="207"/>
          <ac:spMkLst>
            <pc:docMk/>
            <pc:sldMk cId="985718795" sldId="11213"/>
            <ac:spMk id="419" creationId="{B785BA5B-2DC1-DD46-9C6B-315C40D5ECEC}"/>
          </ac:spMkLst>
        </pc:spChg>
        <pc:spChg chg="mod">
          <ac:chgData name="Bianca Ardito" userId="3dbb30f507a110b6" providerId="LiveId" clId="{6B3B4EFF-CE60-494E-BECC-B61895DB44D3}" dt="2024-05-24T03:11:27.731" v="3619" actId="207"/>
          <ac:spMkLst>
            <pc:docMk/>
            <pc:sldMk cId="985718795" sldId="11213"/>
            <ac:spMk id="422" creationId="{97E72BED-8800-C643-BAAA-B092462BBBCA}"/>
          </ac:spMkLst>
        </pc:spChg>
        <pc:spChg chg="mod">
          <ac:chgData name="Bianca Ardito" userId="3dbb30f507a110b6" providerId="LiveId" clId="{6B3B4EFF-CE60-494E-BECC-B61895DB44D3}" dt="2024-05-24T03:12:07.157" v="3650" actId="208"/>
          <ac:spMkLst>
            <pc:docMk/>
            <pc:sldMk cId="985718795" sldId="11213"/>
            <ac:spMk id="427" creationId="{6764B4EA-66EC-C141-9C6F-A567A369376C}"/>
          </ac:spMkLst>
        </pc:spChg>
        <pc:spChg chg="mod">
          <ac:chgData name="Bianca Ardito" userId="3dbb30f507a110b6" providerId="LiveId" clId="{6B3B4EFF-CE60-494E-BECC-B61895DB44D3}" dt="2024-05-24T03:12:13.813" v="3652" actId="208"/>
          <ac:spMkLst>
            <pc:docMk/>
            <pc:sldMk cId="985718795" sldId="11213"/>
            <ac:spMk id="429" creationId="{6E6125EC-2AA7-C641-8D6D-B205B80AEF3D}"/>
          </ac:spMkLst>
        </pc:spChg>
        <pc:spChg chg="mod">
          <ac:chgData name="Bianca Ardito" userId="3dbb30f507a110b6" providerId="LiveId" clId="{6B3B4EFF-CE60-494E-BECC-B61895DB44D3}" dt="2024-05-24T03:12:06.180" v="3649" actId="208"/>
          <ac:spMkLst>
            <pc:docMk/>
            <pc:sldMk cId="985718795" sldId="11213"/>
            <ac:spMk id="435" creationId="{8A121639-9067-1045-91C9-791A74C7AE8A}"/>
          </ac:spMkLst>
        </pc:spChg>
        <pc:spChg chg="mod">
          <ac:chgData name="Bianca Ardito" userId="3dbb30f507a110b6" providerId="LiveId" clId="{6B3B4EFF-CE60-494E-BECC-B61895DB44D3}" dt="2024-05-24T03:12:10.036" v="3651" actId="208"/>
          <ac:spMkLst>
            <pc:docMk/>
            <pc:sldMk cId="985718795" sldId="11213"/>
            <ac:spMk id="436" creationId="{099A552F-08CB-AA44-9A94-5096B12AC336}"/>
          </ac:spMkLst>
        </pc:spChg>
        <pc:spChg chg="mod">
          <ac:chgData name="Bianca Ardito" userId="3dbb30f507a110b6" providerId="LiveId" clId="{6B3B4EFF-CE60-494E-BECC-B61895DB44D3}" dt="2024-05-24T03:12:16.683" v="3653" actId="208"/>
          <ac:spMkLst>
            <pc:docMk/>
            <pc:sldMk cId="985718795" sldId="11213"/>
            <ac:spMk id="440" creationId="{350B8CD8-530E-AA44-B617-25AD286E14BE}"/>
          </ac:spMkLst>
        </pc:spChg>
        <pc:spChg chg="mod ord">
          <ac:chgData name="Bianca Ardito" userId="3dbb30f507a110b6" providerId="LiveId" clId="{6B3B4EFF-CE60-494E-BECC-B61895DB44D3}" dt="2024-05-24T03:13:10.736" v="3903"/>
          <ac:spMkLst>
            <pc:docMk/>
            <pc:sldMk cId="985718795" sldId="11213"/>
            <ac:spMk id="442" creationId="{CCE5808B-0651-3145-B4C3-78431FEA0D2E}"/>
          </ac:spMkLst>
        </pc:spChg>
        <pc:spChg chg="mod ord">
          <ac:chgData name="Bianca Ardito" userId="3dbb30f507a110b6" providerId="LiveId" clId="{6B3B4EFF-CE60-494E-BECC-B61895DB44D3}" dt="2024-05-24T03:13:10.736" v="3905"/>
          <ac:spMkLst>
            <pc:docMk/>
            <pc:sldMk cId="985718795" sldId="11213"/>
            <ac:spMk id="443" creationId="{058E5EEC-E5BC-4845-8775-AB0C5A830C25}"/>
          </ac:spMkLst>
        </pc:spChg>
        <pc:spChg chg="mod ord">
          <ac:chgData name="Bianca Ardito" userId="3dbb30f507a110b6" providerId="LiveId" clId="{6B3B4EFF-CE60-494E-BECC-B61895DB44D3}" dt="2024-05-24T03:13:10.736" v="3907"/>
          <ac:spMkLst>
            <pc:docMk/>
            <pc:sldMk cId="985718795" sldId="11213"/>
            <ac:spMk id="444" creationId="{610F7BC6-F79D-B04F-BABC-B79C4A7707F4}"/>
          </ac:spMkLst>
        </pc:spChg>
        <pc:spChg chg="mod ord">
          <ac:chgData name="Bianca Ardito" userId="3dbb30f507a110b6" providerId="LiveId" clId="{6B3B4EFF-CE60-494E-BECC-B61895DB44D3}" dt="2024-05-24T03:13:10.736" v="3909"/>
          <ac:spMkLst>
            <pc:docMk/>
            <pc:sldMk cId="985718795" sldId="11213"/>
            <ac:spMk id="445" creationId="{B868B2A3-9297-E94B-8634-3275E568E3B8}"/>
          </ac:spMkLst>
        </pc:spChg>
        <pc:spChg chg="mod ord">
          <ac:chgData name="Bianca Ardito" userId="3dbb30f507a110b6" providerId="LiveId" clId="{6B3B4EFF-CE60-494E-BECC-B61895DB44D3}" dt="2024-05-24T03:13:10.736" v="3911"/>
          <ac:spMkLst>
            <pc:docMk/>
            <pc:sldMk cId="985718795" sldId="11213"/>
            <ac:spMk id="446" creationId="{4AD11BF1-BD3A-F849-A58A-2AB233DE4FC6}"/>
          </ac:spMkLst>
        </pc:spChg>
        <pc:spChg chg="mod ord">
          <ac:chgData name="Bianca Ardito" userId="3dbb30f507a110b6" providerId="LiveId" clId="{6B3B4EFF-CE60-494E-BECC-B61895DB44D3}" dt="2024-05-24T03:13:10.736" v="3913"/>
          <ac:spMkLst>
            <pc:docMk/>
            <pc:sldMk cId="985718795" sldId="11213"/>
            <ac:spMk id="447" creationId="{EBE6410D-A486-6745-A8EA-CCE2116C7AE4}"/>
          </ac:spMkLst>
        </pc:spChg>
        <pc:spChg chg="mod ord">
          <ac:chgData name="Bianca Ardito" userId="3dbb30f507a110b6" providerId="LiveId" clId="{6B3B4EFF-CE60-494E-BECC-B61895DB44D3}" dt="2024-05-24T03:13:10.736" v="3915"/>
          <ac:spMkLst>
            <pc:docMk/>
            <pc:sldMk cId="985718795" sldId="11213"/>
            <ac:spMk id="448" creationId="{D065C339-C8FF-084A-9097-AD9495135E6A}"/>
          </ac:spMkLst>
        </pc:spChg>
        <pc:spChg chg="mod ord">
          <ac:chgData name="Bianca Ardito" userId="3dbb30f507a110b6" providerId="LiveId" clId="{6B3B4EFF-CE60-494E-BECC-B61895DB44D3}" dt="2024-05-24T03:13:10.736" v="3917"/>
          <ac:spMkLst>
            <pc:docMk/>
            <pc:sldMk cId="985718795" sldId="11213"/>
            <ac:spMk id="449" creationId="{031C86FF-E9EA-2A4D-B8EF-6E025F38766C}"/>
          </ac:spMkLst>
        </pc:spChg>
        <pc:spChg chg="mod ord">
          <ac:chgData name="Bianca Ardito" userId="3dbb30f507a110b6" providerId="LiveId" clId="{6B3B4EFF-CE60-494E-BECC-B61895DB44D3}" dt="2024-05-24T03:13:10.736" v="3919"/>
          <ac:spMkLst>
            <pc:docMk/>
            <pc:sldMk cId="985718795" sldId="11213"/>
            <ac:spMk id="450" creationId="{42E8C61F-2A32-4246-90D2-1C9995CE8719}"/>
          </ac:spMkLst>
        </pc:spChg>
        <pc:spChg chg="mod ord">
          <ac:chgData name="Bianca Ardito" userId="3dbb30f507a110b6" providerId="LiveId" clId="{6B3B4EFF-CE60-494E-BECC-B61895DB44D3}" dt="2024-05-24T03:13:10.736" v="3921"/>
          <ac:spMkLst>
            <pc:docMk/>
            <pc:sldMk cId="985718795" sldId="11213"/>
            <ac:spMk id="451" creationId="{2D2D9A5F-E30A-A848-B05A-EBDF61C1A728}"/>
          </ac:spMkLst>
        </pc:spChg>
        <pc:spChg chg="mod">
          <ac:chgData name="Bianca Ardito" userId="3dbb30f507a110b6" providerId="LiveId" clId="{6B3B4EFF-CE60-494E-BECC-B61895DB44D3}" dt="2024-05-24T03:11:31.446" v="3624" actId="207"/>
          <ac:spMkLst>
            <pc:docMk/>
            <pc:sldMk cId="985718795" sldId="11213"/>
            <ac:spMk id="453" creationId="{6F880DBF-BE42-9742-9E46-59B4264C285C}"/>
          </ac:spMkLst>
        </pc:spChg>
        <pc:spChg chg="mod">
          <ac:chgData name="Bianca Ardito" userId="3dbb30f507a110b6" providerId="LiveId" clId="{6B3B4EFF-CE60-494E-BECC-B61895DB44D3}" dt="2024-05-24T03:11:32.794" v="3625" actId="207"/>
          <ac:spMkLst>
            <pc:docMk/>
            <pc:sldMk cId="985718795" sldId="11213"/>
            <ac:spMk id="456" creationId="{6F41ACB8-2694-B74F-8343-CD07C18C664B}"/>
          </ac:spMkLst>
        </pc:spChg>
        <pc:grpChg chg="mod ord">
          <ac:chgData name="Bianca Ardito" userId="3dbb30f507a110b6" providerId="LiveId" clId="{6B3B4EFF-CE60-494E-BECC-B61895DB44D3}" dt="2024-05-24T03:13:10.703" v="3728"/>
          <ac:grpSpMkLst>
            <pc:docMk/>
            <pc:sldMk cId="985718795" sldId="11213"/>
            <ac:grpSpMk id="213" creationId="{3C685309-CA36-984F-9C03-EB26A72A44C8}"/>
          </ac:grpSpMkLst>
        </pc:grpChg>
        <pc:grpChg chg="mod ord">
          <ac:chgData name="Bianca Ardito" userId="3dbb30f507a110b6" providerId="LiveId" clId="{6B3B4EFF-CE60-494E-BECC-B61895DB44D3}" dt="2024-05-24T03:13:10.703" v="3730"/>
          <ac:grpSpMkLst>
            <pc:docMk/>
            <pc:sldMk cId="985718795" sldId="11213"/>
            <ac:grpSpMk id="232" creationId="{C88C74A5-0E63-CC49-8A8A-0268A927D321}"/>
          </ac:grpSpMkLst>
        </pc:grpChg>
        <pc:grpChg chg="mod ord">
          <ac:chgData name="Bianca Ardito" userId="3dbb30f507a110b6" providerId="LiveId" clId="{6B3B4EFF-CE60-494E-BECC-B61895DB44D3}" dt="2024-05-24T03:13:10.703" v="3732"/>
          <ac:grpSpMkLst>
            <pc:docMk/>
            <pc:sldMk cId="985718795" sldId="11213"/>
            <ac:grpSpMk id="244" creationId="{EDA9A12D-C566-D746-9A66-86140AB4F664}"/>
          </ac:grpSpMkLst>
        </pc:grpChg>
        <pc:grpChg chg="mod ord">
          <ac:chgData name="Bianca Ardito" userId="3dbb30f507a110b6" providerId="LiveId" clId="{6B3B4EFF-CE60-494E-BECC-B61895DB44D3}" dt="2024-05-24T03:13:10.703" v="3734"/>
          <ac:grpSpMkLst>
            <pc:docMk/>
            <pc:sldMk cId="985718795" sldId="11213"/>
            <ac:grpSpMk id="248" creationId="{499BF941-C775-AD42-8ECD-FF18812C319D}"/>
          </ac:grpSpMkLst>
        </pc:grpChg>
        <pc:grpChg chg="mod ord">
          <ac:chgData name="Bianca Ardito" userId="3dbb30f507a110b6" providerId="LiveId" clId="{6B3B4EFF-CE60-494E-BECC-B61895DB44D3}" dt="2024-05-24T03:13:10.703" v="3736"/>
          <ac:grpSpMkLst>
            <pc:docMk/>
            <pc:sldMk cId="985718795" sldId="11213"/>
            <ac:grpSpMk id="253" creationId="{0C4498A3-3947-BC45-B43A-964E3D2705BA}"/>
          </ac:grpSpMkLst>
        </pc:grpChg>
        <pc:grpChg chg="mod ord">
          <ac:chgData name="Bianca Ardito" userId="3dbb30f507a110b6" providerId="LiveId" clId="{6B3B4EFF-CE60-494E-BECC-B61895DB44D3}" dt="2024-05-24T03:13:10.703" v="3738"/>
          <ac:grpSpMkLst>
            <pc:docMk/>
            <pc:sldMk cId="985718795" sldId="11213"/>
            <ac:grpSpMk id="258" creationId="{1262991F-6147-1641-9660-6C1F0C659728}"/>
          </ac:grpSpMkLst>
        </pc:grpChg>
        <pc:grpChg chg="mod ord">
          <ac:chgData name="Bianca Ardito" userId="3dbb30f507a110b6" providerId="LiveId" clId="{6B3B4EFF-CE60-494E-BECC-B61895DB44D3}" dt="2024-05-24T03:13:10.703" v="3748"/>
          <ac:grpSpMkLst>
            <pc:docMk/>
            <pc:sldMk cId="985718795" sldId="11213"/>
            <ac:grpSpMk id="268" creationId="{F5B70848-1C29-274C-B46E-046347768785}"/>
          </ac:grpSpMkLst>
        </pc:grpChg>
        <pc:grpChg chg="mod ord">
          <ac:chgData name="Bianca Ardito" userId="3dbb30f507a110b6" providerId="LiveId" clId="{6B3B4EFF-CE60-494E-BECC-B61895DB44D3}" dt="2024-05-24T03:13:10.703" v="3750"/>
          <ac:grpSpMkLst>
            <pc:docMk/>
            <pc:sldMk cId="985718795" sldId="11213"/>
            <ac:grpSpMk id="272" creationId="{CFA47B17-D826-BA40-9416-AD4D2969F442}"/>
          </ac:grpSpMkLst>
        </pc:grpChg>
        <pc:grpChg chg="mod ord">
          <ac:chgData name="Bianca Ardito" userId="3dbb30f507a110b6" providerId="LiveId" clId="{6B3B4EFF-CE60-494E-BECC-B61895DB44D3}" dt="2024-05-24T03:13:10.703" v="3760"/>
          <ac:grpSpMkLst>
            <pc:docMk/>
            <pc:sldMk cId="985718795" sldId="11213"/>
            <ac:grpSpMk id="282" creationId="{0D030F48-077F-6E44-BA84-C107AFEFC458}"/>
          </ac:grpSpMkLst>
        </pc:grpChg>
        <pc:grpChg chg="mod ord">
          <ac:chgData name="Bianca Ardito" userId="3dbb30f507a110b6" providerId="LiveId" clId="{6B3B4EFF-CE60-494E-BECC-B61895DB44D3}" dt="2024-05-24T03:13:10.703" v="3762"/>
          <ac:grpSpMkLst>
            <pc:docMk/>
            <pc:sldMk cId="985718795" sldId="11213"/>
            <ac:grpSpMk id="287" creationId="{91B0DA74-AA76-4743-AFDB-D0D309E27E83}"/>
          </ac:grpSpMkLst>
        </pc:grpChg>
        <pc:grpChg chg="mod ord">
          <ac:chgData name="Bianca Ardito" userId="3dbb30f507a110b6" providerId="LiveId" clId="{6B3B4EFF-CE60-494E-BECC-B61895DB44D3}" dt="2024-05-24T03:13:10.719" v="3792"/>
          <ac:grpSpMkLst>
            <pc:docMk/>
            <pc:sldMk cId="985718795" sldId="11213"/>
            <ac:grpSpMk id="347" creationId="{F263FA29-7963-5D40-AB0F-4C185433696E}"/>
          </ac:grpSpMkLst>
        </pc:grpChg>
        <pc:grpChg chg="mod ord">
          <ac:chgData name="Bianca Ardito" userId="3dbb30f507a110b6" providerId="LiveId" clId="{6B3B4EFF-CE60-494E-BECC-B61895DB44D3}" dt="2024-05-24T03:13:10.719" v="3828"/>
          <ac:grpSpMkLst>
            <pc:docMk/>
            <pc:sldMk cId="985718795" sldId="11213"/>
            <ac:grpSpMk id="367" creationId="{D04AC2C8-0CA5-7442-81C7-F43BCA004B96}"/>
          </ac:grpSpMkLst>
        </pc:grpChg>
        <pc:grpChg chg="mod ord">
          <ac:chgData name="Bianca Ardito" userId="3dbb30f507a110b6" providerId="LiveId" clId="{6B3B4EFF-CE60-494E-BECC-B61895DB44D3}" dt="2024-05-24T03:13:10.719" v="3830"/>
          <ac:grpSpMkLst>
            <pc:docMk/>
            <pc:sldMk cId="985718795" sldId="11213"/>
            <ac:grpSpMk id="370" creationId="{4B215F63-6C07-AC46-9B9F-A8B3F5339784}"/>
          </ac:grpSpMkLst>
        </pc:grpChg>
        <pc:grpChg chg="mod ord">
          <ac:chgData name="Bianca Ardito" userId="3dbb30f507a110b6" providerId="LiveId" clId="{6B3B4EFF-CE60-494E-BECC-B61895DB44D3}" dt="2024-05-24T03:13:10.719" v="3832"/>
          <ac:grpSpMkLst>
            <pc:docMk/>
            <pc:sldMk cId="985718795" sldId="11213"/>
            <ac:grpSpMk id="373" creationId="{6CBD7CC7-AEE0-9B41-AA9A-C660662F98C7}"/>
          </ac:grpSpMkLst>
        </pc:grpChg>
        <pc:grpChg chg="mod ord">
          <ac:chgData name="Bianca Ardito" userId="3dbb30f507a110b6" providerId="LiveId" clId="{6B3B4EFF-CE60-494E-BECC-B61895DB44D3}" dt="2024-05-24T03:13:10.719" v="3834"/>
          <ac:grpSpMkLst>
            <pc:docMk/>
            <pc:sldMk cId="985718795" sldId="11213"/>
            <ac:grpSpMk id="376" creationId="{B3557392-7C7C-954C-AF31-4E84D952DF97}"/>
          </ac:grpSpMkLst>
        </pc:grpChg>
        <pc:grpChg chg="mod ord">
          <ac:chgData name="Bianca Ardito" userId="3dbb30f507a110b6" providerId="LiveId" clId="{6B3B4EFF-CE60-494E-BECC-B61895DB44D3}" dt="2024-05-24T03:13:10.736" v="3888"/>
          <ac:grpSpMkLst>
            <pc:docMk/>
            <pc:sldMk cId="985718795" sldId="11213"/>
            <ac:grpSpMk id="413" creationId="{66C7921D-E5F9-1745-8DCD-769094B5DC84}"/>
          </ac:grpSpMkLst>
        </pc:grpChg>
        <pc:grpChg chg="mod ord">
          <ac:chgData name="Bianca Ardito" userId="3dbb30f507a110b6" providerId="LiveId" clId="{6B3B4EFF-CE60-494E-BECC-B61895DB44D3}" dt="2024-05-24T03:13:10.736" v="3894"/>
          <ac:grpSpMkLst>
            <pc:docMk/>
            <pc:sldMk cId="985718795" sldId="11213"/>
            <ac:grpSpMk id="418" creationId="{285D049F-AE99-3C46-88F2-08C99395EC2F}"/>
          </ac:grpSpMkLst>
        </pc:grpChg>
        <pc:grpChg chg="mod ord">
          <ac:chgData name="Bianca Ardito" userId="3dbb30f507a110b6" providerId="LiveId" clId="{6B3B4EFF-CE60-494E-BECC-B61895DB44D3}" dt="2024-05-24T03:13:10.736" v="3896"/>
          <ac:grpSpMkLst>
            <pc:docMk/>
            <pc:sldMk cId="985718795" sldId="11213"/>
            <ac:grpSpMk id="421" creationId="{D0255D73-D556-ED48-8E21-7AC799FE29B1}"/>
          </ac:grpSpMkLst>
        </pc:grpChg>
        <pc:grpChg chg="mod ord">
          <ac:chgData name="Bianca Ardito" userId="3dbb30f507a110b6" providerId="LiveId" clId="{6B3B4EFF-CE60-494E-BECC-B61895DB44D3}" dt="2024-05-24T03:13:10.736" v="3898"/>
          <ac:grpSpMkLst>
            <pc:docMk/>
            <pc:sldMk cId="985718795" sldId="11213"/>
            <ac:grpSpMk id="424" creationId="{AA30B09E-0FD6-C842-9D78-03247D89F165}"/>
          </ac:grpSpMkLst>
        </pc:grpChg>
        <pc:grpChg chg="mod ord">
          <ac:chgData name="Bianca Ardito" userId="3dbb30f507a110b6" providerId="LiveId" clId="{6B3B4EFF-CE60-494E-BECC-B61895DB44D3}" dt="2024-05-24T03:13:10.736" v="3900"/>
          <ac:grpSpMkLst>
            <pc:docMk/>
            <pc:sldMk cId="985718795" sldId="11213"/>
            <ac:grpSpMk id="430" creationId="{7C7363F9-0950-B74B-921A-6C3D50AA53F3}"/>
          </ac:grpSpMkLst>
        </pc:grpChg>
        <pc:grpChg chg="mod">
          <ac:chgData name="Bianca Ardito" userId="3dbb30f507a110b6" providerId="LiveId" clId="{6B3B4EFF-CE60-494E-BECC-B61895DB44D3}" dt="2024-05-24T03:13:10.736" v="3901"/>
          <ac:grpSpMkLst>
            <pc:docMk/>
            <pc:sldMk cId="985718795" sldId="11213"/>
            <ac:grpSpMk id="437" creationId="{E593A89B-BEB8-C04D-9AB4-A6FE680CE2E1}"/>
          </ac:grpSpMkLst>
        </pc:grpChg>
        <pc:grpChg chg="mod ord">
          <ac:chgData name="Bianca Ardito" userId="3dbb30f507a110b6" providerId="LiveId" clId="{6B3B4EFF-CE60-494E-BECC-B61895DB44D3}" dt="2024-05-24T03:13:10.736" v="3923"/>
          <ac:grpSpMkLst>
            <pc:docMk/>
            <pc:sldMk cId="985718795" sldId="11213"/>
            <ac:grpSpMk id="452" creationId="{03904F96-1DF4-C646-B7F9-20B01F5FAB64}"/>
          </ac:grpSpMkLst>
        </pc:grpChg>
        <pc:grpChg chg="mod ord">
          <ac:chgData name="Bianca Ardito" userId="3dbb30f507a110b6" providerId="LiveId" clId="{6B3B4EFF-CE60-494E-BECC-B61895DB44D3}" dt="2024-05-24T03:13:10.736" v="3925"/>
          <ac:grpSpMkLst>
            <pc:docMk/>
            <pc:sldMk cId="985718795" sldId="11213"/>
            <ac:grpSpMk id="455" creationId="{7D440DD8-6755-9544-9D80-BF2E245B2AA2}"/>
          </ac:grpSpMkLst>
        </pc:grpChg>
        <pc:graphicFrameChg chg="add mod ord modVis replST">
          <ac:chgData name="Bianca Ardito" userId="3dbb30f507a110b6" providerId="LiveId" clId="{6B3B4EFF-CE60-494E-BECC-B61895DB44D3}" dt="2024-05-24T03:13:10.747" v="3929"/>
          <ac:graphicFrameMkLst>
            <pc:docMk/>
            <pc:sldMk cId="985718795" sldId="11213"/>
            <ac:graphicFrameMk id="5" creationId="{3EC6F964-842F-1724-04FB-9C54CE2340FF}"/>
          </ac:graphicFrameMkLst>
        </pc:graphicFrameChg>
        <pc:cxnChg chg="del mod">
          <ac:chgData name="Bianca Ardito" userId="3dbb30f507a110b6" providerId="LiveId" clId="{6B3B4EFF-CE60-494E-BECC-B61895DB44D3}" dt="2024-05-24T03:13:16.740" v="3930" actId="478"/>
          <ac:cxnSpMkLst>
            <pc:docMk/>
            <pc:sldMk cId="985718795" sldId="11213"/>
            <ac:cxnSpMk id="4" creationId="{E4FC9E71-6306-4F11-9EB2-AD14CEB411F7}"/>
          </ac:cxnSpMkLst>
        </pc:cxnChg>
        <pc:cxnChg chg="mod ord">
          <ac:chgData name="Bianca Ardito" userId="3dbb30f507a110b6" providerId="LiveId" clId="{6B3B4EFF-CE60-494E-BECC-B61895DB44D3}" dt="2024-05-24T03:14:06.234" v="3944" actId="208"/>
          <ac:cxnSpMkLst>
            <pc:docMk/>
            <pc:sldMk cId="985718795" sldId="11213"/>
            <ac:cxnSpMk id="161" creationId="{F81950B7-1DAC-A343-B496-EBE232C6F8CD}"/>
          </ac:cxnSpMkLst>
        </pc:cxnChg>
        <pc:cxnChg chg="mod ord">
          <ac:chgData name="Bianca Ardito" userId="3dbb30f507a110b6" providerId="LiveId" clId="{6B3B4EFF-CE60-494E-BECC-B61895DB44D3}" dt="2024-05-24T03:13:56.873" v="3943" actId="208"/>
          <ac:cxnSpMkLst>
            <pc:docMk/>
            <pc:sldMk cId="985718795" sldId="11213"/>
            <ac:cxnSpMk id="163" creationId="{7D7A49F1-72DA-1944-9179-903A986C9612}"/>
          </ac:cxnSpMkLst>
        </pc:cxnChg>
        <pc:cxnChg chg="mod ord">
          <ac:chgData name="Bianca Ardito" userId="3dbb30f507a110b6" providerId="LiveId" clId="{6B3B4EFF-CE60-494E-BECC-B61895DB44D3}" dt="2024-05-24T03:13:56.873" v="3943" actId="208"/>
          <ac:cxnSpMkLst>
            <pc:docMk/>
            <pc:sldMk cId="985718795" sldId="11213"/>
            <ac:cxnSpMk id="165" creationId="{6248A875-26D2-D74C-BC79-92C6E70CA315}"/>
          </ac:cxnSpMkLst>
        </pc:cxnChg>
        <pc:cxnChg chg="mod ord">
          <ac:chgData name="Bianca Ardito" userId="3dbb30f507a110b6" providerId="LiveId" clId="{6B3B4EFF-CE60-494E-BECC-B61895DB44D3}" dt="2024-05-24T03:13:56.873" v="3943" actId="208"/>
          <ac:cxnSpMkLst>
            <pc:docMk/>
            <pc:sldMk cId="985718795" sldId="11213"/>
            <ac:cxnSpMk id="167" creationId="{0F1241C9-1996-2140-A265-DDE003786075}"/>
          </ac:cxnSpMkLst>
        </pc:cxnChg>
        <pc:cxnChg chg="mod ord">
          <ac:chgData name="Bianca Ardito" userId="3dbb30f507a110b6" providerId="LiveId" clId="{6B3B4EFF-CE60-494E-BECC-B61895DB44D3}" dt="2024-05-24T03:14:06.234" v="3944" actId="208"/>
          <ac:cxnSpMkLst>
            <pc:docMk/>
            <pc:sldMk cId="985718795" sldId="11213"/>
            <ac:cxnSpMk id="170" creationId="{576A5F3A-6820-6844-9AC1-9F85CBAFD4BD}"/>
          </ac:cxnSpMkLst>
        </pc:cxnChg>
        <pc:cxnChg chg="mod ord">
          <ac:chgData name="Bianca Ardito" userId="3dbb30f507a110b6" providerId="LiveId" clId="{6B3B4EFF-CE60-494E-BECC-B61895DB44D3}" dt="2024-05-24T03:14:06.234" v="3944" actId="208"/>
          <ac:cxnSpMkLst>
            <pc:docMk/>
            <pc:sldMk cId="985718795" sldId="11213"/>
            <ac:cxnSpMk id="172" creationId="{7D8EBFA0-8A7B-E34E-BA4A-C8D799F7FE74}"/>
          </ac:cxnSpMkLst>
        </pc:cxnChg>
        <pc:cxnChg chg="mod ord">
          <ac:chgData name="Bianca Ardito" userId="3dbb30f507a110b6" providerId="LiveId" clId="{6B3B4EFF-CE60-494E-BECC-B61895DB44D3}" dt="2024-05-24T03:14:06.234" v="3944" actId="208"/>
          <ac:cxnSpMkLst>
            <pc:docMk/>
            <pc:sldMk cId="985718795" sldId="11213"/>
            <ac:cxnSpMk id="180" creationId="{51B5DA08-79F9-1943-ACE1-F158CB06B357}"/>
          </ac:cxnSpMkLst>
        </pc:cxnChg>
        <pc:cxnChg chg="mod ord">
          <ac:chgData name="Bianca Ardito" userId="3dbb30f507a110b6" providerId="LiveId" clId="{6B3B4EFF-CE60-494E-BECC-B61895DB44D3}" dt="2024-05-24T03:14:06.234" v="3944" actId="208"/>
          <ac:cxnSpMkLst>
            <pc:docMk/>
            <pc:sldMk cId="985718795" sldId="11213"/>
            <ac:cxnSpMk id="181" creationId="{71052AFD-76F0-DE4B-BD77-2682ECEEFD13}"/>
          </ac:cxnSpMkLst>
        </pc:cxnChg>
        <pc:cxnChg chg="mod ord">
          <ac:chgData name="Bianca Ardito" userId="3dbb30f507a110b6" providerId="LiveId" clId="{6B3B4EFF-CE60-494E-BECC-B61895DB44D3}" dt="2024-05-24T03:13:51.393" v="3941" actId="208"/>
          <ac:cxnSpMkLst>
            <pc:docMk/>
            <pc:sldMk cId="985718795" sldId="11213"/>
            <ac:cxnSpMk id="182" creationId="{8D44A53D-4998-EC40-B722-0E1C17DB470B}"/>
          </ac:cxnSpMkLst>
        </pc:cxnChg>
        <pc:cxnChg chg="mod ord">
          <ac:chgData name="Bianca Ardito" userId="3dbb30f507a110b6" providerId="LiveId" clId="{6B3B4EFF-CE60-494E-BECC-B61895DB44D3}" dt="2024-05-24T03:13:51.393" v="3941" actId="208"/>
          <ac:cxnSpMkLst>
            <pc:docMk/>
            <pc:sldMk cId="985718795" sldId="11213"/>
            <ac:cxnSpMk id="184" creationId="{9918FFA0-C042-1243-A7A1-612A2E28DE99}"/>
          </ac:cxnSpMkLst>
        </pc:cxnChg>
        <pc:cxnChg chg="mod ord">
          <ac:chgData name="Bianca Ardito" userId="3dbb30f507a110b6" providerId="LiveId" clId="{6B3B4EFF-CE60-494E-BECC-B61895DB44D3}" dt="2024-05-24T03:13:52.733" v="3942" actId="208"/>
          <ac:cxnSpMkLst>
            <pc:docMk/>
            <pc:sldMk cId="985718795" sldId="11213"/>
            <ac:cxnSpMk id="185" creationId="{795C715C-46A0-1D41-B7EC-0C785FD5603F}"/>
          </ac:cxnSpMkLst>
        </pc:cxnChg>
        <pc:cxnChg chg="mod ord">
          <ac:chgData name="Bianca Ardito" userId="3dbb30f507a110b6" providerId="LiveId" clId="{6B3B4EFF-CE60-494E-BECC-B61895DB44D3}" dt="2024-05-24T03:13:51.393" v="3941" actId="208"/>
          <ac:cxnSpMkLst>
            <pc:docMk/>
            <pc:sldMk cId="985718795" sldId="11213"/>
            <ac:cxnSpMk id="187" creationId="{4BF19AA8-523D-9942-929C-370B975DAEA1}"/>
          </ac:cxnSpMkLst>
        </pc:cxnChg>
        <pc:cxnChg chg="mod ord">
          <ac:chgData name="Bianca Ardito" userId="3dbb30f507a110b6" providerId="LiveId" clId="{6B3B4EFF-CE60-494E-BECC-B61895DB44D3}" dt="2024-05-24T03:13:51.393" v="3941" actId="208"/>
          <ac:cxnSpMkLst>
            <pc:docMk/>
            <pc:sldMk cId="985718795" sldId="11213"/>
            <ac:cxnSpMk id="188" creationId="{C7CFA226-DDCE-A349-949E-088104442CBF}"/>
          </ac:cxnSpMkLst>
        </pc:cxnChg>
        <pc:cxnChg chg="mod ord">
          <ac:chgData name="Bianca Ardito" userId="3dbb30f507a110b6" providerId="LiveId" clId="{6B3B4EFF-CE60-494E-BECC-B61895DB44D3}" dt="2024-05-24T03:13:51.393" v="3941" actId="208"/>
          <ac:cxnSpMkLst>
            <pc:docMk/>
            <pc:sldMk cId="985718795" sldId="11213"/>
            <ac:cxnSpMk id="189" creationId="{85EB05E4-4672-6444-8305-BEAEABAE3D65}"/>
          </ac:cxnSpMkLst>
        </pc:cxnChg>
        <pc:cxnChg chg="mod ord">
          <ac:chgData name="Bianca Ardito" userId="3dbb30f507a110b6" providerId="LiveId" clId="{6B3B4EFF-CE60-494E-BECC-B61895DB44D3}" dt="2024-05-24T03:13:46.813" v="3939" actId="208"/>
          <ac:cxnSpMkLst>
            <pc:docMk/>
            <pc:sldMk cId="985718795" sldId="11213"/>
            <ac:cxnSpMk id="190" creationId="{67201E9C-FA3D-154E-81C4-A70129B79388}"/>
          </ac:cxnSpMkLst>
        </pc:cxnChg>
        <pc:cxnChg chg="mod ord">
          <ac:chgData name="Bianca Ardito" userId="3dbb30f507a110b6" providerId="LiveId" clId="{6B3B4EFF-CE60-494E-BECC-B61895DB44D3}" dt="2024-05-24T03:13:46.273" v="3938" actId="208"/>
          <ac:cxnSpMkLst>
            <pc:docMk/>
            <pc:sldMk cId="985718795" sldId="11213"/>
            <ac:cxnSpMk id="191" creationId="{139D357C-B360-614E-9ECC-29599420019E}"/>
          </ac:cxnSpMkLst>
        </pc:cxnChg>
        <pc:cxnChg chg="mod ord">
          <ac:chgData name="Bianca Ardito" userId="3dbb30f507a110b6" providerId="LiveId" clId="{6B3B4EFF-CE60-494E-BECC-B61895DB44D3}" dt="2024-05-24T03:13:48.178" v="3940" actId="208"/>
          <ac:cxnSpMkLst>
            <pc:docMk/>
            <pc:sldMk cId="985718795" sldId="11213"/>
            <ac:cxnSpMk id="192" creationId="{C027A072-C304-DA4A-856A-17E9C42F23FC}"/>
          </ac:cxnSpMkLst>
        </pc:cxnChg>
        <pc:cxnChg chg="mod ord">
          <ac:chgData name="Bianca Ardito" userId="3dbb30f507a110b6" providerId="LiveId" clId="{6B3B4EFF-CE60-494E-BECC-B61895DB44D3}" dt="2024-05-24T03:13:10.703" v="3740"/>
          <ac:cxnSpMkLst>
            <pc:docMk/>
            <pc:sldMk cId="985718795" sldId="11213"/>
            <ac:cxnSpMk id="262" creationId="{55A9DDEA-719F-8D45-8C17-618E149DFB84}"/>
          </ac:cxnSpMkLst>
        </pc:cxnChg>
        <pc:cxnChg chg="mod ord">
          <ac:chgData name="Bianca Ardito" userId="3dbb30f507a110b6" providerId="LiveId" clId="{6B3B4EFF-CE60-494E-BECC-B61895DB44D3}" dt="2024-05-24T03:13:10.703" v="3742"/>
          <ac:cxnSpMkLst>
            <pc:docMk/>
            <pc:sldMk cId="985718795" sldId="11213"/>
            <ac:cxnSpMk id="263" creationId="{E0361C70-C8F8-594D-828D-43D688F62796}"/>
          </ac:cxnSpMkLst>
        </pc:cxnChg>
        <pc:cxnChg chg="mod ord">
          <ac:chgData name="Bianca Ardito" userId="3dbb30f507a110b6" providerId="LiveId" clId="{6B3B4EFF-CE60-494E-BECC-B61895DB44D3}" dt="2024-05-24T03:13:10.703" v="3744"/>
          <ac:cxnSpMkLst>
            <pc:docMk/>
            <pc:sldMk cId="985718795" sldId="11213"/>
            <ac:cxnSpMk id="265" creationId="{0902392B-EEAB-2D4E-A1D1-74392374B10F}"/>
          </ac:cxnSpMkLst>
        </pc:cxnChg>
        <pc:cxnChg chg="mod ord">
          <ac:chgData name="Bianca Ardito" userId="3dbb30f507a110b6" providerId="LiveId" clId="{6B3B4EFF-CE60-494E-BECC-B61895DB44D3}" dt="2024-05-24T03:13:10.703" v="3746"/>
          <ac:cxnSpMkLst>
            <pc:docMk/>
            <pc:sldMk cId="985718795" sldId="11213"/>
            <ac:cxnSpMk id="266" creationId="{891F126C-9B43-4747-B8C1-F4BA551EFA50}"/>
          </ac:cxnSpMkLst>
        </pc:cxnChg>
        <pc:cxnChg chg="mod ord">
          <ac:chgData name="Bianca Ardito" userId="3dbb30f507a110b6" providerId="LiveId" clId="{6B3B4EFF-CE60-494E-BECC-B61895DB44D3}" dt="2024-05-24T03:14:14.552" v="3945" actId="208"/>
          <ac:cxnSpMkLst>
            <pc:docMk/>
            <pc:sldMk cId="985718795" sldId="11213"/>
            <ac:cxnSpMk id="354" creationId="{0F8635D1-21C8-284B-8B12-D89F4EBBCB0D}"/>
          </ac:cxnSpMkLst>
        </pc:cxnChg>
        <pc:cxnChg chg="mod ord">
          <ac:chgData name="Bianca Ardito" userId="3dbb30f507a110b6" providerId="LiveId" clId="{6B3B4EFF-CE60-494E-BECC-B61895DB44D3}" dt="2024-05-24T03:13:10.719" v="3804"/>
          <ac:cxnSpMkLst>
            <pc:docMk/>
            <pc:sldMk cId="985718795" sldId="11213"/>
            <ac:cxnSpMk id="355" creationId="{BAD7DFFD-9336-2E4E-A1DE-E703DA1DC5F1}"/>
          </ac:cxnSpMkLst>
        </pc:cxnChg>
        <pc:cxnChg chg="mod ord">
          <ac:chgData name="Bianca Ardito" userId="3dbb30f507a110b6" providerId="LiveId" clId="{6B3B4EFF-CE60-494E-BECC-B61895DB44D3}" dt="2024-05-24T03:13:44.495" v="3937" actId="208"/>
          <ac:cxnSpMkLst>
            <pc:docMk/>
            <pc:sldMk cId="985718795" sldId="11213"/>
            <ac:cxnSpMk id="401" creationId="{9F42861A-DFCD-6442-8F11-148AD51A72F1}"/>
          </ac:cxnSpMkLst>
        </pc:cxnChg>
        <pc:cxnChg chg="mod ord">
          <ac:chgData name="Bianca Ardito" userId="3dbb30f507a110b6" providerId="LiveId" clId="{6B3B4EFF-CE60-494E-BECC-B61895DB44D3}" dt="2024-05-24T03:13:44.495" v="3937" actId="208"/>
          <ac:cxnSpMkLst>
            <pc:docMk/>
            <pc:sldMk cId="985718795" sldId="11213"/>
            <ac:cxnSpMk id="402" creationId="{FAD8199D-D5D0-6E4D-8405-D4B2AE41DF89}"/>
          </ac:cxnSpMkLst>
        </pc:cxnChg>
        <pc:cxnChg chg="mod ord">
          <ac:chgData name="Bianca Ardito" userId="3dbb30f507a110b6" providerId="LiveId" clId="{6B3B4EFF-CE60-494E-BECC-B61895DB44D3}" dt="2024-05-24T03:13:44.495" v="3937" actId="208"/>
          <ac:cxnSpMkLst>
            <pc:docMk/>
            <pc:sldMk cId="985718795" sldId="11213"/>
            <ac:cxnSpMk id="403" creationId="{89D619BB-F929-2D4B-9627-E94C156BDA5E}"/>
          </ac:cxnSpMkLst>
        </pc:cxnChg>
        <pc:cxnChg chg="mod ord">
          <ac:chgData name="Bianca Ardito" userId="3dbb30f507a110b6" providerId="LiveId" clId="{6B3B4EFF-CE60-494E-BECC-B61895DB44D3}" dt="2024-05-24T03:13:44.495" v="3937" actId="208"/>
          <ac:cxnSpMkLst>
            <pc:docMk/>
            <pc:sldMk cId="985718795" sldId="11213"/>
            <ac:cxnSpMk id="404" creationId="{911F9FA9-9046-0E42-9C77-4DE3FFA9B348}"/>
          </ac:cxnSpMkLst>
        </pc:cxnChg>
        <pc:cxnChg chg="mod ord">
          <ac:chgData name="Bianca Ardito" userId="3dbb30f507a110b6" providerId="LiveId" clId="{6B3B4EFF-CE60-494E-BECC-B61895DB44D3}" dt="2024-05-24T03:13:10.719" v="3872"/>
          <ac:cxnSpMkLst>
            <pc:docMk/>
            <pc:sldMk cId="985718795" sldId="11213"/>
            <ac:cxnSpMk id="405" creationId="{49D919A4-79C0-E14B-9AF7-40EC6074D278}"/>
          </ac:cxnSpMkLst>
        </pc:cxnChg>
        <pc:cxnChg chg="mod ord">
          <ac:chgData name="Bianca Ardito" userId="3dbb30f507a110b6" providerId="LiveId" clId="{6B3B4EFF-CE60-494E-BECC-B61895DB44D3}" dt="2024-05-24T03:13:10.734" v="3874"/>
          <ac:cxnSpMkLst>
            <pc:docMk/>
            <pc:sldMk cId="985718795" sldId="11213"/>
            <ac:cxnSpMk id="406" creationId="{6892A435-93B6-4447-80F2-C7AD94D92756}"/>
          </ac:cxnSpMkLst>
        </pc:cxnChg>
        <pc:cxnChg chg="mod ord">
          <ac:chgData name="Bianca Ardito" userId="3dbb30f507a110b6" providerId="LiveId" clId="{6B3B4EFF-CE60-494E-BECC-B61895DB44D3}" dt="2024-05-24T03:13:10.734" v="3876"/>
          <ac:cxnSpMkLst>
            <pc:docMk/>
            <pc:sldMk cId="985718795" sldId="11213"/>
            <ac:cxnSpMk id="407" creationId="{7864D7D8-7BDC-A24F-A9C9-2F5E39C8AEE5}"/>
          </ac:cxnSpMkLst>
        </pc:cxnChg>
        <pc:cxnChg chg="mod ord">
          <ac:chgData name="Bianca Ardito" userId="3dbb30f507a110b6" providerId="LiveId" clId="{6B3B4EFF-CE60-494E-BECC-B61895DB44D3}" dt="2024-05-24T03:13:10.735" v="3878"/>
          <ac:cxnSpMkLst>
            <pc:docMk/>
            <pc:sldMk cId="985718795" sldId="11213"/>
            <ac:cxnSpMk id="408" creationId="{108DE58C-2107-584C-8302-B3700FBE3F2A}"/>
          </ac:cxnSpMkLst>
        </pc:cxnChg>
        <pc:cxnChg chg="mod ord">
          <ac:chgData name="Bianca Ardito" userId="3dbb30f507a110b6" providerId="LiveId" clId="{6B3B4EFF-CE60-494E-BECC-B61895DB44D3}" dt="2024-05-24T03:13:10.736" v="3880"/>
          <ac:cxnSpMkLst>
            <pc:docMk/>
            <pc:sldMk cId="985718795" sldId="11213"/>
            <ac:cxnSpMk id="409" creationId="{5DDCDD49-82D8-AB4A-A19B-FE9A08F4E3F9}"/>
          </ac:cxnSpMkLst>
        </pc:cxnChg>
        <pc:cxnChg chg="mod ord">
          <ac:chgData name="Bianca Ardito" userId="3dbb30f507a110b6" providerId="LiveId" clId="{6B3B4EFF-CE60-494E-BECC-B61895DB44D3}" dt="2024-05-24T03:13:10.736" v="3882"/>
          <ac:cxnSpMkLst>
            <pc:docMk/>
            <pc:sldMk cId="985718795" sldId="11213"/>
            <ac:cxnSpMk id="410" creationId="{0849E863-2F30-9848-B9AC-C5F94ED5C6D7}"/>
          </ac:cxnSpMkLst>
        </pc:cxnChg>
        <pc:cxnChg chg="mod ord">
          <ac:chgData name="Bianca Ardito" userId="3dbb30f507a110b6" providerId="LiveId" clId="{6B3B4EFF-CE60-494E-BECC-B61895DB44D3}" dt="2024-05-24T03:13:10.736" v="3884"/>
          <ac:cxnSpMkLst>
            <pc:docMk/>
            <pc:sldMk cId="985718795" sldId="11213"/>
            <ac:cxnSpMk id="411" creationId="{5C527272-0F92-C749-822D-59F498B68573}"/>
          </ac:cxnSpMkLst>
        </pc:cxnChg>
        <pc:cxnChg chg="mod ord">
          <ac:chgData name="Bianca Ardito" userId="3dbb30f507a110b6" providerId="LiveId" clId="{6B3B4EFF-CE60-494E-BECC-B61895DB44D3}" dt="2024-05-24T03:13:10.736" v="3886"/>
          <ac:cxnSpMkLst>
            <pc:docMk/>
            <pc:sldMk cId="985718795" sldId="11213"/>
            <ac:cxnSpMk id="412" creationId="{AF8FABD0-8B8D-5541-B8ED-1EFB773990F6}"/>
          </ac:cxnSpMkLst>
        </pc:cxnChg>
      </pc:sldChg>
      <pc:sldChg chg="modSp mod">
        <pc:chgData name="Bianca Ardito" userId="3dbb30f507a110b6" providerId="LiveId" clId="{6B3B4EFF-CE60-494E-BECC-B61895DB44D3}" dt="2024-05-24T03:14:20.168" v="3949"/>
        <pc:sldMkLst>
          <pc:docMk/>
          <pc:sldMk cId="3607029163" sldId="11233"/>
        </pc:sldMkLst>
        <pc:graphicFrameChg chg="mod">
          <ac:chgData name="Bianca Ardito" userId="3dbb30f507a110b6" providerId="LiveId" clId="{6B3B4EFF-CE60-494E-BECC-B61895DB44D3}" dt="2024-05-24T03:14:20.168" v="3949"/>
          <ac:graphicFrameMkLst>
            <pc:docMk/>
            <pc:sldMk cId="3607029163" sldId="11233"/>
            <ac:graphicFrameMk id="7" creationId="{4751A3C2-3E31-E807-6A1F-E8BF51BF573C}"/>
          </ac:graphicFrameMkLst>
        </pc:graphicFrameChg>
      </pc:sldChg>
      <pc:sldChg chg="modSp mod">
        <pc:chgData name="Bianca Ardito" userId="3dbb30f507a110b6" providerId="LiveId" clId="{6B3B4EFF-CE60-494E-BECC-B61895DB44D3}" dt="2024-05-24T02:59:16.701" v="3219" actId="207"/>
        <pc:sldMkLst>
          <pc:docMk/>
          <pc:sldMk cId="2795521703" sldId="11254"/>
        </pc:sldMkLst>
        <pc:graphicFrameChg chg="modGraphic">
          <ac:chgData name="Bianca Ardito" userId="3dbb30f507a110b6" providerId="LiveId" clId="{6B3B4EFF-CE60-494E-BECC-B61895DB44D3}" dt="2024-05-24T02:59:16.701" v="3219" actId="207"/>
          <ac:graphicFrameMkLst>
            <pc:docMk/>
            <pc:sldMk cId="2795521703" sldId="11254"/>
            <ac:graphicFrameMk id="5" creationId="{BE74424B-580A-8145-82F0-632341F01F0F}"/>
          </ac:graphicFrameMkLst>
        </pc:graphicFrameChg>
        <pc:graphicFrameChg chg="mod">
          <ac:chgData name="Bianca Ardito" userId="3dbb30f507a110b6" providerId="LiveId" clId="{6B3B4EFF-CE60-494E-BECC-B61895DB44D3}" dt="2024-05-24T02:56:19.561" v="3173"/>
          <ac:graphicFrameMkLst>
            <pc:docMk/>
            <pc:sldMk cId="2795521703" sldId="11254"/>
            <ac:graphicFrameMk id="9" creationId="{C3828D6E-A261-0944-7552-262FF5660F00}"/>
          </ac:graphicFrameMkLst>
        </pc:graphicFrameChg>
      </pc:sldChg>
      <pc:sldChg chg="modSp mod">
        <pc:chgData name="Bianca Ardito" userId="3dbb30f507a110b6" providerId="LiveId" clId="{6B3B4EFF-CE60-494E-BECC-B61895DB44D3}" dt="2024-05-24T03:08:40.284" v="3542" actId="207"/>
        <pc:sldMkLst>
          <pc:docMk/>
          <pc:sldMk cId="2736189411" sldId="11256"/>
        </pc:sldMkLst>
        <pc:spChg chg="mod">
          <ac:chgData name="Bianca Ardito" userId="3dbb30f507a110b6" providerId="LiveId" clId="{6B3B4EFF-CE60-494E-BECC-B61895DB44D3}" dt="2024-05-24T03:07:50.230" v="3525" actId="404"/>
          <ac:spMkLst>
            <pc:docMk/>
            <pc:sldMk cId="2736189411" sldId="11256"/>
            <ac:spMk id="6" creationId="{AE044B65-9935-DF4D-B082-0B5CEA79654D}"/>
          </ac:spMkLst>
        </pc:spChg>
        <pc:spChg chg="mod">
          <ac:chgData name="Bianca Ardito" userId="3dbb30f507a110b6" providerId="LiveId" clId="{6B3B4EFF-CE60-494E-BECC-B61895DB44D3}" dt="2024-05-24T03:07:50.230" v="3525" actId="404"/>
          <ac:spMkLst>
            <pc:docMk/>
            <pc:sldMk cId="2736189411" sldId="11256"/>
            <ac:spMk id="7" creationId="{497F5C6B-E58B-C84E-A0BF-2E3A30E99596}"/>
          </ac:spMkLst>
        </pc:spChg>
        <pc:spChg chg="mod">
          <ac:chgData name="Bianca Ardito" userId="3dbb30f507a110b6" providerId="LiveId" clId="{6B3B4EFF-CE60-494E-BECC-B61895DB44D3}" dt="2024-05-24T03:07:50.230" v="3525" actId="404"/>
          <ac:spMkLst>
            <pc:docMk/>
            <pc:sldMk cId="2736189411" sldId="11256"/>
            <ac:spMk id="8" creationId="{FC743BED-1F76-8443-A346-86DB0DE913F9}"/>
          </ac:spMkLst>
        </pc:spChg>
        <pc:spChg chg="mod">
          <ac:chgData name="Bianca Ardito" userId="3dbb30f507a110b6" providerId="LiveId" clId="{6B3B4EFF-CE60-494E-BECC-B61895DB44D3}" dt="2024-05-24T03:07:50.230" v="3525" actId="404"/>
          <ac:spMkLst>
            <pc:docMk/>
            <pc:sldMk cId="2736189411" sldId="11256"/>
            <ac:spMk id="9" creationId="{4A9855F0-60DB-E04D-BBC4-D4CD759C5DA0}"/>
          </ac:spMkLst>
        </pc:spChg>
        <pc:spChg chg="mod">
          <ac:chgData name="Bianca Ardito" userId="3dbb30f507a110b6" providerId="LiveId" clId="{6B3B4EFF-CE60-494E-BECC-B61895DB44D3}" dt="2024-05-24T03:07:50.230" v="3525" actId="404"/>
          <ac:spMkLst>
            <pc:docMk/>
            <pc:sldMk cId="2736189411" sldId="11256"/>
            <ac:spMk id="10" creationId="{8E6E9676-E780-6C4C-AB00-55D5FC20CD4C}"/>
          </ac:spMkLst>
        </pc:spChg>
        <pc:spChg chg="mod">
          <ac:chgData name="Bianca Ardito" userId="3dbb30f507a110b6" providerId="LiveId" clId="{6B3B4EFF-CE60-494E-BECC-B61895DB44D3}" dt="2024-05-24T03:07:50.230" v="3525" actId="404"/>
          <ac:spMkLst>
            <pc:docMk/>
            <pc:sldMk cId="2736189411" sldId="11256"/>
            <ac:spMk id="11" creationId="{81A31C1B-D59D-7242-8464-83F68DABDDCE}"/>
          </ac:spMkLst>
        </pc:spChg>
        <pc:spChg chg="mod">
          <ac:chgData name="Bianca Ardito" userId="3dbb30f507a110b6" providerId="LiveId" clId="{6B3B4EFF-CE60-494E-BECC-B61895DB44D3}" dt="2024-05-24T03:07:50.230" v="3525" actId="404"/>
          <ac:spMkLst>
            <pc:docMk/>
            <pc:sldMk cId="2736189411" sldId="11256"/>
            <ac:spMk id="12" creationId="{8A374ED2-2F9F-9646-B481-0F8AE1FEEDDC}"/>
          </ac:spMkLst>
        </pc:spChg>
        <pc:spChg chg="mod">
          <ac:chgData name="Bianca Ardito" userId="3dbb30f507a110b6" providerId="LiveId" clId="{6B3B4EFF-CE60-494E-BECC-B61895DB44D3}" dt="2024-05-24T03:07:42.451" v="3520" actId="404"/>
          <ac:spMkLst>
            <pc:docMk/>
            <pc:sldMk cId="2736189411" sldId="11256"/>
            <ac:spMk id="13" creationId="{A24ECFDD-6F7D-F344-A5BA-AE756ECE4082}"/>
          </ac:spMkLst>
        </pc:spChg>
        <pc:spChg chg="mod">
          <ac:chgData name="Bianca Ardito" userId="3dbb30f507a110b6" providerId="LiveId" clId="{6B3B4EFF-CE60-494E-BECC-B61895DB44D3}" dt="2024-05-24T03:07:42.451" v="3520" actId="404"/>
          <ac:spMkLst>
            <pc:docMk/>
            <pc:sldMk cId="2736189411" sldId="11256"/>
            <ac:spMk id="14" creationId="{5BADE4C7-75B9-204D-95C8-C6930C6494A9}"/>
          </ac:spMkLst>
        </pc:spChg>
        <pc:spChg chg="mod">
          <ac:chgData name="Bianca Ardito" userId="3dbb30f507a110b6" providerId="LiveId" clId="{6B3B4EFF-CE60-494E-BECC-B61895DB44D3}" dt="2024-05-24T03:07:42.451" v="3520" actId="404"/>
          <ac:spMkLst>
            <pc:docMk/>
            <pc:sldMk cId="2736189411" sldId="11256"/>
            <ac:spMk id="15" creationId="{966380A5-D9E1-3245-B4CC-0FAC4ED66F80}"/>
          </ac:spMkLst>
        </pc:spChg>
        <pc:spChg chg="mod">
          <ac:chgData name="Bianca Ardito" userId="3dbb30f507a110b6" providerId="LiveId" clId="{6B3B4EFF-CE60-494E-BECC-B61895DB44D3}" dt="2024-05-24T03:07:42.451" v="3520" actId="404"/>
          <ac:spMkLst>
            <pc:docMk/>
            <pc:sldMk cId="2736189411" sldId="11256"/>
            <ac:spMk id="16" creationId="{D3B2E888-BA4F-A24D-9CCE-1DBA7EEBA543}"/>
          </ac:spMkLst>
        </pc:spChg>
        <pc:spChg chg="mod">
          <ac:chgData name="Bianca Ardito" userId="3dbb30f507a110b6" providerId="LiveId" clId="{6B3B4EFF-CE60-494E-BECC-B61895DB44D3}" dt="2024-05-24T03:07:42.451" v="3520" actId="404"/>
          <ac:spMkLst>
            <pc:docMk/>
            <pc:sldMk cId="2736189411" sldId="11256"/>
            <ac:spMk id="17" creationId="{CBB1AF06-088F-1B4D-89D4-1C38C70B1617}"/>
          </ac:spMkLst>
        </pc:spChg>
        <pc:spChg chg="mod">
          <ac:chgData name="Bianca Ardito" userId="3dbb30f507a110b6" providerId="LiveId" clId="{6B3B4EFF-CE60-494E-BECC-B61895DB44D3}" dt="2024-05-24T03:07:42.451" v="3520" actId="404"/>
          <ac:spMkLst>
            <pc:docMk/>
            <pc:sldMk cId="2736189411" sldId="11256"/>
            <ac:spMk id="18" creationId="{D3BCDABE-7328-C14A-94B1-3FCD7D8DBE92}"/>
          </ac:spMkLst>
        </pc:spChg>
        <pc:spChg chg="mod">
          <ac:chgData name="Bianca Ardito" userId="3dbb30f507a110b6" providerId="LiveId" clId="{6B3B4EFF-CE60-494E-BECC-B61895DB44D3}" dt="2024-05-24T03:07:42.451" v="3520" actId="404"/>
          <ac:spMkLst>
            <pc:docMk/>
            <pc:sldMk cId="2736189411" sldId="11256"/>
            <ac:spMk id="19" creationId="{761D27CB-7905-0649-9EB1-8B3FB4C2C40E}"/>
          </ac:spMkLst>
        </pc:spChg>
        <pc:spChg chg="mod">
          <ac:chgData name="Bianca Ardito" userId="3dbb30f507a110b6" providerId="LiveId" clId="{6B3B4EFF-CE60-494E-BECC-B61895DB44D3}" dt="2024-05-24T03:07:50.230" v="3525" actId="404"/>
          <ac:spMkLst>
            <pc:docMk/>
            <pc:sldMk cId="2736189411" sldId="11256"/>
            <ac:spMk id="44" creationId="{76C1C472-BE00-A646-A63A-E5FBCDE3CE45}"/>
          </ac:spMkLst>
        </pc:spChg>
        <pc:spChg chg="mod">
          <ac:chgData name="Bianca Ardito" userId="3dbb30f507a110b6" providerId="LiveId" clId="{6B3B4EFF-CE60-494E-BECC-B61895DB44D3}" dt="2024-05-24T03:07:42.451" v="3520" actId="404"/>
          <ac:spMkLst>
            <pc:docMk/>
            <pc:sldMk cId="2736189411" sldId="11256"/>
            <ac:spMk id="45" creationId="{6EC72F1F-5644-7146-AF1A-260DA27E1E8F}"/>
          </ac:spMkLst>
        </pc:spChg>
        <pc:spChg chg="mod">
          <ac:chgData name="Bianca Ardito" userId="3dbb30f507a110b6" providerId="LiveId" clId="{6B3B4EFF-CE60-494E-BECC-B61895DB44D3}" dt="2024-05-24T03:07:50.230" v="3525" actId="404"/>
          <ac:spMkLst>
            <pc:docMk/>
            <pc:sldMk cId="2736189411" sldId="11256"/>
            <ac:spMk id="46" creationId="{B9DDDD44-E3EE-F05D-542C-9842240558B0}"/>
          </ac:spMkLst>
        </pc:spChg>
        <pc:spChg chg="mod">
          <ac:chgData name="Bianca Ardito" userId="3dbb30f507a110b6" providerId="LiveId" clId="{6B3B4EFF-CE60-494E-BECC-B61895DB44D3}" dt="2024-05-24T03:07:50.230" v="3525" actId="404"/>
          <ac:spMkLst>
            <pc:docMk/>
            <pc:sldMk cId="2736189411" sldId="11256"/>
            <ac:spMk id="47" creationId="{F6C7059C-4033-C8B6-EB65-D028D11D7FAB}"/>
          </ac:spMkLst>
        </pc:spChg>
        <pc:spChg chg="mod">
          <ac:chgData name="Bianca Ardito" userId="3dbb30f507a110b6" providerId="LiveId" clId="{6B3B4EFF-CE60-494E-BECC-B61895DB44D3}" dt="2024-05-24T03:07:50.230" v="3525" actId="404"/>
          <ac:spMkLst>
            <pc:docMk/>
            <pc:sldMk cId="2736189411" sldId="11256"/>
            <ac:spMk id="51" creationId="{8F799302-7E96-1EC5-9416-6173042AD606}"/>
          </ac:spMkLst>
        </pc:spChg>
        <pc:spChg chg="mod">
          <ac:chgData name="Bianca Ardito" userId="3dbb30f507a110b6" providerId="LiveId" clId="{6B3B4EFF-CE60-494E-BECC-B61895DB44D3}" dt="2024-05-24T03:07:50.230" v="3525" actId="404"/>
          <ac:spMkLst>
            <pc:docMk/>
            <pc:sldMk cId="2736189411" sldId="11256"/>
            <ac:spMk id="52" creationId="{52225140-0B72-1F04-F813-EAFFE4AD87CE}"/>
          </ac:spMkLst>
        </pc:spChg>
        <pc:spChg chg="mod">
          <ac:chgData name="Bianca Ardito" userId="3dbb30f507a110b6" providerId="LiveId" clId="{6B3B4EFF-CE60-494E-BECC-B61895DB44D3}" dt="2024-05-24T03:07:42.451" v="3520" actId="404"/>
          <ac:spMkLst>
            <pc:docMk/>
            <pc:sldMk cId="2736189411" sldId="11256"/>
            <ac:spMk id="53" creationId="{7F0082F6-04FC-E185-842D-0A7E207B93F0}"/>
          </ac:spMkLst>
        </pc:spChg>
        <pc:spChg chg="mod">
          <ac:chgData name="Bianca Ardito" userId="3dbb30f507a110b6" providerId="LiveId" clId="{6B3B4EFF-CE60-494E-BECC-B61895DB44D3}" dt="2024-05-24T03:07:42.451" v="3520" actId="404"/>
          <ac:spMkLst>
            <pc:docMk/>
            <pc:sldMk cId="2736189411" sldId="11256"/>
            <ac:spMk id="54" creationId="{6789F9EC-0B14-3F1E-C243-62CE9F933D72}"/>
          </ac:spMkLst>
        </pc:spChg>
        <pc:spChg chg="mod">
          <ac:chgData name="Bianca Ardito" userId="3dbb30f507a110b6" providerId="LiveId" clId="{6B3B4EFF-CE60-494E-BECC-B61895DB44D3}" dt="2024-05-24T03:07:42.451" v="3520" actId="404"/>
          <ac:spMkLst>
            <pc:docMk/>
            <pc:sldMk cId="2736189411" sldId="11256"/>
            <ac:spMk id="58" creationId="{ACE02EF3-7F2C-1472-1218-90F0AE694D2C}"/>
          </ac:spMkLst>
        </pc:spChg>
        <pc:spChg chg="mod">
          <ac:chgData name="Bianca Ardito" userId="3dbb30f507a110b6" providerId="LiveId" clId="{6B3B4EFF-CE60-494E-BECC-B61895DB44D3}" dt="2024-05-24T03:07:42.451" v="3520" actId="404"/>
          <ac:spMkLst>
            <pc:docMk/>
            <pc:sldMk cId="2736189411" sldId="11256"/>
            <ac:spMk id="59" creationId="{53CB9454-3383-8328-91AE-8C9793281112}"/>
          </ac:spMkLst>
        </pc:spChg>
        <pc:spChg chg="mod">
          <ac:chgData name="Bianca Ardito" userId="3dbb30f507a110b6" providerId="LiveId" clId="{6B3B4EFF-CE60-494E-BECC-B61895DB44D3}" dt="2024-05-24T03:08:40.284" v="3542" actId="207"/>
          <ac:spMkLst>
            <pc:docMk/>
            <pc:sldMk cId="2736189411" sldId="11256"/>
            <ac:spMk id="83" creationId="{0BD1FD17-4D8C-5842-B310-78EA09BEFEB6}"/>
          </ac:spMkLst>
        </pc:spChg>
        <pc:spChg chg="mod">
          <ac:chgData name="Bianca Ardito" userId="3dbb30f507a110b6" providerId="LiveId" clId="{6B3B4EFF-CE60-494E-BECC-B61895DB44D3}" dt="2024-05-24T03:08:28.225" v="3535" actId="208"/>
          <ac:spMkLst>
            <pc:docMk/>
            <pc:sldMk cId="2736189411" sldId="11256"/>
            <ac:spMk id="84" creationId="{5B900610-FF98-A742-9A81-3817D35B21E7}"/>
          </ac:spMkLst>
        </pc:spChg>
        <pc:spChg chg="mod">
          <ac:chgData name="Bianca Ardito" userId="3dbb30f507a110b6" providerId="LiveId" clId="{6B3B4EFF-CE60-494E-BECC-B61895DB44D3}" dt="2024-05-24T03:08:38.900" v="3541" actId="207"/>
          <ac:spMkLst>
            <pc:docMk/>
            <pc:sldMk cId="2736189411" sldId="11256"/>
            <ac:spMk id="89" creationId="{953A9626-BF74-1845-B410-08246C6FCC65}"/>
          </ac:spMkLst>
        </pc:spChg>
        <pc:spChg chg="mod">
          <ac:chgData name="Bianca Ardito" userId="3dbb30f507a110b6" providerId="LiveId" clId="{6B3B4EFF-CE60-494E-BECC-B61895DB44D3}" dt="2024-05-24T03:08:38.900" v="3541" actId="207"/>
          <ac:spMkLst>
            <pc:docMk/>
            <pc:sldMk cId="2736189411" sldId="11256"/>
            <ac:spMk id="90" creationId="{27CA9D11-8DC0-FD49-84C6-919CF9BD4948}"/>
          </ac:spMkLst>
        </pc:spChg>
        <pc:spChg chg="mod">
          <ac:chgData name="Bianca Ardito" userId="3dbb30f507a110b6" providerId="LiveId" clId="{6B3B4EFF-CE60-494E-BECC-B61895DB44D3}" dt="2024-05-24T03:08:37.772" v="3540" actId="207"/>
          <ac:spMkLst>
            <pc:docMk/>
            <pc:sldMk cId="2736189411" sldId="11256"/>
            <ac:spMk id="92" creationId="{A41A7000-DDAD-FB40-987B-94D99C32C981}"/>
          </ac:spMkLst>
        </pc:spChg>
        <pc:spChg chg="mod">
          <ac:chgData name="Bianca Ardito" userId="3dbb30f507a110b6" providerId="LiveId" clId="{6B3B4EFF-CE60-494E-BECC-B61895DB44D3}" dt="2024-05-24T03:08:28.225" v="3535" actId="208"/>
          <ac:spMkLst>
            <pc:docMk/>
            <pc:sldMk cId="2736189411" sldId="11256"/>
            <ac:spMk id="93" creationId="{02A9BE6A-5FED-B84E-852E-97D11B31EAE3}"/>
          </ac:spMkLst>
        </pc:spChg>
        <pc:spChg chg="mod">
          <ac:chgData name="Bianca Ardito" userId="3dbb30f507a110b6" providerId="LiveId" clId="{6B3B4EFF-CE60-494E-BECC-B61895DB44D3}" dt="2024-05-24T03:08:36.234" v="3539" actId="207"/>
          <ac:spMkLst>
            <pc:docMk/>
            <pc:sldMk cId="2736189411" sldId="11256"/>
            <ac:spMk id="98" creationId="{419F4879-B8C5-7C41-97B4-C05E395C2986}"/>
          </ac:spMkLst>
        </pc:spChg>
        <pc:spChg chg="mod">
          <ac:chgData name="Bianca Ardito" userId="3dbb30f507a110b6" providerId="LiveId" clId="{6B3B4EFF-CE60-494E-BECC-B61895DB44D3}" dt="2024-05-24T03:08:28.225" v="3535" actId="208"/>
          <ac:spMkLst>
            <pc:docMk/>
            <pc:sldMk cId="2736189411" sldId="11256"/>
            <ac:spMk id="99" creationId="{8073330E-4245-4F4B-A6A6-CEA5DF4A8018}"/>
          </ac:spMkLst>
        </pc:spChg>
        <pc:spChg chg="mod">
          <ac:chgData name="Bianca Ardito" userId="3dbb30f507a110b6" providerId="LiveId" clId="{6B3B4EFF-CE60-494E-BECC-B61895DB44D3}" dt="2024-05-24T03:08:31.519" v="3536" actId="207"/>
          <ac:spMkLst>
            <pc:docMk/>
            <pc:sldMk cId="2736189411" sldId="11256"/>
            <ac:spMk id="101" creationId="{4766D7E7-479F-4C4A-B8B1-7ABC91B57E47}"/>
          </ac:spMkLst>
        </pc:spChg>
        <pc:spChg chg="mod">
          <ac:chgData name="Bianca Ardito" userId="3dbb30f507a110b6" providerId="LiveId" clId="{6B3B4EFF-CE60-494E-BECC-B61895DB44D3}" dt="2024-05-24T03:08:28.225" v="3535" actId="208"/>
          <ac:spMkLst>
            <pc:docMk/>
            <pc:sldMk cId="2736189411" sldId="11256"/>
            <ac:spMk id="102" creationId="{4259158B-CB54-894A-AEA9-DAE954E77E6D}"/>
          </ac:spMkLst>
        </pc:spChg>
        <pc:spChg chg="mod">
          <ac:chgData name="Bianca Ardito" userId="3dbb30f507a110b6" providerId="LiveId" clId="{6B3B4EFF-CE60-494E-BECC-B61895DB44D3}" dt="2024-05-24T03:08:28.225" v="3535" actId="208"/>
          <ac:spMkLst>
            <pc:docMk/>
            <pc:sldMk cId="2736189411" sldId="11256"/>
            <ac:spMk id="104" creationId="{82402283-7287-214C-86E8-8AD8EDBA4CD7}"/>
          </ac:spMkLst>
        </pc:spChg>
        <pc:spChg chg="mod">
          <ac:chgData name="Bianca Ardito" userId="3dbb30f507a110b6" providerId="LiveId" clId="{6B3B4EFF-CE60-494E-BECC-B61895DB44D3}" dt="2024-05-24T03:08:28.225" v="3535" actId="208"/>
          <ac:spMkLst>
            <pc:docMk/>
            <pc:sldMk cId="2736189411" sldId="11256"/>
            <ac:spMk id="105" creationId="{E97DA52F-B30F-FB4B-9C4B-79E37C3BE2A9}"/>
          </ac:spMkLst>
        </pc:spChg>
        <pc:spChg chg="mod">
          <ac:chgData name="Bianca Ardito" userId="3dbb30f507a110b6" providerId="LiveId" clId="{6B3B4EFF-CE60-494E-BECC-B61895DB44D3}" dt="2024-05-24T03:08:28.225" v="3535" actId="208"/>
          <ac:spMkLst>
            <pc:docMk/>
            <pc:sldMk cId="2736189411" sldId="11256"/>
            <ac:spMk id="107" creationId="{69AADC8F-D960-BE4C-BA0F-782CB18C004D}"/>
          </ac:spMkLst>
        </pc:spChg>
        <pc:spChg chg="mod">
          <ac:chgData name="Bianca Ardito" userId="3dbb30f507a110b6" providerId="LiveId" clId="{6B3B4EFF-CE60-494E-BECC-B61895DB44D3}" dt="2024-05-24T03:08:34.921" v="3538" actId="207"/>
          <ac:spMkLst>
            <pc:docMk/>
            <pc:sldMk cId="2736189411" sldId="11256"/>
            <ac:spMk id="108" creationId="{AF677CFA-32D0-8E43-B48E-B4B35F56E962}"/>
          </ac:spMkLst>
        </pc:spChg>
        <pc:spChg chg="mod">
          <ac:chgData name="Bianca Ardito" userId="3dbb30f507a110b6" providerId="LiveId" clId="{6B3B4EFF-CE60-494E-BECC-B61895DB44D3}" dt="2024-05-24T03:08:33.632" v="3537" actId="207"/>
          <ac:spMkLst>
            <pc:docMk/>
            <pc:sldMk cId="2736189411" sldId="11256"/>
            <ac:spMk id="110" creationId="{431680DB-D14F-3F42-9723-0A155EEA9D80}"/>
          </ac:spMkLst>
        </pc:spChg>
        <pc:spChg chg="mod">
          <ac:chgData name="Bianca Ardito" userId="3dbb30f507a110b6" providerId="LiveId" clId="{6B3B4EFF-CE60-494E-BECC-B61895DB44D3}" dt="2024-05-24T03:08:28.225" v="3535" actId="208"/>
          <ac:spMkLst>
            <pc:docMk/>
            <pc:sldMk cId="2736189411" sldId="11256"/>
            <ac:spMk id="111" creationId="{F7523294-E42E-F842-877D-163989ED45AF}"/>
          </ac:spMkLst>
        </pc:spChg>
        <pc:grpChg chg="mod">
          <ac:chgData name="Bianca Ardito" userId="3dbb30f507a110b6" providerId="LiveId" clId="{6B3B4EFF-CE60-494E-BECC-B61895DB44D3}" dt="2024-05-24T03:08:38.900" v="3541" actId="207"/>
          <ac:grpSpMkLst>
            <pc:docMk/>
            <pc:sldMk cId="2736189411" sldId="11256"/>
            <ac:grpSpMk id="88" creationId="{8F01AAC2-CB51-2647-B785-DE67DFA8E4B1}"/>
          </ac:grpSpMkLst>
        </pc:grpChg>
        <pc:graphicFrameChg chg="mod">
          <ac:chgData name="Bianca Ardito" userId="3dbb30f507a110b6" providerId="LiveId" clId="{6B3B4EFF-CE60-494E-BECC-B61895DB44D3}" dt="2024-05-24T03:07:11.640" v="3507"/>
          <ac:graphicFrameMkLst>
            <pc:docMk/>
            <pc:sldMk cId="2736189411" sldId="11256"/>
            <ac:graphicFrameMk id="22" creationId="{A849BA50-C50D-0B92-DC19-05D26036D490}"/>
          </ac:graphicFrameMkLst>
        </pc:graphicFrameChg>
      </pc:sldChg>
      <pc:sldChg chg="addSp delSp modSp mod chgLayout">
        <pc:chgData name="Bianca Ardito" userId="3dbb30f507a110b6" providerId="LiveId" clId="{6B3B4EFF-CE60-494E-BECC-B61895DB44D3}" dt="2024-05-24T02:49:32.534" v="2964" actId="1076"/>
        <pc:sldMkLst>
          <pc:docMk/>
          <pc:sldMk cId="2931731727" sldId="11274"/>
        </pc:sldMkLst>
        <pc:spChg chg="mod ord">
          <ac:chgData name="Bianca Ardito" userId="3dbb30f507a110b6" providerId="LiveId" clId="{6B3B4EFF-CE60-494E-BECC-B61895DB44D3}" dt="2024-05-24T02:49:22.436" v="2938" actId="948"/>
          <ac:spMkLst>
            <pc:docMk/>
            <pc:sldMk cId="2931731727" sldId="11274"/>
            <ac:spMk id="3" creationId="{1939EA66-E2A2-FA4F-B5D7-928E77D7A618}"/>
          </ac:spMkLst>
        </pc:spChg>
        <pc:spChg chg="mod ord">
          <ac:chgData name="Bianca Ardito" userId="3dbb30f507a110b6" providerId="LiveId" clId="{6B3B4EFF-CE60-494E-BECC-B61895DB44D3}" dt="2024-05-24T02:49:21.810" v="2937" actId="6264"/>
          <ac:spMkLst>
            <pc:docMk/>
            <pc:sldMk cId="2931731727" sldId="11274"/>
            <ac:spMk id="4" creationId="{AE7E0E85-AE5A-2142-A220-DA0148286E50}"/>
          </ac:spMkLst>
        </pc:spChg>
        <pc:spChg chg="mod ord">
          <ac:chgData name="Bianca Ardito" userId="3dbb30f507a110b6" providerId="LiveId" clId="{6B3B4EFF-CE60-494E-BECC-B61895DB44D3}" dt="2024-05-24T02:49:21.810" v="2937" actId="6264"/>
          <ac:spMkLst>
            <pc:docMk/>
            <pc:sldMk cId="2931731727" sldId="11274"/>
            <ac:spMk id="5" creationId="{056FEFB9-9FA2-6549-8047-8B004FEF5B74}"/>
          </ac:spMkLst>
        </pc:spChg>
        <pc:spChg chg="mod ord">
          <ac:chgData name="Bianca Ardito" userId="3dbb30f507a110b6" providerId="LiveId" clId="{6B3B4EFF-CE60-494E-BECC-B61895DB44D3}" dt="2024-05-24T02:49:21.810" v="2937" actId="6264"/>
          <ac:spMkLst>
            <pc:docMk/>
            <pc:sldMk cId="2931731727" sldId="11274"/>
            <ac:spMk id="6" creationId="{07DF8D6D-5DB3-4B45-BA16-AB88C0A124F5}"/>
          </ac:spMkLst>
        </pc:spChg>
        <pc:spChg chg="mod ord">
          <ac:chgData name="Bianca Ardito" userId="3dbb30f507a110b6" providerId="LiveId" clId="{6B3B4EFF-CE60-494E-BECC-B61895DB44D3}" dt="2024-05-24T02:49:21.810" v="2937" actId="6264"/>
          <ac:spMkLst>
            <pc:docMk/>
            <pc:sldMk cId="2931731727" sldId="11274"/>
            <ac:spMk id="7" creationId="{ED59BF25-8337-4F45-B04F-334C460BDE0A}"/>
          </ac:spMkLst>
        </pc:spChg>
        <pc:spChg chg="mod ord">
          <ac:chgData name="Bianca Ardito" userId="3dbb30f507a110b6" providerId="LiveId" clId="{6B3B4EFF-CE60-494E-BECC-B61895DB44D3}" dt="2024-05-24T02:49:32.534" v="2964" actId="1076"/>
          <ac:spMkLst>
            <pc:docMk/>
            <pc:sldMk cId="2931731727" sldId="11274"/>
            <ac:spMk id="8" creationId="{9E3AEB73-1DA9-3943-B1D3-E0A3A1BC3070}"/>
          </ac:spMkLst>
        </pc:spChg>
        <pc:spChg chg="mod ord">
          <ac:chgData name="Bianca Ardito" userId="3dbb30f507a110b6" providerId="LiveId" clId="{6B3B4EFF-CE60-494E-BECC-B61895DB44D3}" dt="2024-05-24T02:49:32.534" v="2964" actId="1076"/>
          <ac:spMkLst>
            <pc:docMk/>
            <pc:sldMk cId="2931731727" sldId="11274"/>
            <ac:spMk id="9" creationId="{29E901A7-D21C-C84B-86AD-CBDF79CC5A4F}"/>
          </ac:spMkLst>
        </pc:spChg>
        <pc:spChg chg="mod ord">
          <ac:chgData name="Bianca Ardito" userId="3dbb30f507a110b6" providerId="LiveId" clId="{6B3B4EFF-CE60-494E-BECC-B61895DB44D3}" dt="2024-05-24T02:49:21.810" v="2937" actId="6264"/>
          <ac:spMkLst>
            <pc:docMk/>
            <pc:sldMk cId="2931731727" sldId="11274"/>
            <ac:spMk id="10" creationId="{836232C3-B2C6-674D-ABE4-7A56E3DEA231}"/>
          </ac:spMkLst>
        </pc:spChg>
        <pc:spChg chg="mod ord">
          <ac:chgData name="Bianca Ardito" userId="3dbb30f507a110b6" providerId="LiveId" clId="{6B3B4EFF-CE60-494E-BECC-B61895DB44D3}" dt="2024-05-24T02:49:21.810" v="2937" actId="6264"/>
          <ac:spMkLst>
            <pc:docMk/>
            <pc:sldMk cId="2931731727" sldId="11274"/>
            <ac:spMk id="11" creationId="{9E1BAEC2-3ADD-C744-802B-1B44DBDC36AB}"/>
          </ac:spMkLst>
        </pc:spChg>
        <pc:spChg chg="mod ord">
          <ac:chgData name="Bianca Ardito" userId="3dbb30f507a110b6" providerId="LiveId" clId="{6B3B4EFF-CE60-494E-BECC-B61895DB44D3}" dt="2024-05-24T02:49:32.534" v="2964" actId="1076"/>
          <ac:spMkLst>
            <pc:docMk/>
            <pc:sldMk cId="2931731727" sldId="11274"/>
            <ac:spMk id="12" creationId="{03718538-3BDC-1A4F-9BA9-88AA017F7302}"/>
          </ac:spMkLst>
        </pc:spChg>
        <pc:spChg chg="mod ord">
          <ac:chgData name="Bianca Ardito" userId="3dbb30f507a110b6" providerId="LiveId" clId="{6B3B4EFF-CE60-494E-BECC-B61895DB44D3}" dt="2024-05-24T02:49:32.534" v="2964" actId="1076"/>
          <ac:spMkLst>
            <pc:docMk/>
            <pc:sldMk cId="2931731727" sldId="11274"/>
            <ac:spMk id="13" creationId="{5E6973EC-9AE0-3943-AAD6-53500E1380F5}"/>
          </ac:spMkLst>
        </pc:spChg>
        <pc:spChg chg="add del mod modVis">
          <ac:chgData name="Bianca Ardito" userId="3dbb30f507a110b6" providerId="LiveId" clId="{6B3B4EFF-CE60-494E-BECC-B61895DB44D3}" dt="2024-05-24T02:02:15.446" v="684"/>
          <ac:spMkLst>
            <pc:docMk/>
            <pc:sldMk cId="2931731727" sldId="11274"/>
            <ac:spMk id="14" creationId="{72ABB255-9A26-A00C-27D3-AFC06BDB541D}"/>
          </ac:spMkLst>
        </pc:spChg>
        <pc:spChg chg="add del mod">
          <ac:chgData name="Bianca Ardito" userId="3dbb30f507a110b6" providerId="LiveId" clId="{6B3B4EFF-CE60-494E-BECC-B61895DB44D3}" dt="2024-05-24T02:49:15.725" v="2904" actId="6264"/>
          <ac:spMkLst>
            <pc:docMk/>
            <pc:sldMk cId="2931731727" sldId="11274"/>
            <ac:spMk id="15" creationId="{900631F9-AF44-8C81-8739-4D5B41FEA269}"/>
          </ac:spMkLst>
        </pc:spChg>
        <pc:spChg chg="add del mod">
          <ac:chgData name="Bianca Ardito" userId="3dbb30f507a110b6" providerId="LiveId" clId="{6B3B4EFF-CE60-494E-BECC-B61895DB44D3}" dt="2024-05-24T02:49:15.725" v="2904" actId="6264"/>
          <ac:spMkLst>
            <pc:docMk/>
            <pc:sldMk cId="2931731727" sldId="11274"/>
            <ac:spMk id="16" creationId="{92674056-8097-BA77-E05D-941AF62FCC49}"/>
          </ac:spMkLst>
        </pc:spChg>
        <pc:spChg chg="add del mod">
          <ac:chgData name="Bianca Ardito" userId="3dbb30f507a110b6" providerId="LiveId" clId="{6B3B4EFF-CE60-494E-BECC-B61895DB44D3}" dt="2024-05-24T02:49:15.725" v="2904" actId="6264"/>
          <ac:spMkLst>
            <pc:docMk/>
            <pc:sldMk cId="2931731727" sldId="11274"/>
            <ac:spMk id="17" creationId="{1350C428-66C3-7EDD-27AE-19ED117FC788}"/>
          </ac:spMkLst>
        </pc:spChg>
        <pc:spChg chg="add del mod">
          <ac:chgData name="Bianca Ardito" userId="3dbb30f507a110b6" providerId="LiveId" clId="{6B3B4EFF-CE60-494E-BECC-B61895DB44D3}" dt="2024-05-24T02:49:15.725" v="2904" actId="6264"/>
          <ac:spMkLst>
            <pc:docMk/>
            <pc:sldMk cId="2931731727" sldId="11274"/>
            <ac:spMk id="18" creationId="{ED647317-85AC-7B1D-52E1-EB2A019487C1}"/>
          </ac:spMkLst>
        </pc:spChg>
        <pc:spChg chg="add del mod">
          <ac:chgData name="Bianca Ardito" userId="3dbb30f507a110b6" providerId="LiveId" clId="{6B3B4EFF-CE60-494E-BECC-B61895DB44D3}" dt="2024-05-24T02:49:15.725" v="2904" actId="6264"/>
          <ac:spMkLst>
            <pc:docMk/>
            <pc:sldMk cId="2931731727" sldId="11274"/>
            <ac:spMk id="19" creationId="{18DCDF5D-D78E-661F-1595-A59CF7399B22}"/>
          </ac:spMkLst>
        </pc:spChg>
        <pc:spChg chg="add del mod">
          <ac:chgData name="Bianca Ardito" userId="3dbb30f507a110b6" providerId="LiveId" clId="{6B3B4EFF-CE60-494E-BECC-B61895DB44D3}" dt="2024-05-24T02:49:15.725" v="2904" actId="6264"/>
          <ac:spMkLst>
            <pc:docMk/>
            <pc:sldMk cId="2931731727" sldId="11274"/>
            <ac:spMk id="20" creationId="{1235B7F8-0E9F-79E1-2C5E-1C88B4949A72}"/>
          </ac:spMkLst>
        </pc:spChg>
        <pc:spChg chg="add del mod">
          <ac:chgData name="Bianca Ardito" userId="3dbb30f507a110b6" providerId="LiveId" clId="{6B3B4EFF-CE60-494E-BECC-B61895DB44D3}" dt="2024-05-24T02:49:15.725" v="2904" actId="6264"/>
          <ac:spMkLst>
            <pc:docMk/>
            <pc:sldMk cId="2931731727" sldId="11274"/>
            <ac:spMk id="22" creationId="{E85E4677-69AE-749B-E590-150F0556A155}"/>
          </ac:spMkLst>
        </pc:spChg>
        <pc:spChg chg="add del mod">
          <ac:chgData name="Bianca Ardito" userId="3dbb30f507a110b6" providerId="LiveId" clId="{6B3B4EFF-CE60-494E-BECC-B61895DB44D3}" dt="2024-05-24T02:49:15.725" v="2904" actId="6264"/>
          <ac:spMkLst>
            <pc:docMk/>
            <pc:sldMk cId="2931731727" sldId="11274"/>
            <ac:spMk id="23" creationId="{95CC3D5E-B20A-A149-D466-58B925A8F14C}"/>
          </ac:spMkLst>
        </pc:spChg>
        <pc:spChg chg="add del mod">
          <ac:chgData name="Bianca Ardito" userId="3dbb30f507a110b6" providerId="LiveId" clId="{6B3B4EFF-CE60-494E-BECC-B61895DB44D3}" dt="2024-05-24T02:49:15.725" v="2904" actId="6264"/>
          <ac:spMkLst>
            <pc:docMk/>
            <pc:sldMk cId="2931731727" sldId="11274"/>
            <ac:spMk id="24" creationId="{5869B75D-1EA3-1F82-82F2-7977B5CD0A26}"/>
          </ac:spMkLst>
        </pc:spChg>
        <pc:spChg chg="add del mod">
          <ac:chgData name="Bianca Ardito" userId="3dbb30f507a110b6" providerId="LiveId" clId="{6B3B4EFF-CE60-494E-BECC-B61895DB44D3}" dt="2024-05-24T02:49:15.725" v="2904" actId="6264"/>
          <ac:spMkLst>
            <pc:docMk/>
            <pc:sldMk cId="2931731727" sldId="11274"/>
            <ac:spMk id="25" creationId="{776E22C5-E853-CF8E-DBB4-3CB278A6D75B}"/>
          </ac:spMkLst>
        </pc:spChg>
        <pc:spChg chg="add del mod">
          <ac:chgData name="Bianca Ardito" userId="3dbb30f507a110b6" providerId="LiveId" clId="{6B3B4EFF-CE60-494E-BECC-B61895DB44D3}" dt="2024-05-24T02:49:15.725" v="2904" actId="6264"/>
          <ac:spMkLst>
            <pc:docMk/>
            <pc:sldMk cId="2931731727" sldId="11274"/>
            <ac:spMk id="26" creationId="{EEB72A20-490B-AA7D-970F-09B23E196AD9}"/>
          </ac:spMkLst>
        </pc:spChg>
        <pc:spChg chg="add del mod modVis">
          <ac:chgData name="Bianca Ardito" userId="3dbb30f507a110b6" providerId="LiveId" clId="{6B3B4EFF-CE60-494E-BECC-B61895DB44D3}" dt="2024-05-24T02:49:13.782" v="2898" actId="962"/>
          <ac:spMkLst>
            <pc:docMk/>
            <pc:sldMk cId="2931731727" sldId="11274"/>
            <ac:spMk id="27" creationId="{B97D7E71-66BE-D6FF-4634-418FE5C44353}"/>
          </ac:spMkLst>
        </pc:spChg>
        <pc:spChg chg="add del mod modVis">
          <ac:chgData name="Bianca Ardito" userId="3dbb30f507a110b6" providerId="LiveId" clId="{6B3B4EFF-CE60-494E-BECC-B61895DB44D3}" dt="2024-05-24T02:49:16.304" v="2934"/>
          <ac:spMkLst>
            <pc:docMk/>
            <pc:sldMk cId="2931731727" sldId="11274"/>
            <ac:spMk id="28" creationId="{42914B94-2DCE-3F88-CA34-1FFD86A22406}"/>
          </ac:spMkLst>
        </pc:spChg>
        <pc:spChg chg="add del mod">
          <ac:chgData name="Bianca Ardito" userId="3dbb30f507a110b6" providerId="LiveId" clId="{6B3B4EFF-CE60-494E-BECC-B61895DB44D3}" dt="2024-05-24T02:49:21.810" v="2937" actId="6264"/>
          <ac:spMkLst>
            <pc:docMk/>
            <pc:sldMk cId="2931731727" sldId="11274"/>
            <ac:spMk id="29" creationId="{0E315EA2-14DB-1C55-A311-7B335C136017}"/>
          </ac:spMkLst>
        </pc:spChg>
        <pc:spChg chg="add del mod">
          <ac:chgData name="Bianca Ardito" userId="3dbb30f507a110b6" providerId="LiveId" clId="{6B3B4EFF-CE60-494E-BECC-B61895DB44D3}" dt="2024-05-24T02:49:21.810" v="2937" actId="6264"/>
          <ac:spMkLst>
            <pc:docMk/>
            <pc:sldMk cId="2931731727" sldId="11274"/>
            <ac:spMk id="30" creationId="{D536EE0E-9D58-A3DD-8BC5-B868745D325D}"/>
          </ac:spMkLst>
        </pc:spChg>
        <pc:spChg chg="add del mod">
          <ac:chgData name="Bianca Ardito" userId="3dbb30f507a110b6" providerId="LiveId" clId="{6B3B4EFF-CE60-494E-BECC-B61895DB44D3}" dt="2024-05-24T02:49:21.810" v="2937" actId="6264"/>
          <ac:spMkLst>
            <pc:docMk/>
            <pc:sldMk cId="2931731727" sldId="11274"/>
            <ac:spMk id="31" creationId="{D22A74FC-93DA-960B-EE9C-36ADDD83D984}"/>
          </ac:spMkLst>
        </pc:spChg>
        <pc:spChg chg="add del mod">
          <ac:chgData name="Bianca Ardito" userId="3dbb30f507a110b6" providerId="LiveId" clId="{6B3B4EFF-CE60-494E-BECC-B61895DB44D3}" dt="2024-05-24T02:49:21.810" v="2937" actId="6264"/>
          <ac:spMkLst>
            <pc:docMk/>
            <pc:sldMk cId="2931731727" sldId="11274"/>
            <ac:spMk id="32" creationId="{15ADF9BF-DFE1-FC49-72F8-03075F4293FB}"/>
          </ac:spMkLst>
        </pc:spChg>
        <pc:spChg chg="add del mod">
          <ac:chgData name="Bianca Ardito" userId="3dbb30f507a110b6" providerId="LiveId" clId="{6B3B4EFF-CE60-494E-BECC-B61895DB44D3}" dt="2024-05-24T02:49:21.810" v="2937" actId="6264"/>
          <ac:spMkLst>
            <pc:docMk/>
            <pc:sldMk cId="2931731727" sldId="11274"/>
            <ac:spMk id="33" creationId="{9CB25182-A886-EE92-A5E4-826C6B6FA27F}"/>
          </ac:spMkLst>
        </pc:spChg>
        <pc:spChg chg="add del mod">
          <ac:chgData name="Bianca Ardito" userId="3dbb30f507a110b6" providerId="LiveId" clId="{6B3B4EFF-CE60-494E-BECC-B61895DB44D3}" dt="2024-05-24T02:49:21.810" v="2937" actId="6264"/>
          <ac:spMkLst>
            <pc:docMk/>
            <pc:sldMk cId="2931731727" sldId="11274"/>
            <ac:spMk id="34" creationId="{7C9F32D7-14C1-567C-03E0-D196B7960A43}"/>
          </ac:spMkLst>
        </pc:spChg>
        <pc:spChg chg="add del mod">
          <ac:chgData name="Bianca Ardito" userId="3dbb30f507a110b6" providerId="LiveId" clId="{6B3B4EFF-CE60-494E-BECC-B61895DB44D3}" dt="2024-05-24T02:49:21.810" v="2937" actId="6264"/>
          <ac:spMkLst>
            <pc:docMk/>
            <pc:sldMk cId="2931731727" sldId="11274"/>
            <ac:spMk id="35" creationId="{CC04C315-C438-E96E-C2C5-44C1B85E1782}"/>
          </ac:spMkLst>
        </pc:spChg>
        <pc:spChg chg="add del mod">
          <ac:chgData name="Bianca Ardito" userId="3dbb30f507a110b6" providerId="LiveId" clId="{6B3B4EFF-CE60-494E-BECC-B61895DB44D3}" dt="2024-05-24T02:49:21.810" v="2937" actId="6264"/>
          <ac:spMkLst>
            <pc:docMk/>
            <pc:sldMk cId="2931731727" sldId="11274"/>
            <ac:spMk id="36" creationId="{2520D25B-B9C4-1CE5-51BC-FBD36B89C3AB}"/>
          </ac:spMkLst>
        </pc:spChg>
        <pc:spChg chg="add del mod">
          <ac:chgData name="Bianca Ardito" userId="3dbb30f507a110b6" providerId="LiveId" clId="{6B3B4EFF-CE60-494E-BECC-B61895DB44D3}" dt="2024-05-24T02:49:21.810" v="2937" actId="6264"/>
          <ac:spMkLst>
            <pc:docMk/>
            <pc:sldMk cId="2931731727" sldId="11274"/>
            <ac:spMk id="37" creationId="{EBDA7E4D-07DF-F1DE-0CFB-15FAF71BE252}"/>
          </ac:spMkLst>
        </pc:spChg>
        <pc:spChg chg="add del mod">
          <ac:chgData name="Bianca Ardito" userId="3dbb30f507a110b6" providerId="LiveId" clId="{6B3B4EFF-CE60-494E-BECC-B61895DB44D3}" dt="2024-05-24T02:49:21.810" v="2937" actId="6264"/>
          <ac:spMkLst>
            <pc:docMk/>
            <pc:sldMk cId="2931731727" sldId="11274"/>
            <ac:spMk id="38" creationId="{A19FD9F7-2B0C-F845-3C58-1CC8CB4E59D5}"/>
          </ac:spMkLst>
        </pc:spChg>
        <pc:spChg chg="add del mod">
          <ac:chgData name="Bianca Ardito" userId="3dbb30f507a110b6" providerId="LiveId" clId="{6B3B4EFF-CE60-494E-BECC-B61895DB44D3}" dt="2024-05-24T02:49:21.810" v="2937" actId="6264"/>
          <ac:spMkLst>
            <pc:docMk/>
            <pc:sldMk cId="2931731727" sldId="11274"/>
            <ac:spMk id="39" creationId="{24833FF3-4B6F-B035-568F-7F3C615C50EA}"/>
          </ac:spMkLst>
        </pc:spChg>
        <pc:spChg chg="add del mod modVis">
          <ac:chgData name="Bianca Ardito" userId="3dbb30f507a110b6" providerId="LiveId" clId="{6B3B4EFF-CE60-494E-BECC-B61895DB44D3}" dt="2024-05-24T02:49:22.451" v="2961"/>
          <ac:spMkLst>
            <pc:docMk/>
            <pc:sldMk cId="2931731727" sldId="11274"/>
            <ac:spMk id="41" creationId="{E81A0929-E5BF-2954-46FE-429DCA303259}"/>
          </ac:spMkLst>
        </pc:spChg>
        <pc:graphicFrameChg chg="mod">
          <ac:chgData name="Bianca Ardito" userId="3dbb30f507a110b6" providerId="LiveId" clId="{6B3B4EFF-CE60-494E-BECC-B61895DB44D3}" dt="2024-05-24T02:49:22.451" v="2963"/>
          <ac:graphicFrameMkLst>
            <pc:docMk/>
            <pc:sldMk cId="2931731727" sldId="11274"/>
            <ac:graphicFrameMk id="40" creationId="{C0EF90CA-2EA9-4B94-9217-1FAB148AE18A}"/>
          </ac:graphicFrameMkLst>
        </pc:graphicFrameChg>
      </pc:sldChg>
      <pc:sldChg chg="modSp mod">
        <pc:chgData name="Bianca Ardito" userId="3dbb30f507a110b6" providerId="LiveId" clId="{6B3B4EFF-CE60-494E-BECC-B61895DB44D3}" dt="2024-05-24T02:57:15.211" v="3182" actId="12"/>
        <pc:sldMkLst>
          <pc:docMk/>
          <pc:sldMk cId="1412284307" sldId="11275"/>
        </pc:sldMkLst>
        <pc:graphicFrameChg chg="mod">
          <ac:chgData name="Bianca Ardito" userId="3dbb30f507a110b6" providerId="LiveId" clId="{6B3B4EFF-CE60-494E-BECC-B61895DB44D3}" dt="2024-05-24T02:56:06.096" v="3155"/>
          <ac:graphicFrameMkLst>
            <pc:docMk/>
            <pc:sldMk cId="1412284307" sldId="11275"/>
            <ac:graphicFrameMk id="5" creationId="{9C31DC37-5650-F9F6-C985-8230EA701E0F}"/>
          </ac:graphicFrameMkLst>
        </pc:graphicFrameChg>
        <pc:graphicFrameChg chg="mod modGraphic">
          <ac:chgData name="Bianca Ardito" userId="3dbb30f507a110b6" providerId="LiveId" clId="{6B3B4EFF-CE60-494E-BECC-B61895DB44D3}" dt="2024-05-24T02:57:15.211" v="3182" actId="12"/>
          <ac:graphicFrameMkLst>
            <pc:docMk/>
            <pc:sldMk cId="1412284307" sldId="11275"/>
            <ac:graphicFrameMk id="11" creationId="{1B10AA69-5F62-D74E-B893-D6A5E6DEF222}"/>
          </ac:graphicFrameMkLst>
        </pc:graphicFrameChg>
      </pc:sldChg>
      <pc:sldChg chg="modSp mod">
        <pc:chgData name="Bianca Ardito" userId="3dbb30f507a110b6" providerId="LiveId" clId="{6B3B4EFF-CE60-494E-BECC-B61895DB44D3}" dt="2024-05-24T03:10:39.293" v="3593" actId="14100"/>
        <pc:sldMkLst>
          <pc:docMk/>
          <pc:sldMk cId="3861332114" sldId="11276"/>
        </pc:sldMkLst>
        <pc:spChg chg="mod">
          <ac:chgData name="Bianca Ardito" userId="3dbb30f507a110b6" providerId="LiveId" clId="{6B3B4EFF-CE60-494E-BECC-B61895DB44D3}" dt="2024-05-24T03:10:39.293" v="3593" actId="14100"/>
          <ac:spMkLst>
            <pc:docMk/>
            <pc:sldMk cId="3861332114" sldId="11276"/>
            <ac:spMk id="23" creationId="{09E58F94-EFD8-CA4F-91A7-A1D3C4E66360}"/>
          </ac:spMkLst>
        </pc:spChg>
        <pc:spChg chg="mod">
          <ac:chgData name="Bianca Ardito" userId="3dbb30f507a110b6" providerId="LiveId" clId="{6B3B4EFF-CE60-494E-BECC-B61895DB44D3}" dt="2024-05-24T03:09:29.266" v="3565" actId="208"/>
          <ac:spMkLst>
            <pc:docMk/>
            <pc:sldMk cId="3861332114" sldId="11276"/>
            <ac:spMk id="29" creationId="{BFD5CB9B-2A9E-3840-8C6D-E70B5699F01B}"/>
          </ac:spMkLst>
        </pc:spChg>
        <pc:spChg chg="mod">
          <ac:chgData name="Bianca Ardito" userId="3dbb30f507a110b6" providerId="LiveId" clId="{6B3B4EFF-CE60-494E-BECC-B61895DB44D3}" dt="2024-05-24T03:09:29.266" v="3565" actId="208"/>
          <ac:spMkLst>
            <pc:docMk/>
            <pc:sldMk cId="3861332114" sldId="11276"/>
            <ac:spMk id="30" creationId="{17F55E88-BE90-3F4E-949A-2515846C7BD1}"/>
          </ac:spMkLst>
        </pc:spChg>
        <pc:spChg chg="mod">
          <ac:chgData name="Bianca Ardito" userId="3dbb30f507a110b6" providerId="LiveId" clId="{6B3B4EFF-CE60-494E-BECC-B61895DB44D3}" dt="2024-05-24T03:09:29.266" v="3565" actId="208"/>
          <ac:spMkLst>
            <pc:docMk/>
            <pc:sldMk cId="3861332114" sldId="11276"/>
            <ac:spMk id="31" creationId="{F8AF8EAD-2960-DD44-8AB4-9FB6D211E622}"/>
          </ac:spMkLst>
        </pc:spChg>
        <pc:spChg chg="mod">
          <ac:chgData name="Bianca Ardito" userId="3dbb30f507a110b6" providerId="LiveId" clId="{6B3B4EFF-CE60-494E-BECC-B61895DB44D3}" dt="2024-05-24T03:09:29.266" v="3565" actId="208"/>
          <ac:spMkLst>
            <pc:docMk/>
            <pc:sldMk cId="3861332114" sldId="11276"/>
            <ac:spMk id="32" creationId="{0ACD59D9-6DD5-1547-B8E8-935F697E3361}"/>
          </ac:spMkLst>
        </pc:spChg>
        <pc:spChg chg="mod">
          <ac:chgData name="Bianca Ardito" userId="3dbb30f507a110b6" providerId="LiveId" clId="{6B3B4EFF-CE60-494E-BECC-B61895DB44D3}" dt="2024-05-24T03:09:29.266" v="3565" actId="208"/>
          <ac:spMkLst>
            <pc:docMk/>
            <pc:sldMk cId="3861332114" sldId="11276"/>
            <ac:spMk id="33" creationId="{6FB8BCA2-C434-B24C-AE37-779FC2517A43}"/>
          </ac:spMkLst>
        </pc:spChg>
        <pc:spChg chg="mod">
          <ac:chgData name="Bianca Ardito" userId="3dbb30f507a110b6" providerId="LiveId" clId="{6B3B4EFF-CE60-494E-BECC-B61895DB44D3}" dt="2024-05-24T03:09:07.409" v="3556" actId="403"/>
          <ac:spMkLst>
            <pc:docMk/>
            <pc:sldMk cId="3861332114" sldId="11276"/>
            <ac:spMk id="36" creationId="{9516B5B2-B536-B143-9354-852E7FAE6B7A}"/>
          </ac:spMkLst>
        </pc:spChg>
        <pc:spChg chg="mod">
          <ac:chgData name="Bianca Ardito" userId="3dbb30f507a110b6" providerId="LiveId" clId="{6B3B4EFF-CE60-494E-BECC-B61895DB44D3}" dt="2024-05-24T03:09:07.409" v="3556" actId="403"/>
          <ac:spMkLst>
            <pc:docMk/>
            <pc:sldMk cId="3861332114" sldId="11276"/>
            <ac:spMk id="37" creationId="{234D730E-E4F0-9F4E-9C72-7325F0BB235D}"/>
          </ac:spMkLst>
        </pc:spChg>
        <pc:spChg chg="mod">
          <ac:chgData name="Bianca Ardito" userId="3dbb30f507a110b6" providerId="LiveId" clId="{6B3B4EFF-CE60-494E-BECC-B61895DB44D3}" dt="2024-05-24T03:09:21.018" v="3564" actId="14100"/>
          <ac:spMkLst>
            <pc:docMk/>
            <pc:sldMk cId="3861332114" sldId="11276"/>
            <ac:spMk id="44" creationId="{AF8D08BF-3350-074F-986B-45FF220DA025}"/>
          </ac:spMkLst>
        </pc:spChg>
        <pc:spChg chg="mod">
          <ac:chgData name="Bianca Ardito" userId="3dbb30f507a110b6" providerId="LiveId" clId="{6B3B4EFF-CE60-494E-BECC-B61895DB44D3}" dt="2024-05-24T03:09:17.137" v="3563" actId="207"/>
          <ac:spMkLst>
            <pc:docMk/>
            <pc:sldMk cId="3861332114" sldId="11276"/>
            <ac:spMk id="46" creationId="{E354E1C1-1F82-A147-A006-53B846487326}"/>
          </ac:spMkLst>
        </pc:spChg>
        <pc:graphicFrameChg chg="mod">
          <ac:chgData name="Bianca Ardito" userId="3dbb30f507a110b6" providerId="LiveId" clId="{6B3B4EFF-CE60-494E-BECC-B61895DB44D3}" dt="2024-05-24T03:08:44.030" v="3546"/>
          <ac:graphicFrameMkLst>
            <pc:docMk/>
            <pc:sldMk cId="3861332114" sldId="11276"/>
            <ac:graphicFrameMk id="24" creationId="{A9A07062-6D36-6636-90CE-8F9740116F8D}"/>
          </ac:graphicFrameMkLst>
        </pc:graphicFrameChg>
        <pc:graphicFrameChg chg="mod modGraphic">
          <ac:chgData name="Bianca Ardito" userId="3dbb30f507a110b6" providerId="LiveId" clId="{6B3B4EFF-CE60-494E-BECC-B61895DB44D3}" dt="2024-05-24T03:10:17.923" v="3590" actId="2711"/>
          <ac:graphicFrameMkLst>
            <pc:docMk/>
            <pc:sldMk cId="3861332114" sldId="11276"/>
            <ac:graphicFrameMk id="49" creationId="{8648DF90-41AC-C943-93A7-7EA95FAD3129}"/>
          </ac:graphicFrameMkLst>
        </pc:graphicFrameChg>
      </pc:sldChg>
      <pc:sldChg chg="addSp delSp modSp mod">
        <pc:chgData name="Bianca Ardito" userId="3dbb30f507a110b6" providerId="LiveId" clId="{6B3B4EFF-CE60-494E-BECC-B61895DB44D3}" dt="2024-05-24T02:59:40.366" v="3224" actId="207"/>
        <pc:sldMkLst>
          <pc:docMk/>
          <pc:sldMk cId="3237930165" sldId="11277"/>
        </pc:sldMkLst>
        <pc:spChg chg="add del mod modVis">
          <ac:chgData name="Bianca Ardito" userId="3dbb30f507a110b6" providerId="LiveId" clId="{6B3B4EFF-CE60-494E-BECC-B61895DB44D3}" dt="2024-05-24T02:02:15.663" v="926"/>
          <ac:spMkLst>
            <pc:docMk/>
            <pc:sldMk cId="3237930165" sldId="11277"/>
            <ac:spMk id="2" creationId="{4C981727-E4B2-2531-6153-99436E2114D6}"/>
          </ac:spMkLst>
        </pc:spChg>
        <pc:spChg chg="mod">
          <ac:chgData name="Bianca Ardito" userId="3dbb30f507a110b6" providerId="LiveId" clId="{6B3B4EFF-CE60-494E-BECC-B61895DB44D3}" dt="2024-05-24T02:02:15.346" v="579" actId="948"/>
          <ac:spMkLst>
            <pc:docMk/>
            <pc:sldMk cId="3237930165" sldId="11277"/>
            <ac:spMk id="21" creationId="{6188ABA6-6184-9142-AF01-A55A66CC6EB0}"/>
          </ac:spMkLst>
        </pc:spChg>
        <pc:spChg chg="mod">
          <ac:chgData name="Bianca Ardito" userId="3dbb30f507a110b6" providerId="LiveId" clId="{6B3B4EFF-CE60-494E-BECC-B61895DB44D3}" dt="2024-05-24T02:59:40.366" v="3224" actId="207"/>
          <ac:spMkLst>
            <pc:docMk/>
            <pc:sldMk cId="3237930165" sldId="11277"/>
            <ac:spMk id="58" creationId="{3AB06FFC-A76C-7C4A-AC1A-D9EFFEF9B2E6}"/>
          </ac:spMkLst>
        </pc:spChg>
        <pc:spChg chg="mod">
          <ac:chgData name="Bianca Ardito" userId="3dbb30f507a110b6" providerId="LiveId" clId="{6B3B4EFF-CE60-494E-BECC-B61895DB44D3}" dt="2024-05-24T02:59:40.366" v="3224" actId="207"/>
          <ac:spMkLst>
            <pc:docMk/>
            <pc:sldMk cId="3237930165" sldId="11277"/>
            <ac:spMk id="59" creationId="{20C20977-2F8A-0A48-8AA0-8E6061EDF2C3}"/>
          </ac:spMkLst>
        </pc:spChg>
        <pc:spChg chg="mod">
          <ac:chgData name="Bianca Ardito" userId="3dbb30f507a110b6" providerId="LiveId" clId="{6B3B4EFF-CE60-494E-BECC-B61895DB44D3}" dt="2024-05-24T02:59:40.366" v="3224" actId="207"/>
          <ac:spMkLst>
            <pc:docMk/>
            <pc:sldMk cId="3237930165" sldId="11277"/>
            <ac:spMk id="60" creationId="{9C9B240F-4381-324F-A779-B9257740426E}"/>
          </ac:spMkLst>
        </pc:spChg>
        <pc:graphicFrameChg chg="mod">
          <ac:chgData name="Bianca Ardito" userId="3dbb30f507a110b6" providerId="LiveId" clId="{6B3B4EFF-CE60-494E-BECC-B61895DB44D3}" dt="2024-05-24T02:02:15.663" v="928"/>
          <ac:graphicFrameMkLst>
            <pc:docMk/>
            <pc:sldMk cId="3237930165" sldId="11277"/>
            <ac:graphicFrameMk id="3" creationId="{6FB8D69B-9A01-8191-9F97-372CABA50E3A}"/>
          </ac:graphicFrameMkLst>
        </pc:graphicFrameChg>
      </pc:sldChg>
      <pc:sldChg chg="addSp delSp modSp mod">
        <pc:chgData name="Bianca Ardito" userId="3dbb30f507a110b6" providerId="LiveId" clId="{6B3B4EFF-CE60-494E-BECC-B61895DB44D3}" dt="2024-05-24T03:14:31.190" v="3955" actId="207"/>
        <pc:sldMkLst>
          <pc:docMk/>
          <pc:sldMk cId="4013362073" sldId="11279"/>
        </pc:sldMkLst>
        <pc:spChg chg="add del mod modVis">
          <ac:chgData name="Bianca Ardito" userId="3dbb30f507a110b6" providerId="LiveId" clId="{6B3B4EFF-CE60-494E-BECC-B61895DB44D3}" dt="2024-05-24T02:02:15.410" v="641"/>
          <ac:spMkLst>
            <pc:docMk/>
            <pc:sldMk cId="4013362073" sldId="11279"/>
            <ac:spMk id="2" creationId="{57070D32-F2BE-A807-5F64-AC5DBF297BF1}"/>
          </ac:spMkLst>
        </pc:spChg>
        <pc:spChg chg="mod">
          <ac:chgData name="Bianca Ardito" userId="3dbb30f507a110b6" providerId="LiveId" clId="{6B3B4EFF-CE60-494E-BECC-B61895DB44D3}" dt="2024-05-24T03:14:27.552" v="3950" actId="948"/>
          <ac:spMkLst>
            <pc:docMk/>
            <pc:sldMk cId="4013362073" sldId="11279"/>
            <ac:spMk id="3" creationId="{614064D2-9FA9-AD4E-BA4B-0F37DB3868F6}"/>
          </ac:spMkLst>
        </pc:spChg>
        <pc:spChg chg="mod">
          <ac:chgData name="Bianca Ardito" userId="3dbb30f507a110b6" providerId="LiveId" clId="{6B3B4EFF-CE60-494E-BECC-B61895DB44D3}" dt="2024-05-24T03:14:31.190" v="3955" actId="207"/>
          <ac:spMkLst>
            <pc:docMk/>
            <pc:sldMk cId="4013362073" sldId="11279"/>
            <ac:spMk id="245" creationId="{21CBDE1B-91E3-254B-8712-7D5B40024692}"/>
          </ac:spMkLst>
        </pc:spChg>
        <pc:spChg chg="mod">
          <ac:chgData name="Bianca Ardito" userId="3dbb30f507a110b6" providerId="LiveId" clId="{6B3B4EFF-CE60-494E-BECC-B61895DB44D3}" dt="2024-05-24T03:14:31.190" v="3955" actId="207"/>
          <ac:spMkLst>
            <pc:docMk/>
            <pc:sldMk cId="4013362073" sldId="11279"/>
            <ac:spMk id="246" creationId="{4646369C-5466-1C43-B7D2-4EDB255B6A2C}"/>
          </ac:spMkLst>
        </pc:spChg>
        <pc:spChg chg="mod">
          <ac:chgData name="Bianca Ardito" userId="3dbb30f507a110b6" providerId="LiveId" clId="{6B3B4EFF-CE60-494E-BECC-B61895DB44D3}" dt="2024-05-24T03:14:31.190" v="3955" actId="207"/>
          <ac:spMkLst>
            <pc:docMk/>
            <pc:sldMk cId="4013362073" sldId="11279"/>
            <ac:spMk id="247" creationId="{FC818A82-E009-1D4C-B8AB-48EF52C2349C}"/>
          </ac:spMkLst>
        </pc:spChg>
        <pc:spChg chg="mod">
          <ac:chgData name="Bianca Ardito" userId="3dbb30f507a110b6" providerId="LiveId" clId="{6B3B4EFF-CE60-494E-BECC-B61895DB44D3}" dt="2024-05-24T03:14:31.190" v="3955" actId="207"/>
          <ac:spMkLst>
            <pc:docMk/>
            <pc:sldMk cId="4013362073" sldId="11279"/>
            <ac:spMk id="248" creationId="{0424ECC2-AEB0-4643-A36C-EADA2DC28D70}"/>
          </ac:spMkLst>
        </pc:spChg>
        <pc:spChg chg="mod">
          <ac:chgData name="Bianca Ardito" userId="3dbb30f507a110b6" providerId="LiveId" clId="{6B3B4EFF-CE60-494E-BECC-B61895DB44D3}" dt="2024-05-24T03:14:31.190" v="3955" actId="207"/>
          <ac:spMkLst>
            <pc:docMk/>
            <pc:sldMk cId="4013362073" sldId="11279"/>
            <ac:spMk id="249" creationId="{B349B59C-02C6-964A-97CE-37BCF59F72C1}"/>
          </ac:spMkLst>
        </pc:spChg>
        <pc:spChg chg="mod">
          <ac:chgData name="Bianca Ardito" userId="3dbb30f507a110b6" providerId="LiveId" clId="{6B3B4EFF-CE60-494E-BECC-B61895DB44D3}" dt="2024-05-24T03:14:31.190" v="3955" actId="207"/>
          <ac:spMkLst>
            <pc:docMk/>
            <pc:sldMk cId="4013362073" sldId="11279"/>
            <ac:spMk id="250" creationId="{2842D62A-A4A7-1647-B332-F1703DAE898D}"/>
          </ac:spMkLst>
        </pc:spChg>
        <pc:spChg chg="mod">
          <ac:chgData name="Bianca Ardito" userId="3dbb30f507a110b6" providerId="LiveId" clId="{6B3B4EFF-CE60-494E-BECC-B61895DB44D3}" dt="2024-05-24T03:14:31.190" v="3955" actId="207"/>
          <ac:spMkLst>
            <pc:docMk/>
            <pc:sldMk cId="4013362073" sldId="11279"/>
            <ac:spMk id="251" creationId="{EE56CE04-10D3-4E43-AE1D-9B2E6F968C0B}"/>
          </ac:spMkLst>
        </pc:spChg>
        <pc:spChg chg="mod">
          <ac:chgData name="Bianca Ardito" userId="3dbb30f507a110b6" providerId="LiveId" clId="{6B3B4EFF-CE60-494E-BECC-B61895DB44D3}" dt="2024-05-24T03:14:31.190" v="3955" actId="207"/>
          <ac:spMkLst>
            <pc:docMk/>
            <pc:sldMk cId="4013362073" sldId="11279"/>
            <ac:spMk id="252" creationId="{A60E85DA-9833-7848-B971-B83D1F6AF8DF}"/>
          </ac:spMkLst>
        </pc:spChg>
        <pc:spChg chg="mod">
          <ac:chgData name="Bianca Ardito" userId="3dbb30f507a110b6" providerId="LiveId" clId="{6B3B4EFF-CE60-494E-BECC-B61895DB44D3}" dt="2024-05-24T03:14:31.190" v="3955" actId="207"/>
          <ac:spMkLst>
            <pc:docMk/>
            <pc:sldMk cId="4013362073" sldId="11279"/>
            <ac:spMk id="253" creationId="{53E21B61-3DA6-4F44-B4EC-2A8E03720373}"/>
          </ac:spMkLst>
        </pc:spChg>
        <pc:spChg chg="mod">
          <ac:chgData name="Bianca Ardito" userId="3dbb30f507a110b6" providerId="LiveId" clId="{6B3B4EFF-CE60-494E-BECC-B61895DB44D3}" dt="2024-05-24T03:14:31.190" v="3955" actId="207"/>
          <ac:spMkLst>
            <pc:docMk/>
            <pc:sldMk cId="4013362073" sldId="11279"/>
            <ac:spMk id="254" creationId="{9BC54605-A41B-CE4B-B8D1-6B249DF9ECEE}"/>
          </ac:spMkLst>
        </pc:spChg>
        <pc:spChg chg="mod">
          <ac:chgData name="Bianca Ardito" userId="3dbb30f507a110b6" providerId="LiveId" clId="{6B3B4EFF-CE60-494E-BECC-B61895DB44D3}" dt="2024-05-24T03:14:31.190" v="3955" actId="207"/>
          <ac:spMkLst>
            <pc:docMk/>
            <pc:sldMk cId="4013362073" sldId="11279"/>
            <ac:spMk id="277" creationId="{064FCD09-C6FE-CB41-8526-24DE4FDA37C0}"/>
          </ac:spMkLst>
        </pc:spChg>
        <pc:spChg chg="mod">
          <ac:chgData name="Bianca Ardito" userId="3dbb30f507a110b6" providerId="LiveId" clId="{6B3B4EFF-CE60-494E-BECC-B61895DB44D3}" dt="2024-05-24T03:14:31.190" v="3955" actId="207"/>
          <ac:spMkLst>
            <pc:docMk/>
            <pc:sldMk cId="4013362073" sldId="11279"/>
            <ac:spMk id="280" creationId="{B5C5ABAE-1B87-E64B-A924-DAE1F26343AB}"/>
          </ac:spMkLst>
        </pc:spChg>
        <pc:spChg chg="mod">
          <ac:chgData name="Bianca Ardito" userId="3dbb30f507a110b6" providerId="LiveId" clId="{6B3B4EFF-CE60-494E-BECC-B61895DB44D3}" dt="2024-05-24T03:14:31.190" v="3955" actId="207"/>
          <ac:spMkLst>
            <pc:docMk/>
            <pc:sldMk cId="4013362073" sldId="11279"/>
            <ac:spMk id="282" creationId="{54D35A81-AE65-2F4B-B8FE-83DBBF784BE2}"/>
          </ac:spMkLst>
        </pc:spChg>
        <pc:spChg chg="mod">
          <ac:chgData name="Bianca Ardito" userId="3dbb30f507a110b6" providerId="LiveId" clId="{6B3B4EFF-CE60-494E-BECC-B61895DB44D3}" dt="2024-05-24T03:14:31.190" v="3955" actId="207"/>
          <ac:spMkLst>
            <pc:docMk/>
            <pc:sldMk cId="4013362073" sldId="11279"/>
            <ac:spMk id="283" creationId="{A73D7B8D-A37B-684A-BA00-FA36743D5C57}"/>
          </ac:spMkLst>
        </pc:spChg>
        <pc:spChg chg="mod">
          <ac:chgData name="Bianca Ardito" userId="3dbb30f507a110b6" providerId="LiveId" clId="{6B3B4EFF-CE60-494E-BECC-B61895DB44D3}" dt="2024-05-24T03:14:31.190" v="3955" actId="207"/>
          <ac:spMkLst>
            <pc:docMk/>
            <pc:sldMk cId="4013362073" sldId="11279"/>
            <ac:spMk id="284" creationId="{D774ACC5-64B3-444C-8A80-A8E5ED19DDB8}"/>
          </ac:spMkLst>
        </pc:spChg>
        <pc:spChg chg="mod">
          <ac:chgData name="Bianca Ardito" userId="3dbb30f507a110b6" providerId="LiveId" clId="{6B3B4EFF-CE60-494E-BECC-B61895DB44D3}" dt="2024-05-24T03:14:31.190" v="3955" actId="207"/>
          <ac:spMkLst>
            <pc:docMk/>
            <pc:sldMk cId="4013362073" sldId="11279"/>
            <ac:spMk id="285" creationId="{97B160FC-09F7-A748-ADF1-DE670E236C09}"/>
          </ac:spMkLst>
        </pc:spChg>
        <pc:spChg chg="mod">
          <ac:chgData name="Bianca Ardito" userId="3dbb30f507a110b6" providerId="LiveId" clId="{6B3B4EFF-CE60-494E-BECC-B61895DB44D3}" dt="2024-05-24T03:14:31.190" v="3955" actId="207"/>
          <ac:spMkLst>
            <pc:docMk/>
            <pc:sldMk cId="4013362073" sldId="11279"/>
            <ac:spMk id="288" creationId="{77F9D4E9-554B-3844-9085-D98DE119170C}"/>
          </ac:spMkLst>
        </pc:spChg>
        <pc:spChg chg="mod">
          <ac:chgData name="Bianca Ardito" userId="3dbb30f507a110b6" providerId="LiveId" clId="{6B3B4EFF-CE60-494E-BECC-B61895DB44D3}" dt="2024-05-24T03:14:31.190" v="3955" actId="207"/>
          <ac:spMkLst>
            <pc:docMk/>
            <pc:sldMk cId="4013362073" sldId="11279"/>
            <ac:spMk id="289" creationId="{FFAEDBCD-D918-FC41-89D1-6BFB4CACCAD5}"/>
          </ac:spMkLst>
        </pc:spChg>
        <pc:spChg chg="mod">
          <ac:chgData name="Bianca Ardito" userId="3dbb30f507a110b6" providerId="LiveId" clId="{6B3B4EFF-CE60-494E-BECC-B61895DB44D3}" dt="2024-05-24T03:14:31.190" v="3955" actId="207"/>
          <ac:spMkLst>
            <pc:docMk/>
            <pc:sldMk cId="4013362073" sldId="11279"/>
            <ac:spMk id="290" creationId="{5363F7D6-BAB3-6A44-A605-2595E1790282}"/>
          </ac:spMkLst>
        </pc:spChg>
        <pc:spChg chg="mod">
          <ac:chgData name="Bianca Ardito" userId="3dbb30f507a110b6" providerId="LiveId" clId="{6B3B4EFF-CE60-494E-BECC-B61895DB44D3}" dt="2024-05-24T03:14:31.190" v="3955" actId="207"/>
          <ac:spMkLst>
            <pc:docMk/>
            <pc:sldMk cId="4013362073" sldId="11279"/>
            <ac:spMk id="291" creationId="{89DBA22D-0685-9643-BDAA-6ACB76EC386E}"/>
          </ac:spMkLst>
        </pc:spChg>
        <pc:spChg chg="mod">
          <ac:chgData name="Bianca Ardito" userId="3dbb30f507a110b6" providerId="LiveId" clId="{6B3B4EFF-CE60-494E-BECC-B61895DB44D3}" dt="2024-05-24T03:14:31.190" v="3955" actId="207"/>
          <ac:spMkLst>
            <pc:docMk/>
            <pc:sldMk cId="4013362073" sldId="11279"/>
            <ac:spMk id="292" creationId="{8865860C-C540-D94C-A0D8-4B4211D98C9C}"/>
          </ac:spMkLst>
        </pc:spChg>
        <pc:spChg chg="mod">
          <ac:chgData name="Bianca Ardito" userId="3dbb30f507a110b6" providerId="LiveId" clId="{6B3B4EFF-CE60-494E-BECC-B61895DB44D3}" dt="2024-05-24T03:14:31.190" v="3955" actId="207"/>
          <ac:spMkLst>
            <pc:docMk/>
            <pc:sldMk cId="4013362073" sldId="11279"/>
            <ac:spMk id="293" creationId="{ED5B747A-CB59-094F-82EC-A6529B6AB63F}"/>
          </ac:spMkLst>
        </pc:spChg>
        <pc:spChg chg="mod">
          <ac:chgData name="Bianca Ardito" userId="3dbb30f507a110b6" providerId="LiveId" clId="{6B3B4EFF-CE60-494E-BECC-B61895DB44D3}" dt="2024-05-24T03:14:31.190" v="3955" actId="207"/>
          <ac:spMkLst>
            <pc:docMk/>
            <pc:sldMk cId="4013362073" sldId="11279"/>
            <ac:spMk id="294" creationId="{A06B90DB-8164-2D4F-B3AC-58764ED2EE3D}"/>
          </ac:spMkLst>
        </pc:spChg>
        <pc:spChg chg="mod">
          <ac:chgData name="Bianca Ardito" userId="3dbb30f507a110b6" providerId="LiveId" clId="{6B3B4EFF-CE60-494E-BECC-B61895DB44D3}" dt="2024-05-24T03:14:31.190" v="3955" actId="207"/>
          <ac:spMkLst>
            <pc:docMk/>
            <pc:sldMk cId="4013362073" sldId="11279"/>
            <ac:spMk id="295" creationId="{04BD72F6-503A-FC4D-BAE5-B645C3CF0E23}"/>
          </ac:spMkLst>
        </pc:spChg>
        <pc:spChg chg="mod">
          <ac:chgData name="Bianca Ardito" userId="3dbb30f507a110b6" providerId="LiveId" clId="{6B3B4EFF-CE60-494E-BECC-B61895DB44D3}" dt="2024-05-24T03:14:31.190" v="3955" actId="207"/>
          <ac:spMkLst>
            <pc:docMk/>
            <pc:sldMk cId="4013362073" sldId="11279"/>
            <ac:spMk id="296" creationId="{5B665D3E-74F2-B942-BD9B-94DFAB97E680}"/>
          </ac:spMkLst>
        </pc:spChg>
        <pc:spChg chg="mod">
          <ac:chgData name="Bianca Ardito" userId="3dbb30f507a110b6" providerId="LiveId" clId="{6B3B4EFF-CE60-494E-BECC-B61895DB44D3}" dt="2024-05-24T03:14:31.190" v="3955" actId="207"/>
          <ac:spMkLst>
            <pc:docMk/>
            <pc:sldMk cId="4013362073" sldId="11279"/>
            <ac:spMk id="297" creationId="{D5069D0F-9FE7-0840-BD32-EBC2219B2DDF}"/>
          </ac:spMkLst>
        </pc:spChg>
        <pc:spChg chg="mod">
          <ac:chgData name="Bianca Ardito" userId="3dbb30f507a110b6" providerId="LiveId" clId="{6B3B4EFF-CE60-494E-BECC-B61895DB44D3}" dt="2024-05-24T03:14:31.190" v="3955" actId="207"/>
          <ac:spMkLst>
            <pc:docMk/>
            <pc:sldMk cId="4013362073" sldId="11279"/>
            <ac:spMk id="304" creationId="{0144A52A-3D04-504F-AD99-210A3CBB6C7B}"/>
          </ac:spMkLst>
        </pc:spChg>
        <pc:spChg chg="mod">
          <ac:chgData name="Bianca Ardito" userId="3dbb30f507a110b6" providerId="LiveId" clId="{6B3B4EFF-CE60-494E-BECC-B61895DB44D3}" dt="2024-05-24T03:14:31.190" v="3955" actId="207"/>
          <ac:spMkLst>
            <pc:docMk/>
            <pc:sldMk cId="4013362073" sldId="11279"/>
            <ac:spMk id="305" creationId="{D98601F2-5623-014C-A851-AD0123072BEA}"/>
          </ac:spMkLst>
        </pc:spChg>
        <pc:spChg chg="mod">
          <ac:chgData name="Bianca Ardito" userId="3dbb30f507a110b6" providerId="LiveId" clId="{6B3B4EFF-CE60-494E-BECC-B61895DB44D3}" dt="2024-05-24T03:14:31.190" v="3955" actId="207"/>
          <ac:spMkLst>
            <pc:docMk/>
            <pc:sldMk cId="4013362073" sldId="11279"/>
            <ac:spMk id="307" creationId="{5C44F1F5-ADDC-104E-9CF4-C25953AA8202}"/>
          </ac:spMkLst>
        </pc:spChg>
        <pc:spChg chg="mod">
          <ac:chgData name="Bianca Ardito" userId="3dbb30f507a110b6" providerId="LiveId" clId="{6B3B4EFF-CE60-494E-BECC-B61895DB44D3}" dt="2024-05-24T03:14:31.190" v="3955" actId="207"/>
          <ac:spMkLst>
            <pc:docMk/>
            <pc:sldMk cId="4013362073" sldId="11279"/>
            <ac:spMk id="308" creationId="{1941F9A1-C476-B844-9260-A27DDD7B5853}"/>
          </ac:spMkLst>
        </pc:spChg>
        <pc:spChg chg="mod">
          <ac:chgData name="Bianca Ardito" userId="3dbb30f507a110b6" providerId="LiveId" clId="{6B3B4EFF-CE60-494E-BECC-B61895DB44D3}" dt="2024-05-24T03:14:31.190" v="3955" actId="207"/>
          <ac:spMkLst>
            <pc:docMk/>
            <pc:sldMk cId="4013362073" sldId="11279"/>
            <ac:spMk id="309" creationId="{06799016-7177-114D-B916-936A91AF06B0}"/>
          </ac:spMkLst>
        </pc:spChg>
        <pc:spChg chg="mod">
          <ac:chgData name="Bianca Ardito" userId="3dbb30f507a110b6" providerId="LiveId" clId="{6B3B4EFF-CE60-494E-BECC-B61895DB44D3}" dt="2024-05-24T03:14:31.190" v="3955" actId="207"/>
          <ac:spMkLst>
            <pc:docMk/>
            <pc:sldMk cId="4013362073" sldId="11279"/>
            <ac:spMk id="310" creationId="{DF0E983B-DCF8-0C49-ABC9-9BF02096FFF9}"/>
          </ac:spMkLst>
        </pc:spChg>
        <pc:spChg chg="mod">
          <ac:chgData name="Bianca Ardito" userId="3dbb30f507a110b6" providerId="LiveId" clId="{6B3B4EFF-CE60-494E-BECC-B61895DB44D3}" dt="2024-05-24T03:14:31.190" v="3955" actId="207"/>
          <ac:spMkLst>
            <pc:docMk/>
            <pc:sldMk cId="4013362073" sldId="11279"/>
            <ac:spMk id="312" creationId="{9CA2834E-D98D-EA49-A85C-69F076262CDE}"/>
          </ac:spMkLst>
        </pc:spChg>
        <pc:spChg chg="mod">
          <ac:chgData name="Bianca Ardito" userId="3dbb30f507a110b6" providerId="LiveId" clId="{6B3B4EFF-CE60-494E-BECC-B61895DB44D3}" dt="2024-05-24T03:14:31.190" v="3955" actId="207"/>
          <ac:spMkLst>
            <pc:docMk/>
            <pc:sldMk cId="4013362073" sldId="11279"/>
            <ac:spMk id="314" creationId="{D6BBE22D-27BF-514D-9B75-95612217E10C}"/>
          </ac:spMkLst>
        </pc:spChg>
        <pc:spChg chg="mod">
          <ac:chgData name="Bianca Ardito" userId="3dbb30f507a110b6" providerId="LiveId" clId="{6B3B4EFF-CE60-494E-BECC-B61895DB44D3}" dt="2024-05-24T03:14:31.190" v="3955" actId="207"/>
          <ac:spMkLst>
            <pc:docMk/>
            <pc:sldMk cId="4013362073" sldId="11279"/>
            <ac:spMk id="315" creationId="{93A466F2-498B-8244-8663-6B30DABAB1E2}"/>
          </ac:spMkLst>
        </pc:spChg>
        <pc:spChg chg="mod">
          <ac:chgData name="Bianca Ardito" userId="3dbb30f507a110b6" providerId="LiveId" clId="{6B3B4EFF-CE60-494E-BECC-B61895DB44D3}" dt="2024-05-24T03:14:31.190" v="3955" actId="207"/>
          <ac:spMkLst>
            <pc:docMk/>
            <pc:sldMk cId="4013362073" sldId="11279"/>
            <ac:spMk id="316" creationId="{DB0291B2-D83E-B44E-A0DD-B58039588AEA}"/>
          </ac:spMkLst>
        </pc:spChg>
        <pc:spChg chg="mod">
          <ac:chgData name="Bianca Ardito" userId="3dbb30f507a110b6" providerId="LiveId" clId="{6B3B4EFF-CE60-494E-BECC-B61895DB44D3}" dt="2024-05-24T03:14:31.190" v="3955" actId="207"/>
          <ac:spMkLst>
            <pc:docMk/>
            <pc:sldMk cId="4013362073" sldId="11279"/>
            <ac:spMk id="317" creationId="{787D0621-C9C9-3B4C-976E-C2219E1C2EDA}"/>
          </ac:spMkLst>
        </pc:spChg>
        <pc:spChg chg="mod">
          <ac:chgData name="Bianca Ardito" userId="3dbb30f507a110b6" providerId="LiveId" clId="{6B3B4EFF-CE60-494E-BECC-B61895DB44D3}" dt="2024-05-24T03:14:31.190" v="3955" actId="207"/>
          <ac:spMkLst>
            <pc:docMk/>
            <pc:sldMk cId="4013362073" sldId="11279"/>
            <ac:spMk id="318" creationId="{56A5FAD7-B532-FE45-AE4A-4C8EE1AE67D2}"/>
          </ac:spMkLst>
        </pc:spChg>
        <pc:spChg chg="mod">
          <ac:chgData name="Bianca Ardito" userId="3dbb30f507a110b6" providerId="LiveId" clId="{6B3B4EFF-CE60-494E-BECC-B61895DB44D3}" dt="2024-05-24T03:14:31.190" v="3955" actId="207"/>
          <ac:spMkLst>
            <pc:docMk/>
            <pc:sldMk cId="4013362073" sldId="11279"/>
            <ac:spMk id="319" creationId="{699E5288-C151-B243-989D-D7CADEFC7B5D}"/>
          </ac:spMkLst>
        </pc:spChg>
        <pc:spChg chg="mod">
          <ac:chgData name="Bianca Ardito" userId="3dbb30f507a110b6" providerId="LiveId" clId="{6B3B4EFF-CE60-494E-BECC-B61895DB44D3}" dt="2024-05-24T03:14:31.190" v="3955" actId="207"/>
          <ac:spMkLst>
            <pc:docMk/>
            <pc:sldMk cId="4013362073" sldId="11279"/>
            <ac:spMk id="321" creationId="{AA93D5A5-AE97-C44F-B4A3-685BB12CF89B}"/>
          </ac:spMkLst>
        </pc:spChg>
        <pc:spChg chg="mod">
          <ac:chgData name="Bianca Ardito" userId="3dbb30f507a110b6" providerId="LiveId" clId="{6B3B4EFF-CE60-494E-BECC-B61895DB44D3}" dt="2024-05-24T03:14:31.190" v="3955" actId="207"/>
          <ac:spMkLst>
            <pc:docMk/>
            <pc:sldMk cId="4013362073" sldId="11279"/>
            <ac:spMk id="322" creationId="{09A7BADA-9988-7D4E-B37D-EE7C66DE0A95}"/>
          </ac:spMkLst>
        </pc:spChg>
        <pc:spChg chg="mod">
          <ac:chgData name="Bianca Ardito" userId="3dbb30f507a110b6" providerId="LiveId" clId="{6B3B4EFF-CE60-494E-BECC-B61895DB44D3}" dt="2024-05-24T03:14:31.190" v="3955" actId="207"/>
          <ac:spMkLst>
            <pc:docMk/>
            <pc:sldMk cId="4013362073" sldId="11279"/>
            <ac:spMk id="323" creationId="{BC18F910-1E48-024D-A0B5-259F22897927}"/>
          </ac:spMkLst>
        </pc:spChg>
        <pc:spChg chg="mod">
          <ac:chgData name="Bianca Ardito" userId="3dbb30f507a110b6" providerId="LiveId" clId="{6B3B4EFF-CE60-494E-BECC-B61895DB44D3}" dt="2024-05-24T03:14:31.190" v="3955" actId="207"/>
          <ac:spMkLst>
            <pc:docMk/>
            <pc:sldMk cId="4013362073" sldId="11279"/>
            <ac:spMk id="324" creationId="{52501747-6266-634B-A7F4-DA142C7E0394}"/>
          </ac:spMkLst>
        </pc:spChg>
        <pc:spChg chg="mod">
          <ac:chgData name="Bianca Ardito" userId="3dbb30f507a110b6" providerId="LiveId" clId="{6B3B4EFF-CE60-494E-BECC-B61895DB44D3}" dt="2024-05-24T03:14:31.190" v="3955" actId="207"/>
          <ac:spMkLst>
            <pc:docMk/>
            <pc:sldMk cId="4013362073" sldId="11279"/>
            <ac:spMk id="325" creationId="{F2021D11-AEEB-B444-824F-9A8A72E93E2A}"/>
          </ac:spMkLst>
        </pc:spChg>
        <pc:spChg chg="mod">
          <ac:chgData name="Bianca Ardito" userId="3dbb30f507a110b6" providerId="LiveId" clId="{6B3B4EFF-CE60-494E-BECC-B61895DB44D3}" dt="2024-05-24T03:14:31.190" v="3955" actId="207"/>
          <ac:spMkLst>
            <pc:docMk/>
            <pc:sldMk cId="4013362073" sldId="11279"/>
            <ac:spMk id="326" creationId="{CF4B7BBF-CEFA-E243-B381-A4B60ADD7BC7}"/>
          </ac:spMkLst>
        </pc:spChg>
        <pc:spChg chg="mod">
          <ac:chgData name="Bianca Ardito" userId="3dbb30f507a110b6" providerId="LiveId" clId="{6B3B4EFF-CE60-494E-BECC-B61895DB44D3}" dt="2024-05-24T03:14:31.190" v="3955" actId="207"/>
          <ac:spMkLst>
            <pc:docMk/>
            <pc:sldMk cId="4013362073" sldId="11279"/>
            <ac:spMk id="327" creationId="{EA9514FC-AA6C-6849-80D9-AD5F1BFA0CE9}"/>
          </ac:spMkLst>
        </pc:spChg>
        <pc:spChg chg="mod">
          <ac:chgData name="Bianca Ardito" userId="3dbb30f507a110b6" providerId="LiveId" clId="{6B3B4EFF-CE60-494E-BECC-B61895DB44D3}" dt="2024-05-24T03:14:31.190" v="3955" actId="207"/>
          <ac:spMkLst>
            <pc:docMk/>
            <pc:sldMk cId="4013362073" sldId="11279"/>
            <ac:spMk id="328" creationId="{167A3ED7-5924-AC49-A295-7A6EDE349FD1}"/>
          </ac:spMkLst>
        </pc:spChg>
        <pc:spChg chg="mod">
          <ac:chgData name="Bianca Ardito" userId="3dbb30f507a110b6" providerId="LiveId" clId="{6B3B4EFF-CE60-494E-BECC-B61895DB44D3}" dt="2024-05-24T03:14:31.190" v="3955" actId="207"/>
          <ac:spMkLst>
            <pc:docMk/>
            <pc:sldMk cId="4013362073" sldId="11279"/>
            <ac:spMk id="329" creationId="{9CFB70DE-6AB8-494F-B2FD-D46D46D9DDF9}"/>
          </ac:spMkLst>
        </pc:spChg>
        <pc:spChg chg="mod">
          <ac:chgData name="Bianca Ardito" userId="3dbb30f507a110b6" providerId="LiveId" clId="{6B3B4EFF-CE60-494E-BECC-B61895DB44D3}" dt="2024-05-24T03:14:31.190" v="3955" actId="207"/>
          <ac:spMkLst>
            <pc:docMk/>
            <pc:sldMk cId="4013362073" sldId="11279"/>
            <ac:spMk id="330" creationId="{38F56B76-94BF-204B-A69F-6D9C84DF6676}"/>
          </ac:spMkLst>
        </pc:spChg>
        <pc:spChg chg="mod">
          <ac:chgData name="Bianca Ardito" userId="3dbb30f507a110b6" providerId="LiveId" clId="{6B3B4EFF-CE60-494E-BECC-B61895DB44D3}" dt="2024-05-24T03:14:31.190" v="3955" actId="207"/>
          <ac:spMkLst>
            <pc:docMk/>
            <pc:sldMk cId="4013362073" sldId="11279"/>
            <ac:spMk id="331" creationId="{B30F2F79-FDA7-EC44-AAC2-85DF6AFE5794}"/>
          </ac:spMkLst>
        </pc:spChg>
        <pc:spChg chg="mod">
          <ac:chgData name="Bianca Ardito" userId="3dbb30f507a110b6" providerId="LiveId" clId="{6B3B4EFF-CE60-494E-BECC-B61895DB44D3}" dt="2024-05-24T03:14:31.190" v="3955" actId="207"/>
          <ac:spMkLst>
            <pc:docMk/>
            <pc:sldMk cId="4013362073" sldId="11279"/>
            <ac:spMk id="332" creationId="{547AE177-1469-3B4E-9024-42F0746101BD}"/>
          </ac:spMkLst>
        </pc:spChg>
        <pc:spChg chg="mod">
          <ac:chgData name="Bianca Ardito" userId="3dbb30f507a110b6" providerId="LiveId" clId="{6B3B4EFF-CE60-494E-BECC-B61895DB44D3}" dt="2024-05-24T03:14:31.190" v="3955" actId="207"/>
          <ac:spMkLst>
            <pc:docMk/>
            <pc:sldMk cId="4013362073" sldId="11279"/>
            <ac:spMk id="333" creationId="{FD457AFD-F370-6C4A-907B-3315B1FDEA84}"/>
          </ac:spMkLst>
        </pc:spChg>
        <pc:spChg chg="mod">
          <ac:chgData name="Bianca Ardito" userId="3dbb30f507a110b6" providerId="LiveId" clId="{6B3B4EFF-CE60-494E-BECC-B61895DB44D3}" dt="2024-05-24T03:14:31.190" v="3955" actId="207"/>
          <ac:spMkLst>
            <pc:docMk/>
            <pc:sldMk cId="4013362073" sldId="11279"/>
            <ac:spMk id="334" creationId="{E5E39686-AE7E-FE40-ACFA-A12049D50611}"/>
          </ac:spMkLst>
        </pc:spChg>
        <pc:spChg chg="mod">
          <ac:chgData name="Bianca Ardito" userId="3dbb30f507a110b6" providerId="LiveId" clId="{6B3B4EFF-CE60-494E-BECC-B61895DB44D3}" dt="2024-05-24T03:14:31.190" v="3955" actId="207"/>
          <ac:spMkLst>
            <pc:docMk/>
            <pc:sldMk cId="4013362073" sldId="11279"/>
            <ac:spMk id="335" creationId="{1A0F88BE-514F-6748-BF2A-BF9819C0FB55}"/>
          </ac:spMkLst>
        </pc:spChg>
        <pc:spChg chg="mod">
          <ac:chgData name="Bianca Ardito" userId="3dbb30f507a110b6" providerId="LiveId" clId="{6B3B4EFF-CE60-494E-BECC-B61895DB44D3}" dt="2024-05-24T03:14:31.190" v="3955" actId="207"/>
          <ac:spMkLst>
            <pc:docMk/>
            <pc:sldMk cId="4013362073" sldId="11279"/>
            <ac:spMk id="336" creationId="{DC3E9F63-8691-864D-ACD2-ACBAAD2FB9BB}"/>
          </ac:spMkLst>
        </pc:spChg>
        <pc:spChg chg="mod">
          <ac:chgData name="Bianca Ardito" userId="3dbb30f507a110b6" providerId="LiveId" clId="{6B3B4EFF-CE60-494E-BECC-B61895DB44D3}" dt="2024-05-24T03:14:31.190" v="3955" actId="207"/>
          <ac:spMkLst>
            <pc:docMk/>
            <pc:sldMk cId="4013362073" sldId="11279"/>
            <ac:spMk id="337" creationId="{8C79ADE2-9701-0240-98D0-7478238DE9B1}"/>
          </ac:spMkLst>
        </pc:spChg>
        <pc:spChg chg="mod">
          <ac:chgData name="Bianca Ardito" userId="3dbb30f507a110b6" providerId="LiveId" clId="{6B3B4EFF-CE60-494E-BECC-B61895DB44D3}" dt="2024-05-24T03:14:31.190" v="3955" actId="207"/>
          <ac:spMkLst>
            <pc:docMk/>
            <pc:sldMk cId="4013362073" sldId="11279"/>
            <ac:spMk id="338" creationId="{3F4F36F6-1B0D-0A4D-AC78-87464F20DEB0}"/>
          </ac:spMkLst>
        </pc:spChg>
        <pc:spChg chg="mod">
          <ac:chgData name="Bianca Ardito" userId="3dbb30f507a110b6" providerId="LiveId" clId="{6B3B4EFF-CE60-494E-BECC-B61895DB44D3}" dt="2024-05-24T03:14:31.190" v="3955" actId="207"/>
          <ac:spMkLst>
            <pc:docMk/>
            <pc:sldMk cId="4013362073" sldId="11279"/>
            <ac:spMk id="339" creationId="{33AD8D7A-CDAA-434B-B15D-3DB30AC13F73}"/>
          </ac:spMkLst>
        </pc:spChg>
        <pc:spChg chg="mod">
          <ac:chgData name="Bianca Ardito" userId="3dbb30f507a110b6" providerId="LiveId" clId="{6B3B4EFF-CE60-494E-BECC-B61895DB44D3}" dt="2024-05-24T03:14:31.190" v="3955" actId="207"/>
          <ac:spMkLst>
            <pc:docMk/>
            <pc:sldMk cId="4013362073" sldId="11279"/>
            <ac:spMk id="340" creationId="{E9C2297A-3EB0-5240-9ECC-074B6C6EE166}"/>
          </ac:spMkLst>
        </pc:spChg>
        <pc:spChg chg="mod">
          <ac:chgData name="Bianca Ardito" userId="3dbb30f507a110b6" providerId="LiveId" clId="{6B3B4EFF-CE60-494E-BECC-B61895DB44D3}" dt="2024-05-24T03:14:31.190" v="3955" actId="207"/>
          <ac:spMkLst>
            <pc:docMk/>
            <pc:sldMk cId="4013362073" sldId="11279"/>
            <ac:spMk id="341" creationId="{3F425A36-2AD8-CE4C-A178-E8F8431A4FD8}"/>
          </ac:spMkLst>
        </pc:spChg>
        <pc:spChg chg="mod">
          <ac:chgData name="Bianca Ardito" userId="3dbb30f507a110b6" providerId="LiveId" clId="{6B3B4EFF-CE60-494E-BECC-B61895DB44D3}" dt="2024-05-24T03:14:31.190" v="3955" actId="207"/>
          <ac:spMkLst>
            <pc:docMk/>
            <pc:sldMk cId="4013362073" sldId="11279"/>
            <ac:spMk id="342" creationId="{60B7CF1D-9F28-3F4E-A608-2080EB6D4F00}"/>
          </ac:spMkLst>
        </pc:spChg>
        <pc:spChg chg="mod">
          <ac:chgData name="Bianca Ardito" userId="3dbb30f507a110b6" providerId="LiveId" clId="{6B3B4EFF-CE60-494E-BECC-B61895DB44D3}" dt="2024-05-24T03:14:31.190" v="3955" actId="207"/>
          <ac:spMkLst>
            <pc:docMk/>
            <pc:sldMk cId="4013362073" sldId="11279"/>
            <ac:spMk id="343" creationId="{4F3FA43F-672D-E244-9D31-0B5AC1621B70}"/>
          </ac:spMkLst>
        </pc:spChg>
        <pc:spChg chg="mod">
          <ac:chgData name="Bianca Ardito" userId="3dbb30f507a110b6" providerId="LiveId" clId="{6B3B4EFF-CE60-494E-BECC-B61895DB44D3}" dt="2024-05-24T03:14:31.190" v="3955" actId="207"/>
          <ac:spMkLst>
            <pc:docMk/>
            <pc:sldMk cId="4013362073" sldId="11279"/>
            <ac:spMk id="344" creationId="{1264D25E-7219-7940-A98E-54B8AC7449B9}"/>
          </ac:spMkLst>
        </pc:spChg>
        <pc:spChg chg="mod">
          <ac:chgData name="Bianca Ardito" userId="3dbb30f507a110b6" providerId="LiveId" clId="{6B3B4EFF-CE60-494E-BECC-B61895DB44D3}" dt="2024-05-24T03:14:31.190" v="3955" actId="207"/>
          <ac:spMkLst>
            <pc:docMk/>
            <pc:sldMk cId="4013362073" sldId="11279"/>
            <ac:spMk id="345" creationId="{389F1102-839D-0C4B-A886-06304CBB27B8}"/>
          </ac:spMkLst>
        </pc:spChg>
        <pc:spChg chg="mod">
          <ac:chgData name="Bianca Ardito" userId="3dbb30f507a110b6" providerId="LiveId" clId="{6B3B4EFF-CE60-494E-BECC-B61895DB44D3}" dt="2024-05-24T03:14:31.190" v="3955" actId="207"/>
          <ac:spMkLst>
            <pc:docMk/>
            <pc:sldMk cId="4013362073" sldId="11279"/>
            <ac:spMk id="346" creationId="{0DFE75C4-4F95-D146-9CE4-C09FA69DCE2D}"/>
          </ac:spMkLst>
        </pc:spChg>
        <pc:spChg chg="mod">
          <ac:chgData name="Bianca Ardito" userId="3dbb30f507a110b6" providerId="LiveId" clId="{6B3B4EFF-CE60-494E-BECC-B61895DB44D3}" dt="2024-05-24T03:14:31.190" v="3955" actId="207"/>
          <ac:spMkLst>
            <pc:docMk/>
            <pc:sldMk cId="4013362073" sldId="11279"/>
            <ac:spMk id="347" creationId="{0A98E957-17C0-FF4E-BBD3-A99D387B4C18}"/>
          </ac:spMkLst>
        </pc:spChg>
        <pc:spChg chg="mod">
          <ac:chgData name="Bianca Ardito" userId="3dbb30f507a110b6" providerId="LiveId" clId="{6B3B4EFF-CE60-494E-BECC-B61895DB44D3}" dt="2024-05-24T03:14:31.190" v="3955" actId="207"/>
          <ac:spMkLst>
            <pc:docMk/>
            <pc:sldMk cId="4013362073" sldId="11279"/>
            <ac:spMk id="348" creationId="{96924E0F-234D-9847-B6BE-1CF4B2344708}"/>
          </ac:spMkLst>
        </pc:spChg>
        <pc:spChg chg="mod">
          <ac:chgData name="Bianca Ardito" userId="3dbb30f507a110b6" providerId="LiveId" clId="{6B3B4EFF-CE60-494E-BECC-B61895DB44D3}" dt="2024-05-24T03:14:31.190" v="3955" actId="207"/>
          <ac:spMkLst>
            <pc:docMk/>
            <pc:sldMk cId="4013362073" sldId="11279"/>
            <ac:spMk id="349" creationId="{CFE61459-D25D-A84B-8A5C-1BC232C6F12F}"/>
          </ac:spMkLst>
        </pc:spChg>
        <pc:spChg chg="mod">
          <ac:chgData name="Bianca Ardito" userId="3dbb30f507a110b6" providerId="LiveId" clId="{6B3B4EFF-CE60-494E-BECC-B61895DB44D3}" dt="2024-05-24T03:14:31.190" v="3955" actId="207"/>
          <ac:spMkLst>
            <pc:docMk/>
            <pc:sldMk cId="4013362073" sldId="11279"/>
            <ac:spMk id="350" creationId="{F1F6458C-2853-B94F-A669-A049E26D8C0E}"/>
          </ac:spMkLst>
        </pc:spChg>
        <pc:spChg chg="mod">
          <ac:chgData name="Bianca Ardito" userId="3dbb30f507a110b6" providerId="LiveId" clId="{6B3B4EFF-CE60-494E-BECC-B61895DB44D3}" dt="2024-05-24T03:14:31.190" v="3955" actId="207"/>
          <ac:spMkLst>
            <pc:docMk/>
            <pc:sldMk cId="4013362073" sldId="11279"/>
            <ac:spMk id="351" creationId="{1E6A27F0-0B38-F84B-80BD-6DC107283974}"/>
          </ac:spMkLst>
        </pc:spChg>
        <pc:spChg chg="mod">
          <ac:chgData name="Bianca Ardito" userId="3dbb30f507a110b6" providerId="LiveId" clId="{6B3B4EFF-CE60-494E-BECC-B61895DB44D3}" dt="2024-05-24T03:14:31.190" v="3955" actId="207"/>
          <ac:spMkLst>
            <pc:docMk/>
            <pc:sldMk cId="4013362073" sldId="11279"/>
            <ac:spMk id="352" creationId="{DF71A1C0-9D3A-854A-B9B1-9FB724515EA9}"/>
          </ac:spMkLst>
        </pc:spChg>
        <pc:spChg chg="mod">
          <ac:chgData name="Bianca Ardito" userId="3dbb30f507a110b6" providerId="LiveId" clId="{6B3B4EFF-CE60-494E-BECC-B61895DB44D3}" dt="2024-05-24T03:14:31.190" v="3955" actId="207"/>
          <ac:spMkLst>
            <pc:docMk/>
            <pc:sldMk cId="4013362073" sldId="11279"/>
            <ac:spMk id="353" creationId="{E7CF29E2-8BFA-3D46-95D9-FF0267B418EB}"/>
          </ac:spMkLst>
        </pc:spChg>
        <pc:spChg chg="mod">
          <ac:chgData name="Bianca Ardito" userId="3dbb30f507a110b6" providerId="LiveId" clId="{6B3B4EFF-CE60-494E-BECC-B61895DB44D3}" dt="2024-05-24T03:14:31.190" v="3955" actId="207"/>
          <ac:spMkLst>
            <pc:docMk/>
            <pc:sldMk cId="4013362073" sldId="11279"/>
            <ac:spMk id="354" creationId="{63B78FBC-1EC0-5E4C-B0D5-32A8B91280DF}"/>
          </ac:spMkLst>
        </pc:spChg>
        <pc:spChg chg="mod">
          <ac:chgData name="Bianca Ardito" userId="3dbb30f507a110b6" providerId="LiveId" clId="{6B3B4EFF-CE60-494E-BECC-B61895DB44D3}" dt="2024-05-24T03:14:31.190" v="3955" actId="207"/>
          <ac:spMkLst>
            <pc:docMk/>
            <pc:sldMk cId="4013362073" sldId="11279"/>
            <ac:spMk id="355" creationId="{58DC5440-8EB2-9746-97E8-5356CDD62D09}"/>
          </ac:spMkLst>
        </pc:spChg>
        <pc:spChg chg="mod">
          <ac:chgData name="Bianca Ardito" userId="3dbb30f507a110b6" providerId="LiveId" clId="{6B3B4EFF-CE60-494E-BECC-B61895DB44D3}" dt="2024-05-24T03:14:31.190" v="3955" actId="207"/>
          <ac:spMkLst>
            <pc:docMk/>
            <pc:sldMk cId="4013362073" sldId="11279"/>
            <ac:spMk id="356" creationId="{81239247-4616-DC40-AC02-561015F7ACE0}"/>
          </ac:spMkLst>
        </pc:spChg>
        <pc:spChg chg="mod">
          <ac:chgData name="Bianca Ardito" userId="3dbb30f507a110b6" providerId="LiveId" clId="{6B3B4EFF-CE60-494E-BECC-B61895DB44D3}" dt="2024-05-24T03:14:31.190" v="3955" actId="207"/>
          <ac:spMkLst>
            <pc:docMk/>
            <pc:sldMk cId="4013362073" sldId="11279"/>
            <ac:spMk id="357" creationId="{E4C1CDA4-ED16-AA48-A071-585FA30E2B58}"/>
          </ac:spMkLst>
        </pc:spChg>
        <pc:spChg chg="mod">
          <ac:chgData name="Bianca Ardito" userId="3dbb30f507a110b6" providerId="LiveId" clId="{6B3B4EFF-CE60-494E-BECC-B61895DB44D3}" dt="2024-05-24T03:14:31.190" v="3955" actId="207"/>
          <ac:spMkLst>
            <pc:docMk/>
            <pc:sldMk cId="4013362073" sldId="11279"/>
            <ac:spMk id="358" creationId="{A9F60E53-67DC-C34D-A628-959364DE5F9A}"/>
          </ac:spMkLst>
        </pc:spChg>
        <pc:spChg chg="mod">
          <ac:chgData name="Bianca Ardito" userId="3dbb30f507a110b6" providerId="LiveId" clId="{6B3B4EFF-CE60-494E-BECC-B61895DB44D3}" dt="2024-05-24T03:14:31.190" v="3955" actId="207"/>
          <ac:spMkLst>
            <pc:docMk/>
            <pc:sldMk cId="4013362073" sldId="11279"/>
            <ac:spMk id="359" creationId="{70192645-78CD-2349-A797-0259187FA086}"/>
          </ac:spMkLst>
        </pc:spChg>
        <pc:spChg chg="mod">
          <ac:chgData name="Bianca Ardito" userId="3dbb30f507a110b6" providerId="LiveId" clId="{6B3B4EFF-CE60-494E-BECC-B61895DB44D3}" dt="2024-05-24T03:14:31.190" v="3955" actId="207"/>
          <ac:spMkLst>
            <pc:docMk/>
            <pc:sldMk cId="4013362073" sldId="11279"/>
            <ac:spMk id="360" creationId="{3EDDD368-9A65-DC48-8B7E-DB9AC8FC885C}"/>
          </ac:spMkLst>
        </pc:spChg>
        <pc:spChg chg="mod">
          <ac:chgData name="Bianca Ardito" userId="3dbb30f507a110b6" providerId="LiveId" clId="{6B3B4EFF-CE60-494E-BECC-B61895DB44D3}" dt="2024-05-24T03:14:31.190" v="3955" actId="207"/>
          <ac:spMkLst>
            <pc:docMk/>
            <pc:sldMk cId="4013362073" sldId="11279"/>
            <ac:spMk id="361" creationId="{239225EB-08DB-A140-82E8-48FEFE5D6281}"/>
          </ac:spMkLst>
        </pc:spChg>
        <pc:spChg chg="mod">
          <ac:chgData name="Bianca Ardito" userId="3dbb30f507a110b6" providerId="LiveId" clId="{6B3B4EFF-CE60-494E-BECC-B61895DB44D3}" dt="2024-05-24T03:14:31.190" v="3955" actId="207"/>
          <ac:spMkLst>
            <pc:docMk/>
            <pc:sldMk cId="4013362073" sldId="11279"/>
            <ac:spMk id="362" creationId="{03C48C56-A8A3-E94A-AD91-3168AE07F331}"/>
          </ac:spMkLst>
        </pc:spChg>
        <pc:spChg chg="mod">
          <ac:chgData name="Bianca Ardito" userId="3dbb30f507a110b6" providerId="LiveId" clId="{6B3B4EFF-CE60-494E-BECC-B61895DB44D3}" dt="2024-05-24T03:14:31.190" v="3955" actId="207"/>
          <ac:spMkLst>
            <pc:docMk/>
            <pc:sldMk cId="4013362073" sldId="11279"/>
            <ac:spMk id="363" creationId="{1E18B624-56E8-4E4B-A229-4419E34548C3}"/>
          </ac:spMkLst>
        </pc:spChg>
        <pc:spChg chg="mod">
          <ac:chgData name="Bianca Ardito" userId="3dbb30f507a110b6" providerId="LiveId" clId="{6B3B4EFF-CE60-494E-BECC-B61895DB44D3}" dt="2024-05-24T03:14:31.190" v="3955" actId="207"/>
          <ac:spMkLst>
            <pc:docMk/>
            <pc:sldMk cId="4013362073" sldId="11279"/>
            <ac:spMk id="364" creationId="{C39ABC58-B008-3F49-81C7-07D17944C1A3}"/>
          </ac:spMkLst>
        </pc:spChg>
        <pc:spChg chg="mod">
          <ac:chgData name="Bianca Ardito" userId="3dbb30f507a110b6" providerId="LiveId" clId="{6B3B4EFF-CE60-494E-BECC-B61895DB44D3}" dt="2024-05-24T03:14:31.190" v="3955" actId="207"/>
          <ac:spMkLst>
            <pc:docMk/>
            <pc:sldMk cId="4013362073" sldId="11279"/>
            <ac:spMk id="365" creationId="{D709CB1D-70A4-1946-ADA3-249170EEED91}"/>
          </ac:spMkLst>
        </pc:spChg>
        <pc:spChg chg="mod">
          <ac:chgData name="Bianca Ardito" userId="3dbb30f507a110b6" providerId="LiveId" clId="{6B3B4EFF-CE60-494E-BECC-B61895DB44D3}" dt="2024-05-24T03:14:31.190" v="3955" actId="207"/>
          <ac:spMkLst>
            <pc:docMk/>
            <pc:sldMk cId="4013362073" sldId="11279"/>
            <ac:spMk id="366" creationId="{2104371B-4A49-964B-9A6D-A40A9846F53A}"/>
          </ac:spMkLst>
        </pc:spChg>
        <pc:spChg chg="mod">
          <ac:chgData name="Bianca Ardito" userId="3dbb30f507a110b6" providerId="LiveId" clId="{6B3B4EFF-CE60-494E-BECC-B61895DB44D3}" dt="2024-05-24T03:14:31.190" v="3955" actId="207"/>
          <ac:spMkLst>
            <pc:docMk/>
            <pc:sldMk cId="4013362073" sldId="11279"/>
            <ac:spMk id="367" creationId="{0E5D4171-0DAA-D84D-B104-542B18BFC6DE}"/>
          </ac:spMkLst>
        </pc:spChg>
        <pc:spChg chg="mod">
          <ac:chgData name="Bianca Ardito" userId="3dbb30f507a110b6" providerId="LiveId" clId="{6B3B4EFF-CE60-494E-BECC-B61895DB44D3}" dt="2024-05-24T03:14:31.190" v="3955" actId="207"/>
          <ac:spMkLst>
            <pc:docMk/>
            <pc:sldMk cId="4013362073" sldId="11279"/>
            <ac:spMk id="368" creationId="{43F0B776-E28D-7B4A-812C-850E1F58EBBE}"/>
          </ac:spMkLst>
        </pc:spChg>
        <pc:spChg chg="mod">
          <ac:chgData name="Bianca Ardito" userId="3dbb30f507a110b6" providerId="LiveId" clId="{6B3B4EFF-CE60-494E-BECC-B61895DB44D3}" dt="2024-05-24T03:14:31.190" v="3955" actId="207"/>
          <ac:spMkLst>
            <pc:docMk/>
            <pc:sldMk cId="4013362073" sldId="11279"/>
            <ac:spMk id="369" creationId="{E9D90024-0C27-DA47-A8FD-16D8932CF15D}"/>
          </ac:spMkLst>
        </pc:spChg>
        <pc:spChg chg="mod">
          <ac:chgData name="Bianca Ardito" userId="3dbb30f507a110b6" providerId="LiveId" clId="{6B3B4EFF-CE60-494E-BECC-B61895DB44D3}" dt="2024-05-24T03:14:31.190" v="3955" actId="207"/>
          <ac:spMkLst>
            <pc:docMk/>
            <pc:sldMk cId="4013362073" sldId="11279"/>
            <ac:spMk id="370" creationId="{9B85C4AB-FB88-E341-9FCC-37B1A5E65F28}"/>
          </ac:spMkLst>
        </pc:spChg>
        <pc:spChg chg="mod">
          <ac:chgData name="Bianca Ardito" userId="3dbb30f507a110b6" providerId="LiveId" clId="{6B3B4EFF-CE60-494E-BECC-B61895DB44D3}" dt="2024-05-24T03:14:31.190" v="3955" actId="207"/>
          <ac:spMkLst>
            <pc:docMk/>
            <pc:sldMk cId="4013362073" sldId="11279"/>
            <ac:spMk id="371" creationId="{B03576A8-4758-2249-B9E3-5C0290D054F5}"/>
          </ac:spMkLst>
        </pc:spChg>
        <pc:spChg chg="mod">
          <ac:chgData name="Bianca Ardito" userId="3dbb30f507a110b6" providerId="LiveId" clId="{6B3B4EFF-CE60-494E-BECC-B61895DB44D3}" dt="2024-05-24T03:14:31.190" v="3955" actId="207"/>
          <ac:spMkLst>
            <pc:docMk/>
            <pc:sldMk cId="4013362073" sldId="11279"/>
            <ac:spMk id="372" creationId="{3B9A1248-2F13-E340-9C43-9ECC8EEFD8D2}"/>
          </ac:spMkLst>
        </pc:spChg>
        <pc:spChg chg="mod">
          <ac:chgData name="Bianca Ardito" userId="3dbb30f507a110b6" providerId="LiveId" clId="{6B3B4EFF-CE60-494E-BECC-B61895DB44D3}" dt="2024-05-24T03:14:31.190" v="3955" actId="207"/>
          <ac:spMkLst>
            <pc:docMk/>
            <pc:sldMk cId="4013362073" sldId="11279"/>
            <ac:spMk id="373" creationId="{8812FD5D-2689-BA4D-83EE-BA231B2EC92F}"/>
          </ac:spMkLst>
        </pc:spChg>
        <pc:spChg chg="mod">
          <ac:chgData name="Bianca Ardito" userId="3dbb30f507a110b6" providerId="LiveId" clId="{6B3B4EFF-CE60-494E-BECC-B61895DB44D3}" dt="2024-05-24T03:14:31.190" v="3955" actId="207"/>
          <ac:spMkLst>
            <pc:docMk/>
            <pc:sldMk cId="4013362073" sldId="11279"/>
            <ac:spMk id="374" creationId="{8FB165DF-856A-B947-9E78-41643E16600C}"/>
          </ac:spMkLst>
        </pc:spChg>
        <pc:spChg chg="mod">
          <ac:chgData name="Bianca Ardito" userId="3dbb30f507a110b6" providerId="LiveId" clId="{6B3B4EFF-CE60-494E-BECC-B61895DB44D3}" dt="2024-05-24T03:14:31.190" v="3955" actId="207"/>
          <ac:spMkLst>
            <pc:docMk/>
            <pc:sldMk cId="4013362073" sldId="11279"/>
            <ac:spMk id="375" creationId="{0C2529EA-2F4C-8045-AD2C-A0D906F3E75E}"/>
          </ac:spMkLst>
        </pc:spChg>
        <pc:spChg chg="mod">
          <ac:chgData name="Bianca Ardito" userId="3dbb30f507a110b6" providerId="LiveId" clId="{6B3B4EFF-CE60-494E-BECC-B61895DB44D3}" dt="2024-05-24T03:14:31.190" v="3955" actId="207"/>
          <ac:spMkLst>
            <pc:docMk/>
            <pc:sldMk cId="4013362073" sldId="11279"/>
            <ac:spMk id="376" creationId="{677B5B4F-104D-7E4D-8B6D-6F7CA2D9D66A}"/>
          </ac:spMkLst>
        </pc:spChg>
        <pc:spChg chg="mod">
          <ac:chgData name="Bianca Ardito" userId="3dbb30f507a110b6" providerId="LiveId" clId="{6B3B4EFF-CE60-494E-BECC-B61895DB44D3}" dt="2024-05-24T03:14:31.190" v="3955" actId="207"/>
          <ac:spMkLst>
            <pc:docMk/>
            <pc:sldMk cId="4013362073" sldId="11279"/>
            <ac:spMk id="377" creationId="{45A3FA5B-211F-D545-A046-48A6C7722DEE}"/>
          </ac:spMkLst>
        </pc:spChg>
        <pc:spChg chg="mod">
          <ac:chgData name="Bianca Ardito" userId="3dbb30f507a110b6" providerId="LiveId" clId="{6B3B4EFF-CE60-494E-BECC-B61895DB44D3}" dt="2024-05-24T03:14:31.190" v="3955" actId="207"/>
          <ac:spMkLst>
            <pc:docMk/>
            <pc:sldMk cId="4013362073" sldId="11279"/>
            <ac:spMk id="378" creationId="{EDC0E169-7275-6F43-AB4C-DF51509128A5}"/>
          </ac:spMkLst>
        </pc:spChg>
        <pc:spChg chg="mod">
          <ac:chgData name="Bianca Ardito" userId="3dbb30f507a110b6" providerId="LiveId" clId="{6B3B4EFF-CE60-494E-BECC-B61895DB44D3}" dt="2024-05-24T03:14:31.190" v="3955" actId="207"/>
          <ac:spMkLst>
            <pc:docMk/>
            <pc:sldMk cId="4013362073" sldId="11279"/>
            <ac:spMk id="379" creationId="{55CF307C-13C2-164A-9618-0AB48AF6414E}"/>
          </ac:spMkLst>
        </pc:spChg>
        <pc:spChg chg="mod">
          <ac:chgData name="Bianca Ardito" userId="3dbb30f507a110b6" providerId="LiveId" clId="{6B3B4EFF-CE60-494E-BECC-B61895DB44D3}" dt="2024-05-24T03:14:31.190" v="3955" actId="207"/>
          <ac:spMkLst>
            <pc:docMk/>
            <pc:sldMk cId="4013362073" sldId="11279"/>
            <ac:spMk id="380" creationId="{83CB564D-1822-3747-B458-C85D753992AC}"/>
          </ac:spMkLst>
        </pc:spChg>
        <pc:spChg chg="mod">
          <ac:chgData name="Bianca Ardito" userId="3dbb30f507a110b6" providerId="LiveId" clId="{6B3B4EFF-CE60-494E-BECC-B61895DB44D3}" dt="2024-05-24T03:14:31.190" v="3955" actId="207"/>
          <ac:spMkLst>
            <pc:docMk/>
            <pc:sldMk cId="4013362073" sldId="11279"/>
            <ac:spMk id="381" creationId="{116DE562-FB6F-894C-AB10-615A0D7E2B3F}"/>
          </ac:spMkLst>
        </pc:spChg>
        <pc:spChg chg="mod">
          <ac:chgData name="Bianca Ardito" userId="3dbb30f507a110b6" providerId="LiveId" clId="{6B3B4EFF-CE60-494E-BECC-B61895DB44D3}" dt="2024-05-24T03:14:31.190" v="3955" actId="207"/>
          <ac:spMkLst>
            <pc:docMk/>
            <pc:sldMk cId="4013362073" sldId="11279"/>
            <ac:spMk id="382" creationId="{079ACAD5-8349-A74C-A448-ADC89B55F3FF}"/>
          </ac:spMkLst>
        </pc:spChg>
        <pc:spChg chg="mod">
          <ac:chgData name="Bianca Ardito" userId="3dbb30f507a110b6" providerId="LiveId" clId="{6B3B4EFF-CE60-494E-BECC-B61895DB44D3}" dt="2024-05-24T03:14:31.190" v="3955" actId="207"/>
          <ac:spMkLst>
            <pc:docMk/>
            <pc:sldMk cId="4013362073" sldId="11279"/>
            <ac:spMk id="383" creationId="{DCC2BE3E-F09A-BC4C-A0E6-3B33D2398536}"/>
          </ac:spMkLst>
        </pc:spChg>
        <pc:spChg chg="mod">
          <ac:chgData name="Bianca Ardito" userId="3dbb30f507a110b6" providerId="LiveId" clId="{6B3B4EFF-CE60-494E-BECC-B61895DB44D3}" dt="2024-05-24T03:14:31.190" v="3955" actId="207"/>
          <ac:spMkLst>
            <pc:docMk/>
            <pc:sldMk cId="4013362073" sldId="11279"/>
            <ac:spMk id="384" creationId="{73B23C74-0D51-D94F-A8FC-8DBBD5CC2340}"/>
          </ac:spMkLst>
        </pc:spChg>
        <pc:spChg chg="mod">
          <ac:chgData name="Bianca Ardito" userId="3dbb30f507a110b6" providerId="LiveId" clId="{6B3B4EFF-CE60-494E-BECC-B61895DB44D3}" dt="2024-05-24T03:14:31.190" v="3955" actId="207"/>
          <ac:spMkLst>
            <pc:docMk/>
            <pc:sldMk cId="4013362073" sldId="11279"/>
            <ac:spMk id="385" creationId="{B77E5572-7E25-ED40-8F33-F3E2C8B8D115}"/>
          </ac:spMkLst>
        </pc:spChg>
        <pc:spChg chg="mod">
          <ac:chgData name="Bianca Ardito" userId="3dbb30f507a110b6" providerId="LiveId" clId="{6B3B4EFF-CE60-494E-BECC-B61895DB44D3}" dt="2024-05-24T03:14:31.190" v="3955" actId="207"/>
          <ac:spMkLst>
            <pc:docMk/>
            <pc:sldMk cId="4013362073" sldId="11279"/>
            <ac:spMk id="386" creationId="{3CE010BA-941C-794C-9ADC-870A0B649830}"/>
          </ac:spMkLst>
        </pc:spChg>
        <pc:spChg chg="mod">
          <ac:chgData name="Bianca Ardito" userId="3dbb30f507a110b6" providerId="LiveId" clId="{6B3B4EFF-CE60-494E-BECC-B61895DB44D3}" dt="2024-05-24T03:14:31.190" v="3955" actId="207"/>
          <ac:spMkLst>
            <pc:docMk/>
            <pc:sldMk cId="4013362073" sldId="11279"/>
            <ac:spMk id="387" creationId="{AD732E07-D8D1-4140-9333-A9FF7FA5DD27}"/>
          </ac:spMkLst>
        </pc:spChg>
        <pc:spChg chg="mod">
          <ac:chgData name="Bianca Ardito" userId="3dbb30f507a110b6" providerId="LiveId" clId="{6B3B4EFF-CE60-494E-BECC-B61895DB44D3}" dt="2024-05-24T03:14:31.190" v="3955" actId="207"/>
          <ac:spMkLst>
            <pc:docMk/>
            <pc:sldMk cId="4013362073" sldId="11279"/>
            <ac:spMk id="388" creationId="{7C0BCDE7-DB1A-AD4A-A34A-6311A3CCB245}"/>
          </ac:spMkLst>
        </pc:spChg>
        <pc:spChg chg="mod">
          <ac:chgData name="Bianca Ardito" userId="3dbb30f507a110b6" providerId="LiveId" clId="{6B3B4EFF-CE60-494E-BECC-B61895DB44D3}" dt="2024-05-24T03:14:31.190" v="3955" actId="207"/>
          <ac:spMkLst>
            <pc:docMk/>
            <pc:sldMk cId="4013362073" sldId="11279"/>
            <ac:spMk id="389" creationId="{22C983DC-3711-B746-A813-A3FF914E531B}"/>
          </ac:spMkLst>
        </pc:spChg>
        <pc:spChg chg="mod">
          <ac:chgData name="Bianca Ardito" userId="3dbb30f507a110b6" providerId="LiveId" clId="{6B3B4EFF-CE60-494E-BECC-B61895DB44D3}" dt="2024-05-24T03:14:31.190" v="3955" actId="207"/>
          <ac:spMkLst>
            <pc:docMk/>
            <pc:sldMk cId="4013362073" sldId="11279"/>
            <ac:spMk id="390" creationId="{1D6D8A99-8D85-6C4B-AF12-BF890C7FEF61}"/>
          </ac:spMkLst>
        </pc:spChg>
        <pc:spChg chg="mod">
          <ac:chgData name="Bianca Ardito" userId="3dbb30f507a110b6" providerId="LiveId" clId="{6B3B4EFF-CE60-494E-BECC-B61895DB44D3}" dt="2024-05-24T03:14:31.190" v="3955" actId="207"/>
          <ac:spMkLst>
            <pc:docMk/>
            <pc:sldMk cId="4013362073" sldId="11279"/>
            <ac:spMk id="391" creationId="{5B8DA7C1-ED5F-6A45-82B1-F84AD394264F}"/>
          </ac:spMkLst>
        </pc:spChg>
        <pc:spChg chg="mod">
          <ac:chgData name="Bianca Ardito" userId="3dbb30f507a110b6" providerId="LiveId" clId="{6B3B4EFF-CE60-494E-BECC-B61895DB44D3}" dt="2024-05-24T03:14:31.190" v="3955" actId="207"/>
          <ac:spMkLst>
            <pc:docMk/>
            <pc:sldMk cId="4013362073" sldId="11279"/>
            <ac:spMk id="392" creationId="{1991A941-6907-F543-A5DB-D4E815653C0D}"/>
          </ac:spMkLst>
        </pc:spChg>
        <pc:spChg chg="mod">
          <ac:chgData name="Bianca Ardito" userId="3dbb30f507a110b6" providerId="LiveId" clId="{6B3B4EFF-CE60-494E-BECC-B61895DB44D3}" dt="2024-05-24T03:14:31.190" v="3955" actId="207"/>
          <ac:spMkLst>
            <pc:docMk/>
            <pc:sldMk cId="4013362073" sldId="11279"/>
            <ac:spMk id="393" creationId="{9377A9F9-D72A-F24C-B2A5-A6D2B1AC2448}"/>
          </ac:spMkLst>
        </pc:spChg>
        <pc:spChg chg="mod">
          <ac:chgData name="Bianca Ardito" userId="3dbb30f507a110b6" providerId="LiveId" clId="{6B3B4EFF-CE60-494E-BECC-B61895DB44D3}" dt="2024-05-24T03:14:31.190" v="3955" actId="207"/>
          <ac:spMkLst>
            <pc:docMk/>
            <pc:sldMk cId="4013362073" sldId="11279"/>
            <ac:spMk id="394" creationId="{B97204F8-8B40-3F42-B3E7-74AB92300ACC}"/>
          </ac:spMkLst>
        </pc:spChg>
        <pc:spChg chg="mod">
          <ac:chgData name="Bianca Ardito" userId="3dbb30f507a110b6" providerId="LiveId" clId="{6B3B4EFF-CE60-494E-BECC-B61895DB44D3}" dt="2024-05-24T03:14:31.190" v="3955" actId="207"/>
          <ac:spMkLst>
            <pc:docMk/>
            <pc:sldMk cId="4013362073" sldId="11279"/>
            <ac:spMk id="395" creationId="{B1B8FEB2-EECA-1049-8882-927883D4EF3C}"/>
          </ac:spMkLst>
        </pc:spChg>
        <pc:spChg chg="mod">
          <ac:chgData name="Bianca Ardito" userId="3dbb30f507a110b6" providerId="LiveId" clId="{6B3B4EFF-CE60-494E-BECC-B61895DB44D3}" dt="2024-05-24T03:14:31.190" v="3955" actId="207"/>
          <ac:spMkLst>
            <pc:docMk/>
            <pc:sldMk cId="4013362073" sldId="11279"/>
            <ac:spMk id="396" creationId="{AA3D9FFF-028A-E84F-9A9E-0FDFEC7E181E}"/>
          </ac:spMkLst>
        </pc:spChg>
        <pc:spChg chg="mod">
          <ac:chgData name="Bianca Ardito" userId="3dbb30f507a110b6" providerId="LiveId" clId="{6B3B4EFF-CE60-494E-BECC-B61895DB44D3}" dt="2024-05-24T03:14:31.190" v="3955" actId="207"/>
          <ac:spMkLst>
            <pc:docMk/>
            <pc:sldMk cId="4013362073" sldId="11279"/>
            <ac:spMk id="397" creationId="{5297A69F-68AE-9340-9A50-3DC8BB65481D}"/>
          </ac:spMkLst>
        </pc:spChg>
        <pc:spChg chg="mod">
          <ac:chgData name="Bianca Ardito" userId="3dbb30f507a110b6" providerId="LiveId" clId="{6B3B4EFF-CE60-494E-BECC-B61895DB44D3}" dt="2024-05-24T03:14:31.190" v="3955" actId="207"/>
          <ac:spMkLst>
            <pc:docMk/>
            <pc:sldMk cId="4013362073" sldId="11279"/>
            <ac:spMk id="398" creationId="{13FD4B97-9E9C-F845-A0B2-958394F640AA}"/>
          </ac:spMkLst>
        </pc:spChg>
        <pc:spChg chg="mod">
          <ac:chgData name="Bianca Ardito" userId="3dbb30f507a110b6" providerId="LiveId" clId="{6B3B4EFF-CE60-494E-BECC-B61895DB44D3}" dt="2024-05-24T03:14:31.190" v="3955" actId="207"/>
          <ac:spMkLst>
            <pc:docMk/>
            <pc:sldMk cId="4013362073" sldId="11279"/>
            <ac:spMk id="399" creationId="{1419A030-C4C4-9342-977A-E18F9F0DCDDC}"/>
          </ac:spMkLst>
        </pc:spChg>
        <pc:spChg chg="mod">
          <ac:chgData name="Bianca Ardito" userId="3dbb30f507a110b6" providerId="LiveId" clId="{6B3B4EFF-CE60-494E-BECC-B61895DB44D3}" dt="2024-05-24T03:14:31.190" v="3955" actId="207"/>
          <ac:spMkLst>
            <pc:docMk/>
            <pc:sldMk cId="4013362073" sldId="11279"/>
            <ac:spMk id="400" creationId="{726F784B-EC0A-F14A-B5B7-8592FD419335}"/>
          </ac:spMkLst>
        </pc:spChg>
        <pc:spChg chg="mod">
          <ac:chgData name="Bianca Ardito" userId="3dbb30f507a110b6" providerId="LiveId" clId="{6B3B4EFF-CE60-494E-BECC-B61895DB44D3}" dt="2024-05-24T03:14:31.190" v="3955" actId="207"/>
          <ac:spMkLst>
            <pc:docMk/>
            <pc:sldMk cId="4013362073" sldId="11279"/>
            <ac:spMk id="401" creationId="{3E649A72-5C56-6C49-B2C6-812E24852F92}"/>
          </ac:spMkLst>
        </pc:spChg>
        <pc:spChg chg="mod">
          <ac:chgData name="Bianca Ardito" userId="3dbb30f507a110b6" providerId="LiveId" clId="{6B3B4EFF-CE60-494E-BECC-B61895DB44D3}" dt="2024-05-24T03:14:31.190" v="3955" actId="207"/>
          <ac:spMkLst>
            <pc:docMk/>
            <pc:sldMk cId="4013362073" sldId="11279"/>
            <ac:spMk id="402" creationId="{D4E1AEBC-D2A6-7242-BA8A-96BF23C1C4F3}"/>
          </ac:spMkLst>
        </pc:spChg>
        <pc:spChg chg="mod">
          <ac:chgData name="Bianca Ardito" userId="3dbb30f507a110b6" providerId="LiveId" clId="{6B3B4EFF-CE60-494E-BECC-B61895DB44D3}" dt="2024-05-24T03:14:31.190" v="3955" actId="207"/>
          <ac:spMkLst>
            <pc:docMk/>
            <pc:sldMk cId="4013362073" sldId="11279"/>
            <ac:spMk id="403" creationId="{3C89928D-D645-4B4B-9004-A4BC7B0382F7}"/>
          </ac:spMkLst>
        </pc:spChg>
        <pc:spChg chg="mod">
          <ac:chgData name="Bianca Ardito" userId="3dbb30f507a110b6" providerId="LiveId" clId="{6B3B4EFF-CE60-494E-BECC-B61895DB44D3}" dt="2024-05-24T03:14:31.190" v="3955" actId="207"/>
          <ac:spMkLst>
            <pc:docMk/>
            <pc:sldMk cId="4013362073" sldId="11279"/>
            <ac:spMk id="404" creationId="{66A50867-7AB6-A34F-9D95-93D7077C1F90}"/>
          </ac:spMkLst>
        </pc:spChg>
        <pc:spChg chg="mod">
          <ac:chgData name="Bianca Ardito" userId="3dbb30f507a110b6" providerId="LiveId" clId="{6B3B4EFF-CE60-494E-BECC-B61895DB44D3}" dt="2024-05-24T03:14:31.190" v="3955" actId="207"/>
          <ac:spMkLst>
            <pc:docMk/>
            <pc:sldMk cId="4013362073" sldId="11279"/>
            <ac:spMk id="405" creationId="{78D6523A-61BE-2C4B-9594-FC2987EBEC34}"/>
          </ac:spMkLst>
        </pc:spChg>
        <pc:spChg chg="mod">
          <ac:chgData name="Bianca Ardito" userId="3dbb30f507a110b6" providerId="LiveId" clId="{6B3B4EFF-CE60-494E-BECC-B61895DB44D3}" dt="2024-05-24T03:14:31.190" v="3955" actId="207"/>
          <ac:spMkLst>
            <pc:docMk/>
            <pc:sldMk cId="4013362073" sldId="11279"/>
            <ac:spMk id="406" creationId="{504D8C76-DD7E-DF49-8563-A63613298B27}"/>
          </ac:spMkLst>
        </pc:spChg>
        <pc:spChg chg="mod">
          <ac:chgData name="Bianca Ardito" userId="3dbb30f507a110b6" providerId="LiveId" clId="{6B3B4EFF-CE60-494E-BECC-B61895DB44D3}" dt="2024-05-24T03:14:31.190" v="3955" actId="207"/>
          <ac:spMkLst>
            <pc:docMk/>
            <pc:sldMk cId="4013362073" sldId="11279"/>
            <ac:spMk id="407" creationId="{9597BEF7-751B-7444-8BCB-2778671DBFD4}"/>
          </ac:spMkLst>
        </pc:spChg>
        <pc:spChg chg="mod">
          <ac:chgData name="Bianca Ardito" userId="3dbb30f507a110b6" providerId="LiveId" clId="{6B3B4EFF-CE60-494E-BECC-B61895DB44D3}" dt="2024-05-24T03:14:31.190" v="3955" actId="207"/>
          <ac:spMkLst>
            <pc:docMk/>
            <pc:sldMk cId="4013362073" sldId="11279"/>
            <ac:spMk id="408" creationId="{DA51FD22-9A12-8341-9F50-73F36C0E324D}"/>
          </ac:spMkLst>
        </pc:spChg>
        <pc:spChg chg="mod">
          <ac:chgData name="Bianca Ardito" userId="3dbb30f507a110b6" providerId="LiveId" clId="{6B3B4EFF-CE60-494E-BECC-B61895DB44D3}" dt="2024-05-24T03:14:31.190" v="3955" actId="207"/>
          <ac:spMkLst>
            <pc:docMk/>
            <pc:sldMk cId="4013362073" sldId="11279"/>
            <ac:spMk id="409" creationId="{AEE83ABF-74F9-B446-A6FF-1871C68C51E9}"/>
          </ac:spMkLst>
        </pc:spChg>
        <pc:spChg chg="mod">
          <ac:chgData name="Bianca Ardito" userId="3dbb30f507a110b6" providerId="LiveId" clId="{6B3B4EFF-CE60-494E-BECC-B61895DB44D3}" dt="2024-05-24T03:14:31.190" v="3955" actId="207"/>
          <ac:spMkLst>
            <pc:docMk/>
            <pc:sldMk cId="4013362073" sldId="11279"/>
            <ac:spMk id="410" creationId="{8F3AFF2E-419D-A44A-A538-104CF609D72A}"/>
          </ac:spMkLst>
        </pc:spChg>
        <pc:spChg chg="mod">
          <ac:chgData name="Bianca Ardito" userId="3dbb30f507a110b6" providerId="LiveId" clId="{6B3B4EFF-CE60-494E-BECC-B61895DB44D3}" dt="2024-05-24T03:14:31.190" v="3955" actId="207"/>
          <ac:spMkLst>
            <pc:docMk/>
            <pc:sldMk cId="4013362073" sldId="11279"/>
            <ac:spMk id="411" creationId="{26D7E1D4-13DE-1740-ABCE-42587D356AEC}"/>
          </ac:spMkLst>
        </pc:spChg>
        <pc:spChg chg="mod">
          <ac:chgData name="Bianca Ardito" userId="3dbb30f507a110b6" providerId="LiveId" clId="{6B3B4EFF-CE60-494E-BECC-B61895DB44D3}" dt="2024-05-24T03:14:31.190" v="3955" actId="207"/>
          <ac:spMkLst>
            <pc:docMk/>
            <pc:sldMk cId="4013362073" sldId="11279"/>
            <ac:spMk id="412" creationId="{8F6655ED-EE7B-DB40-9269-FCFE29232ADF}"/>
          </ac:spMkLst>
        </pc:spChg>
        <pc:spChg chg="mod">
          <ac:chgData name="Bianca Ardito" userId="3dbb30f507a110b6" providerId="LiveId" clId="{6B3B4EFF-CE60-494E-BECC-B61895DB44D3}" dt="2024-05-24T03:14:31.190" v="3955" actId="207"/>
          <ac:spMkLst>
            <pc:docMk/>
            <pc:sldMk cId="4013362073" sldId="11279"/>
            <ac:spMk id="413" creationId="{281C58E2-FEF2-D747-90FC-1EB3EDE6578A}"/>
          </ac:spMkLst>
        </pc:spChg>
        <pc:spChg chg="mod">
          <ac:chgData name="Bianca Ardito" userId="3dbb30f507a110b6" providerId="LiveId" clId="{6B3B4EFF-CE60-494E-BECC-B61895DB44D3}" dt="2024-05-24T03:14:31.190" v="3955" actId="207"/>
          <ac:spMkLst>
            <pc:docMk/>
            <pc:sldMk cId="4013362073" sldId="11279"/>
            <ac:spMk id="414" creationId="{C858EF11-47E2-C945-B78F-8FDCC6D79C11}"/>
          </ac:spMkLst>
        </pc:spChg>
        <pc:spChg chg="mod">
          <ac:chgData name="Bianca Ardito" userId="3dbb30f507a110b6" providerId="LiveId" clId="{6B3B4EFF-CE60-494E-BECC-B61895DB44D3}" dt="2024-05-24T03:14:31.190" v="3955" actId="207"/>
          <ac:spMkLst>
            <pc:docMk/>
            <pc:sldMk cId="4013362073" sldId="11279"/>
            <ac:spMk id="415" creationId="{E26BC2A4-3DA9-804C-AEEE-71EB45F4DC36}"/>
          </ac:spMkLst>
        </pc:spChg>
        <pc:spChg chg="mod">
          <ac:chgData name="Bianca Ardito" userId="3dbb30f507a110b6" providerId="LiveId" clId="{6B3B4EFF-CE60-494E-BECC-B61895DB44D3}" dt="2024-05-24T03:14:31.190" v="3955" actId="207"/>
          <ac:spMkLst>
            <pc:docMk/>
            <pc:sldMk cId="4013362073" sldId="11279"/>
            <ac:spMk id="416" creationId="{03CC5122-D181-0341-A337-F7207478EA03}"/>
          </ac:spMkLst>
        </pc:spChg>
        <pc:spChg chg="mod">
          <ac:chgData name="Bianca Ardito" userId="3dbb30f507a110b6" providerId="LiveId" clId="{6B3B4EFF-CE60-494E-BECC-B61895DB44D3}" dt="2024-05-24T03:14:31.190" v="3955" actId="207"/>
          <ac:spMkLst>
            <pc:docMk/>
            <pc:sldMk cId="4013362073" sldId="11279"/>
            <ac:spMk id="417" creationId="{1D6B3F04-2281-4541-AAE6-66C4C3784F53}"/>
          </ac:spMkLst>
        </pc:spChg>
        <pc:spChg chg="mod">
          <ac:chgData name="Bianca Ardito" userId="3dbb30f507a110b6" providerId="LiveId" clId="{6B3B4EFF-CE60-494E-BECC-B61895DB44D3}" dt="2024-05-24T03:14:31.190" v="3955" actId="207"/>
          <ac:spMkLst>
            <pc:docMk/>
            <pc:sldMk cId="4013362073" sldId="11279"/>
            <ac:spMk id="418" creationId="{2140FA8B-A1A5-B649-AD54-C6A50AFC19AA}"/>
          </ac:spMkLst>
        </pc:spChg>
        <pc:spChg chg="mod">
          <ac:chgData name="Bianca Ardito" userId="3dbb30f507a110b6" providerId="LiveId" clId="{6B3B4EFF-CE60-494E-BECC-B61895DB44D3}" dt="2024-05-24T03:14:31.190" v="3955" actId="207"/>
          <ac:spMkLst>
            <pc:docMk/>
            <pc:sldMk cId="4013362073" sldId="11279"/>
            <ac:spMk id="419" creationId="{190824E3-7715-BC4B-A068-A7A5AC8712C1}"/>
          </ac:spMkLst>
        </pc:spChg>
        <pc:spChg chg="mod">
          <ac:chgData name="Bianca Ardito" userId="3dbb30f507a110b6" providerId="LiveId" clId="{6B3B4EFF-CE60-494E-BECC-B61895DB44D3}" dt="2024-05-24T03:14:31.190" v="3955" actId="207"/>
          <ac:spMkLst>
            <pc:docMk/>
            <pc:sldMk cId="4013362073" sldId="11279"/>
            <ac:spMk id="420" creationId="{0A991281-3305-FD49-A3F6-29A1A36D085E}"/>
          </ac:spMkLst>
        </pc:spChg>
        <pc:spChg chg="mod">
          <ac:chgData name="Bianca Ardito" userId="3dbb30f507a110b6" providerId="LiveId" clId="{6B3B4EFF-CE60-494E-BECC-B61895DB44D3}" dt="2024-05-24T03:14:31.190" v="3955" actId="207"/>
          <ac:spMkLst>
            <pc:docMk/>
            <pc:sldMk cId="4013362073" sldId="11279"/>
            <ac:spMk id="421" creationId="{C1DD193D-5742-F849-8716-FF58A85C279C}"/>
          </ac:spMkLst>
        </pc:spChg>
        <pc:spChg chg="mod">
          <ac:chgData name="Bianca Ardito" userId="3dbb30f507a110b6" providerId="LiveId" clId="{6B3B4EFF-CE60-494E-BECC-B61895DB44D3}" dt="2024-05-24T03:14:31.190" v="3955" actId="207"/>
          <ac:spMkLst>
            <pc:docMk/>
            <pc:sldMk cId="4013362073" sldId="11279"/>
            <ac:spMk id="422" creationId="{029D6EB1-F212-C545-9E91-4F7B81BC66BC}"/>
          </ac:spMkLst>
        </pc:spChg>
        <pc:spChg chg="mod">
          <ac:chgData name="Bianca Ardito" userId="3dbb30f507a110b6" providerId="LiveId" clId="{6B3B4EFF-CE60-494E-BECC-B61895DB44D3}" dt="2024-05-24T03:14:31.190" v="3955" actId="207"/>
          <ac:spMkLst>
            <pc:docMk/>
            <pc:sldMk cId="4013362073" sldId="11279"/>
            <ac:spMk id="423" creationId="{575B0488-210D-144D-BCBC-37997D3EE001}"/>
          </ac:spMkLst>
        </pc:spChg>
        <pc:spChg chg="mod">
          <ac:chgData name="Bianca Ardito" userId="3dbb30f507a110b6" providerId="LiveId" clId="{6B3B4EFF-CE60-494E-BECC-B61895DB44D3}" dt="2024-05-24T03:14:31.190" v="3955" actId="207"/>
          <ac:spMkLst>
            <pc:docMk/>
            <pc:sldMk cId="4013362073" sldId="11279"/>
            <ac:spMk id="424" creationId="{D948CCB0-E6CB-B143-925E-09B184CB655E}"/>
          </ac:spMkLst>
        </pc:spChg>
        <pc:spChg chg="mod">
          <ac:chgData name="Bianca Ardito" userId="3dbb30f507a110b6" providerId="LiveId" clId="{6B3B4EFF-CE60-494E-BECC-B61895DB44D3}" dt="2024-05-24T03:14:31.190" v="3955" actId="207"/>
          <ac:spMkLst>
            <pc:docMk/>
            <pc:sldMk cId="4013362073" sldId="11279"/>
            <ac:spMk id="425" creationId="{CD89383C-3DDD-5545-BF92-34148765979A}"/>
          </ac:spMkLst>
        </pc:spChg>
        <pc:spChg chg="mod">
          <ac:chgData name="Bianca Ardito" userId="3dbb30f507a110b6" providerId="LiveId" clId="{6B3B4EFF-CE60-494E-BECC-B61895DB44D3}" dt="2024-05-24T03:14:31.190" v="3955" actId="207"/>
          <ac:spMkLst>
            <pc:docMk/>
            <pc:sldMk cId="4013362073" sldId="11279"/>
            <ac:spMk id="426" creationId="{0DDC7DB3-049C-984A-8DC6-A246915D5C67}"/>
          </ac:spMkLst>
        </pc:spChg>
        <pc:spChg chg="mod">
          <ac:chgData name="Bianca Ardito" userId="3dbb30f507a110b6" providerId="LiveId" clId="{6B3B4EFF-CE60-494E-BECC-B61895DB44D3}" dt="2024-05-24T03:14:31.190" v="3955" actId="207"/>
          <ac:spMkLst>
            <pc:docMk/>
            <pc:sldMk cId="4013362073" sldId="11279"/>
            <ac:spMk id="427" creationId="{D137E8AC-C536-5542-BC60-11B7EB644B1F}"/>
          </ac:spMkLst>
        </pc:spChg>
        <pc:spChg chg="mod">
          <ac:chgData name="Bianca Ardito" userId="3dbb30f507a110b6" providerId="LiveId" clId="{6B3B4EFF-CE60-494E-BECC-B61895DB44D3}" dt="2024-05-24T03:14:31.190" v="3955" actId="207"/>
          <ac:spMkLst>
            <pc:docMk/>
            <pc:sldMk cId="4013362073" sldId="11279"/>
            <ac:spMk id="428" creationId="{476E4AB3-5D43-9C45-A700-31AC99AE0A1F}"/>
          </ac:spMkLst>
        </pc:spChg>
        <pc:spChg chg="mod">
          <ac:chgData name="Bianca Ardito" userId="3dbb30f507a110b6" providerId="LiveId" clId="{6B3B4EFF-CE60-494E-BECC-B61895DB44D3}" dt="2024-05-24T03:14:31.190" v="3955" actId="207"/>
          <ac:spMkLst>
            <pc:docMk/>
            <pc:sldMk cId="4013362073" sldId="11279"/>
            <ac:spMk id="429" creationId="{FE057C10-7785-9E44-BA5B-46592BB8FDA0}"/>
          </ac:spMkLst>
        </pc:spChg>
        <pc:spChg chg="mod">
          <ac:chgData name="Bianca Ardito" userId="3dbb30f507a110b6" providerId="LiveId" clId="{6B3B4EFF-CE60-494E-BECC-B61895DB44D3}" dt="2024-05-24T03:14:31.190" v="3955" actId="207"/>
          <ac:spMkLst>
            <pc:docMk/>
            <pc:sldMk cId="4013362073" sldId="11279"/>
            <ac:spMk id="430" creationId="{8BC53D46-2678-0547-98DE-83600B17F887}"/>
          </ac:spMkLst>
        </pc:spChg>
        <pc:spChg chg="mod">
          <ac:chgData name="Bianca Ardito" userId="3dbb30f507a110b6" providerId="LiveId" clId="{6B3B4EFF-CE60-494E-BECC-B61895DB44D3}" dt="2024-05-24T03:14:31.190" v="3955" actId="207"/>
          <ac:spMkLst>
            <pc:docMk/>
            <pc:sldMk cId="4013362073" sldId="11279"/>
            <ac:spMk id="431" creationId="{0E9070DC-7C23-8244-A888-5BEE5218B599}"/>
          </ac:spMkLst>
        </pc:spChg>
        <pc:spChg chg="mod">
          <ac:chgData name="Bianca Ardito" userId="3dbb30f507a110b6" providerId="LiveId" clId="{6B3B4EFF-CE60-494E-BECC-B61895DB44D3}" dt="2024-05-24T03:14:31.190" v="3955" actId="207"/>
          <ac:spMkLst>
            <pc:docMk/>
            <pc:sldMk cId="4013362073" sldId="11279"/>
            <ac:spMk id="432" creationId="{CE591DC1-4C45-D346-8FCD-CC0A49FB532A}"/>
          </ac:spMkLst>
        </pc:spChg>
        <pc:spChg chg="mod">
          <ac:chgData name="Bianca Ardito" userId="3dbb30f507a110b6" providerId="LiveId" clId="{6B3B4EFF-CE60-494E-BECC-B61895DB44D3}" dt="2024-05-24T03:14:31.190" v="3955" actId="207"/>
          <ac:spMkLst>
            <pc:docMk/>
            <pc:sldMk cId="4013362073" sldId="11279"/>
            <ac:spMk id="433" creationId="{5151E276-7049-8842-B86D-662F5DDF0C84}"/>
          </ac:spMkLst>
        </pc:spChg>
        <pc:spChg chg="mod">
          <ac:chgData name="Bianca Ardito" userId="3dbb30f507a110b6" providerId="LiveId" clId="{6B3B4EFF-CE60-494E-BECC-B61895DB44D3}" dt="2024-05-24T03:14:31.190" v="3955" actId="207"/>
          <ac:spMkLst>
            <pc:docMk/>
            <pc:sldMk cId="4013362073" sldId="11279"/>
            <ac:spMk id="434" creationId="{E31A66B0-0115-F04B-A1B1-1F0FE7170588}"/>
          </ac:spMkLst>
        </pc:spChg>
        <pc:spChg chg="mod">
          <ac:chgData name="Bianca Ardito" userId="3dbb30f507a110b6" providerId="LiveId" clId="{6B3B4EFF-CE60-494E-BECC-B61895DB44D3}" dt="2024-05-24T03:14:31.190" v="3955" actId="207"/>
          <ac:spMkLst>
            <pc:docMk/>
            <pc:sldMk cId="4013362073" sldId="11279"/>
            <ac:spMk id="435" creationId="{4E7753B6-2B60-3347-83D0-AE8345E874D6}"/>
          </ac:spMkLst>
        </pc:spChg>
        <pc:spChg chg="mod">
          <ac:chgData name="Bianca Ardito" userId="3dbb30f507a110b6" providerId="LiveId" clId="{6B3B4EFF-CE60-494E-BECC-B61895DB44D3}" dt="2024-05-24T03:14:31.190" v="3955" actId="207"/>
          <ac:spMkLst>
            <pc:docMk/>
            <pc:sldMk cId="4013362073" sldId="11279"/>
            <ac:spMk id="436" creationId="{C73762F8-2AD1-E44D-8E13-2D8652F49E86}"/>
          </ac:spMkLst>
        </pc:spChg>
        <pc:spChg chg="mod">
          <ac:chgData name="Bianca Ardito" userId="3dbb30f507a110b6" providerId="LiveId" clId="{6B3B4EFF-CE60-494E-BECC-B61895DB44D3}" dt="2024-05-24T03:14:31.190" v="3955" actId="207"/>
          <ac:spMkLst>
            <pc:docMk/>
            <pc:sldMk cId="4013362073" sldId="11279"/>
            <ac:spMk id="437" creationId="{C38ABA4D-C99C-D04F-9B3F-0865942727EB}"/>
          </ac:spMkLst>
        </pc:spChg>
        <pc:spChg chg="mod">
          <ac:chgData name="Bianca Ardito" userId="3dbb30f507a110b6" providerId="LiveId" clId="{6B3B4EFF-CE60-494E-BECC-B61895DB44D3}" dt="2024-05-24T03:14:31.190" v="3955" actId="207"/>
          <ac:spMkLst>
            <pc:docMk/>
            <pc:sldMk cId="4013362073" sldId="11279"/>
            <ac:spMk id="438" creationId="{34A9240B-F298-254B-AF59-CE7D35EA4B73}"/>
          </ac:spMkLst>
        </pc:spChg>
        <pc:spChg chg="mod">
          <ac:chgData name="Bianca Ardito" userId="3dbb30f507a110b6" providerId="LiveId" clId="{6B3B4EFF-CE60-494E-BECC-B61895DB44D3}" dt="2024-05-24T03:14:31.190" v="3955" actId="207"/>
          <ac:spMkLst>
            <pc:docMk/>
            <pc:sldMk cId="4013362073" sldId="11279"/>
            <ac:spMk id="439" creationId="{C428EA56-7204-804A-AC59-6DE8641B68B7}"/>
          </ac:spMkLst>
        </pc:spChg>
        <pc:spChg chg="mod">
          <ac:chgData name="Bianca Ardito" userId="3dbb30f507a110b6" providerId="LiveId" clId="{6B3B4EFF-CE60-494E-BECC-B61895DB44D3}" dt="2024-05-24T03:14:31.190" v="3955" actId="207"/>
          <ac:spMkLst>
            <pc:docMk/>
            <pc:sldMk cId="4013362073" sldId="11279"/>
            <ac:spMk id="440" creationId="{ADA7675E-A6AD-4843-8944-FFEC333865C3}"/>
          </ac:spMkLst>
        </pc:spChg>
        <pc:spChg chg="mod">
          <ac:chgData name="Bianca Ardito" userId="3dbb30f507a110b6" providerId="LiveId" clId="{6B3B4EFF-CE60-494E-BECC-B61895DB44D3}" dt="2024-05-24T03:14:31.190" v="3955" actId="207"/>
          <ac:spMkLst>
            <pc:docMk/>
            <pc:sldMk cId="4013362073" sldId="11279"/>
            <ac:spMk id="441" creationId="{4906C840-A7EB-C347-94FB-6E01722D642C}"/>
          </ac:spMkLst>
        </pc:spChg>
        <pc:spChg chg="mod">
          <ac:chgData name="Bianca Ardito" userId="3dbb30f507a110b6" providerId="LiveId" clId="{6B3B4EFF-CE60-494E-BECC-B61895DB44D3}" dt="2024-05-24T03:14:31.190" v="3955" actId="207"/>
          <ac:spMkLst>
            <pc:docMk/>
            <pc:sldMk cId="4013362073" sldId="11279"/>
            <ac:spMk id="442" creationId="{C9669FFE-B8B5-6A47-B51A-F866AAE26E48}"/>
          </ac:spMkLst>
        </pc:spChg>
        <pc:spChg chg="mod">
          <ac:chgData name="Bianca Ardito" userId="3dbb30f507a110b6" providerId="LiveId" clId="{6B3B4EFF-CE60-494E-BECC-B61895DB44D3}" dt="2024-05-24T03:14:31.190" v="3955" actId="207"/>
          <ac:spMkLst>
            <pc:docMk/>
            <pc:sldMk cId="4013362073" sldId="11279"/>
            <ac:spMk id="443" creationId="{272B9827-5C9E-BF4E-90FF-76CB3267A323}"/>
          </ac:spMkLst>
        </pc:spChg>
        <pc:spChg chg="mod">
          <ac:chgData name="Bianca Ardito" userId="3dbb30f507a110b6" providerId="LiveId" clId="{6B3B4EFF-CE60-494E-BECC-B61895DB44D3}" dt="2024-05-24T03:14:31.190" v="3955" actId="207"/>
          <ac:spMkLst>
            <pc:docMk/>
            <pc:sldMk cId="4013362073" sldId="11279"/>
            <ac:spMk id="444" creationId="{88E8756E-4E99-034C-9D72-A2F3E38A36D2}"/>
          </ac:spMkLst>
        </pc:spChg>
        <pc:spChg chg="mod">
          <ac:chgData name="Bianca Ardito" userId="3dbb30f507a110b6" providerId="LiveId" clId="{6B3B4EFF-CE60-494E-BECC-B61895DB44D3}" dt="2024-05-24T03:14:31.190" v="3955" actId="207"/>
          <ac:spMkLst>
            <pc:docMk/>
            <pc:sldMk cId="4013362073" sldId="11279"/>
            <ac:spMk id="445" creationId="{D02FB220-1AEC-1046-A8E9-45770B6BE4AD}"/>
          </ac:spMkLst>
        </pc:spChg>
        <pc:spChg chg="mod">
          <ac:chgData name="Bianca Ardito" userId="3dbb30f507a110b6" providerId="LiveId" clId="{6B3B4EFF-CE60-494E-BECC-B61895DB44D3}" dt="2024-05-24T03:14:31.190" v="3955" actId="207"/>
          <ac:spMkLst>
            <pc:docMk/>
            <pc:sldMk cId="4013362073" sldId="11279"/>
            <ac:spMk id="446" creationId="{8904FD92-9889-D64B-AC74-CDA9E2FDFF66}"/>
          </ac:spMkLst>
        </pc:spChg>
        <pc:spChg chg="mod">
          <ac:chgData name="Bianca Ardito" userId="3dbb30f507a110b6" providerId="LiveId" clId="{6B3B4EFF-CE60-494E-BECC-B61895DB44D3}" dt="2024-05-24T03:14:31.190" v="3955" actId="207"/>
          <ac:spMkLst>
            <pc:docMk/>
            <pc:sldMk cId="4013362073" sldId="11279"/>
            <ac:spMk id="447" creationId="{E958E8DA-6AD9-984B-A479-8EB6601FCFE3}"/>
          </ac:spMkLst>
        </pc:spChg>
        <pc:spChg chg="mod">
          <ac:chgData name="Bianca Ardito" userId="3dbb30f507a110b6" providerId="LiveId" clId="{6B3B4EFF-CE60-494E-BECC-B61895DB44D3}" dt="2024-05-24T03:14:31.190" v="3955" actId="207"/>
          <ac:spMkLst>
            <pc:docMk/>
            <pc:sldMk cId="4013362073" sldId="11279"/>
            <ac:spMk id="448" creationId="{92A2CB4B-EAD8-5E42-898B-1552B01D0E9C}"/>
          </ac:spMkLst>
        </pc:spChg>
        <pc:spChg chg="mod">
          <ac:chgData name="Bianca Ardito" userId="3dbb30f507a110b6" providerId="LiveId" clId="{6B3B4EFF-CE60-494E-BECC-B61895DB44D3}" dt="2024-05-24T03:14:31.190" v="3955" actId="207"/>
          <ac:spMkLst>
            <pc:docMk/>
            <pc:sldMk cId="4013362073" sldId="11279"/>
            <ac:spMk id="449" creationId="{F38FBA8C-B47B-134C-8322-B265408041EE}"/>
          </ac:spMkLst>
        </pc:spChg>
        <pc:spChg chg="mod">
          <ac:chgData name="Bianca Ardito" userId="3dbb30f507a110b6" providerId="LiveId" clId="{6B3B4EFF-CE60-494E-BECC-B61895DB44D3}" dt="2024-05-24T03:14:31.190" v="3955" actId="207"/>
          <ac:spMkLst>
            <pc:docMk/>
            <pc:sldMk cId="4013362073" sldId="11279"/>
            <ac:spMk id="450" creationId="{14E8BD18-D6E6-2A49-A54A-2F8106D9634A}"/>
          </ac:spMkLst>
        </pc:spChg>
        <pc:spChg chg="mod">
          <ac:chgData name="Bianca Ardito" userId="3dbb30f507a110b6" providerId="LiveId" clId="{6B3B4EFF-CE60-494E-BECC-B61895DB44D3}" dt="2024-05-24T03:14:31.190" v="3955" actId="207"/>
          <ac:spMkLst>
            <pc:docMk/>
            <pc:sldMk cId="4013362073" sldId="11279"/>
            <ac:spMk id="451" creationId="{ECECEEBE-4C2C-FA46-911F-E955840C48A1}"/>
          </ac:spMkLst>
        </pc:spChg>
        <pc:spChg chg="mod">
          <ac:chgData name="Bianca Ardito" userId="3dbb30f507a110b6" providerId="LiveId" clId="{6B3B4EFF-CE60-494E-BECC-B61895DB44D3}" dt="2024-05-24T03:14:31.190" v="3955" actId="207"/>
          <ac:spMkLst>
            <pc:docMk/>
            <pc:sldMk cId="4013362073" sldId="11279"/>
            <ac:spMk id="452" creationId="{0BB75599-F0B4-774A-931E-E972E782BF93}"/>
          </ac:spMkLst>
        </pc:spChg>
        <pc:spChg chg="mod">
          <ac:chgData name="Bianca Ardito" userId="3dbb30f507a110b6" providerId="LiveId" clId="{6B3B4EFF-CE60-494E-BECC-B61895DB44D3}" dt="2024-05-24T03:14:31.190" v="3955" actId="207"/>
          <ac:spMkLst>
            <pc:docMk/>
            <pc:sldMk cId="4013362073" sldId="11279"/>
            <ac:spMk id="453" creationId="{3DDE8F74-C25D-7E43-B84D-7013A6D5BC73}"/>
          </ac:spMkLst>
        </pc:spChg>
        <pc:spChg chg="mod">
          <ac:chgData name="Bianca Ardito" userId="3dbb30f507a110b6" providerId="LiveId" clId="{6B3B4EFF-CE60-494E-BECC-B61895DB44D3}" dt="2024-05-24T03:14:31.190" v="3955" actId="207"/>
          <ac:spMkLst>
            <pc:docMk/>
            <pc:sldMk cId="4013362073" sldId="11279"/>
            <ac:spMk id="454" creationId="{D5C3A8F0-A9C3-C64F-8B75-148FDA43DB78}"/>
          </ac:spMkLst>
        </pc:spChg>
        <pc:spChg chg="mod">
          <ac:chgData name="Bianca Ardito" userId="3dbb30f507a110b6" providerId="LiveId" clId="{6B3B4EFF-CE60-494E-BECC-B61895DB44D3}" dt="2024-05-24T03:14:31.190" v="3955" actId="207"/>
          <ac:spMkLst>
            <pc:docMk/>
            <pc:sldMk cId="4013362073" sldId="11279"/>
            <ac:spMk id="455" creationId="{5BDA4203-A1B6-EE4C-A9FD-BB686E06C831}"/>
          </ac:spMkLst>
        </pc:spChg>
        <pc:spChg chg="mod">
          <ac:chgData name="Bianca Ardito" userId="3dbb30f507a110b6" providerId="LiveId" clId="{6B3B4EFF-CE60-494E-BECC-B61895DB44D3}" dt="2024-05-24T03:14:31.190" v="3955" actId="207"/>
          <ac:spMkLst>
            <pc:docMk/>
            <pc:sldMk cId="4013362073" sldId="11279"/>
            <ac:spMk id="456" creationId="{387D8DBB-7DDB-0F4C-A9E2-52EA61605D5E}"/>
          </ac:spMkLst>
        </pc:spChg>
        <pc:spChg chg="mod">
          <ac:chgData name="Bianca Ardito" userId="3dbb30f507a110b6" providerId="LiveId" clId="{6B3B4EFF-CE60-494E-BECC-B61895DB44D3}" dt="2024-05-24T03:14:31.190" v="3955" actId="207"/>
          <ac:spMkLst>
            <pc:docMk/>
            <pc:sldMk cId="4013362073" sldId="11279"/>
            <ac:spMk id="457" creationId="{A9B2F0E9-22C3-0445-AC70-E0B21B4434DD}"/>
          </ac:spMkLst>
        </pc:spChg>
        <pc:spChg chg="mod">
          <ac:chgData name="Bianca Ardito" userId="3dbb30f507a110b6" providerId="LiveId" clId="{6B3B4EFF-CE60-494E-BECC-B61895DB44D3}" dt="2024-05-24T03:14:31.190" v="3955" actId="207"/>
          <ac:spMkLst>
            <pc:docMk/>
            <pc:sldMk cId="4013362073" sldId="11279"/>
            <ac:spMk id="458" creationId="{6EFEE920-69AA-6341-A4BC-830E0C944C40}"/>
          </ac:spMkLst>
        </pc:spChg>
        <pc:spChg chg="mod">
          <ac:chgData name="Bianca Ardito" userId="3dbb30f507a110b6" providerId="LiveId" clId="{6B3B4EFF-CE60-494E-BECC-B61895DB44D3}" dt="2024-05-24T03:14:31.190" v="3955" actId="207"/>
          <ac:spMkLst>
            <pc:docMk/>
            <pc:sldMk cId="4013362073" sldId="11279"/>
            <ac:spMk id="459" creationId="{A5E8495A-D5B6-0C4D-88FE-1CD4C14EF1B8}"/>
          </ac:spMkLst>
        </pc:spChg>
        <pc:spChg chg="mod">
          <ac:chgData name="Bianca Ardito" userId="3dbb30f507a110b6" providerId="LiveId" clId="{6B3B4EFF-CE60-494E-BECC-B61895DB44D3}" dt="2024-05-24T03:14:31.190" v="3955" actId="207"/>
          <ac:spMkLst>
            <pc:docMk/>
            <pc:sldMk cId="4013362073" sldId="11279"/>
            <ac:spMk id="460" creationId="{2BA77120-81BF-384B-A223-CEDF4C7F7C60}"/>
          </ac:spMkLst>
        </pc:spChg>
        <pc:spChg chg="mod">
          <ac:chgData name="Bianca Ardito" userId="3dbb30f507a110b6" providerId="LiveId" clId="{6B3B4EFF-CE60-494E-BECC-B61895DB44D3}" dt="2024-05-24T03:14:31.190" v="3955" actId="207"/>
          <ac:spMkLst>
            <pc:docMk/>
            <pc:sldMk cId="4013362073" sldId="11279"/>
            <ac:spMk id="461" creationId="{B700F1A2-18BA-604D-BCA3-3C0116B26977}"/>
          </ac:spMkLst>
        </pc:spChg>
        <pc:spChg chg="mod">
          <ac:chgData name="Bianca Ardito" userId="3dbb30f507a110b6" providerId="LiveId" clId="{6B3B4EFF-CE60-494E-BECC-B61895DB44D3}" dt="2024-05-24T03:14:31.190" v="3955" actId="207"/>
          <ac:spMkLst>
            <pc:docMk/>
            <pc:sldMk cId="4013362073" sldId="11279"/>
            <ac:spMk id="462" creationId="{1DD794F4-13CE-0140-BECF-DD04B97B34DE}"/>
          </ac:spMkLst>
        </pc:spChg>
        <pc:spChg chg="mod">
          <ac:chgData name="Bianca Ardito" userId="3dbb30f507a110b6" providerId="LiveId" clId="{6B3B4EFF-CE60-494E-BECC-B61895DB44D3}" dt="2024-05-24T03:14:31.190" v="3955" actId="207"/>
          <ac:spMkLst>
            <pc:docMk/>
            <pc:sldMk cId="4013362073" sldId="11279"/>
            <ac:spMk id="463" creationId="{E055808B-4EBB-734E-8784-1CE9F206009A}"/>
          </ac:spMkLst>
        </pc:spChg>
        <pc:spChg chg="mod">
          <ac:chgData name="Bianca Ardito" userId="3dbb30f507a110b6" providerId="LiveId" clId="{6B3B4EFF-CE60-494E-BECC-B61895DB44D3}" dt="2024-05-24T03:14:31.190" v="3955" actId="207"/>
          <ac:spMkLst>
            <pc:docMk/>
            <pc:sldMk cId="4013362073" sldId="11279"/>
            <ac:spMk id="464" creationId="{BFDE446E-FEE8-B544-A1E9-E67D9DB0EAA9}"/>
          </ac:spMkLst>
        </pc:spChg>
        <pc:spChg chg="mod">
          <ac:chgData name="Bianca Ardito" userId="3dbb30f507a110b6" providerId="LiveId" clId="{6B3B4EFF-CE60-494E-BECC-B61895DB44D3}" dt="2024-05-24T03:14:31.190" v="3955" actId="207"/>
          <ac:spMkLst>
            <pc:docMk/>
            <pc:sldMk cId="4013362073" sldId="11279"/>
            <ac:spMk id="465" creationId="{AE8441C9-2F85-6344-9F1D-72CAD6785CE9}"/>
          </ac:spMkLst>
        </pc:spChg>
        <pc:spChg chg="mod">
          <ac:chgData name="Bianca Ardito" userId="3dbb30f507a110b6" providerId="LiveId" clId="{6B3B4EFF-CE60-494E-BECC-B61895DB44D3}" dt="2024-05-24T03:14:31.190" v="3955" actId="207"/>
          <ac:spMkLst>
            <pc:docMk/>
            <pc:sldMk cId="4013362073" sldId="11279"/>
            <ac:spMk id="466" creationId="{84A6DF0B-4A95-EF4C-8612-D967B429675C}"/>
          </ac:spMkLst>
        </pc:spChg>
        <pc:spChg chg="mod">
          <ac:chgData name="Bianca Ardito" userId="3dbb30f507a110b6" providerId="LiveId" clId="{6B3B4EFF-CE60-494E-BECC-B61895DB44D3}" dt="2024-05-24T03:14:31.190" v="3955" actId="207"/>
          <ac:spMkLst>
            <pc:docMk/>
            <pc:sldMk cId="4013362073" sldId="11279"/>
            <ac:spMk id="467" creationId="{9587F36B-A83A-8944-89EB-03D48E605F1E}"/>
          </ac:spMkLst>
        </pc:spChg>
        <pc:spChg chg="mod">
          <ac:chgData name="Bianca Ardito" userId="3dbb30f507a110b6" providerId="LiveId" clId="{6B3B4EFF-CE60-494E-BECC-B61895DB44D3}" dt="2024-05-24T03:14:31.190" v="3955" actId="207"/>
          <ac:spMkLst>
            <pc:docMk/>
            <pc:sldMk cId="4013362073" sldId="11279"/>
            <ac:spMk id="469" creationId="{853981E9-87BD-3A4D-A5C2-23E677C0A6C6}"/>
          </ac:spMkLst>
        </pc:spChg>
        <pc:spChg chg="mod">
          <ac:chgData name="Bianca Ardito" userId="3dbb30f507a110b6" providerId="LiveId" clId="{6B3B4EFF-CE60-494E-BECC-B61895DB44D3}" dt="2024-05-24T03:14:31.190" v="3955" actId="207"/>
          <ac:spMkLst>
            <pc:docMk/>
            <pc:sldMk cId="4013362073" sldId="11279"/>
            <ac:spMk id="470" creationId="{6651AE64-3581-4840-9782-580021672CB9}"/>
          </ac:spMkLst>
        </pc:spChg>
        <pc:spChg chg="mod">
          <ac:chgData name="Bianca Ardito" userId="3dbb30f507a110b6" providerId="LiveId" clId="{6B3B4EFF-CE60-494E-BECC-B61895DB44D3}" dt="2024-05-24T03:14:31.190" v="3955" actId="207"/>
          <ac:spMkLst>
            <pc:docMk/>
            <pc:sldMk cId="4013362073" sldId="11279"/>
            <ac:spMk id="471" creationId="{1942719A-25C1-924C-A783-4B8D893B00B9}"/>
          </ac:spMkLst>
        </pc:spChg>
        <pc:spChg chg="mod">
          <ac:chgData name="Bianca Ardito" userId="3dbb30f507a110b6" providerId="LiveId" clId="{6B3B4EFF-CE60-494E-BECC-B61895DB44D3}" dt="2024-05-24T03:14:31.190" v="3955" actId="207"/>
          <ac:spMkLst>
            <pc:docMk/>
            <pc:sldMk cId="4013362073" sldId="11279"/>
            <ac:spMk id="472" creationId="{B748A949-7B93-FE4C-AC8C-D4DEB971B86F}"/>
          </ac:spMkLst>
        </pc:spChg>
        <pc:spChg chg="mod">
          <ac:chgData name="Bianca Ardito" userId="3dbb30f507a110b6" providerId="LiveId" clId="{6B3B4EFF-CE60-494E-BECC-B61895DB44D3}" dt="2024-05-24T03:14:31.190" v="3955" actId="207"/>
          <ac:spMkLst>
            <pc:docMk/>
            <pc:sldMk cId="4013362073" sldId="11279"/>
            <ac:spMk id="473" creationId="{F805460C-876B-9348-A8BC-5983D31FA723}"/>
          </ac:spMkLst>
        </pc:spChg>
        <pc:spChg chg="mod">
          <ac:chgData name="Bianca Ardito" userId="3dbb30f507a110b6" providerId="LiveId" clId="{6B3B4EFF-CE60-494E-BECC-B61895DB44D3}" dt="2024-05-24T03:14:31.190" v="3955" actId="207"/>
          <ac:spMkLst>
            <pc:docMk/>
            <pc:sldMk cId="4013362073" sldId="11279"/>
            <ac:spMk id="474" creationId="{D8BA7B99-EDB6-1A48-BBC6-CF34FFDA71D1}"/>
          </ac:spMkLst>
        </pc:spChg>
        <pc:spChg chg="mod">
          <ac:chgData name="Bianca Ardito" userId="3dbb30f507a110b6" providerId="LiveId" clId="{6B3B4EFF-CE60-494E-BECC-B61895DB44D3}" dt="2024-05-24T03:14:31.190" v="3955" actId="207"/>
          <ac:spMkLst>
            <pc:docMk/>
            <pc:sldMk cId="4013362073" sldId="11279"/>
            <ac:spMk id="475" creationId="{799355F1-3FE3-5443-BED1-9FECB9E7474B}"/>
          </ac:spMkLst>
        </pc:spChg>
        <pc:grpChg chg="mod">
          <ac:chgData name="Bianca Ardito" userId="3dbb30f507a110b6" providerId="LiveId" clId="{6B3B4EFF-CE60-494E-BECC-B61895DB44D3}" dt="2024-05-24T03:14:31.190" v="3955" actId="207"/>
          <ac:grpSpMkLst>
            <pc:docMk/>
            <pc:sldMk cId="4013362073" sldId="11279"/>
            <ac:grpSpMk id="244" creationId="{DA44CC00-94CE-0A48-BBAF-82271E31E8FB}"/>
          </ac:grpSpMkLst>
        </pc:grpChg>
        <pc:grpChg chg="mod">
          <ac:chgData name="Bianca Ardito" userId="3dbb30f507a110b6" providerId="LiveId" clId="{6B3B4EFF-CE60-494E-BECC-B61895DB44D3}" dt="2024-05-24T03:14:31.190" v="3955" actId="207"/>
          <ac:grpSpMkLst>
            <pc:docMk/>
            <pc:sldMk cId="4013362073" sldId="11279"/>
            <ac:grpSpMk id="468" creationId="{C367453B-8B3B-D14D-8773-DE02C7CA936F}"/>
          </ac:grpSpMkLst>
        </pc:grpChg>
        <pc:graphicFrameChg chg="mod">
          <ac:chgData name="Bianca Ardito" userId="3dbb30f507a110b6" providerId="LiveId" clId="{6B3B4EFF-CE60-494E-BECC-B61895DB44D3}" dt="2024-05-24T03:14:27.552" v="3954"/>
          <ac:graphicFrameMkLst>
            <pc:docMk/>
            <pc:sldMk cId="4013362073" sldId="11279"/>
            <ac:graphicFrameMk id="7" creationId="{2E82AB34-BDB6-A562-B4BA-C91D7794AFC6}"/>
          </ac:graphicFrameMkLst>
        </pc:graphicFrameChg>
      </pc:sldChg>
      <pc:sldChg chg="addSp delSp modSp mod">
        <pc:chgData name="Bianca Ardito" userId="3dbb30f507a110b6" providerId="LiveId" clId="{6B3B4EFF-CE60-494E-BECC-B61895DB44D3}" dt="2024-05-24T02:55:55.430" v="3150"/>
        <pc:sldMkLst>
          <pc:docMk/>
          <pc:sldMk cId="3946442108" sldId="11280"/>
        </pc:sldMkLst>
        <pc:spChg chg="add del mod modVis">
          <ac:chgData name="Bianca Ardito" userId="3dbb30f507a110b6" providerId="LiveId" clId="{6B3B4EFF-CE60-494E-BECC-B61895DB44D3}" dt="2024-05-24T02:02:15.568" v="844"/>
          <ac:spMkLst>
            <pc:docMk/>
            <pc:sldMk cId="3946442108" sldId="11280"/>
            <ac:spMk id="2" creationId="{C5952CCC-E939-BA21-2B82-7552FD9685FB}"/>
          </ac:spMkLst>
        </pc:spChg>
        <pc:spChg chg="mod">
          <ac:chgData name="Bianca Ardito" userId="3dbb30f507a110b6" providerId="LiveId" clId="{6B3B4EFF-CE60-494E-BECC-B61895DB44D3}" dt="2024-05-24T02:55:29.183" v="3138" actId="948"/>
          <ac:spMkLst>
            <pc:docMk/>
            <pc:sldMk cId="3946442108" sldId="11280"/>
            <ac:spMk id="5" creationId="{5303CCFF-BA52-A64A-8BB6-07AD821FFC1F}"/>
          </ac:spMkLst>
        </pc:spChg>
        <pc:graphicFrameChg chg="add mod ord modVis replST">
          <ac:chgData name="Bianca Ardito" userId="3dbb30f507a110b6" providerId="LiveId" clId="{6B3B4EFF-CE60-494E-BECC-B61895DB44D3}" dt="2024-05-24T02:55:29.183" v="3142"/>
          <ac:graphicFrameMkLst>
            <pc:docMk/>
            <pc:sldMk cId="3946442108" sldId="11280"/>
            <ac:graphicFrameMk id="3" creationId="{E21C7CB7-9470-DA26-C7C1-B25F0EC58910}"/>
          </ac:graphicFrameMkLst>
        </pc:graphicFrameChg>
        <pc:graphicFrameChg chg="mod modGraphic">
          <ac:chgData name="Bianca Ardito" userId="3dbb30f507a110b6" providerId="LiveId" clId="{6B3B4EFF-CE60-494E-BECC-B61895DB44D3}" dt="2024-05-24T02:55:55.430" v="3150"/>
          <ac:graphicFrameMkLst>
            <pc:docMk/>
            <pc:sldMk cId="3946442108" sldId="11280"/>
            <ac:graphicFrameMk id="16" creationId="{EC21F79C-ECDA-EA49-9AC6-78B80C48632E}"/>
          </ac:graphicFrameMkLst>
        </pc:graphicFrameChg>
        <pc:graphicFrameChg chg="mod modGraphic">
          <ac:chgData name="Bianca Ardito" userId="3dbb30f507a110b6" providerId="LiveId" clId="{6B3B4EFF-CE60-494E-BECC-B61895DB44D3}" dt="2024-05-24T02:55:53.061" v="3149" actId="572"/>
          <ac:graphicFrameMkLst>
            <pc:docMk/>
            <pc:sldMk cId="3946442108" sldId="11280"/>
            <ac:graphicFrameMk id="17" creationId="{FD3C34E2-57D2-6245-A471-70042A946B30}"/>
          </ac:graphicFrameMkLst>
        </pc:graphicFrameChg>
      </pc:sldChg>
      <pc:sldChg chg="addSp modSp mod">
        <pc:chgData name="Bianca Ardito" userId="3dbb30f507a110b6" providerId="LiveId" clId="{6B3B4EFF-CE60-494E-BECC-B61895DB44D3}" dt="2024-05-24T02:59:03.482" v="3209" actId="207"/>
        <pc:sldMkLst>
          <pc:docMk/>
          <pc:sldMk cId="1515056707" sldId="11281"/>
        </pc:sldMkLst>
        <pc:spChg chg="mod">
          <ac:chgData name="Bianca Ardito" userId="3dbb30f507a110b6" providerId="LiveId" clId="{6B3B4EFF-CE60-494E-BECC-B61895DB44D3}" dt="2024-05-24T02:58:45.424" v="3200" actId="207"/>
          <ac:spMkLst>
            <pc:docMk/>
            <pc:sldMk cId="1515056707" sldId="11281"/>
            <ac:spMk id="14" creationId="{F207B0F1-5943-FC4C-BB23-6C9535B73F58}"/>
          </ac:spMkLst>
        </pc:spChg>
        <pc:spChg chg="mod">
          <ac:chgData name="Bianca Ardito" userId="3dbb30f507a110b6" providerId="LiveId" clId="{6B3B4EFF-CE60-494E-BECC-B61895DB44D3}" dt="2024-05-24T02:58:47.129" v="3201" actId="207"/>
          <ac:spMkLst>
            <pc:docMk/>
            <pc:sldMk cId="1515056707" sldId="11281"/>
            <ac:spMk id="15" creationId="{6C758278-F233-CC49-8FED-43F233E4A1EF}"/>
          </ac:spMkLst>
        </pc:spChg>
        <pc:spChg chg="mod">
          <ac:chgData name="Bianca Ardito" userId="3dbb30f507a110b6" providerId="LiveId" clId="{6B3B4EFF-CE60-494E-BECC-B61895DB44D3}" dt="2024-05-24T02:58:48.493" v="3202" actId="207"/>
          <ac:spMkLst>
            <pc:docMk/>
            <pc:sldMk cId="1515056707" sldId="11281"/>
            <ac:spMk id="16" creationId="{D60818A5-B315-2E43-BB4A-9F61C2018887}"/>
          </ac:spMkLst>
        </pc:spChg>
        <pc:spChg chg="mod">
          <ac:chgData name="Bianca Ardito" userId="3dbb30f507a110b6" providerId="LiveId" clId="{6B3B4EFF-CE60-494E-BECC-B61895DB44D3}" dt="2024-05-24T02:58:49.701" v="3203" actId="207"/>
          <ac:spMkLst>
            <pc:docMk/>
            <pc:sldMk cId="1515056707" sldId="11281"/>
            <ac:spMk id="17" creationId="{1715F0C8-F66A-C34D-AE62-A573D77722B1}"/>
          </ac:spMkLst>
        </pc:spChg>
        <pc:spChg chg="mod">
          <ac:chgData name="Bianca Ardito" userId="3dbb30f507a110b6" providerId="LiveId" clId="{6B3B4EFF-CE60-494E-BECC-B61895DB44D3}" dt="2024-05-24T02:59:03.482" v="3209" actId="207"/>
          <ac:spMkLst>
            <pc:docMk/>
            <pc:sldMk cId="1515056707" sldId="11281"/>
            <ac:spMk id="35" creationId="{966B64BB-4468-794F-9B3D-144CD4AC3190}"/>
          </ac:spMkLst>
        </pc:spChg>
        <pc:spChg chg="mod">
          <ac:chgData name="Bianca Ardito" userId="3dbb30f507a110b6" providerId="LiveId" clId="{6B3B4EFF-CE60-494E-BECC-B61895DB44D3}" dt="2024-05-24T02:58:53.035" v="3204" actId="207"/>
          <ac:spMkLst>
            <pc:docMk/>
            <pc:sldMk cId="1515056707" sldId="11281"/>
            <ac:spMk id="36" creationId="{C6001985-23FE-1343-BC9D-E3845AFAF88E}"/>
          </ac:spMkLst>
        </pc:spChg>
        <pc:graphicFrameChg chg="add mod ord modVis replST">
          <ac:chgData name="Bianca Ardito" userId="3dbb30f507a110b6" providerId="LiveId" clId="{6B3B4EFF-CE60-494E-BECC-B61895DB44D3}" dt="2024-05-24T02:56:18.135" v="3169"/>
          <ac:graphicFrameMkLst>
            <pc:docMk/>
            <pc:sldMk cId="1515056707" sldId="11281"/>
            <ac:graphicFrameMk id="5" creationId="{7C429BD7-2773-E80E-585B-CE9D583D7C6B}"/>
          </ac:graphicFrameMkLst>
        </pc:graphicFrameChg>
        <pc:graphicFrameChg chg="mod modGraphic">
          <ac:chgData name="Bianca Ardito" userId="3dbb30f507a110b6" providerId="LiveId" clId="{6B3B4EFF-CE60-494E-BECC-B61895DB44D3}" dt="2024-05-24T02:58:36.954" v="3199" actId="207"/>
          <ac:graphicFrameMkLst>
            <pc:docMk/>
            <pc:sldMk cId="1515056707" sldId="11281"/>
            <ac:graphicFrameMk id="13" creationId="{30FE7AFF-FA14-F445-977B-3DD8DA45527B}"/>
          </ac:graphicFrameMkLst>
        </pc:graphicFrameChg>
      </pc:sldChg>
      <pc:sldChg chg="modSp mod">
        <pc:chgData name="Bianca Ardito" userId="3dbb30f507a110b6" providerId="LiveId" clId="{6B3B4EFF-CE60-494E-BECC-B61895DB44D3}" dt="2024-05-24T02:58:20.754" v="3196"/>
        <pc:sldMkLst>
          <pc:docMk/>
          <pc:sldMk cId="307861601" sldId="11282"/>
        </pc:sldMkLst>
        <pc:graphicFrameChg chg="mod modGraphic">
          <ac:chgData name="Bianca Ardito" userId="3dbb30f507a110b6" providerId="LiveId" clId="{6B3B4EFF-CE60-494E-BECC-B61895DB44D3}" dt="2024-05-24T02:58:20.754" v="3196"/>
          <ac:graphicFrameMkLst>
            <pc:docMk/>
            <pc:sldMk cId="307861601" sldId="11282"/>
            <ac:graphicFrameMk id="5" creationId="{C4D11234-27C4-D744-AF91-37B9A9862C99}"/>
          </ac:graphicFrameMkLst>
        </pc:graphicFrameChg>
        <pc:graphicFrameChg chg="mod">
          <ac:chgData name="Bianca Ardito" userId="3dbb30f507a110b6" providerId="LiveId" clId="{6B3B4EFF-CE60-494E-BECC-B61895DB44D3}" dt="2024-05-24T02:56:16.790" v="3165"/>
          <ac:graphicFrameMkLst>
            <pc:docMk/>
            <pc:sldMk cId="307861601" sldId="11282"/>
            <ac:graphicFrameMk id="9" creationId="{CECC2F10-0EB6-693D-BB48-E48F1BB198E1}"/>
          </ac:graphicFrameMkLst>
        </pc:graphicFrameChg>
      </pc:sldChg>
      <pc:sldChg chg="modSp mod">
        <pc:chgData name="Bianca Ardito" userId="3dbb30f507a110b6" providerId="LiveId" clId="{6B3B4EFF-CE60-494E-BECC-B61895DB44D3}" dt="2024-05-24T02:57:49.520" v="3188"/>
        <pc:sldMkLst>
          <pc:docMk/>
          <pc:sldMk cId="1691331697" sldId="11283"/>
        </pc:sldMkLst>
        <pc:graphicFrameChg chg="mod">
          <ac:chgData name="Bianca Ardito" userId="3dbb30f507a110b6" providerId="LiveId" clId="{6B3B4EFF-CE60-494E-BECC-B61895DB44D3}" dt="2024-05-24T02:56:11.331" v="3160"/>
          <ac:graphicFrameMkLst>
            <pc:docMk/>
            <pc:sldMk cId="1691331697" sldId="11283"/>
            <ac:graphicFrameMk id="5" creationId="{4678E00D-3488-F3E5-706C-2AE6A62886C1}"/>
          </ac:graphicFrameMkLst>
        </pc:graphicFrameChg>
        <pc:graphicFrameChg chg="mod modGraphic">
          <ac:chgData name="Bianca Ardito" userId="3dbb30f507a110b6" providerId="LiveId" clId="{6B3B4EFF-CE60-494E-BECC-B61895DB44D3}" dt="2024-05-24T02:57:49.520" v="3188"/>
          <ac:graphicFrameMkLst>
            <pc:docMk/>
            <pc:sldMk cId="1691331697" sldId="11283"/>
            <ac:graphicFrameMk id="6" creationId="{5B46F154-646D-3B47-BC42-8386D548694D}"/>
          </ac:graphicFrameMkLst>
        </pc:graphicFrameChg>
      </pc:sldChg>
      <pc:sldChg chg="modSp mod">
        <pc:chgData name="Bianca Ardito" userId="3dbb30f507a110b6" providerId="LiveId" clId="{6B3B4EFF-CE60-494E-BECC-B61895DB44D3}" dt="2024-05-24T03:17:04.150" v="4012"/>
        <pc:sldMkLst>
          <pc:docMk/>
          <pc:sldMk cId="435403696" sldId="11284"/>
        </pc:sldMkLst>
        <pc:spChg chg="mod">
          <ac:chgData name="Bianca Ardito" userId="3dbb30f507a110b6" providerId="LiveId" clId="{6B3B4EFF-CE60-494E-BECC-B61895DB44D3}" dt="2024-05-24T03:17:04.134" v="4008" actId="948"/>
          <ac:spMkLst>
            <pc:docMk/>
            <pc:sldMk cId="435403696" sldId="11284"/>
            <ac:spMk id="3" creationId="{FB27D475-087D-3345-AB76-051E78367223}"/>
          </ac:spMkLst>
        </pc:spChg>
        <pc:graphicFrameChg chg="mod">
          <ac:chgData name="Bianca Ardito" userId="3dbb30f507a110b6" providerId="LiveId" clId="{6B3B4EFF-CE60-494E-BECC-B61895DB44D3}" dt="2024-05-24T03:17:04.150" v="4012"/>
          <ac:graphicFrameMkLst>
            <pc:docMk/>
            <pc:sldMk cId="435403696" sldId="11284"/>
            <ac:graphicFrameMk id="74" creationId="{045DE559-9D65-B389-5FE2-CCA2333558F2}"/>
          </ac:graphicFrameMkLst>
        </pc:graphicFrameChg>
      </pc:sldChg>
      <pc:sldChg chg="modSp mod">
        <pc:chgData name="Bianca Ardito" userId="3dbb30f507a110b6" providerId="LiveId" clId="{6B3B4EFF-CE60-494E-BECC-B61895DB44D3}" dt="2024-05-24T03:16:42.238" v="3997" actId="207"/>
        <pc:sldMkLst>
          <pc:docMk/>
          <pc:sldMk cId="3107299696" sldId="11285"/>
        </pc:sldMkLst>
        <pc:spChg chg="mod">
          <ac:chgData name="Bianca Ardito" userId="3dbb30f507a110b6" providerId="LiveId" clId="{6B3B4EFF-CE60-494E-BECC-B61895DB44D3}" dt="2024-05-24T03:16:29.263" v="3990" actId="948"/>
          <ac:spMkLst>
            <pc:docMk/>
            <pc:sldMk cId="3107299696" sldId="11285"/>
            <ac:spMk id="3" creationId="{7F4BE6EC-7281-3D4E-8B8F-74F960207017}"/>
          </ac:spMkLst>
        </pc:spChg>
        <pc:spChg chg="mod">
          <ac:chgData name="Bianca Ardito" userId="3dbb30f507a110b6" providerId="LiveId" clId="{6B3B4EFF-CE60-494E-BECC-B61895DB44D3}" dt="2024-05-24T03:16:42.238" v="3997" actId="207"/>
          <ac:spMkLst>
            <pc:docMk/>
            <pc:sldMk cId="3107299696" sldId="11285"/>
            <ac:spMk id="66" creationId="{293BD86A-85DB-294E-A89A-FB32B382B413}"/>
          </ac:spMkLst>
        </pc:spChg>
        <pc:spChg chg="mod">
          <ac:chgData name="Bianca Ardito" userId="3dbb30f507a110b6" providerId="LiveId" clId="{6B3B4EFF-CE60-494E-BECC-B61895DB44D3}" dt="2024-05-24T03:16:42.238" v="3997" actId="207"/>
          <ac:spMkLst>
            <pc:docMk/>
            <pc:sldMk cId="3107299696" sldId="11285"/>
            <ac:spMk id="67" creationId="{FBE96F54-533B-114C-8B62-8D95C31D7284}"/>
          </ac:spMkLst>
        </pc:spChg>
        <pc:spChg chg="mod">
          <ac:chgData name="Bianca Ardito" userId="3dbb30f507a110b6" providerId="LiveId" clId="{6B3B4EFF-CE60-494E-BECC-B61895DB44D3}" dt="2024-05-24T03:16:42.238" v="3997" actId="207"/>
          <ac:spMkLst>
            <pc:docMk/>
            <pc:sldMk cId="3107299696" sldId="11285"/>
            <ac:spMk id="68" creationId="{4FA90BCC-BC10-C240-9DDA-64249894331F}"/>
          </ac:spMkLst>
        </pc:spChg>
        <pc:spChg chg="mod">
          <ac:chgData name="Bianca Ardito" userId="3dbb30f507a110b6" providerId="LiveId" clId="{6B3B4EFF-CE60-494E-BECC-B61895DB44D3}" dt="2024-05-24T03:16:42.238" v="3997" actId="207"/>
          <ac:spMkLst>
            <pc:docMk/>
            <pc:sldMk cId="3107299696" sldId="11285"/>
            <ac:spMk id="69" creationId="{3D77D33C-3272-9E4F-9AD8-2F6E6F966CC9}"/>
          </ac:spMkLst>
        </pc:spChg>
        <pc:spChg chg="mod">
          <ac:chgData name="Bianca Ardito" userId="3dbb30f507a110b6" providerId="LiveId" clId="{6B3B4EFF-CE60-494E-BECC-B61895DB44D3}" dt="2024-05-24T03:16:42.238" v="3997" actId="207"/>
          <ac:spMkLst>
            <pc:docMk/>
            <pc:sldMk cId="3107299696" sldId="11285"/>
            <ac:spMk id="70" creationId="{6E773AC4-1D86-8647-9871-E2E4530E69C9}"/>
          </ac:spMkLst>
        </pc:spChg>
        <pc:spChg chg="mod">
          <ac:chgData name="Bianca Ardito" userId="3dbb30f507a110b6" providerId="LiveId" clId="{6B3B4EFF-CE60-494E-BECC-B61895DB44D3}" dt="2024-05-24T03:16:42.238" v="3997" actId="207"/>
          <ac:spMkLst>
            <pc:docMk/>
            <pc:sldMk cId="3107299696" sldId="11285"/>
            <ac:spMk id="71" creationId="{56210503-8B4F-2F48-9E08-67DFF2E3772A}"/>
          </ac:spMkLst>
        </pc:spChg>
        <pc:spChg chg="mod">
          <ac:chgData name="Bianca Ardito" userId="3dbb30f507a110b6" providerId="LiveId" clId="{6B3B4EFF-CE60-494E-BECC-B61895DB44D3}" dt="2024-05-24T03:16:42.238" v="3997" actId="207"/>
          <ac:spMkLst>
            <pc:docMk/>
            <pc:sldMk cId="3107299696" sldId="11285"/>
            <ac:spMk id="72" creationId="{002A29C6-6209-F748-BEEB-0F5B52A93662}"/>
          </ac:spMkLst>
        </pc:spChg>
        <pc:spChg chg="mod">
          <ac:chgData name="Bianca Ardito" userId="3dbb30f507a110b6" providerId="LiveId" clId="{6B3B4EFF-CE60-494E-BECC-B61895DB44D3}" dt="2024-05-24T03:16:42.238" v="3997" actId="207"/>
          <ac:spMkLst>
            <pc:docMk/>
            <pc:sldMk cId="3107299696" sldId="11285"/>
            <ac:spMk id="74" creationId="{6FF7736B-9F30-534F-8C01-E0281C50EAD0}"/>
          </ac:spMkLst>
        </pc:spChg>
        <pc:spChg chg="mod">
          <ac:chgData name="Bianca Ardito" userId="3dbb30f507a110b6" providerId="LiveId" clId="{6B3B4EFF-CE60-494E-BECC-B61895DB44D3}" dt="2024-05-24T03:16:42.238" v="3997" actId="207"/>
          <ac:spMkLst>
            <pc:docMk/>
            <pc:sldMk cId="3107299696" sldId="11285"/>
            <ac:spMk id="75" creationId="{B6B069D5-D0B3-4246-9A52-0B6B84AC6233}"/>
          </ac:spMkLst>
        </pc:spChg>
        <pc:spChg chg="mod">
          <ac:chgData name="Bianca Ardito" userId="3dbb30f507a110b6" providerId="LiveId" clId="{6B3B4EFF-CE60-494E-BECC-B61895DB44D3}" dt="2024-05-24T03:16:42.238" v="3997" actId="207"/>
          <ac:spMkLst>
            <pc:docMk/>
            <pc:sldMk cId="3107299696" sldId="11285"/>
            <ac:spMk id="76" creationId="{1F405E9F-E123-B44E-A360-B56EAED6209F}"/>
          </ac:spMkLst>
        </pc:spChg>
        <pc:spChg chg="mod">
          <ac:chgData name="Bianca Ardito" userId="3dbb30f507a110b6" providerId="LiveId" clId="{6B3B4EFF-CE60-494E-BECC-B61895DB44D3}" dt="2024-05-24T03:16:42.238" v="3997" actId="207"/>
          <ac:spMkLst>
            <pc:docMk/>
            <pc:sldMk cId="3107299696" sldId="11285"/>
            <ac:spMk id="77" creationId="{D4EF8C18-D4AD-864D-9434-C19EF4070497}"/>
          </ac:spMkLst>
        </pc:spChg>
        <pc:spChg chg="mod">
          <ac:chgData name="Bianca Ardito" userId="3dbb30f507a110b6" providerId="LiveId" clId="{6B3B4EFF-CE60-494E-BECC-B61895DB44D3}" dt="2024-05-24T03:16:42.238" v="3997" actId="207"/>
          <ac:spMkLst>
            <pc:docMk/>
            <pc:sldMk cId="3107299696" sldId="11285"/>
            <ac:spMk id="78" creationId="{58619D92-BD27-6546-BEE2-3F25B030F267}"/>
          </ac:spMkLst>
        </pc:spChg>
        <pc:spChg chg="mod">
          <ac:chgData name="Bianca Ardito" userId="3dbb30f507a110b6" providerId="LiveId" clId="{6B3B4EFF-CE60-494E-BECC-B61895DB44D3}" dt="2024-05-24T03:16:42.238" v="3997" actId="207"/>
          <ac:spMkLst>
            <pc:docMk/>
            <pc:sldMk cId="3107299696" sldId="11285"/>
            <ac:spMk id="79" creationId="{12ED3E8E-D3D7-3F4F-B6DF-EA66008C660F}"/>
          </ac:spMkLst>
        </pc:spChg>
        <pc:spChg chg="mod">
          <ac:chgData name="Bianca Ardito" userId="3dbb30f507a110b6" providerId="LiveId" clId="{6B3B4EFF-CE60-494E-BECC-B61895DB44D3}" dt="2024-05-24T03:16:42.238" v="3997" actId="207"/>
          <ac:spMkLst>
            <pc:docMk/>
            <pc:sldMk cId="3107299696" sldId="11285"/>
            <ac:spMk id="80" creationId="{4212E910-5AD9-8A49-8611-9ACD0F6CEE81}"/>
          </ac:spMkLst>
        </pc:spChg>
        <pc:spChg chg="mod">
          <ac:chgData name="Bianca Ardito" userId="3dbb30f507a110b6" providerId="LiveId" clId="{6B3B4EFF-CE60-494E-BECC-B61895DB44D3}" dt="2024-05-24T03:16:42.238" v="3997" actId="207"/>
          <ac:spMkLst>
            <pc:docMk/>
            <pc:sldMk cId="3107299696" sldId="11285"/>
            <ac:spMk id="81" creationId="{8920AB33-3F26-2144-8A5F-1CC343613127}"/>
          </ac:spMkLst>
        </pc:spChg>
        <pc:spChg chg="mod">
          <ac:chgData name="Bianca Ardito" userId="3dbb30f507a110b6" providerId="LiveId" clId="{6B3B4EFF-CE60-494E-BECC-B61895DB44D3}" dt="2024-05-24T03:16:42.238" v="3997" actId="207"/>
          <ac:spMkLst>
            <pc:docMk/>
            <pc:sldMk cId="3107299696" sldId="11285"/>
            <ac:spMk id="82" creationId="{4F6BC4C5-43A5-4944-8504-69637BD9ACE7}"/>
          </ac:spMkLst>
        </pc:spChg>
        <pc:spChg chg="mod">
          <ac:chgData name="Bianca Ardito" userId="3dbb30f507a110b6" providerId="LiveId" clId="{6B3B4EFF-CE60-494E-BECC-B61895DB44D3}" dt="2024-05-24T03:16:42.238" v="3997" actId="207"/>
          <ac:spMkLst>
            <pc:docMk/>
            <pc:sldMk cId="3107299696" sldId="11285"/>
            <ac:spMk id="83" creationId="{F499FAFD-99BC-C64D-A04F-D3321DB28FB2}"/>
          </ac:spMkLst>
        </pc:spChg>
        <pc:spChg chg="mod">
          <ac:chgData name="Bianca Ardito" userId="3dbb30f507a110b6" providerId="LiveId" clId="{6B3B4EFF-CE60-494E-BECC-B61895DB44D3}" dt="2024-05-24T03:16:42.238" v="3997" actId="207"/>
          <ac:spMkLst>
            <pc:docMk/>
            <pc:sldMk cId="3107299696" sldId="11285"/>
            <ac:spMk id="85" creationId="{8E00F6FF-548C-6344-A885-165698D7F516}"/>
          </ac:spMkLst>
        </pc:spChg>
        <pc:spChg chg="mod">
          <ac:chgData name="Bianca Ardito" userId="3dbb30f507a110b6" providerId="LiveId" clId="{6B3B4EFF-CE60-494E-BECC-B61895DB44D3}" dt="2024-05-24T03:16:42.238" v="3997" actId="207"/>
          <ac:spMkLst>
            <pc:docMk/>
            <pc:sldMk cId="3107299696" sldId="11285"/>
            <ac:spMk id="86" creationId="{840C0F0C-0A10-EA40-92FC-014254F0EA9B}"/>
          </ac:spMkLst>
        </pc:spChg>
        <pc:spChg chg="mod">
          <ac:chgData name="Bianca Ardito" userId="3dbb30f507a110b6" providerId="LiveId" clId="{6B3B4EFF-CE60-494E-BECC-B61895DB44D3}" dt="2024-05-24T03:16:42.238" v="3997" actId="207"/>
          <ac:spMkLst>
            <pc:docMk/>
            <pc:sldMk cId="3107299696" sldId="11285"/>
            <ac:spMk id="87" creationId="{CDC82524-A41E-C24B-B011-5EBE8DD6C1B4}"/>
          </ac:spMkLst>
        </pc:spChg>
        <pc:spChg chg="mod">
          <ac:chgData name="Bianca Ardito" userId="3dbb30f507a110b6" providerId="LiveId" clId="{6B3B4EFF-CE60-494E-BECC-B61895DB44D3}" dt="2024-05-24T03:16:42.238" v="3997" actId="207"/>
          <ac:spMkLst>
            <pc:docMk/>
            <pc:sldMk cId="3107299696" sldId="11285"/>
            <ac:spMk id="89" creationId="{08A738D8-ED10-804A-ABAD-733D72CEF9C9}"/>
          </ac:spMkLst>
        </pc:spChg>
        <pc:spChg chg="mod">
          <ac:chgData name="Bianca Ardito" userId="3dbb30f507a110b6" providerId="LiveId" clId="{6B3B4EFF-CE60-494E-BECC-B61895DB44D3}" dt="2024-05-24T03:16:42.238" v="3997" actId="207"/>
          <ac:spMkLst>
            <pc:docMk/>
            <pc:sldMk cId="3107299696" sldId="11285"/>
            <ac:spMk id="90" creationId="{44711486-34BA-D640-A549-1234CAF63BDE}"/>
          </ac:spMkLst>
        </pc:spChg>
        <pc:spChg chg="mod">
          <ac:chgData name="Bianca Ardito" userId="3dbb30f507a110b6" providerId="LiveId" clId="{6B3B4EFF-CE60-494E-BECC-B61895DB44D3}" dt="2024-05-24T03:16:42.238" v="3997" actId="207"/>
          <ac:spMkLst>
            <pc:docMk/>
            <pc:sldMk cId="3107299696" sldId="11285"/>
            <ac:spMk id="91" creationId="{DC6E5CE1-68A9-F848-9FD8-91FD62B5A3C6}"/>
          </ac:spMkLst>
        </pc:spChg>
        <pc:spChg chg="mod">
          <ac:chgData name="Bianca Ardito" userId="3dbb30f507a110b6" providerId="LiveId" clId="{6B3B4EFF-CE60-494E-BECC-B61895DB44D3}" dt="2024-05-24T03:16:42.238" v="3997" actId="207"/>
          <ac:spMkLst>
            <pc:docMk/>
            <pc:sldMk cId="3107299696" sldId="11285"/>
            <ac:spMk id="92" creationId="{B7B4128A-E4E1-CB42-BFF9-D0D077284030}"/>
          </ac:spMkLst>
        </pc:spChg>
        <pc:spChg chg="mod">
          <ac:chgData name="Bianca Ardito" userId="3dbb30f507a110b6" providerId="LiveId" clId="{6B3B4EFF-CE60-494E-BECC-B61895DB44D3}" dt="2024-05-24T03:16:42.238" v="3997" actId="207"/>
          <ac:spMkLst>
            <pc:docMk/>
            <pc:sldMk cId="3107299696" sldId="11285"/>
            <ac:spMk id="93" creationId="{60D14D0C-B859-4E40-AD84-C727452769BB}"/>
          </ac:spMkLst>
        </pc:spChg>
        <pc:spChg chg="mod">
          <ac:chgData name="Bianca Ardito" userId="3dbb30f507a110b6" providerId="LiveId" clId="{6B3B4EFF-CE60-494E-BECC-B61895DB44D3}" dt="2024-05-24T03:16:42.238" v="3997" actId="207"/>
          <ac:spMkLst>
            <pc:docMk/>
            <pc:sldMk cId="3107299696" sldId="11285"/>
            <ac:spMk id="95" creationId="{04424DC9-9480-0746-B074-A71B9FCC4A26}"/>
          </ac:spMkLst>
        </pc:spChg>
        <pc:spChg chg="mod">
          <ac:chgData name="Bianca Ardito" userId="3dbb30f507a110b6" providerId="LiveId" clId="{6B3B4EFF-CE60-494E-BECC-B61895DB44D3}" dt="2024-05-24T03:16:42.238" v="3997" actId="207"/>
          <ac:spMkLst>
            <pc:docMk/>
            <pc:sldMk cId="3107299696" sldId="11285"/>
            <ac:spMk id="96" creationId="{D7FDCB54-9D1C-8848-91AF-0FFBA241535D}"/>
          </ac:spMkLst>
        </pc:spChg>
        <pc:spChg chg="mod">
          <ac:chgData name="Bianca Ardito" userId="3dbb30f507a110b6" providerId="LiveId" clId="{6B3B4EFF-CE60-494E-BECC-B61895DB44D3}" dt="2024-05-24T03:16:42.238" v="3997" actId="207"/>
          <ac:spMkLst>
            <pc:docMk/>
            <pc:sldMk cId="3107299696" sldId="11285"/>
            <ac:spMk id="97" creationId="{121D2B94-83DD-4F4B-BF5F-299BC45C3980}"/>
          </ac:spMkLst>
        </pc:spChg>
        <pc:spChg chg="mod">
          <ac:chgData name="Bianca Ardito" userId="3dbb30f507a110b6" providerId="LiveId" clId="{6B3B4EFF-CE60-494E-BECC-B61895DB44D3}" dt="2024-05-24T03:16:42.238" v="3997" actId="207"/>
          <ac:spMkLst>
            <pc:docMk/>
            <pc:sldMk cId="3107299696" sldId="11285"/>
            <ac:spMk id="98" creationId="{76739779-E795-064F-B29B-72B2A005C5A8}"/>
          </ac:spMkLst>
        </pc:spChg>
        <pc:spChg chg="mod">
          <ac:chgData name="Bianca Ardito" userId="3dbb30f507a110b6" providerId="LiveId" clId="{6B3B4EFF-CE60-494E-BECC-B61895DB44D3}" dt="2024-05-24T03:16:42.238" v="3997" actId="207"/>
          <ac:spMkLst>
            <pc:docMk/>
            <pc:sldMk cId="3107299696" sldId="11285"/>
            <ac:spMk id="99" creationId="{749AFF89-3D9B-E141-BEE4-6042BC5BD143}"/>
          </ac:spMkLst>
        </pc:spChg>
        <pc:spChg chg="mod">
          <ac:chgData name="Bianca Ardito" userId="3dbb30f507a110b6" providerId="LiveId" clId="{6B3B4EFF-CE60-494E-BECC-B61895DB44D3}" dt="2024-05-24T03:16:42.238" v="3997" actId="207"/>
          <ac:spMkLst>
            <pc:docMk/>
            <pc:sldMk cId="3107299696" sldId="11285"/>
            <ac:spMk id="100" creationId="{B4502D56-99BF-C84B-B89E-5F52EA338C2B}"/>
          </ac:spMkLst>
        </pc:spChg>
        <pc:spChg chg="mod">
          <ac:chgData name="Bianca Ardito" userId="3dbb30f507a110b6" providerId="LiveId" clId="{6B3B4EFF-CE60-494E-BECC-B61895DB44D3}" dt="2024-05-24T03:16:42.238" v="3997" actId="207"/>
          <ac:spMkLst>
            <pc:docMk/>
            <pc:sldMk cId="3107299696" sldId="11285"/>
            <ac:spMk id="101" creationId="{A0983B35-8C7C-354A-897A-B388AA054056}"/>
          </ac:spMkLst>
        </pc:spChg>
        <pc:spChg chg="mod">
          <ac:chgData name="Bianca Ardito" userId="3dbb30f507a110b6" providerId="LiveId" clId="{6B3B4EFF-CE60-494E-BECC-B61895DB44D3}" dt="2024-05-24T03:16:42.238" v="3997" actId="207"/>
          <ac:spMkLst>
            <pc:docMk/>
            <pc:sldMk cId="3107299696" sldId="11285"/>
            <ac:spMk id="102" creationId="{D4355297-B4FF-8341-B57B-D2AD334B463E}"/>
          </ac:spMkLst>
        </pc:spChg>
        <pc:spChg chg="mod">
          <ac:chgData name="Bianca Ardito" userId="3dbb30f507a110b6" providerId="LiveId" clId="{6B3B4EFF-CE60-494E-BECC-B61895DB44D3}" dt="2024-05-24T03:16:42.238" v="3997" actId="207"/>
          <ac:spMkLst>
            <pc:docMk/>
            <pc:sldMk cId="3107299696" sldId="11285"/>
            <ac:spMk id="103" creationId="{8593A5E3-2E60-3140-BA00-6BCF083EACCE}"/>
          </ac:spMkLst>
        </pc:spChg>
        <pc:spChg chg="mod">
          <ac:chgData name="Bianca Ardito" userId="3dbb30f507a110b6" providerId="LiveId" clId="{6B3B4EFF-CE60-494E-BECC-B61895DB44D3}" dt="2024-05-24T03:16:42.238" v="3997" actId="207"/>
          <ac:spMkLst>
            <pc:docMk/>
            <pc:sldMk cId="3107299696" sldId="11285"/>
            <ac:spMk id="105" creationId="{ABA94B9D-5D0A-6E47-A44C-9AD4726A54EC}"/>
          </ac:spMkLst>
        </pc:spChg>
        <pc:spChg chg="mod">
          <ac:chgData name="Bianca Ardito" userId="3dbb30f507a110b6" providerId="LiveId" clId="{6B3B4EFF-CE60-494E-BECC-B61895DB44D3}" dt="2024-05-24T03:16:42.238" v="3997" actId="207"/>
          <ac:spMkLst>
            <pc:docMk/>
            <pc:sldMk cId="3107299696" sldId="11285"/>
            <ac:spMk id="106" creationId="{1DA013FD-AB25-E84F-87C0-D476BAA49EBD}"/>
          </ac:spMkLst>
        </pc:spChg>
        <pc:spChg chg="mod">
          <ac:chgData name="Bianca Ardito" userId="3dbb30f507a110b6" providerId="LiveId" clId="{6B3B4EFF-CE60-494E-BECC-B61895DB44D3}" dt="2024-05-24T03:16:42.238" v="3997" actId="207"/>
          <ac:spMkLst>
            <pc:docMk/>
            <pc:sldMk cId="3107299696" sldId="11285"/>
            <ac:spMk id="107" creationId="{C6167D15-B2F5-0840-A892-C7DD2B60F3D2}"/>
          </ac:spMkLst>
        </pc:spChg>
        <pc:spChg chg="mod">
          <ac:chgData name="Bianca Ardito" userId="3dbb30f507a110b6" providerId="LiveId" clId="{6B3B4EFF-CE60-494E-BECC-B61895DB44D3}" dt="2024-05-24T03:16:42.238" v="3997" actId="207"/>
          <ac:spMkLst>
            <pc:docMk/>
            <pc:sldMk cId="3107299696" sldId="11285"/>
            <ac:spMk id="108" creationId="{7369E062-B3A9-2746-AA5A-CA6BC1878009}"/>
          </ac:spMkLst>
        </pc:spChg>
        <pc:spChg chg="mod">
          <ac:chgData name="Bianca Ardito" userId="3dbb30f507a110b6" providerId="LiveId" clId="{6B3B4EFF-CE60-494E-BECC-B61895DB44D3}" dt="2024-05-24T03:16:42.238" v="3997" actId="207"/>
          <ac:spMkLst>
            <pc:docMk/>
            <pc:sldMk cId="3107299696" sldId="11285"/>
            <ac:spMk id="109" creationId="{AE20E0C1-45B5-4349-A410-EF2348203CF3}"/>
          </ac:spMkLst>
        </pc:spChg>
        <pc:spChg chg="mod">
          <ac:chgData name="Bianca Ardito" userId="3dbb30f507a110b6" providerId="LiveId" clId="{6B3B4EFF-CE60-494E-BECC-B61895DB44D3}" dt="2024-05-24T03:16:42.238" v="3997" actId="207"/>
          <ac:spMkLst>
            <pc:docMk/>
            <pc:sldMk cId="3107299696" sldId="11285"/>
            <ac:spMk id="110" creationId="{B5F2FDBB-D21A-3640-998F-7C1CFC31DD19}"/>
          </ac:spMkLst>
        </pc:spChg>
        <pc:spChg chg="mod">
          <ac:chgData name="Bianca Ardito" userId="3dbb30f507a110b6" providerId="LiveId" clId="{6B3B4EFF-CE60-494E-BECC-B61895DB44D3}" dt="2024-05-24T03:16:42.238" v="3997" actId="207"/>
          <ac:spMkLst>
            <pc:docMk/>
            <pc:sldMk cId="3107299696" sldId="11285"/>
            <ac:spMk id="111" creationId="{2A7DA5FB-2966-1E4D-8A4A-EDD4F97AC0DD}"/>
          </ac:spMkLst>
        </pc:spChg>
        <pc:spChg chg="mod">
          <ac:chgData name="Bianca Ardito" userId="3dbb30f507a110b6" providerId="LiveId" clId="{6B3B4EFF-CE60-494E-BECC-B61895DB44D3}" dt="2024-05-24T03:16:42.238" v="3997" actId="207"/>
          <ac:spMkLst>
            <pc:docMk/>
            <pc:sldMk cId="3107299696" sldId="11285"/>
            <ac:spMk id="112" creationId="{A43262C7-E9CF-3F46-80A3-7E4C6F0258EF}"/>
          </ac:spMkLst>
        </pc:spChg>
        <pc:spChg chg="mod">
          <ac:chgData name="Bianca Ardito" userId="3dbb30f507a110b6" providerId="LiveId" clId="{6B3B4EFF-CE60-494E-BECC-B61895DB44D3}" dt="2024-05-24T03:16:42.238" v="3997" actId="207"/>
          <ac:spMkLst>
            <pc:docMk/>
            <pc:sldMk cId="3107299696" sldId="11285"/>
            <ac:spMk id="114" creationId="{9B3D4182-DFC6-4F4F-85A2-EA3629E2824A}"/>
          </ac:spMkLst>
        </pc:spChg>
        <pc:spChg chg="mod">
          <ac:chgData name="Bianca Ardito" userId="3dbb30f507a110b6" providerId="LiveId" clId="{6B3B4EFF-CE60-494E-BECC-B61895DB44D3}" dt="2024-05-24T03:16:42.238" v="3997" actId="207"/>
          <ac:spMkLst>
            <pc:docMk/>
            <pc:sldMk cId="3107299696" sldId="11285"/>
            <ac:spMk id="115" creationId="{26BE3183-06B2-5340-ABC1-6264012E8EE5}"/>
          </ac:spMkLst>
        </pc:spChg>
        <pc:spChg chg="mod">
          <ac:chgData name="Bianca Ardito" userId="3dbb30f507a110b6" providerId="LiveId" clId="{6B3B4EFF-CE60-494E-BECC-B61895DB44D3}" dt="2024-05-24T03:16:42.238" v="3997" actId="207"/>
          <ac:spMkLst>
            <pc:docMk/>
            <pc:sldMk cId="3107299696" sldId="11285"/>
            <ac:spMk id="116" creationId="{2DCB6118-2250-2D46-98C8-CF7E541A871B}"/>
          </ac:spMkLst>
        </pc:spChg>
        <pc:spChg chg="mod">
          <ac:chgData name="Bianca Ardito" userId="3dbb30f507a110b6" providerId="LiveId" clId="{6B3B4EFF-CE60-494E-BECC-B61895DB44D3}" dt="2024-05-24T03:16:42.238" v="3997" actId="207"/>
          <ac:spMkLst>
            <pc:docMk/>
            <pc:sldMk cId="3107299696" sldId="11285"/>
            <ac:spMk id="117" creationId="{DECD7673-8792-504B-A2A0-E66D1272F53F}"/>
          </ac:spMkLst>
        </pc:spChg>
        <pc:spChg chg="mod">
          <ac:chgData name="Bianca Ardito" userId="3dbb30f507a110b6" providerId="LiveId" clId="{6B3B4EFF-CE60-494E-BECC-B61895DB44D3}" dt="2024-05-24T03:16:42.238" v="3997" actId="207"/>
          <ac:spMkLst>
            <pc:docMk/>
            <pc:sldMk cId="3107299696" sldId="11285"/>
            <ac:spMk id="118" creationId="{CB1E7607-AE74-7348-A42E-FD839082565A}"/>
          </ac:spMkLst>
        </pc:spChg>
        <pc:spChg chg="mod">
          <ac:chgData name="Bianca Ardito" userId="3dbb30f507a110b6" providerId="LiveId" clId="{6B3B4EFF-CE60-494E-BECC-B61895DB44D3}" dt="2024-05-24T03:16:42.238" v="3997" actId="207"/>
          <ac:spMkLst>
            <pc:docMk/>
            <pc:sldMk cId="3107299696" sldId="11285"/>
            <ac:spMk id="120" creationId="{2A71B9EA-1E5C-D84A-87A8-42FEF109F310}"/>
          </ac:spMkLst>
        </pc:spChg>
        <pc:spChg chg="mod">
          <ac:chgData name="Bianca Ardito" userId="3dbb30f507a110b6" providerId="LiveId" clId="{6B3B4EFF-CE60-494E-BECC-B61895DB44D3}" dt="2024-05-24T03:16:42.238" v="3997" actId="207"/>
          <ac:spMkLst>
            <pc:docMk/>
            <pc:sldMk cId="3107299696" sldId="11285"/>
            <ac:spMk id="121" creationId="{93C4DF44-3842-E046-A1EB-AAE3FE694FC7}"/>
          </ac:spMkLst>
        </pc:spChg>
        <pc:spChg chg="mod">
          <ac:chgData name="Bianca Ardito" userId="3dbb30f507a110b6" providerId="LiveId" clId="{6B3B4EFF-CE60-494E-BECC-B61895DB44D3}" dt="2024-05-24T03:16:42.238" v="3997" actId="207"/>
          <ac:spMkLst>
            <pc:docMk/>
            <pc:sldMk cId="3107299696" sldId="11285"/>
            <ac:spMk id="122" creationId="{8D7C2444-1AEE-0C47-9DD8-86712948E701}"/>
          </ac:spMkLst>
        </pc:spChg>
        <pc:spChg chg="mod">
          <ac:chgData name="Bianca Ardito" userId="3dbb30f507a110b6" providerId="LiveId" clId="{6B3B4EFF-CE60-494E-BECC-B61895DB44D3}" dt="2024-05-24T03:16:42.238" v="3997" actId="207"/>
          <ac:spMkLst>
            <pc:docMk/>
            <pc:sldMk cId="3107299696" sldId="11285"/>
            <ac:spMk id="123" creationId="{B28FB4F6-373F-BF46-A2B7-A0C5A20B70A0}"/>
          </ac:spMkLst>
        </pc:spChg>
        <pc:spChg chg="mod">
          <ac:chgData name="Bianca Ardito" userId="3dbb30f507a110b6" providerId="LiveId" clId="{6B3B4EFF-CE60-494E-BECC-B61895DB44D3}" dt="2024-05-24T03:16:42.238" v="3997" actId="207"/>
          <ac:spMkLst>
            <pc:docMk/>
            <pc:sldMk cId="3107299696" sldId="11285"/>
            <ac:spMk id="124" creationId="{253243BE-656E-8C40-A136-1DBCA4139090}"/>
          </ac:spMkLst>
        </pc:spChg>
        <pc:spChg chg="mod">
          <ac:chgData name="Bianca Ardito" userId="3dbb30f507a110b6" providerId="LiveId" clId="{6B3B4EFF-CE60-494E-BECC-B61895DB44D3}" dt="2024-05-24T03:16:42.238" v="3997" actId="207"/>
          <ac:spMkLst>
            <pc:docMk/>
            <pc:sldMk cId="3107299696" sldId="11285"/>
            <ac:spMk id="125" creationId="{195A5E3D-CFDF-3342-91AB-A8B591AA6F94}"/>
          </ac:spMkLst>
        </pc:spChg>
        <pc:grpChg chg="mod">
          <ac:chgData name="Bianca Ardito" userId="3dbb30f507a110b6" providerId="LiveId" clId="{6B3B4EFF-CE60-494E-BECC-B61895DB44D3}" dt="2024-05-24T03:16:42.238" v="3997" actId="207"/>
          <ac:grpSpMkLst>
            <pc:docMk/>
            <pc:sldMk cId="3107299696" sldId="11285"/>
            <ac:grpSpMk id="65" creationId="{08476DD0-A6CD-1C49-A977-C97EB69B1DAD}"/>
          </ac:grpSpMkLst>
        </pc:grpChg>
        <pc:grpChg chg="mod">
          <ac:chgData name="Bianca Ardito" userId="3dbb30f507a110b6" providerId="LiveId" clId="{6B3B4EFF-CE60-494E-BECC-B61895DB44D3}" dt="2024-05-24T03:16:42.238" v="3997" actId="207"/>
          <ac:grpSpMkLst>
            <pc:docMk/>
            <pc:sldMk cId="3107299696" sldId="11285"/>
            <ac:grpSpMk id="73" creationId="{E038C137-C733-1E43-87BF-AA18C30B1769}"/>
          </ac:grpSpMkLst>
        </pc:grpChg>
        <pc:grpChg chg="mod">
          <ac:chgData name="Bianca Ardito" userId="3dbb30f507a110b6" providerId="LiveId" clId="{6B3B4EFF-CE60-494E-BECC-B61895DB44D3}" dt="2024-05-24T03:16:42.238" v="3997" actId="207"/>
          <ac:grpSpMkLst>
            <pc:docMk/>
            <pc:sldMk cId="3107299696" sldId="11285"/>
            <ac:grpSpMk id="84" creationId="{11ADC807-1962-FD4B-9C99-0DA1E5EECF46}"/>
          </ac:grpSpMkLst>
        </pc:grpChg>
        <pc:grpChg chg="mod">
          <ac:chgData name="Bianca Ardito" userId="3dbb30f507a110b6" providerId="LiveId" clId="{6B3B4EFF-CE60-494E-BECC-B61895DB44D3}" dt="2024-05-24T03:16:42.238" v="3997" actId="207"/>
          <ac:grpSpMkLst>
            <pc:docMk/>
            <pc:sldMk cId="3107299696" sldId="11285"/>
            <ac:grpSpMk id="88" creationId="{621FFCA3-8DC4-2047-B3B3-571A23B6E747}"/>
          </ac:grpSpMkLst>
        </pc:grpChg>
        <pc:grpChg chg="mod">
          <ac:chgData name="Bianca Ardito" userId="3dbb30f507a110b6" providerId="LiveId" clId="{6B3B4EFF-CE60-494E-BECC-B61895DB44D3}" dt="2024-05-24T03:16:42.238" v="3997" actId="207"/>
          <ac:grpSpMkLst>
            <pc:docMk/>
            <pc:sldMk cId="3107299696" sldId="11285"/>
            <ac:grpSpMk id="94" creationId="{1F16C340-61B5-3E43-8097-34899024E449}"/>
          </ac:grpSpMkLst>
        </pc:grpChg>
        <pc:grpChg chg="mod">
          <ac:chgData name="Bianca Ardito" userId="3dbb30f507a110b6" providerId="LiveId" clId="{6B3B4EFF-CE60-494E-BECC-B61895DB44D3}" dt="2024-05-24T03:16:42.238" v="3997" actId="207"/>
          <ac:grpSpMkLst>
            <pc:docMk/>
            <pc:sldMk cId="3107299696" sldId="11285"/>
            <ac:grpSpMk id="104" creationId="{E8601DA7-4633-D444-8C52-A44B5C06CDEA}"/>
          </ac:grpSpMkLst>
        </pc:grpChg>
        <pc:grpChg chg="mod">
          <ac:chgData name="Bianca Ardito" userId="3dbb30f507a110b6" providerId="LiveId" clId="{6B3B4EFF-CE60-494E-BECC-B61895DB44D3}" dt="2024-05-24T03:16:42.238" v="3997" actId="207"/>
          <ac:grpSpMkLst>
            <pc:docMk/>
            <pc:sldMk cId="3107299696" sldId="11285"/>
            <ac:grpSpMk id="113" creationId="{9549218D-6031-7E41-A048-5460824A781A}"/>
          </ac:grpSpMkLst>
        </pc:grpChg>
        <pc:grpChg chg="mod">
          <ac:chgData name="Bianca Ardito" userId="3dbb30f507a110b6" providerId="LiveId" clId="{6B3B4EFF-CE60-494E-BECC-B61895DB44D3}" dt="2024-05-24T03:16:42.238" v="3997" actId="207"/>
          <ac:grpSpMkLst>
            <pc:docMk/>
            <pc:sldMk cId="3107299696" sldId="11285"/>
            <ac:grpSpMk id="119" creationId="{437D59DB-5DDA-A347-9F88-58BBDBF2FD48}"/>
          </ac:grpSpMkLst>
        </pc:grpChg>
        <pc:graphicFrameChg chg="mod">
          <ac:chgData name="Bianca Ardito" userId="3dbb30f507a110b6" providerId="LiveId" clId="{6B3B4EFF-CE60-494E-BECC-B61895DB44D3}" dt="2024-05-24T03:16:29.278" v="3994"/>
          <ac:graphicFrameMkLst>
            <pc:docMk/>
            <pc:sldMk cId="3107299696" sldId="11285"/>
            <ac:graphicFrameMk id="127" creationId="{4DE33001-6863-0D72-7259-20872D9BB01D}"/>
          </ac:graphicFrameMkLst>
        </pc:graphicFrameChg>
        <pc:picChg chg="mod">
          <ac:chgData name="Bianca Ardito" userId="3dbb30f507a110b6" providerId="LiveId" clId="{6B3B4EFF-CE60-494E-BECC-B61895DB44D3}" dt="2024-05-24T03:16:34.968" v="3995" actId="208"/>
          <ac:picMkLst>
            <pc:docMk/>
            <pc:sldMk cId="3107299696" sldId="11285"/>
            <ac:picMk id="5" creationId="{AB1DEA6B-95F3-5048-A15F-5C3FB52627ED}"/>
          </ac:picMkLst>
        </pc:picChg>
        <pc:picChg chg="mod">
          <ac:chgData name="Bianca Ardito" userId="3dbb30f507a110b6" providerId="LiveId" clId="{6B3B4EFF-CE60-494E-BECC-B61895DB44D3}" dt="2024-05-24T03:16:34.968" v="3995" actId="208"/>
          <ac:picMkLst>
            <pc:docMk/>
            <pc:sldMk cId="3107299696" sldId="11285"/>
            <ac:picMk id="6" creationId="{7FCA48E8-84A1-5245-A961-11DF976EEB9D}"/>
          </ac:picMkLst>
        </pc:picChg>
        <pc:picChg chg="mod">
          <ac:chgData name="Bianca Ardito" userId="3dbb30f507a110b6" providerId="LiveId" clId="{6B3B4EFF-CE60-494E-BECC-B61895DB44D3}" dt="2024-05-24T03:16:34.968" v="3995" actId="208"/>
          <ac:picMkLst>
            <pc:docMk/>
            <pc:sldMk cId="3107299696" sldId="11285"/>
            <ac:picMk id="7" creationId="{32DBBA4F-FF95-FF4D-9971-502BFFF5FE60}"/>
          </ac:picMkLst>
        </pc:picChg>
        <pc:picChg chg="mod">
          <ac:chgData name="Bianca Ardito" userId="3dbb30f507a110b6" providerId="LiveId" clId="{6B3B4EFF-CE60-494E-BECC-B61895DB44D3}" dt="2024-05-24T03:16:34.968" v="3995" actId="208"/>
          <ac:picMkLst>
            <pc:docMk/>
            <pc:sldMk cId="3107299696" sldId="11285"/>
            <ac:picMk id="8" creationId="{4E26085B-01CD-7D42-AA84-47BA502F135F}"/>
          </ac:picMkLst>
        </pc:picChg>
        <pc:picChg chg="mod">
          <ac:chgData name="Bianca Ardito" userId="3dbb30f507a110b6" providerId="LiveId" clId="{6B3B4EFF-CE60-494E-BECC-B61895DB44D3}" dt="2024-05-24T03:16:34.968" v="3995" actId="208"/>
          <ac:picMkLst>
            <pc:docMk/>
            <pc:sldMk cId="3107299696" sldId="11285"/>
            <ac:picMk id="9" creationId="{A2F76BD2-97BB-CB4E-9E58-172742616E71}"/>
          </ac:picMkLst>
        </pc:picChg>
        <pc:picChg chg="mod">
          <ac:chgData name="Bianca Ardito" userId="3dbb30f507a110b6" providerId="LiveId" clId="{6B3B4EFF-CE60-494E-BECC-B61895DB44D3}" dt="2024-05-24T03:16:34.968" v="3995" actId="208"/>
          <ac:picMkLst>
            <pc:docMk/>
            <pc:sldMk cId="3107299696" sldId="11285"/>
            <ac:picMk id="10" creationId="{A10B202A-99DD-B843-9C7F-1CBC760BEE75}"/>
          </ac:picMkLst>
        </pc:picChg>
        <pc:picChg chg="mod">
          <ac:chgData name="Bianca Ardito" userId="3dbb30f507a110b6" providerId="LiveId" clId="{6B3B4EFF-CE60-494E-BECC-B61895DB44D3}" dt="2024-05-24T03:16:34.968" v="3995" actId="208"/>
          <ac:picMkLst>
            <pc:docMk/>
            <pc:sldMk cId="3107299696" sldId="11285"/>
            <ac:picMk id="11" creationId="{F8EAE434-CCAF-3F4D-8256-1D42456D00D9}"/>
          </ac:picMkLst>
        </pc:picChg>
        <pc:picChg chg="mod">
          <ac:chgData name="Bianca Ardito" userId="3dbb30f507a110b6" providerId="LiveId" clId="{6B3B4EFF-CE60-494E-BECC-B61895DB44D3}" dt="2024-05-24T03:16:34.968" v="3995" actId="208"/>
          <ac:picMkLst>
            <pc:docMk/>
            <pc:sldMk cId="3107299696" sldId="11285"/>
            <ac:picMk id="12" creationId="{92FDD58A-0911-364C-9B5E-E32DE0DD3A1B}"/>
          </ac:picMkLst>
        </pc:picChg>
        <pc:picChg chg="mod">
          <ac:chgData name="Bianca Ardito" userId="3dbb30f507a110b6" providerId="LiveId" clId="{6B3B4EFF-CE60-494E-BECC-B61895DB44D3}" dt="2024-05-24T03:16:34.968" v="3995" actId="208"/>
          <ac:picMkLst>
            <pc:docMk/>
            <pc:sldMk cId="3107299696" sldId="11285"/>
            <ac:picMk id="13" creationId="{158AAF7C-46CC-6C47-B3A2-D73D471F6416}"/>
          </ac:picMkLst>
        </pc:picChg>
        <pc:picChg chg="mod">
          <ac:chgData name="Bianca Ardito" userId="3dbb30f507a110b6" providerId="LiveId" clId="{6B3B4EFF-CE60-494E-BECC-B61895DB44D3}" dt="2024-05-24T03:16:34.968" v="3995" actId="208"/>
          <ac:picMkLst>
            <pc:docMk/>
            <pc:sldMk cId="3107299696" sldId="11285"/>
            <ac:picMk id="14" creationId="{44F92DC6-E453-C846-AB27-203675137089}"/>
          </ac:picMkLst>
        </pc:picChg>
        <pc:picChg chg="mod">
          <ac:chgData name="Bianca Ardito" userId="3dbb30f507a110b6" providerId="LiveId" clId="{6B3B4EFF-CE60-494E-BECC-B61895DB44D3}" dt="2024-05-24T03:16:34.968" v="3995" actId="208"/>
          <ac:picMkLst>
            <pc:docMk/>
            <pc:sldMk cId="3107299696" sldId="11285"/>
            <ac:picMk id="15" creationId="{8E397EBA-04DB-6E4F-ADCC-8D6DEECA853B}"/>
          </ac:picMkLst>
        </pc:picChg>
        <pc:picChg chg="mod">
          <ac:chgData name="Bianca Ardito" userId="3dbb30f507a110b6" providerId="LiveId" clId="{6B3B4EFF-CE60-494E-BECC-B61895DB44D3}" dt="2024-05-24T03:16:34.968" v="3995" actId="208"/>
          <ac:picMkLst>
            <pc:docMk/>
            <pc:sldMk cId="3107299696" sldId="11285"/>
            <ac:picMk id="16" creationId="{BE7DE449-539E-804B-8EB9-E594E63AC9F1}"/>
          </ac:picMkLst>
        </pc:picChg>
        <pc:picChg chg="mod">
          <ac:chgData name="Bianca Ardito" userId="3dbb30f507a110b6" providerId="LiveId" clId="{6B3B4EFF-CE60-494E-BECC-B61895DB44D3}" dt="2024-05-24T03:16:34.968" v="3995" actId="208"/>
          <ac:picMkLst>
            <pc:docMk/>
            <pc:sldMk cId="3107299696" sldId="11285"/>
            <ac:picMk id="17" creationId="{4F594263-37B8-C341-B47B-DBAD23996FEA}"/>
          </ac:picMkLst>
        </pc:picChg>
        <pc:picChg chg="mod">
          <ac:chgData name="Bianca Ardito" userId="3dbb30f507a110b6" providerId="LiveId" clId="{6B3B4EFF-CE60-494E-BECC-B61895DB44D3}" dt="2024-05-24T03:16:34.968" v="3995" actId="208"/>
          <ac:picMkLst>
            <pc:docMk/>
            <pc:sldMk cId="3107299696" sldId="11285"/>
            <ac:picMk id="18" creationId="{E4FF0D0C-14E2-2442-8463-4168DC44C0F3}"/>
          </ac:picMkLst>
        </pc:picChg>
        <pc:picChg chg="mod">
          <ac:chgData name="Bianca Ardito" userId="3dbb30f507a110b6" providerId="LiveId" clId="{6B3B4EFF-CE60-494E-BECC-B61895DB44D3}" dt="2024-05-24T03:16:34.968" v="3995" actId="208"/>
          <ac:picMkLst>
            <pc:docMk/>
            <pc:sldMk cId="3107299696" sldId="11285"/>
            <ac:picMk id="19" creationId="{D8626833-3974-EE4B-BC28-8648C5D43948}"/>
          </ac:picMkLst>
        </pc:picChg>
        <pc:picChg chg="mod">
          <ac:chgData name="Bianca Ardito" userId="3dbb30f507a110b6" providerId="LiveId" clId="{6B3B4EFF-CE60-494E-BECC-B61895DB44D3}" dt="2024-05-24T03:16:34.968" v="3995" actId="208"/>
          <ac:picMkLst>
            <pc:docMk/>
            <pc:sldMk cId="3107299696" sldId="11285"/>
            <ac:picMk id="20" creationId="{BFEFC2FC-CE20-5A4C-8532-256F11B70E11}"/>
          </ac:picMkLst>
        </pc:picChg>
        <pc:picChg chg="mod">
          <ac:chgData name="Bianca Ardito" userId="3dbb30f507a110b6" providerId="LiveId" clId="{6B3B4EFF-CE60-494E-BECC-B61895DB44D3}" dt="2024-05-24T03:16:34.968" v="3995" actId="208"/>
          <ac:picMkLst>
            <pc:docMk/>
            <pc:sldMk cId="3107299696" sldId="11285"/>
            <ac:picMk id="21" creationId="{DCEFEB80-3D02-EA49-A31E-07C654C3284D}"/>
          </ac:picMkLst>
        </pc:picChg>
        <pc:picChg chg="mod">
          <ac:chgData name="Bianca Ardito" userId="3dbb30f507a110b6" providerId="LiveId" clId="{6B3B4EFF-CE60-494E-BECC-B61895DB44D3}" dt="2024-05-24T03:16:34.968" v="3995" actId="208"/>
          <ac:picMkLst>
            <pc:docMk/>
            <pc:sldMk cId="3107299696" sldId="11285"/>
            <ac:picMk id="22" creationId="{D4365E94-F41B-B549-BAD0-02BCA58B0FDD}"/>
          </ac:picMkLst>
        </pc:picChg>
        <pc:picChg chg="mod">
          <ac:chgData name="Bianca Ardito" userId="3dbb30f507a110b6" providerId="LiveId" clId="{6B3B4EFF-CE60-494E-BECC-B61895DB44D3}" dt="2024-05-24T03:16:34.968" v="3995" actId="208"/>
          <ac:picMkLst>
            <pc:docMk/>
            <pc:sldMk cId="3107299696" sldId="11285"/>
            <ac:picMk id="23" creationId="{D53D7E8F-0835-CA49-9150-0C4BAB38D814}"/>
          </ac:picMkLst>
        </pc:picChg>
        <pc:picChg chg="mod">
          <ac:chgData name="Bianca Ardito" userId="3dbb30f507a110b6" providerId="LiveId" clId="{6B3B4EFF-CE60-494E-BECC-B61895DB44D3}" dt="2024-05-24T03:16:34.968" v="3995" actId="208"/>
          <ac:picMkLst>
            <pc:docMk/>
            <pc:sldMk cId="3107299696" sldId="11285"/>
            <ac:picMk id="24" creationId="{58D01D82-C9C8-1E45-812E-3540B8163D90}"/>
          </ac:picMkLst>
        </pc:picChg>
        <pc:picChg chg="mod">
          <ac:chgData name="Bianca Ardito" userId="3dbb30f507a110b6" providerId="LiveId" clId="{6B3B4EFF-CE60-494E-BECC-B61895DB44D3}" dt="2024-05-24T03:16:34.968" v="3995" actId="208"/>
          <ac:picMkLst>
            <pc:docMk/>
            <pc:sldMk cId="3107299696" sldId="11285"/>
            <ac:picMk id="25" creationId="{F0C80390-9952-C04F-9F22-F5F3DBCA9ABA}"/>
          </ac:picMkLst>
        </pc:picChg>
        <pc:picChg chg="mod">
          <ac:chgData name="Bianca Ardito" userId="3dbb30f507a110b6" providerId="LiveId" clId="{6B3B4EFF-CE60-494E-BECC-B61895DB44D3}" dt="2024-05-24T03:16:34.968" v="3995" actId="208"/>
          <ac:picMkLst>
            <pc:docMk/>
            <pc:sldMk cId="3107299696" sldId="11285"/>
            <ac:picMk id="26" creationId="{D1B2B5D0-3C5D-B04D-9318-391298AD2B33}"/>
          </ac:picMkLst>
        </pc:picChg>
        <pc:picChg chg="mod">
          <ac:chgData name="Bianca Ardito" userId="3dbb30f507a110b6" providerId="LiveId" clId="{6B3B4EFF-CE60-494E-BECC-B61895DB44D3}" dt="2024-05-24T03:16:34.968" v="3995" actId="208"/>
          <ac:picMkLst>
            <pc:docMk/>
            <pc:sldMk cId="3107299696" sldId="11285"/>
            <ac:picMk id="27" creationId="{E09CDBF8-DBC1-194F-8BCC-76CE9A4B7178}"/>
          </ac:picMkLst>
        </pc:picChg>
        <pc:picChg chg="mod">
          <ac:chgData name="Bianca Ardito" userId="3dbb30f507a110b6" providerId="LiveId" clId="{6B3B4EFF-CE60-494E-BECC-B61895DB44D3}" dt="2024-05-24T03:16:34.968" v="3995" actId="208"/>
          <ac:picMkLst>
            <pc:docMk/>
            <pc:sldMk cId="3107299696" sldId="11285"/>
            <ac:picMk id="28" creationId="{F6B0A18C-D688-8942-8395-CAAF5A4EACB1}"/>
          </ac:picMkLst>
        </pc:picChg>
        <pc:picChg chg="mod">
          <ac:chgData name="Bianca Ardito" userId="3dbb30f507a110b6" providerId="LiveId" clId="{6B3B4EFF-CE60-494E-BECC-B61895DB44D3}" dt="2024-05-24T03:16:34.968" v="3995" actId="208"/>
          <ac:picMkLst>
            <pc:docMk/>
            <pc:sldMk cId="3107299696" sldId="11285"/>
            <ac:picMk id="29" creationId="{1DE9181F-314E-FE4F-B139-2BEF3F277911}"/>
          </ac:picMkLst>
        </pc:picChg>
        <pc:picChg chg="mod">
          <ac:chgData name="Bianca Ardito" userId="3dbb30f507a110b6" providerId="LiveId" clId="{6B3B4EFF-CE60-494E-BECC-B61895DB44D3}" dt="2024-05-24T03:16:34.968" v="3995" actId="208"/>
          <ac:picMkLst>
            <pc:docMk/>
            <pc:sldMk cId="3107299696" sldId="11285"/>
            <ac:picMk id="30" creationId="{29AE7802-75BC-4B4A-98F8-B8A8ADFAAC3D}"/>
          </ac:picMkLst>
        </pc:picChg>
        <pc:picChg chg="mod">
          <ac:chgData name="Bianca Ardito" userId="3dbb30f507a110b6" providerId="LiveId" clId="{6B3B4EFF-CE60-494E-BECC-B61895DB44D3}" dt="2024-05-24T03:16:34.968" v="3995" actId="208"/>
          <ac:picMkLst>
            <pc:docMk/>
            <pc:sldMk cId="3107299696" sldId="11285"/>
            <ac:picMk id="31" creationId="{470A5ECF-F232-A944-8BDE-85074B6D9A14}"/>
          </ac:picMkLst>
        </pc:picChg>
        <pc:picChg chg="mod">
          <ac:chgData name="Bianca Ardito" userId="3dbb30f507a110b6" providerId="LiveId" clId="{6B3B4EFF-CE60-494E-BECC-B61895DB44D3}" dt="2024-05-24T03:16:34.968" v="3995" actId="208"/>
          <ac:picMkLst>
            <pc:docMk/>
            <pc:sldMk cId="3107299696" sldId="11285"/>
            <ac:picMk id="32" creationId="{139E38F3-1BE4-1847-94B1-11399FB30A7E}"/>
          </ac:picMkLst>
        </pc:picChg>
        <pc:picChg chg="mod">
          <ac:chgData name="Bianca Ardito" userId="3dbb30f507a110b6" providerId="LiveId" clId="{6B3B4EFF-CE60-494E-BECC-B61895DB44D3}" dt="2024-05-24T03:16:34.968" v="3995" actId="208"/>
          <ac:picMkLst>
            <pc:docMk/>
            <pc:sldMk cId="3107299696" sldId="11285"/>
            <ac:picMk id="33" creationId="{CA8C2257-50B7-C14F-BF39-DB47D24596D3}"/>
          </ac:picMkLst>
        </pc:picChg>
        <pc:picChg chg="mod">
          <ac:chgData name="Bianca Ardito" userId="3dbb30f507a110b6" providerId="LiveId" clId="{6B3B4EFF-CE60-494E-BECC-B61895DB44D3}" dt="2024-05-24T03:16:34.968" v="3995" actId="208"/>
          <ac:picMkLst>
            <pc:docMk/>
            <pc:sldMk cId="3107299696" sldId="11285"/>
            <ac:picMk id="34" creationId="{67CCF6CA-9DC4-734F-B3AC-CFE9956DC990}"/>
          </ac:picMkLst>
        </pc:picChg>
        <pc:picChg chg="mod">
          <ac:chgData name="Bianca Ardito" userId="3dbb30f507a110b6" providerId="LiveId" clId="{6B3B4EFF-CE60-494E-BECC-B61895DB44D3}" dt="2024-05-24T03:16:34.968" v="3995" actId="208"/>
          <ac:picMkLst>
            <pc:docMk/>
            <pc:sldMk cId="3107299696" sldId="11285"/>
            <ac:picMk id="35" creationId="{E73D0CE6-37F8-A44C-9D85-FFC468A0C590}"/>
          </ac:picMkLst>
        </pc:picChg>
        <pc:picChg chg="mod">
          <ac:chgData name="Bianca Ardito" userId="3dbb30f507a110b6" providerId="LiveId" clId="{6B3B4EFF-CE60-494E-BECC-B61895DB44D3}" dt="2024-05-24T03:16:34.968" v="3995" actId="208"/>
          <ac:picMkLst>
            <pc:docMk/>
            <pc:sldMk cId="3107299696" sldId="11285"/>
            <ac:picMk id="36" creationId="{ABF203C5-8ACC-DF4E-A350-73FF7CBD821C}"/>
          </ac:picMkLst>
        </pc:picChg>
        <pc:picChg chg="mod">
          <ac:chgData name="Bianca Ardito" userId="3dbb30f507a110b6" providerId="LiveId" clId="{6B3B4EFF-CE60-494E-BECC-B61895DB44D3}" dt="2024-05-24T03:16:34.968" v="3995" actId="208"/>
          <ac:picMkLst>
            <pc:docMk/>
            <pc:sldMk cId="3107299696" sldId="11285"/>
            <ac:picMk id="37" creationId="{B21D2617-DC1E-BE49-97DA-3537724B9EE6}"/>
          </ac:picMkLst>
        </pc:picChg>
        <pc:picChg chg="mod">
          <ac:chgData name="Bianca Ardito" userId="3dbb30f507a110b6" providerId="LiveId" clId="{6B3B4EFF-CE60-494E-BECC-B61895DB44D3}" dt="2024-05-24T03:16:34.968" v="3995" actId="208"/>
          <ac:picMkLst>
            <pc:docMk/>
            <pc:sldMk cId="3107299696" sldId="11285"/>
            <ac:picMk id="38" creationId="{F87C32A0-9D77-864E-889B-9C99839A0837}"/>
          </ac:picMkLst>
        </pc:picChg>
        <pc:picChg chg="mod">
          <ac:chgData name="Bianca Ardito" userId="3dbb30f507a110b6" providerId="LiveId" clId="{6B3B4EFF-CE60-494E-BECC-B61895DB44D3}" dt="2024-05-24T03:16:34.968" v="3995" actId="208"/>
          <ac:picMkLst>
            <pc:docMk/>
            <pc:sldMk cId="3107299696" sldId="11285"/>
            <ac:picMk id="39" creationId="{A9A4DBCB-5CFA-564F-9D93-9F41EAFD50A0}"/>
          </ac:picMkLst>
        </pc:picChg>
        <pc:picChg chg="mod">
          <ac:chgData name="Bianca Ardito" userId="3dbb30f507a110b6" providerId="LiveId" clId="{6B3B4EFF-CE60-494E-BECC-B61895DB44D3}" dt="2024-05-24T03:16:34.968" v="3995" actId="208"/>
          <ac:picMkLst>
            <pc:docMk/>
            <pc:sldMk cId="3107299696" sldId="11285"/>
            <ac:picMk id="40" creationId="{DF51BCA1-FF00-FC44-9440-3405CA29068C}"/>
          </ac:picMkLst>
        </pc:picChg>
        <pc:picChg chg="mod">
          <ac:chgData name="Bianca Ardito" userId="3dbb30f507a110b6" providerId="LiveId" clId="{6B3B4EFF-CE60-494E-BECC-B61895DB44D3}" dt="2024-05-24T03:16:34.968" v="3995" actId="208"/>
          <ac:picMkLst>
            <pc:docMk/>
            <pc:sldMk cId="3107299696" sldId="11285"/>
            <ac:picMk id="41" creationId="{D3A61AB3-3EBC-6F47-84E3-8C7A90BF34EC}"/>
          </ac:picMkLst>
        </pc:picChg>
        <pc:picChg chg="mod">
          <ac:chgData name="Bianca Ardito" userId="3dbb30f507a110b6" providerId="LiveId" clId="{6B3B4EFF-CE60-494E-BECC-B61895DB44D3}" dt="2024-05-24T03:16:34.968" v="3995" actId="208"/>
          <ac:picMkLst>
            <pc:docMk/>
            <pc:sldMk cId="3107299696" sldId="11285"/>
            <ac:picMk id="42" creationId="{E7A8DC1A-CBE8-8349-AB2A-678220D965CB}"/>
          </ac:picMkLst>
        </pc:picChg>
        <pc:picChg chg="mod">
          <ac:chgData name="Bianca Ardito" userId="3dbb30f507a110b6" providerId="LiveId" clId="{6B3B4EFF-CE60-494E-BECC-B61895DB44D3}" dt="2024-05-24T03:16:34.968" v="3995" actId="208"/>
          <ac:picMkLst>
            <pc:docMk/>
            <pc:sldMk cId="3107299696" sldId="11285"/>
            <ac:picMk id="43" creationId="{0940215E-B013-7743-B2AD-1F7E0E0B582B}"/>
          </ac:picMkLst>
        </pc:picChg>
        <pc:picChg chg="mod">
          <ac:chgData name="Bianca Ardito" userId="3dbb30f507a110b6" providerId="LiveId" clId="{6B3B4EFF-CE60-494E-BECC-B61895DB44D3}" dt="2024-05-24T03:16:34.968" v="3995" actId="208"/>
          <ac:picMkLst>
            <pc:docMk/>
            <pc:sldMk cId="3107299696" sldId="11285"/>
            <ac:picMk id="44" creationId="{AF9EB601-F0B2-8240-AF45-70346328D6F0}"/>
          </ac:picMkLst>
        </pc:picChg>
        <pc:picChg chg="mod">
          <ac:chgData name="Bianca Ardito" userId="3dbb30f507a110b6" providerId="LiveId" clId="{6B3B4EFF-CE60-494E-BECC-B61895DB44D3}" dt="2024-05-24T03:16:34.968" v="3995" actId="208"/>
          <ac:picMkLst>
            <pc:docMk/>
            <pc:sldMk cId="3107299696" sldId="11285"/>
            <ac:picMk id="45" creationId="{B7523717-31AB-754C-82AE-F0672BEC0D09}"/>
          </ac:picMkLst>
        </pc:picChg>
        <pc:picChg chg="mod">
          <ac:chgData name="Bianca Ardito" userId="3dbb30f507a110b6" providerId="LiveId" clId="{6B3B4EFF-CE60-494E-BECC-B61895DB44D3}" dt="2024-05-24T03:16:34.968" v="3995" actId="208"/>
          <ac:picMkLst>
            <pc:docMk/>
            <pc:sldMk cId="3107299696" sldId="11285"/>
            <ac:picMk id="46" creationId="{3FE7FC8D-6B1B-B946-80A1-468D304E57B0}"/>
          </ac:picMkLst>
        </pc:picChg>
        <pc:picChg chg="mod">
          <ac:chgData name="Bianca Ardito" userId="3dbb30f507a110b6" providerId="LiveId" clId="{6B3B4EFF-CE60-494E-BECC-B61895DB44D3}" dt="2024-05-24T03:16:34.968" v="3995" actId="208"/>
          <ac:picMkLst>
            <pc:docMk/>
            <pc:sldMk cId="3107299696" sldId="11285"/>
            <ac:picMk id="47" creationId="{56D58F96-61B6-8947-AEDF-B5B0E874E0DD}"/>
          </ac:picMkLst>
        </pc:picChg>
        <pc:picChg chg="mod">
          <ac:chgData name="Bianca Ardito" userId="3dbb30f507a110b6" providerId="LiveId" clId="{6B3B4EFF-CE60-494E-BECC-B61895DB44D3}" dt="2024-05-24T03:16:34.968" v="3995" actId="208"/>
          <ac:picMkLst>
            <pc:docMk/>
            <pc:sldMk cId="3107299696" sldId="11285"/>
            <ac:picMk id="48" creationId="{00E5ECA6-B75D-B541-ADAE-4FAB25280C0C}"/>
          </ac:picMkLst>
        </pc:picChg>
        <pc:picChg chg="mod">
          <ac:chgData name="Bianca Ardito" userId="3dbb30f507a110b6" providerId="LiveId" clId="{6B3B4EFF-CE60-494E-BECC-B61895DB44D3}" dt="2024-05-24T03:16:34.968" v="3995" actId="208"/>
          <ac:picMkLst>
            <pc:docMk/>
            <pc:sldMk cId="3107299696" sldId="11285"/>
            <ac:picMk id="49" creationId="{631257B7-09B0-C84F-996D-1ACE58F57767}"/>
          </ac:picMkLst>
        </pc:picChg>
        <pc:picChg chg="mod">
          <ac:chgData name="Bianca Ardito" userId="3dbb30f507a110b6" providerId="LiveId" clId="{6B3B4EFF-CE60-494E-BECC-B61895DB44D3}" dt="2024-05-24T03:16:34.968" v="3995" actId="208"/>
          <ac:picMkLst>
            <pc:docMk/>
            <pc:sldMk cId="3107299696" sldId="11285"/>
            <ac:picMk id="50" creationId="{6FB45ECE-0296-C546-98A2-BB25F586A8D7}"/>
          </ac:picMkLst>
        </pc:picChg>
        <pc:picChg chg="mod">
          <ac:chgData name="Bianca Ardito" userId="3dbb30f507a110b6" providerId="LiveId" clId="{6B3B4EFF-CE60-494E-BECC-B61895DB44D3}" dt="2024-05-24T03:16:34.968" v="3995" actId="208"/>
          <ac:picMkLst>
            <pc:docMk/>
            <pc:sldMk cId="3107299696" sldId="11285"/>
            <ac:picMk id="51" creationId="{5D04EFD4-0EFA-B24E-82AE-D9A7AFC9BA91}"/>
          </ac:picMkLst>
        </pc:picChg>
        <pc:picChg chg="mod">
          <ac:chgData name="Bianca Ardito" userId="3dbb30f507a110b6" providerId="LiveId" clId="{6B3B4EFF-CE60-494E-BECC-B61895DB44D3}" dt="2024-05-24T03:16:34.968" v="3995" actId="208"/>
          <ac:picMkLst>
            <pc:docMk/>
            <pc:sldMk cId="3107299696" sldId="11285"/>
            <ac:picMk id="52" creationId="{59257DF9-0EA3-7E42-9F75-CFA971A42591}"/>
          </ac:picMkLst>
        </pc:picChg>
        <pc:picChg chg="mod">
          <ac:chgData name="Bianca Ardito" userId="3dbb30f507a110b6" providerId="LiveId" clId="{6B3B4EFF-CE60-494E-BECC-B61895DB44D3}" dt="2024-05-24T03:16:34.968" v="3995" actId="208"/>
          <ac:picMkLst>
            <pc:docMk/>
            <pc:sldMk cId="3107299696" sldId="11285"/>
            <ac:picMk id="53" creationId="{16AD33D8-D296-474F-9E67-D9CED205FBD0}"/>
          </ac:picMkLst>
        </pc:picChg>
        <pc:picChg chg="mod">
          <ac:chgData name="Bianca Ardito" userId="3dbb30f507a110b6" providerId="LiveId" clId="{6B3B4EFF-CE60-494E-BECC-B61895DB44D3}" dt="2024-05-24T03:16:34.968" v="3995" actId="208"/>
          <ac:picMkLst>
            <pc:docMk/>
            <pc:sldMk cId="3107299696" sldId="11285"/>
            <ac:picMk id="54" creationId="{5825C548-72FF-294F-8D37-3CA3CA16322A}"/>
          </ac:picMkLst>
        </pc:picChg>
        <pc:picChg chg="mod">
          <ac:chgData name="Bianca Ardito" userId="3dbb30f507a110b6" providerId="LiveId" clId="{6B3B4EFF-CE60-494E-BECC-B61895DB44D3}" dt="2024-05-24T03:16:34.968" v="3995" actId="208"/>
          <ac:picMkLst>
            <pc:docMk/>
            <pc:sldMk cId="3107299696" sldId="11285"/>
            <ac:picMk id="55" creationId="{6B9B0CB8-8C6F-644F-8D87-038B7D09FAE7}"/>
          </ac:picMkLst>
        </pc:picChg>
        <pc:picChg chg="mod">
          <ac:chgData name="Bianca Ardito" userId="3dbb30f507a110b6" providerId="LiveId" clId="{6B3B4EFF-CE60-494E-BECC-B61895DB44D3}" dt="2024-05-24T03:16:34.968" v="3995" actId="208"/>
          <ac:picMkLst>
            <pc:docMk/>
            <pc:sldMk cId="3107299696" sldId="11285"/>
            <ac:picMk id="56" creationId="{7CB04699-F87F-DC44-80EC-E80257FE9678}"/>
          </ac:picMkLst>
        </pc:picChg>
        <pc:picChg chg="mod">
          <ac:chgData name="Bianca Ardito" userId="3dbb30f507a110b6" providerId="LiveId" clId="{6B3B4EFF-CE60-494E-BECC-B61895DB44D3}" dt="2024-05-24T03:16:34.968" v="3995" actId="208"/>
          <ac:picMkLst>
            <pc:docMk/>
            <pc:sldMk cId="3107299696" sldId="11285"/>
            <ac:picMk id="57" creationId="{0321BE1C-BB07-0842-ADC8-8BE3464AA631}"/>
          </ac:picMkLst>
        </pc:picChg>
        <pc:picChg chg="mod">
          <ac:chgData name="Bianca Ardito" userId="3dbb30f507a110b6" providerId="LiveId" clId="{6B3B4EFF-CE60-494E-BECC-B61895DB44D3}" dt="2024-05-24T03:16:34.968" v="3995" actId="208"/>
          <ac:picMkLst>
            <pc:docMk/>
            <pc:sldMk cId="3107299696" sldId="11285"/>
            <ac:picMk id="58" creationId="{A8A617E0-5659-E245-A5A0-E1DE000FC151}"/>
          </ac:picMkLst>
        </pc:picChg>
        <pc:picChg chg="mod">
          <ac:chgData name="Bianca Ardito" userId="3dbb30f507a110b6" providerId="LiveId" clId="{6B3B4EFF-CE60-494E-BECC-B61895DB44D3}" dt="2024-05-24T03:16:34.968" v="3995" actId="208"/>
          <ac:picMkLst>
            <pc:docMk/>
            <pc:sldMk cId="3107299696" sldId="11285"/>
            <ac:picMk id="59" creationId="{8A275B60-B543-2943-AD5A-00B61AE4118A}"/>
          </ac:picMkLst>
        </pc:picChg>
        <pc:picChg chg="mod">
          <ac:chgData name="Bianca Ardito" userId="3dbb30f507a110b6" providerId="LiveId" clId="{6B3B4EFF-CE60-494E-BECC-B61895DB44D3}" dt="2024-05-24T03:16:34.968" v="3995" actId="208"/>
          <ac:picMkLst>
            <pc:docMk/>
            <pc:sldMk cId="3107299696" sldId="11285"/>
            <ac:picMk id="60" creationId="{00F5B6AD-BE2A-B241-8891-C51931EB0AE1}"/>
          </ac:picMkLst>
        </pc:picChg>
        <pc:picChg chg="mod">
          <ac:chgData name="Bianca Ardito" userId="3dbb30f507a110b6" providerId="LiveId" clId="{6B3B4EFF-CE60-494E-BECC-B61895DB44D3}" dt="2024-05-24T03:16:34.968" v="3995" actId="208"/>
          <ac:picMkLst>
            <pc:docMk/>
            <pc:sldMk cId="3107299696" sldId="11285"/>
            <ac:picMk id="61" creationId="{5090597A-14C9-E341-A807-C8DD1A5CBBC5}"/>
          </ac:picMkLst>
        </pc:picChg>
        <pc:picChg chg="mod">
          <ac:chgData name="Bianca Ardito" userId="3dbb30f507a110b6" providerId="LiveId" clId="{6B3B4EFF-CE60-494E-BECC-B61895DB44D3}" dt="2024-05-24T03:16:34.968" v="3995" actId="208"/>
          <ac:picMkLst>
            <pc:docMk/>
            <pc:sldMk cId="3107299696" sldId="11285"/>
            <ac:picMk id="62" creationId="{2D5AFCD0-605B-E24F-A292-40D88A2559B4}"/>
          </ac:picMkLst>
        </pc:picChg>
        <pc:picChg chg="mod">
          <ac:chgData name="Bianca Ardito" userId="3dbb30f507a110b6" providerId="LiveId" clId="{6B3B4EFF-CE60-494E-BECC-B61895DB44D3}" dt="2024-05-24T03:16:34.968" v="3995" actId="208"/>
          <ac:picMkLst>
            <pc:docMk/>
            <pc:sldMk cId="3107299696" sldId="11285"/>
            <ac:picMk id="63" creationId="{FB8722AE-4A5C-0745-BE52-058B6D4C57C5}"/>
          </ac:picMkLst>
        </pc:picChg>
        <pc:picChg chg="mod">
          <ac:chgData name="Bianca Ardito" userId="3dbb30f507a110b6" providerId="LiveId" clId="{6B3B4EFF-CE60-494E-BECC-B61895DB44D3}" dt="2024-05-24T03:16:34.968" v="3995" actId="208"/>
          <ac:picMkLst>
            <pc:docMk/>
            <pc:sldMk cId="3107299696" sldId="11285"/>
            <ac:picMk id="64" creationId="{F37B685D-81D9-4D46-A350-D0266BE0A679}"/>
          </ac:picMkLst>
        </pc:picChg>
      </pc:sldChg>
      <pc:sldChg chg="modSp mod">
        <pc:chgData name="Bianca Ardito" userId="3dbb30f507a110b6" providerId="LiveId" clId="{6B3B4EFF-CE60-494E-BECC-B61895DB44D3}" dt="2024-05-24T03:17:01.061" v="4007" actId="207"/>
        <pc:sldMkLst>
          <pc:docMk/>
          <pc:sldMk cId="3239908302" sldId="11286"/>
        </pc:sldMkLst>
        <pc:spChg chg="mod">
          <ac:chgData name="Bianca Ardito" userId="3dbb30f507a110b6" providerId="LiveId" clId="{6B3B4EFF-CE60-494E-BECC-B61895DB44D3}" dt="2024-05-24T03:16:57.816" v="4005" actId="207"/>
          <ac:spMkLst>
            <pc:docMk/>
            <pc:sldMk cId="3239908302" sldId="11286"/>
            <ac:spMk id="14" creationId="{617A21A9-6ED4-624D-BF9F-D34753E442B1}"/>
          </ac:spMkLst>
        </pc:spChg>
        <pc:spChg chg="mod">
          <ac:chgData name="Bianca Ardito" userId="3dbb30f507a110b6" providerId="LiveId" clId="{6B3B4EFF-CE60-494E-BECC-B61895DB44D3}" dt="2024-05-24T03:16:54.399" v="4004" actId="207"/>
          <ac:spMkLst>
            <pc:docMk/>
            <pc:sldMk cId="3239908302" sldId="11286"/>
            <ac:spMk id="15" creationId="{5747DF5C-AD52-FC4D-9CCD-E3DA1181E4B2}"/>
          </ac:spMkLst>
        </pc:spChg>
        <pc:spChg chg="mod">
          <ac:chgData name="Bianca Ardito" userId="3dbb30f507a110b6" providerId="LiveId" clId="{6B3B4EFF-CE60-494E-BECC-B61895DB44D3}" dt="2024-05-24T03:16:49.270" v="4002" actId="207"/>
          <ac:spMkLst>
            <pc:docMk/>
            <pc:sldMk cId="3239908302" sldId="11286"/>
            <ac:spMk id="28" creationId="{3A5F9871-4DAC-194C-B3AC-90B107A13430}"/>
          </ac:spMkLst>
        </pc:spChg>
        <pc:spChg chg="mod">
          <ac:chgData name="Bianca Ardito" userId="3dbb30f507a110b6" providerId="LiveId" clId="{6B3B4EFF-CE60-494E-BECC-B61895DB44D3}" dt="2024-05-24T03:16:59.716" v="4006" actId="207"/>
          <ac:spMkLst>
            <pc:docMk/>
            <pc:sldMk cId="3239908302" sldId="11286"/>
            <ac:spMk id="30" creationId="{882BE7CC-4014-234E-8FA5-A3BFCD2B3187}"/>
          </ac:spMkLst>
        </pc:spChg>
        <pc:spChg chg="mod">
          <ac:chgData name="Bianca Ardito" userId="3dbb30f507a110b6" providerId="LiveId" clId="{6B3B4EFF-CE60-494E-BECC-B61895DB44D3}" dt="2024-05-24T03:17:01.061" v="4007" actId="207"/>
          <ac:spMkLst>
            <pc:docMk/>
            <pc:sldMk cId="3239908302" sldId="11286"/>
            <ac:spMk id="31" creationId="{9D378A5B-C386-B24C-BF7A-11804A483A48}"/>
          </ac:spMkLst>
        </pc:spChg>
        <pc:spChg chg="mod">
          <ac:chgData name="Bianca Ardito" userId="3dbb30f507a110b6" providerId="LiveId" clId="{6B3B4EFF-CE60-494E-BECC-B61895DB44D3}" dt="2024-05-24T03:16:51.450" v="4003" actId="207"/>
          <ac:spMkLst>
            <pc:docMk/>
            <pc:sldMk cId="3239908302" sldId="11286"/>
            <ac:spMk id="37" creationId="{CBC79F40-1344-7C44-8A13-927A17414BFE}"/>
          </ac:spMkLst>
        </pc:spChg>
        <pc:graphicFrameChg chg="mod">
          <ac:chgData name="Bianca Ardito" userId="3dbb30f507a110b6" providerId="LiveId" clId="{6B3B4EFF-CE60-494E-BECC-B61895DB44D3}" dt="2024-05-24T03:16:45.506" v="4001"/>
          <ac:graphicFrameMkLst>
            <pc:docMk/>
            <pc:sldMk cId="3239908302" sldId="11286"/>
            <ac:graphicFrameMk id="77" creationId="{D5340E12-8A0C-0327-F12A-7B8B6F5BF08F}"/>
          </ac:graphicFrameMkLst>
        </pc:graphicFrameChg>
      </pc:sldChg>
      <pc:sldChg chg="addSp delSp modSp mod">
        <pc:chgData name="Bianca Ardito" userId="3dbb30f507a110b6" providerId="LiveId" clId="{6B3B4EFF-CE60-494E-BECC-B61895DB44D3}" dt="2024-05-24T03:02:47.436" v="3416" actId="207"/>
        <pc:sldMkLst>
          <pc:docMk/>
          <pc:sldMk cId="1250473514" sldId="11287"/>
        </pc:sldMkLst>
        <pc:spChg chg="add del mod modVis">
          <ac:chgData name="Bianca Ardito" userId="3dbb30f507a110b6" providerId="LiveId" clId="{6B3B4EFF-CE60-494E-BECC-B61895DB44D3}" dt="2024-05-24T02:02:15.406" v="621"/>
          <ac:spMkLst>
            <pc:docMk/>
            <pc:sldMk cId="1250473514" sldId="11287"/>
            <ac:spMk id="2" creationId="{C86606FF-DB78-9F73-2909-556B1575B7D1}"/>
          </ac:spMkLst>
        </pc:spChg>
        <pc:spChg chg="mod ord">
          <ac:chgData name="Bianca Ardito" userId="3dbb30f507a110b6" providerId="LiveId" clId="{6B3B4EFF-CE60-494E-BECC-B61895DB44D3}" dt="2024-05-24T03:00:20.649" v="3318"/>
          <ac:spMkLst>
            <pc:docMk/>
            <pc:sldMk cId="1250473514" sldId="11287"/>
            <ac:spMk id="3" creationId="{2F2CD533-39A4-C143-AB90-E36E3478242A}"/>
          </ac:spMkLst>
        </pc:spChg>
        <pc:spChg chg="add del mod">
          <ac:chgData name="Bianca Ardito" userId="3dbb30f507a110b6" providerId="LiveId" clId="{6B3B4EFF-CE60-494E-BECC-B61895DB44D3}" dt="2024-05-24T03:02:14.907" v="3409" actId="478"/>
          <ac:spMkLst>
            <pc:docMk/>
            <pc:sldMk cId="1250473514" sldId="11287"/>
            <ac:spMk id="4" creationId="{A1E106BC-EFAB-382B-809F-3D82090F5756}"/>
          </ac:spMkLst>
        </pc:spChg>
        <pc:spChg chg="mod ord">
          <ac:chgData name="Bianca Ardito" userId="3dbb30f507a110b6" providerId="LiveId" clId="{6B3B4EFF-CE60-494E-BECC-B61895DB44D3}" dt="2024-05-24T03:01:12.187" v="3394" actId="2085"/>
          <ac:spMkLst>
            <pc:docMk/>
            <pc:sldMk cId="1250473514" sldId="11287"/>
            <ac:spMk id="5" creationId="{013853E1-1677-BB4C-B6D3-4D89EB86B430}"/>
          </ac:spMkLst>
        </pc:spChg>
        <pc:spChg chg="mod ord">
          <ac:chgData name="Bianca Ardito" userId="3dbb30f507a110b6" providerId="LiveId" clId="{6B3B4EFF-CE60-494E-BECC-B61895DB44D3}" dt="2024-05-24T03:01:11.324" v="3393" actId="2085"/>
          <ac:spMkLst>
            <pc:docMk/>
            <pc:sldMk cId="1250473514" sldId="11287"/>
            <ac:spMk id="6" creationId="{1C452A01-3BC3-B743-BEAA-9E37C4E23B17}"/>
          </ac:spMkLst>
        </pc:spChg>
        <pc:spChg chg="mod ord">
          <ac:chgData name="Bianca Ardito" userId="3dbb30f507a110b6" providerId="LiveId" clId="{6B3B4EFF-CE60-494E-BECC-B61895DB44D3}" dt="2024-05-24T03:01:13.158" v="3395" actId="2085"/>
          <ac:spMkLst>
            <pc:docMk/>
            <pc:sldMk cId="1250473514" sldId="11287"/>
            <ac:spMk id="7" creationId="{389D6665-27FD-564D-9F56-43140FD168DF}"/>
          </ac:spMkLst>
        </pc:spChg>
        <pc:spChg chg="mod ord">
          <ac:chgData name="Bianca Ardito" userId="3dbb30f507a110b6" providerId="LiveId" clId="{6B3B4EFF-CE60-494E-BECC-B61895DB44D3}" dt="2024-05-24T03:01:09.117" v="3391" actId="2085"/>
          <ac:spMkLst>
            <pc:docMk/>
            <pc:sldMk cId="1250473514" sldId="11287"/>
            <ac:spMk id="8" creationId="{1B96FD3A-337C-E840-8F4B-97D72CE1D268}"/>
          </ac:spMkLst>
        </pc:spChg>
        <pc:spChg chg="mod ord">
          <ac:chgData name="Bianca Ardito" userId="3dbb30f507a110b6" providerId="LiveId" clId="{6B3B4EFF-CE60-494E-BECC-B61895DB44D3}" dt="2024-05-24T03:01:09.568" v="3392" actId="2085"/>
          <ac:spMkLst>
            <pc:docMk/>
            <pc:sldMk cId="1250473514" sldId="11287"/>
            <ac:spMk id="9" creationId="{BD0EB570-9153-8143-A696-ED19296F5444}"/>
          </ac:spMkLst>
        </pc:spChg>
        <pc:spChg chg="mod ord">
          <ac:chgData name="Bianca Ardito" userId="3dbb30f507a110b6" providerId="LiveId" clId="{6B3B4EFF-CE60-494E-BECC-B61895DB44D3}" dt="2024-05-24T03:01:06.013" v="3389" actId="2085"/>
          <ac:spMkLst>
            <pc:docMk/>
            <pc:sldMk cId="1250473514" sldId="11287"/>
            <ac:spMk id="10" creationId="{E6612271-89E1-7848-8131-8AAAE7DC065E}"/>
          </ac:spMkLst>
        </pc:spChg>
        <pc:spChg chg="mod ord">
          <ac:chgData name="Bianca Ardito" userId="3dbb30f507a110b6" providerId="LiveId" clId="{6B3B4EFF-CE60-494E-BECC-B61895DB44D3}" dt="2024-05-24T03:01:07.799" v="3390" actId="2085"/>
          <ac:spMkLst>
            <pc:docMk/>
            <pc:sldMk cId="1250473514" sldId="11287"/>
            <ac:spMk id="11" creationId="{8E5495C6-BCC5-C44F-8B7C-8B609F50049F}"/>
          </ac:spMkLst>
        </pc:spChg>
        <pc:spChg chg="mod ord">
          <ac:chgData name="Bianca Ardito" userId="3dbb30f507a110b6" providerId="LiveId" clId="{6B3B4EFF-CE60-494E-BECC-B61895DB44D3}" dt="2024-05-24T03:01:06.013" v="3389" actId="2085"/>
          <ac:spMkLst>
            <pc:docMk/>
            <pc:sldMk cId="1250473514" sldId="11287"/>
            <ac:spMk id="12" creationId="{87443930-B5DB-E148-BE4E-4678C3F4103F}"/>
          </ac:spMkLst>
        </pc:spChg>
        <pc:spChg chg="mod ord">
          <ac:chgData name="Bianca Ardito" userId="3dbb30f507a110b6" providerId="LiveId" clId="{6B3B4EFF-CE60-494E-BECC-B61895DB44D3}" dt="2024-05-24T03:01:06.013" v="3389" actId="2085"/>
          <ac:spMkLst>
            <pc:docMk/>
            <pc:sldMk cId="1250473514" sldId="11287"/>
            <ac:spMk id="13" creationId="{256C2F99-6C1E-D14B-BB63-014462E0BB21}"/>
          </ac:spMkLst>
        </pc:spChg>
        <pc:spChg chg="mod ord">
          <ac:chgData name="Bianca Ardito" userId="3dbb30f507a110b6" providerId="LiveId" clId="{6B3B4EFF-CE60-494E-BECC-B61895DB44D3}" dt="2024-05-24T03:00:56.398" v="3387" actId="2085"/>
          <ac:spMkLst>
            <pc:docMk/>
            <pc:sldMk cId="1250473514" sldId="11287"/>
            <ac:spMk id="14" creationId="{DFD2E222-E813-F840-A993-2EEEA0A56D6C}"/>
          </ac:spMkLst>
        </pc:spChg>
        <pc:spChg chg="mod ord">
          <ac:chgData name="Bianca Ardito" userId="3dbb30f507a110b6" providerId="LiveId" clId="{6B3B4EFF-CE60-494E-BECC-B61895DB44D3}" dt="2024-05-24T03:01:00.349" v="3388" actId="2085"/>
          <ac:spMkLst>
            <pc:docMk/>
            <pc:sldMk cId="1250473514" sldId="11287"/>
            <ac:spMk id="15" creationId="{3907F719-73BE-2242-9BCC-661E5B3BE45F}"/>
          </ac:spMkLst>
        </pc:spChg>
        <pc:spChg chg="mod ord">
          <ac:chgData name="Bianca Ardito" userId="3dbb30f507a110b6" providerId="LiveId" clId="{6B3B4EFF-CE60-494E-BECC-B61895DB44D3}" dt="2024-05-24T03:02:27.830" v="3411" actId="207"/>
          <ac:spMkLst>
            <pc:docMk/>
            <pc:sldMk cId="1250473514" sldId="11287"/>
            <ac:spMk id="17" creationId="{777EBF8D-14B7-8442-BCE7-4C2982237EF6}"/>
          </ac:spMkLst>
        </pc:spChg>
        <pc:spChg chg="mod ord">
          <ac:chgData name="Bianca Ardito" userId="3dbb30f507a110b6" providerId="LiveId" clId="{6B3B4EFF-CE60-494E-BECC-B61895DB44D3}" dt="2024-05-24T03:00:20.659" v="3346"/>
          <ac:spMkLst>
            <pc:docMk/>
            <pc:sldMk cId="1250473514" sldId="11287"/>
            <ac:spMk id="18" creationId="{55541FDA-03B2-2946-9DD8-A2F7353D05AA}"/>
          </ac:spMkLst>
        </pc:spChg>
        <pc:spChg chg="mod ord">
          <ac:chgData name="Bianca Ardito" userId="3dbb30f507a110b6" providerId="LiveId" clId="{6B3B4EFF-CE60-494E-BECC-B61895DB44D3}" dt="2024-05-24T03:02:33.897" v="3412" actId="108"/>
          <ac:spMkLst>
            <pc:docMk/>
            <pc:sldMk cId="1250473514" sldId="11287"/>
            <ac:spMk id="20" creationId="{DECFF159-CEB6-534C-802F-F434079CE1C2}"/>
          </ac:spMkLst>
        </pc:spChg>
        <pc:spChg chg="mod ord">
          <ac:chgData name="Bianca Ardito" userId="3dbb30f507a110b6" providerId="LiveId" clId="{6B3B4EFF-CE60-494E-BECC-B61895DB44D3}" dt="2024-05-24T03:00:20.660" v="3352"/>
          <ac:spMkLst>
            <pc:docMk/>
            <pc:sldMk cId="1250473514" sldId="11287"/>
            <ac:spMk id="21" creationId="{4AD92FC7-E4F6-444B-87E2-69A5CBB63094}"/>
          </ac:spMkLst>
        </pc:spChg>
        <pc:spChg chg="mod ord">
          <ac:chgData name="Bianca Ardito" userId="3dbb30f507a110b6" providerId="LiveId" clId="{6B3B4EFF-CE60-494E-BECC-B61895DB44D3}" dt="2024-05-24T03:00:20.660" v="3354"/>
          <ac:spMkLst>
            <pc:docMk/>
            <pc:sldMk cId="1250473514" sldId="11287"/>
            <ac:spMk id="22" creationId="{61591A77-E936-5348-B3A3-049D212A4289}"/>
          </ac:spMkLst>
        </pc:spChg>
        <pc:spChg chg="mod ord">
          <ac:chgData name="Bianca Ardito" userId="3dbb30f507a110b6" providerId="LiveId" clId="{6B3B4EFF-CE60-494E-BECC-B61895DB44D3}" dt="2024-05-24T03:02:37.455" v="3414" actId="108"/>
          <ac:spMkLst>
            <pc:docMk/>
            <pc:sldMk cId="1250473514" sldId="11287"/>
            <ac:spMk id="23" creationId="{985A42BE-86FF-8F4A-8E5D-D286866B799E}"/>
          </ac:spMkLst>
        </pc:spChg>
        <pc:spChg chg="mod ord">
          <ac:chgData name="Bianca Ardito" userId="3dbb30f507a110b6" providerId="LiveId" clId="{6B3B4EFF-CE60-494E-BECC-B61895DB44D3}" dt="2024-05-24T03:02:47.436" v="3416" actId="207"/>
          <ac:spMkLst>
            <pc:docMk/>
            <pc:sldMk cId="1250473514" sldId="11287"/>
            <ac:spMk id="26" creationId="{E6A40DF9-FE46-E64D-A019-9A3A10A8797F}"/>
          </ac:spMkLst>
        </pc:spChg>
        <pc:spChg chg="mod ord">
          <ac:chgData name="Bianca Ardito" userId="3dbb30f507a110b6" providerId="LiveId" clId="{6B3B4EFF-CE60-494E-BECC-B61895DB44D3}" dt="2024-05-24T03:00:20.662" v="3364"/>
          <ac:spMkLst>
            <pc:docMk/>
            <pc:sldMk cId="1250473514" sldId="11287"/>
            <ac:spMk id="27" creationId="{F6D4808B-2EAE-054D-9D33-9C102CCE1E70}"/>
          </ac:spMkLst>
        </pc:spChg>
        <pc:spChg chg="mod ord">
          <ac:chgData name="Bianca Ardito" userId="3dbb30f507a110b6" providerId="LiveId" clId="{6B3B4EFF-CE60-494E-BECC-B61895DB44D3}" dt="2024-05-24T03:02:38.931" v="3415" actId="108"/>
          <ac:spMkLst>
            <pc:docMk/>
            <pc:sldMk cId="1250473514" sldId="11287"/>
            <ac:spMk id="28" creationId="{0B518585-1D45-BD46-BFB6-B9D76D27B772}"/>
          </ac:spMkLst>
        </pc:spChg>
        <pc:spChg chg="mod ord">
          <ac:chgData name="Bianca Ardito" userId="3dbb30f507a110b6" providerId="LiveId" clId="{6B3B4EFF-CE60-494E-BECC-B61895DB44D3}" dt="2024-05-24T03:01:06.013" v="3389" actId="2085"/>
          <ac:spMkLst>
            <pc:docMk/>
            <pc:sldMk cId="1250473514" sldId="11287"/>
            <ac:spMk id="29" creationId="{2C6C93A1-5827-C240-9EA3-15B726789C24}"/>
          </ac:spMkLst>
        </pc:spChg>
        <pc:spChg chg="mod ord">
          <ac:chgData name="Bianca Ardito" userId="3dbb30f507a110b6" providerId="LiveId" clId="{6B3B4EFF-CE60-494E-BECC-B61895DB44D3}" dt="2024-05-24T03:00:20.663" v="3370"/>
          <ac:spMkLst>
            <pc:docMk/>
            <pc:sldMk cId="1250473514" sldId="11287"/>
            <ac:spMk id="30" creationId="{4A854C55-0A75-8642-A331-74E115C52F32}"/>
          </ac:spMkLst>
        </pc:spChg>
        <pc:spChg chg="mod ord">
          <ac:chgData name="Bianca Ardito" userId="3dbb30f507a110b6" providerId="LiveId" clId="{6B3B4EFF-CE60-494E-BECC-B61895DB44D3}" dt="2024-05-24T03:02:35.982" v="3413" actId="108"/>
          <ac:spMkLst>
            <pc:docMk/>
            <pc:sldMk cId="1250473514" sldId="11287"/>
            <ac:spMk id="31" creationId="{AAD47219-3F9A-F444-ACBB-7158CAE7BFFF}"/>
          </ac:spMkLst>
        </pc:spChg>
        <pc:spChg chg="mod ord">
          <ac:chgData name="Bianca Ardito" userId="3dbb30f507a110b6" providerId="LiveId" clId="{6B3B4EFF-CE60-494E-BECC-B61895DB44D3}" dt="2024-05-24T03:00:20.649" v="3314"/>
          <ac:spMkLst>
            <pc:docMk/>
            <pc:sldMk cId="1250473514" sldId="11287"/>
            <ac:spMk id="32" creationId="{AF082874-CE88-9841-A265-0E765E7EDC59}"/>
          </ac:spMkLst>
        </pc:spChg>
        <pc:spChg chg="mod ord">
          <ac:chgData name="Bianca Ardito" userId="3dbb30f507a110b6" providerId="LiveId" clId="{6B3B4EFF-CE60-494E-BECC-B61895DB44D3}" dt="2024-05-24T03:00:20.648" v="3310"/>
          <ac:spMkLst>
            <pc:docMk/>
            <pc:sldMk cId="1250473514" sldId="11287"/>
            <ac:spMk id="33" creationId="{EDAA0C33-43FC-5D4B-81B7-C996EED81805}"/>
          </ac:spMkLst>
        </pc:spChg>
        <pc:spChg chg="mod ord">
          <ac:chgData name="Bianca Ardito" userId="3dbb30f507a110b6" providerId="LiveId" clId="{6B3B4EFF-CE60-494E-BECC-B61895DB44D3}" dt="2024-05-24T03:00:37.391" v="3383" actId="207"/>
          <ac:spMkLst>
            <pc:docMk/>
            <pc:sldMk cId="1250473514" sldId="11287"/>
            <ac:spMk id="34" creationId="{2D994CB6-F296-A04D-815A-E2D4172FDA03}"/>
          </ac:spMkLst>
        </pc:spChg>
        <pc:spChg chg="mod ord">
          <ac:chgData name="Bianca Ardito" userId="3dbb30f507a110b6" providerId="LiveId" clId="{6B3B4EFF-CE60-494E-BECC-B61895DB44D3}" dt="2024-05-24T03:00:20.664" v="3376"/>
          <ac:spMkLst>
            <pc:docMk/>
            <pc:sldMk cId="1250473514" sldId="11287"/>
            <ac:spMk id="35" creationId="{A6D22709-C458-B646-BA4D-43E3ACA70AE0}"/>
          </ac:spMkLst>
        </pc:spChg>
        <pc:spChg chg="mod ord">
          <ac:chgData name="Bianca Ardito" userId="3dbb30f507a110b6" providerId="LiveId" clId="{6B3B4EFF-CE60-494E-BECC-B61895DB44D3}" dt="2024-05-24T03:00:20.649" v="3316"/>
          <ac:spMkLst>
            <pc:docMk/>
            <pc:sldMk cId="1250473514" sldId="11287"/>
            <ac:spMk id="36" creationId="{6F96CA68-C77F-9287-E628-07475AFECFDD}"/>
          </ac:spMkLst>
        </pc:spChg>
        <pc:spChg chg="mod ord">
          <ac:chgData name="Bianca Ardito" userId="3dbb30f507a110b6" providerId="LiveId" clId="{6B3B4EFF-CE60-494E-BECC-B61895DB44D3}" dt="2024-05-24T03:00:20.649" v="3320"/>
          <ac:spMkLst>
            <pc:docMk/>
            <pc:sldMk cId="1250473514" sldId="11287"/>
            <ac:spMk id="37" creationId="{5EFC608E-A6FC-346F-0A66-4B346280F741}"/>
          </ac:spMkLst>
        </pc:spChg>
        <pc:graphicFrameChg chg="mod ord">
          <ac:chgData name="Bianca Ardito" userId="3dbb30f507a110b6" providerId="LiveId" clId="{6B3B4EFF-CE60-494E-BECC-B61895DB44D3}" dt="2024-05-24T03:00:29.898" v="3382"/>
          <ac:graphicFrameMkLst>
            <pc:docMk/>
            <pc:sldMk cId="1250473514" sldId="11287"/>
            <ac:graphicFrameMk id="16" creationId="{BB1BBB14-0341-5645-BA2D-A15B34E291C2}"/>
          </ac:graphicFrameMkLst>
        </pc:graphicFrameChg>
        <pc:graphicFrameChg chg="mod ord modGraphic">
          <ac:chgData name="Bianca Ardito" userId="3dbb30f507a110b6" providerId="LiveId" clId="{6B3B4EFF-CE60-494E-BECC-B61895DB44D3}" dt="2024-05-24T03:01:38.484" v="3402" actId="207"/>
          <ac:graphicFrameMkLst>
            <pc:docMk/>
            <pc:sldMk cId="1250473514" sldId="11287"/>
            <ac:graphicFrameMk id="19" creationId="{04064585-CE86-7840-9C49-BC3A6C70DFED}"/>
          </ac:graphicFrameMkLst>
        </pc:graphicFrameChg>
        <pc:graphicFrameChg chg="mod ord modGraphic">
          <ac:chgData name="Bianca Ardito" userId="3dbb30f507a110b6" providerId="LiveId" clId="{6B3B4EFF-CE60-494E-BECC-B61895DB44D3}" dt="2024-05-24T03:00:20.661" v="3360"/>
          <ac:graphicFrameMkLst>
            <pc:docMk/>
            <pc:sldMk cId="1250473514" sldId="11287"/>
            <ac:graphicFrameMk id="25" creationId="{B081B710-BC6C-EB41-A11A-AC44F02A953D}"/>
          </ac:graphicFrameMkLst>
        </pc:graphicFrameChg>
        <pc:graphicFrameChg chg="mod">
          <ac:chgData name="Bianca Ardito" userId="3dbb30f507a110b6" providerId="LiveId" clId="{6B3B4EFF-CE60-494E-BECC-B61895DB44D3}" dt="2024-05-24T03:00:20.666" v="3380"/>
          <ac:graphicFrameMkLst>
            <pc:docMk/>
            <pc:sldMk cId="1250473514" sldId="11287"/>
            <ac:graphicFrameMk id="39" creationId="{FFA39272-B583-5FA3-4407-58F3F44DEA8F}"/>
          </ac:graphicFrameMkLst>
        </pc:graphicFrameChg>
        <pc:cxnChg chg="mod ord">
          <ac:chgData name="Bianca Ardito" userId="3dbb30f507a110b6" providerId="LiveId" clId="{6B3B4EFF-CE60-494E-BECC-B61895DB44D3}" dt="2024-05-24T03:00:20.661" v="3358"/>
          <ac:cxnSpMkLst>
            <pc:docMk/>
            <pc:sldMk cId="1250473514" sldId="11287"/>
            <ac:cxnSpMk id="24" creationId="{45A23E4B-A964-E34F-876B-CA07F01E59F2}"/>
          </ac:cxnSpMkLst>
        </pc:cxnChg>
      </pc:sldChg>
      <pc:sldChg chg="addSp delSp modSp mod">
        <pc:chgData name="Bianca Ardito" userId="3dbb30f507a110b6" providerId="LiveId" clId="{6B3B4EFF-CE60-494E-BECC-B61895DB44D3}" dt="2024-05-24T03:03:52.891" v="3443" actId="207"/>
        <pc:sldMkLst>
          <pc:docMk/>
          <pc:sldMk cId="1763032171" sldId="11288"/>
        </pc:sldMkLst>
        <pc:spChg chg="add del mod modVis">
          <ac:chgData name="Bianca Ardito" userId="3dbb30f507a110b6" providerId="LiveId" clId="{6B3B4EFF-CE60-494E-BECC-B61895DB44D3}" dt="2024-05-24T02:02:15.407" v="625"/>
          <ac:spMkLst>
            <pc:docMk/>
            <pc:sldMk cId="1763032171" sldId="11288"/>
            <ac:spMk id="2" creationId="{76846EB0-D6EC-5C01-636F-D88FAB0F265C}"/>
          </ac:spMkLst>
        </pc:spChg>
        <pc:spChg chg="mod">
          <ac:chgData name="Bianca Ardito" userId="3dbb30f507a110b6" providerId="LiveId" clId="{6B3B4EFF-CE60-494E-BECC-B61895DB44D3}" dt="2024-05-24T03:02:50.057" v="3417" actId="948"/>
          <ac:spMkLst>
            <pc:docMk/>
            <pc:sldMk cId="1763032171" sldId="11288"/>
            <ac:spMk id="3" creationId="{B046C070-2A2A-A848-AE63-3AFA07CB7043}"/>
          </ac:spMkLst>
        </pc:spChg>
        <pc:spChg chg="mod">
          <ac:chgData name="Bianca Ardito" userId="3dbb30f507a110b6" providerId="LiveId" clId="{6B3B4EFF-CE60-494E-BECC-B61895DB44D3}" dt="2024-05-24T03:03:13.661" v="3423" actId="207"/>
          <ac:spMkLst>
            <pc:docMk/>
            <pc:sldMk cId="1763032171" sldId="11288"/>
            <ac:spMk id="19" creationId="{DAE3BC8E-CB34-DA4B-90BF-62C63663272B}"/>
          </ac:spMkLst>
        </pc:spChg>
        <pc:spChg chg="mod">
          <ac:chgData name="Bianca Ardito" userId="3dbb30f507a110b6" providerId="LiveId" clId="{6B3B4EFF-CE60-494E-BECC-B61895DB44D3}" dt="2024-05-24T03:03:15.245" v="3424" actId="207"/>
          <ac:spMkLst>
            <pc:docMk/>
            <pc:sldMk cId="1763032171" sldId="11288"/>
            <ac:spMk id="22" creationId="{694CB868-7C44-1C4A-A698-FDCE5F31E19A}"/>
          </ac:spMkLst>
        </pc:spChg>
        <pc:spChg chg="mod">
          <ac:chgData name="Bianca Ardito" userId="3dbb30f507a110b6" providerId="LiveId" clId="{6B3B4EFF-CE60-494E-BECC-B61895DB44D3}" dt="2024-05-24T03:03:19.525" v="3428" actId="207"/>
          <ac:spMkLst>
            <pc:docMk/>
            <pc:sldMk cId="1763032171" sldId="11288"/>
            <ac:spMk id="24" creationId="{3BDC2076-E977-1343-AEB7-2FE588ED2F60}"/>
          </ac:spMkLst>
        </pc:spChg>
        <pc:spChg chg="mod">
          <ac:chgData name="Bianca Ardito" userId="3dbb30f507a110b6" providerId="LiveId" clId="{6B3B4EFF-CE60-494E-BECC-B61895DB44D3}" dt="2024-05-24T03:03:33.466" v="3433" actId="208"/>
          <ac:spMkLst>
            <pc:docMk/>
            <pc:sldMk cId="1763032171" sldId="11288"/>
            <ac:spMk id="25" creationId="{BC4A5883-D774-9846-9F3A-7BF2EF6B4E40}"/>
          </ac:spMkLst>
        </pc:spChg>
        <pc:spChg chg="mod">
          <ac:chgData name="Bianca Ardito" userId="3dbb30f507a110b6" providerId="LiveId" clId="{6B3B4EFF-CE60-494E-BECC-B61895DB44D3}" dt="2024-05-24T03:03:10.452" v="3422" actId="207"/>
          <ac:spMkLst>
            <pc:docMk/>
            <pc:sldMk cId="1763032171" sldId="11288"/>
            <ac:spMk id="26" creationId="{88BAF01C-C91C-BB4D-A8C2-5CE76AE0F480}"/>
          </ac:spMkLst>
        </pc:spChg>
        <pc:spChg chg="mod">
          <ac:chgData name="Bianca Ardito" userId="3dbb30f507a110b6" providerId="LiveId" clId="{6B3B4EFF-CE60-494E-BECC-B61895DB44D3}" dt="2024-05-24T03:03:15.904" v="3425" actId="207"/>
          <ac:spMkLst>
            <pc:docMk/>
            <pc:sldMk cId="1763032171" sldId="11288"/>
            <ac:spMk id="27" creationId="{8EB5A417-0F32-274B-AFB1-AE99CF0B978C}"/>
          </ac:spMkLst>
        </pc:spChg>
        <pc:spChg chg="mod">
          <ac:chgData name="Bianca Ardito" userId="3dbb30f507a110b6" providerId="LiveId" clId="{6B3B4EFF-CE60-494E-BECC-B61895DB44D3}" dt="2024-05-24T03:03:21.283" v="3429" actId="207"/>
          <ac:spMkLst>
            <pc:docMk/>
            <pc:sldMk cId="1763032171" sldId="11288"/>
            <ac:spMk id="30" creationId="{95208035-721B-8143-9EDC-A2A73CC53BD5}"/>
          </ac:spMkLst>
        </pc:spChg>
        <pc:spChg chg="mod">
          <ac:chgData name="Bianca Ardito" userId="3dbb30f507a110b6" providerId="LiveId" clId="{6B3B4EFF-CE60-494E-BECC-B61895DB44D3}" dt="2024-05-24T03:03:24.326" v="3430" actId="207"/>
          <ac:spMkLst>
            <pc:docMk/>
            <pc:sldMk cId="1763032171" sldId="11288"/>
            <ac:spMk id="32" creationId="{F8DDE191-A38E-984E-854B-1D913AA61219}"/>
          </ac:spMkLst>
        </pc:spChg>
        <pc:spChg chg="mod">
          <ac:chgData name="Bianca Ardito" userId="3dbb30f507a110b6" providerId="LiveId" clId="{6B3B4EFF-CE60-494E-BECC-B61895DB44D3}" dt="2024-05-24T03:03:25.671" v="3431" actId="207"/>
          <ac:spMkLst>
            <pc:docMk/>
            <pc:sldMk cId="1763032171" sldId="11288"/>
            <ac:spMk id="33" creationId="{D1035B0B-4A5A-ED44-BCDA-7AD338F8014C}"/>
          </ac:spMkLst>
        </pc:spChg>
        <pc:spChg chg="mod">
          <ac:chgData name="Bianca Ardito" userId="3dbb30f507a110b6" providerId="LiveId" clId="{6B3B4EFF-CE60-494E-BECC-B61895DB44D3}" dt="2024-05-24T03:03:42.246" v="3436" actId="207"/>
          <ac:spMkLst>
            <pc:docMk/>
            <pc:sldMk cId="1763032171" sldId="11288"/>
            <ac:spMk id="40" creationId="{38A2E950-C2D3-454B-A1B8-3D58E2CE4FB9}"/>
          </ac:spMkLst>
        </pc:spChg>
        <pc:spChg chg="mod">
          <ac:chgData name="Bianca Ardito" userId="3dbb30f507a110b6" providerId="LiveId" clId="{6B3B4EFF-CE60-494E-BECC-B61895DB44D3}" dt="2024-05-24T03:03:40.772" v="3435" actId="207"/>
          <ac:spMkLst>
            <pc:docMk/>
            <pc:sldMk cId="1763032171" sldId="11288"/>
            <ac:spMk id="41" creationId="{F02BBFFB-9EF7-B64D-ACAE-16B1E9FAE501}"/>
          </ac:spMkLst>
        </pc:spChg>
        <pc:spChg chg="mod">
          <ac:chgData name="Bianca Ardito" userId="3dbb30f507a110b6" providerId="LiveId" clId="{6B3B4EFF-CE60-494E-BECC-B61895DB44D3}" dt="2024-05-24T03:03:37.838" v="3434" actId="207"/>
          <ac:spMkLst>
            <pc:docMk/>
            <pc:sldMk cId="1763032171" sldId="11288"/>
            <ac:spMk id="42" creationId="{C7AD8C47-AD80-B54A-9559-610B36AD84E9}"/>
          </ac:spMkLst>
        </pc:spChg>
        <pc:spChg chg="mod">
          <ac:chgData name="Bianca Ardito" userId="3dbb30f507a110b6" providerId="LiveId" clId="{6B3B4EFF-CE60-494E-BECC-B61895DB44D3}" dt="2024-05-24T03:03:45.368" v="3437" actId="207"/>
          <ac:spMkLst>
            <pc:docMk/>
            <pc:sldMk cId="1763032171" sldId="11288"/>
            <ac:spMk id="43" creationId="{887EB059-6412-0D46-8456-14754B9E90DE}"/>
          </ac:spMkLst>
        </pc:spChg>
        <pc:spChg chg="mod">
          <ac:chgData name="Bianca Ardito" userId="3dbb30f507a110b6" providerId="LiveId" clId="{6B3B4EFF-CE60-494E-BECC-B61895DB44D3}" dt="2024-05-24T03:03:46.448" v="3438" actId="207"/>
          <ac:spMkLst>
            <pc:docMk/>
            <pc:sldMk cId="1763032171" sldId="11288"/>
            <ac:spMk id="44" creationId="{DB65C22C-A301-B940-B73F-040800CDFF9D}"/>
          </ac:spMkLst>
        </pc:spChg>
        <pc:spChg chg="mod">
          <ac:chgData name="Bianca Ardito" userId="3dbb30f507a110b6" providerId="LiveId" clId="{6B3B4EFF-CE60-494E-BECC-B61895DB44D3}" dt="2024-05-24T03:03:47.168" v="3439" actId="207"/>
          <ac:spMkLst>
            <pc:docMk/>
            <pc:sldMk cId="1763032171" sldId="11288"/>
            <ac:spMk id="45" creationId="{D8B71167-AE89-0343-B868-6FEE0BC76A00}"/>
          </ac:spMkLst>
        </pc:spChg>
        <pc:spChg chg="mod">
          <ac:chgData name="Bianca Ardito" userId="3dbb30f507a110b6" providerId="LiveId" clId="{6B3B4EFF-CE60-494E-BECC-B61895DB44D3}" dt="2024-05-24T03:03:49.176" v="3441" actId="207"/>
          <ac:spMkLst>
            <pc:docMk/>
            <pc:sldMk cId="1763032171" sldId="11288"/>
            <ac:spMk id="47" creationId="{E90AD852-78C5-6241-947F-FB3B750CDF1F}"/>
          </ac:spMkLst>
        </pc:spChg>
        <pc:spChg chg="mod">
          <ac:chgData name="Bianca Ardito" userId="3dbb30f507a110b6" providerId="LiveId" clId="{6B3B4EFF-CE60-494E-BECC-B61895DB44D3}" dt="2024-05-24T03:03:48.381" v="3440" actId="207"/>
          <ac:spMkLst>
            <pc:docMk/>
            <pc:sldMk cId="1763032171" sldId="11288"/>
            <ac:spMk id="49" creationId="{B75AC28E-F0CC-6B43-8587-8B4E1CE48279}"/>
          </ac:spMkLst>
        </pc:spChg>
        <pc:spChg chg="mod">
          <ac:chgData name="Bianca Ardito" userId="3dbb30f507a110b6" providerId="LiveId" clId="{6B3B4EFF-CE60-494E-BECC-B61895DB44D3}" dt="2024-05-24T03:03:51.546" v="3442" actId="207"/>
          <ac:spMkLst>
            <pc:docMk/>
            <pc:sldMk cId="1763032171" sldId="11288"/>
            <ac:spMk id="51" creationId="{C5E64315-C670-6A45-A91A-8C0A84899734}"/>
          </ac:spMkLst>
        </pc:spChg>
        <pc:spChg chg="mod">
          <ac:chgData name="Bianca Ardito" userId="3dbb30f507a110b6" providerId="LiveId" clId="{6B3B4EFF-CE60-494E-BECC-B61895DB44D3}" dt="2024-05-24T03:03:52.891" v="3443" actId="207"/>
          <ac:spMkLst>
            <pc:docMk/>
            <pc:sldMk cId="1763032171" sldId="11288"/>
            <ac:spMk id="53" creationId="{316066A5-B714-D949-9690-46F5B36881E6}"/>
          </ac:spMkLst>
        </pc:spChg>
        <pc:spChg chg="mod">
          <ac:chgData name="Bianca Ardito" userId="3dbb30f507a110b6" providerId="LiveId" clId="{6B3B4EFF-CE60-494E-BECC-B61895DB44D3}" dt="2024-05-24T03:03:52.891" v="3443" actId="207"/>
          <ac:spMkLst>
            <pc:docMk/>
            <pc:sldMk cId="1763032171" sldId="11288"/>
            <ac:spMk id="54" creationId="{11A15B0F-4F0E-3443-8AB3-08B64859C05C}"/>
          </ac:spMkLst>
        </pc:spChg>
        <pc:spChg chg="mod">
          <ac:chgData name="Bianca Ardito" userId="3dbb30f507a110b6" providerId="LiveId" clId="{6B3B4EFF-CE60-494E-BECC-B61895DB44D3}" dt="2024-05-24T03:03:52.891" v="3443" actId="207"/>
          <ac:spMkLst>
            <pc:docMk/>
            <pc:sldMk cId="1763032171" sldId="11288"/>
            <ac:spMk id="55" creationId="{3B30E446-B871-0646-88CA-72365545F3A2}"/>
          </ac:spMkLst>
        </pc:spChg>
        <pc:grpChg chg="mod">
          <ac:chgData name="Bianca Ardito" userId="3dbb30f507a110b6" providerId="LiveId" clId="{6B3B4EFF-CE60-494E-BECC-B61895DB44D3}" dt="2024-05-24T03:03:52.891" v="3443" actId="207"/>
          <ac:grpSpMkLst>
            <pc:docMk/>
            <pc:sldMk cId="1763032171" sldId="11288"/>
            <ac:grpSpMk id="52" creationId="{4B00104D-87AD-7048-A7AB-0ABE886AFD19}"/>
          </ac:grpSpMkLst>
        </pc:grpChg>
        <pc:graphicFrameChg chg="mod">
          <ac:chgData name="Bianca Ardito" userId="3dbb30f507a110b6" providerId="LiveId" clId="{6B3B4EFF-CE60-494E-BECC-B61895DB44D3}" dt="2024-05-24T03:02:50.073" v="3421"/>
          <ac:graphicFrameMkLst>
            <pc:docMk/>
            <pc:sldMk cId="1763032171" sldId="11288"/>
            <ac:graphicFrameMk id="61" creationId="{7EF15FFA-313B-FE49-C37D-6DB166B3F5A4}"/>
          </ac:graphicFrameMkLst>
        </pc:graphicFrameChg>
      </pc:sldChg>
      <pc:sldChg chg="addSp delSp modSp mod">
        <pc:chgData name="Bianca Ardito" userId="3dbb30f507a110b6" providerId="LiveId" clId="{6B3B4EFF-CE60-494E-BECC-B61895DB44D3}" dt="2024-05-24T03:05:17.692" v="3462" actId="3064"/>
        <pc:sldMkLst>
          <pc:docMk/>
          <pc:sldMk cId="2136256637" sldId="11289"/>
        </pc:sldMkLst>
        <pc:spChg chg="add del mod modVis">
          <ac:chgData name="Bianca Ardito" userId="3dbb30f507a110b6" providerId="LiveId" clId="{6B3B4EFF-CE60-494E-BECC-B61895DB44D3}" dt="2024-05-24T02:02:15.409" v="629"/>
          <ac:spMkLst>
            <pc:docMk/>
            <pc:sldMk cId="2136256637" sldId="11289"/>
            <ac:spMk id="2" creationId="{4EF04751-900E-E26D-096C-D64E73EBF1F0}"/>
          </ac:spMkLst>
        </pc:spChg>
        <pc:spChg chg="mod">
          <ac:chgData name="Bianca Ardito" userId="3dbb30f507a110b6" providerId="LiveId" clId="{6B3B4EFF-CE60-494E-BECC-B61895DB44D3}" dt="2024-05-24T03:04:16.854" v="3444" actId="948"/>
          <ac:spMkLst>
            <pc:docMk/>
            <pc:sldMk cId="2136256637" sldId="11289"/>
            <ac:spMk id="3" creationId="{83128D1F-E401-264F-B952-EA95965E9197}"/>
          </ac:spMkLst>
        </pc:spChg>
        <pc:spChg chg="mod">
          <ac:chgData name="Bianca Ardito" userId="3dbb30f507a110b6" providerId="LiveId" clId="{6B3B4EFF-CE60-494E-BECC-B61895DB44D3}" dt="2024-05-24T03:04:36.328" v="3451" actId="207"/>
          <ac:spMkLst>
            <pc:docMk/>
            <pc:sldMk cId="2136256637" sldId="11289"/>
            <ac:spMk id="52" creationId="{0EAD3F79-1714-7D4E-B24A-C3DC20D5C224}"/>
          </ac:spMkLst>
        </pc:spChg>
        <pc:spChg chg="mod">
          <ac:chgData name="Bianca Ardito" userId="3dbb30f507a110b6" providerId="LiveId" clId="{6B3B4EFF-CE60-494E-BECC-B61895DB44D3}" dt="2024-05-24T03:04:38.837" v="3452" actId="207"/>
          <ac:spMkLst>
            <pc:docMk/>
            <pc:sldMk cId="2136256637" sldId="11289"/>
            <ac:spMk id="55" creationId="{4F0E54EB-5030-D046-89E5-59A6ADE38533}"/>
          </ac:spMkLst>
        </pc:spChg>
        <pc:spChg chg="mod">
          <ac:chgData name="Bianca Ardito" userId="3dbb30f507a110b6" providerId="LiveId" clId="{6B3B4EFF-CE60-494E-BECC-B61895DB44D3}" dt="2024-05-24T03:04:44.215" v="3454" actId="207"/>
          <ac:spMkLst>
            <pc:docMk/>
            <pc:sldMk cId="2136256637" sldId="11289"/>
            <ac:spMk id="67" creationId="{29F6EFC3-B6FA-4745-A851-583DCC13F188}"/>
          </ac:spMkLst>
        </pc:spChg>
        <pc:spChg chg="mod">
          <ac:chgData name="Bianca Ardito" userId="3dbb30f507a110b6" providerId="LiveId" clId="{6B3B4EFF-CE60-494E-BECC-B61895DB44D3}" dt="2024-05-24T03:04:32.471" v="3450" actId="207"/>
          <ac:spMkLst>
            <pc:docMk/>
            <pc:sldMk cId="2136256637" sldId="11289"/>
            <ac:spMk id="70" creationId="{555DBC3E-5D62-6743-8FD6-0D65A08018C3}"/>
          </ac:spMkLst>
        </pc:spChg>
        <pc:spChg chg="mod">
          <ac:chgData name="Bianca Ardito" userId="3dbb30f507a110b6" providerId="LiveId" clId="{6B3B4EFF-CE60-494E-BECC-B61895DB44D3}" dt="2024-05-24T03:04:47.308" v="3455" actId="207"/>
          <ac:spMkLst>
            <pc:docMk/>
            <pc:sldMk cId="2136256637" sldId="11289"/>
            <ac:spMk id="73" creationId="{226BAB8B-2470-8D4D-B352-69CE5C854275}"/>
          </ac:spMkLst>
        </pc:spChg>
        <pc:spChg chg="mod">
          <ac:chgData name="Bianca Ardito" userId="3dbb30f507a110b6" providerId="LiveId" clId="{6B3B4EFF-CE60-494E-BECC-B61895DB44D3}" dt="2024-05-24T03:04:50.017" v="3456" actId="207"/>
          <ac:spMkLst>
            <pc:docMk/>
            <pc:sldMk cId="2136256637" sldId="11289"/>
            <ac:spMk id="77" creationId="{3A3FC99C-EF88-A948-9035-186362A2E027}"/>
          </ac:spMkLst>
        </pc:spChg>
        <pc:spChg chg="mod">
          <ac:chgData name="Bianca Ardito" userId="3dbb30f507a110b6" providerId="LiveId" clId="{6B3B4EFF-CE60-494E-BECC-B61895DB44D3}" dt="2024-05-24T03:04:58.344" v="3457" actId="207"/>
          <ac:spMkLst>
            <pc:docMk/>
            <pc:sldMk cId="2136256637" sldId="11289"/>
            <ac:spMk id="84" creationId="{882F580D-8E03-C442-AC64-49C8A7757D61}"/>
          </ac:spMkLst>
        </pc:spChg>
        <pc:spChg chg="mod">
          <ac:chgData name="Bianca Ardito" userId="3dbb30f507a110b6" providerId="LiveId" clId="{6B3B4EFF-CE60-494E-BECC-B61895DB44D3}" dt="2024-05-24T03:05:01.117" v="3458" actId="207"/>
          <ac:spMkLst>
            <pc:docMk/>
            <pc:sldMk cId="2136256637" sldId="11289"/>
            <ac:spMk id="87" creationId="{408F07AC-D2CB-0B47-A4B4-A3140E9711A8}"/>
          </ac:spMkLst>
        </pc:spChg>
        <pc:spChg chg="mod">
          <ac:chgData name="Bianca Ardito" userId="3dbb30f507a110b6" providerId="LiveId" clId="{6B3B4EFF-CE60-494E-BECC-B61895DB44D3}" dt="2024-05-24T03:05:02.702" v="3459" actId="207"/>
          <ac:spMkLst>
            <pc:docMk/>
            <pc:sldMk cId="2136256637" sldId="11289"/>
            <ac:spMk id="90" creationId="{9CAE6A36-0206-4948-880C-D5CBFD4FD5BA}"/>
          </ac:spMkLst>
        </pc:spChg>
        <pc:spChg chg="mod">
          <ac:chgData name="Bianca Ardito" userId="3dbb30f507a110b6" providerId="LiveId" clId="{6B3B4EFF-CE60-494E-BECC-B61895DB44D3}" dt="2024-05-24T03:04:41.549" v="3453" actId="207"/>
          <ac:spMkLst>
            <pc:docMk/>
            <pc:sldMk cId="2136256637" sldId="11289"/>
            <ac:spMk id="93" creationId="{F76706C2-D820-DB4E-AE87-FBF679C3C899}"/>
          </ac:spMkLst>
        </pc:spChg>
        <pc:graphicFrameChg chg="mod">
          <ac:chgData name="Bianca Ardito" userId="3dbb30f507a110b6" providerId="LiveId" clId="{6B3B4EFF-CE60-494E-BECC-B61895DB44D3}" dt="2024-05-24T03:04:16.870" v="3448"/>
          <ac:graphicFrameMkLst>
            <pc:docMk/>
            <pc:sldMk cId="2136256637" sldId="11289"/>
            <ac:graphicFrameMk id="8" creationId="{21F6BBF2-447E-F019-5F54-3D862A6E6D90}"/>
          </ac:graphicFrameMkLst>
        </pc:graphicFrameChg>
        <pc:graphicFrameChg chg="modGraphic">
          <ac:chgData name="Bianca Ardito" userId="3dbb30f507a110b6" providerId="LiveId" clId="{6B3B4EFF-CE60-494E-BECC-B61895DB44D3}" dt="2024-05-24T03:05:17.692" v="3462" actId="3064"/>
          <ac:graphicFrameMkLst>
            <pc:docMk/>
            <pc:sldMk cId="2136256637" sldId="11289"/>
            <ac:graphicFrameMk id="50" creationId="{C1003A30-FC2D-AB42-B49F-D00131BF314E}"/>
          </ac:graphicFrameMkLst>
        </pc:graphicFrameChg>
      </pc:sldChg>
      <pc:sldChg chg="modSp mod">
        <pc:chgData name="Bianca Ardito" userId="3dbb30f507a110b6" providerId="LiveId" clId="{6B3B4EFF-CE60-494E-BECC-B61895DB44D3}" dt="2024-05-24T03:17:33.632" v="4028" actId="208"/>
        <pc:sldMkLst>
          <pc:docMk/>
          <pc:sldMk cId="3394902180" sldId="11290"/>
        </pc:sldMkLst>
        <pc:spChg chg="mod">
          <ac:chgData name="Bianca Ardito" userId="3dbb30f507a110b6" providerId="LiveId" clId="{6B3B4EFF-CE60-494E-BECC-B61895DB44D3}" dt="2024-05-24T03:17:06.442" v="4013" actId="948"/>
          <ac:spMkLst>
            <pc:docMk/>
            <pc:sldMk cId="3394902180" sldId="11290"/>
            <ac:spMk id="3" creationId="{CAAFCD89-3917-3744-BF5F-677B8287E7F5}"/>
          </ac:spMkLst>
        </pc:spChg>
        <pc:spChg chg="mod">
          <ac:chgData name="Bianca Ardito" userId="3dbb30f507a110b6" providerId="LiveId" clId="{6B3B4EFF-CE60-494E-BECC-B61895DB44D3}" dt="2024-05-24T03:17:15.705" v="4021" actId="208"/>
          <ac:spMkLst>
            <pc:docMk/>
            <pc:sldMk cId="3394902180" sldId="11290"/>
            <ac:spMk id="10" creationId="{D9C5DD81-9FF2-D349-991B-30DE993BE297}"/>
          </ac:spMkLst>
        </pc:spChg>
        <pc:spChg chg="mod">
          <ac:chgData name="Bianca Ardito" userId="3dbb30f507a110b6" providerId="LiveId" clId="{6B3B4EFF-CE60-494E-BECC-B61895DB44D3}" dt="2024-05-24T03:17:15.705" v="4021" actId="208"/>
          <ac:spMkLst>
            <pc:docMk/>
            <pc:sldMk cId="3394902180" sldId="11290"/>
            <ac:spMk id="12" creationId="{5C88121C-F3E6-B34E-9EAB-849437BB919D}"/>
          </ac:spMkLst>
        </pc:spChg>
        <pc:spChg chg="mod">
          <ac:chgData name="Bianca Ardito" userId="3dbb30f507a110b6" providerId="LiveId" clId="{6B3B4EFF-CE60-494E-BECC-B61895DB44D3}" dt="2024-05-24T03:17:20.899" v="4023" actId="207"/>
          <ac:spMkLst>
            <pc:docMk/>
            <pc:sldMk cId="3394902180" sldId="11290"/>
            <ac:spMk id="24" creationId="{1BF1FA6D-BB4B-4940-97D0-0EC5DDC44C14}"/>
          </ac:spMkLst>
        </pc:spChg>
        <pc:spChg chg="mod">
          <ac:chgData name="Bianca Ardito" userId="3dbb30f507a110b6" providerId="LiveId" clId="{6B3B4EFF-CE60-494E-BECC-B61895DB44D3}" dt="2024-05-24T03:17:20.899" v="4023" actId="207"/>
          <ac:spMkLst>
            <pc:docMk/>
            <pc:sldMk cId="3394902180" sldId="11290"/>
            <ac:spMk id="25" creationId="{FA7CEFC3-2899-4B4E-AD0E-9B30F26D17A5}"/>
          </ac:spMkLst>
        </pc:spChg>
        <pc:spChg chg="mod">
          <ac:chgData name="Bianca Ardito" userId="3dbb30f507a110b6" providerId="LiveId" clId="{6B3B4EFF-CE60-494E-BECC-B61895DB44D3}" dt="2024-05-24T03:17:20.899" v="4023" actId="207"/>
          <ac:spMkLst>
            <pc:docMk/>
            <pc:sldMk cId="3394902180" sldId="11290"/>
            <ac:spMk id="26" creationId="{BAE03BF8-11B0-864C-8751-DE6A0AF8528E}"/>
          </ac:spMkLst>
        </pc:spChg>
        <pc:spChg chg="mod">
          <ac:chgData name="Bianca Ardito" userId="3dbb30f507a110b6" providerId="LiveId" clId="{6B3B4EFF-CE60-494E-BECC-B61895DB44D3}" dt="2024-05-24T03:17:20.899" v="4023" actId="207"/>
          <ac:spMkLst>
            <pc:docMk/>
            <pc:sldMk cId="3394902180" sldId="11290"/>
            <ac:spMk id="27" creationId="{A5CF06E7-6F48-2441-9D5F-CFAC179B7AA1}"/>
          </ac:spMkLst>
        </pc:spChg>
        <pc:spChg chg="mod">
          <ac:chgData name="Bianca Ardito" userId="3dbb30f507a110b6" providerId="LiveId" clId="{6B3B4EFF-CE60-494E-BECC-B61895DB44D3}" dt="2024-05-24T03:17:20.899" v="4023" actId="207"/>
          <ac:spMkLst>
            <pc:docMk/>
            <pc:sldMk cId="3394902180" sldId="11290"/>
            <ac:spMk id="28" creationId="{4C73194E-42C6-834F-9ACA-7FEACF2A268C}"/>
          </ac:spMkLst>
        </pc:spChg>
        <pc:spChg chg="mod">
          <ac:chgData name="Bianca Ardito" userId="3dbb30f507a110b6" providerId="LiveId" clId="{6B3B4EFF-CE60-494E-BECC-B61895DB44D3}" dt="2024-05-24T03:17:20.899" v="4023" actId="207"/>
          <ac:spMkLst>
            <pc:docMk/>
            <pc:sldMk cId="3394902180" sldId="11290"/>
            <ac:spMk id="29" creationId="{8BFFCF3D-C27B-6247-BB7A-AC12567DDFB2}"/>
          </ac:spMkLst>
        </pc:spChg>
        <pc:spChg chg="mod">
          <ac:chgData name="Bianca Ardito" userId="3dbb30f507a110b6" providerId="LiveId" clId="{6B3B4EFF-CE60-494E-BECC-B61895DB44D3}" dt="2024-05-24T03:17:20.899" v="4023" actId="207"/>
          <ac:spMkLst>
            <pc:docMk/>
            <pc:sldMk cId="3394902180" sldId="11290"/>
            <ac:spMk id="30" creationId="{8DEC46C9-96C2-E04A-BB37-178D656EBAFF}"/>
          </ac:spMkLst>
        </pc:spChg>
        <pc:spChg chg="mod">
          <ac:chgData name="Bianca Ardito" userId="3dbb30f507a110b6" providerId="LiveId" clId="{6B3B4EFF-CE60-494E-BECC-B61895DB44D3}" dt="2024-05-24T03:17:20.899" v="4023" actId="207"/>
          <ac:spMkLst>
            <pc:docMk/>
            <pc:sldMk cId="3394902180" sldId="11290"/>
            <ac:spMk id="31" creationId="{4D6CAFB6-141B-8444-B8B0-261895EE947F}"/>
          </ac:spMkLst>
        </pc:spChg>
        <pc:spChg chg="mod">
          <ac:chgData name="Bianca Ardito" userId="3dbb30f507a110b6" providerId="LiveId" clId="{6B3B4EFF-CE60-494E-BECC-B61895DB44D3}" dt="2024-05-24T03:17:20.899" v="4023" actId="207"/>
          <ac:spMkLst>
            <pc:docMk/>
            <pc:sldMk cId="3394902180" sldId="11290"/>
            <ac:spMk id="32" creationId="{8B1FC26D-2EED-6F44-8F42-D0B16841BAFE}"/>
          </ac:spMkLst>
        </pc:spChg>
        <pc:spChg chg="mod">
          <ac:chgData name="Bianca Ardito" userId="3dbb30f507a110b6" providerId="LiveId" clId="{6B3B4EFF-CE60-494E-BECC-B61895DB44D3}" dt="2024-05-24T03:17:23.938" v="4025" actId="207"/>
          <ac:spMkLst>
            <pc:docMk/>
            <pc:sldMk cId="3394902180" sldId="11290"/>
            <ac:spMk id="42" creationId="{A0CB0482-9BA0-0448-A1AF-293B0FAF76D6}"/>
          </ac:spMkLst>
        </pc:spChg>
        <pc:grpChg chg="mod">
          <ac:chgData name="Bianca Ardito" userId="3dbb30f507a110b6" providerId="LiveId" clId="{6B3B4EFF-CE60-494E-BECC-B61895DB44D3}" dt="2024-05-24T03:17:11.835" v="4019" actId="207"/>
          <ac:grpSpMkLst>
            <pc:docMk/>
            <pc:sldMk cId="3394902180" sldId="11290"/>
            <ac:grpSpMk id="8" creationId="{4C1849E8-4215-064D-B481-AB58B5CC517D}"/>
          </ac:grpSpMkLst>
        </pc:grpChg>
        <pc:grpChg chg="mod">
          <ac:chgData name="Bianca Ardito" userId="3dbb30f507a110b6" providerId="LiveId" clId="{6B3B4EFF-CE60-494E-BECC-B61895DB44D3}" dt="2024-05-24T03:17:27.663" v="4027" actId="207"/>
          <ac:grpSpMkLst>
            <pc:docMk/>
            <pc:sldMk cId="3394902180" sldId="11290"/>
            <ac:grpSpMk id="13" creationId="{2FA976BC-0A81-5F4A-8528-7FA2A90EBE24}"/>
          </ac:grpSpMkLst>
        </pc:grpChg>
        <pc:grpChg chg="mod">
          <ac:chgData name="Bianca Ardito" userId="3dbb30f507a110b6" providerId="LiveId" clId="{6B3B4EFF-CE60-494E-BECC-B61895DB44D3}" dt="2024-05-24T03:17:27.663" v="4027" actId="207"/>
          <ac:grpSpMkLst>
            <pc:docMk/>
            <pc:sldMk cId="3394902180" sldId="11290"/>
            <ac:grpSpMk id="14" creationId="{CD6A7CE9-85CE-C84F-8A50-72CCFFDF263C}"/>
          </ac:grpSpMkLst>
        </pc:grpChg>
        <pc:grpChg chg="mod">
          <ac:chgData name="Bianca Ardito" userId="3dbb30f507a110b6" providerId="LiveId" clId="{6B3B4EFF-CE60-494E-BECC-B61895DB44D3}" dt="2024-05-24T03:17:27.663" v="4027" actId="207"/>
          <ac:grpSpMkLst>
            <pc:docMk/>
            <pc:sldMk cId="3394902180" sldId="11290"/>
            <ac:grpSpMk id="17" creationId="{9DE85BE3-506F-7545-B6C3-9CBFA5A66BA9}"/>
          </ac:grpSpMkLst>
        </pc:grpChg>
        <pc:grpChg chg="mod">
          <ac:chgData name="Bianca Ardito" userId="3dbb30f507a110b6" providerId="LiveId" clId="{6B3B4EFF-CE60-494E-BECC-B61895DB44D3}" dt="2024-05-24T03:17:20.899" v="4023" actId="207"/>
          <ac:grpSpMkLst>
            <pc:docMk/>
            <pc:sldMk cId="3394902180" sldId="11290"/>
            <ac:grpSpMk id="21" creationId="{87FEED1B-C257-5D48-AFDD-3331F34115C9}"/>
          </ac:grpSpMkLst>
        </pc:grpChg>
        <pc:grpChg chg="mod">
          <ac:chgData name="Bianca Ardito" userId="3dbb30f507a110b6" providerId="LiveId" clId="{6B3B4EFF-CE60-494E-BECC-B61895DB44D3}" dt="2024-05-24T03:17:20.899" v="4023" actId="207"/>
          <ac:grpSpMkLst>
            <pc:docMk/>
            <pc:sldMk cId="3394902180" sldId="11290"/>
            <ac:grpSpMk id="22" creationId="{A3BE23F1-19F4-A841-ADF6-71465D708905}"/>
          </ac:grpSpMkLst>
        </pc:grpChg>
        <pc:grpChg chg="mod">
          <ac:chgData name="Bianca Ardito" userId="3dbb30f507a110b6" providerId="LiveId" clId="{6B3B4EFF-CE60-494E-BECC-B61895DB44D3}" dt="2024-05-24T03:17:20.899" v="4023" actId="207"/>
          <ac:grpSpMkLst>
            <pc:docMk/>
            <pc:sldMk cId="3394902180" sldId="11290"/>
            <ac:grpSpMk id="23" creationId="{EFADEFCC-3D48-D84A-BF83-36D6EE7AA2CB}"/>
          </ac:grpSpMkLst>
        </pc:grpChg>
        <pc:grpChg chg="mod">
          <ac:chgData name="Bianca Ardito" userId="3dbb30f507a110b6" providerId="LiveId" clId="{6B3B4EFF-CE60-494E-BECC-B61895DB44D3}" dt="2024-05-24T03:17:11.835" v="4019" actId="207"/>
          <ac:grpSpMkLst>
            <pc:docMk/>
            <pc:sldMk cId="3394902180" sldId="11290"/>
            <ac:grpSpMk id="39" creationId="{6E9F5228-3140-6649-AD54-5A9FF9F75039}"/>
          </ac:grpSpMkLst>
        </pc:grpChg>
        <pc:graphicFrameChg chg="mod">
          <ac:chgData name="Bianca Ardito" userId="3dbb30f507a110b6" providerId="LiveId" clId="{6B3B4EFF-CE60-494E-BECC-B61895DB44D3}" dt="2024-05-24T03:17:06.442" v="4017"/>
          <ac:graphicFrameMkLst>
            <pc:docMk/>
            <pc:sldMk cId="3394902180" sldId="11290"/>
            <ac:graphicFrameMk id="15" creationId="{809088C0-162B-A291-80BD-C10579E2E872}"/>
          </ac:graphicFrameMkLst>
        </pc:graphicFrameChg>
        <pc:picChg chg="mod">
          <ac:chgData name="Bianca Ardito" userId="3dbb30f507a110b6" providerId="LiveId" clId="{6B3B4EFF-CE60-494E-BECC-B61895DB44D3}" dt="2024-05-24T03:17:15.705" v="4021" actId="208"/>
          <ac:picMkLst>
            <pc:docMk/>
            <pc:sldMk cId="3394902180" sldId="11290"/>
            <ac:picMk id="6" creationId="{0B77E94E-0971-C244-AB65-DA2200451C18}"/>
          </ac:picMkLst>
        </pc:picChg>
        <pc:picChg chg="mod">
          <ac:chgData name="Bianca Ardito" userId="3dbb30f507a110b6" providerId="LiveId" clId="{6B3B4EFF-CE60-494E-BECC-B61895DB44D3}" dt="2024-05-24T03:17:15.705" v="4021" actId="208"/>
          <ac:picMkLst>
            <pc:docMk/>
            <pc:sldMk cId="3394902180" sldId="11290"/>
            <ac:picMk id="7" creationId="{D69FECF8-2EAF-004E-BC6A-C5CF1D6E4812}"/>
          </ac:picMkLst>
        </pc:picChg>
        <pc:picChg chg="mod">
          <ac:chgData name="Bianca Ardito" userId="3dbb30f507a110b6" providerId="LiveId" clId="{6B3B4EFF-CE60-494E-BECC-B61895DB44D3}" dt="2024-05-24T03:17:15.705" v="4021" actId="208"/>
          <ac:picMkLst>
            <pc:docMk/>
            <pc:sldMk cId="3394902180" sldId="11290"/>
            <ac:picMk id="9" creationId="{93CB89E0-9A9D-A04B-95FE-D00617826C83}"/>
          </ac:picMkLst>
        </pc:picChg>
        <pc:picChg chg="mod">
          <ac:chgData name="Bianca Ardito" userId="3dbb30f507a110b6" providerId="LiveId" clId="{6B3B4EFF-CE60-494E-BECC-B61895DB44D3}" dt="2024-05-24T03:17:15.705" v="4021" actId="208"/>
          <ac:picMkLst>
            <pc:docMk/>
            <pc:sldMk cId="3394902180" sldId="11290"/>
            <ac:picMk id="11" creationId="{A9E0819F-F39B-6948-B6CA-12FFFBD500E9}"/>
          </ac:picMkLst>
        </pc:picChg>
        <pc:picChg chg="mod">
          <ac:chgData name="Bianca Ardito" userId="3dbb30f507a110b6" providerId="LiveId" clId="{6B3B4EFF-CE60-494E-BECC-B61895DB44D3}" dt="2024-05-24T03:17:27.663" v="4027" actId="207"/>
          <ac:picMkLst>
            <pc:docMk/>
            <pc:sldMk cId="3394902180" sldId="11290"/>
            <ac:picMk id="16" creationId="{273FDE43-4417-034D-BD43-AB730648344A}"/>
          </ac:picMkLst>
        </pc:picChg>
        <pc:picChg chg="mod">
          <ac:chgData name="Bianca Ardito" userId="3dbb30f507a110b6" providerId="LiveId" clId="{6B3B4EFF-CE60-494E-BECC-B61895DB44D3}" dt="2024-05-24T03:17:27.663" v="4027" actId="207"/>
          <ac:picMkLst>
            <pc:docMk/>
            <pc:sldMk cId="3394902180" sldId="11290"/>
            <ac:picMk id="18" creationId="{B0A9DC6C-9D74-A048-817A-6BB0F3B9A3D9}"/>
          </ac:picMkLst>
        </pc:picChg>
        <pc:picChg chg="mod">
          <ac:chgData name="Bianca Ardito" userId="3dbb30f507a110b6" providerId="LiveId" clId="{6B3B4EFF-CE60-494E-BECC-B61895DB44D3}" dt="2024-05-24T03:17:27.663" v="4027" actId="207"/>
          <ac:picMkLst>
            <pc:docMk/>
            <pc:sldMk cId="3394902180" sldId="11290"/>
            <ac:picMk id="19" creationId="{1A18055D-AE91-DD45-87AA-C9AE85C15A96}"/>
          </ac:picMkLst>
        </pc:picChg>
        <pc:picChg chg="mod">
          <ac:chgData name="Bianca Ardito" userId="3dbb30f507a110b6" providerId="LiveId" clId="{6B3B4EFF-CE60-494E-BECC-B61895DB44D3}" dt="2024-05-24T03:17:33.632" v="4028" actId="208"/>
          <ac:picMkLst>
            <pc:docMk/>
            <pc:sldMk cId="3394902180" sldId="11290"/>
            <ac:picMk id="20" creationId="{0E35B2B0-B3A5-7A45-87FA-8D9803AD9405}"/>
          </ac:picMkLst>
        </pc:picChg>
        <pc:picChg chg="mod">
          <ac:chgData name="Bianca Ardito" userId="3dbb30f507a110b6" providerId="LiveId" clId="{6B3B4EFF-CE60-494E-BECC-B61895DB44D3}" dt="2024-05-24T03:17:15.705" v="4021" actId="208"/>
          <ac:picMkLst>
            <pc:docMk/>
            <pc:sldMk cId="3394902180" sldId="11290"/>
            <ac:picMk id="38" creationId="{200BAD8D-3A35-4649-864F-6044DB1E7113}"/>
          </ac:picMkLst>
        </pc:picChg>
        <pc:picChg chg="mod">
          <ac:chgData name="Bianca Ardito" userId="3dbb30f507a110b6" providerId="LiveId" clId="{6B3B4EFF-CE60-494E-BECC-B61895DB44D3}" dt="2024-05-24T03:17:15.705" v="4021" actId="208"/>
          <ac:picMkLst>
            <pc:docMk/>
            <pc:sldMk cId="3394902180" sldId="11290"/>
            <ac:picMk id="40" creationId="{BF66B150-A5C2-C943-8C51-62D096725101}"/>
          </ac:picMkLst>
        </pc:picChg>
        <pc:picChg chg="mod">
          <ac:chgData name="Bianca Ardito" userId="3dbb30f507a110b6" providerId="LiveId" clId="{6B3B4EFF-CE60-494E-BECC-B61895DB44D3}" dt="2024-05-24T03:17:15.705" v="4021" actId="208"/>
          <ac:picMkLst>
            <pc:docMk/>
            <pc:sldMk cId="3394902180" sldId="11290"/>
            <ac:picMk id="41" creationId="{C1C0BF90-52C4-4744-B9C6-13DE282C3D14}"/>
          </ac:picMkLst>
        </pc:picChg>
        <pc:picChg chg="mod">
          <ac:chgData name="Bianca Ardito" userId="3dbb30f507a110b6" providerId="LiveId" clId="{6B3B4EFF-CE60-494E-BECC-B61895DB44D3}" dt="2024-05-24T03:17:15.705" v="4021" actId="208"/>
          <ac:picMkLst>
            <pc:docMk/>
            <pc:sldMk cId="3394902180" sldId="11290"/>
            <ac:picMk id="43" creationId="{EC499355-579A-D54E-81E1-6314901BE6FF}"/>
          </ac:picMkLst>
        </pc:picChg>
      </pc:sldChg>
      <pc:sldChg chg="addSp delSp modSp mod">
        <pc:chgData name="Bianca Ardito" userId="3dbb30f507a110b6" providerId="LiveId" clId="{6B3B4EFF-CE60-494E-BECC-B61895DB44D3}" dt="2024-05-24T02:02:15.441" v="678"/>
        <pc:sldMkLst>
          <pc:docMk/>
          <pc:sldMk cId="2532165774" sldId="11291"/>
        </pc:sldMkLst>
        <pc:spChg chg="mod">
          <ac:chgData name="Bianca Ardito" userId="3dbb30f507a110b6" providerId="LiveId" clId="{6B3B4EFF-CE60-494E-BECC-B61895DB44D3}" dt="2024-05-24T02:02:15.019" v="143" actId="948"/>
          <ac:spMkLst>
            <pc:docMk/>
            <pc:sldMk cId="2532165774" sldId="11291"/>
            <ac:spMk id="2" creationId="{C2B5D6D4-8D4C-794F-8F9B-EC49F0DB3EA7}"/>
          </ac:spMkLst>
        </pc:spChg>
        <pc:spChg chg="add del mod modVis">
          <ac:chgData name="Bianca Ardito" userId="3dbb30f507a110b6" providerId="LiveId" clId="{6B3B4EFF-CE60-494E-BECC-B61895DB44D3}" dt="2024-05-24T02:02:15.441" v="676"/>
          <ac:spMkLst>
            <pc:docMk/>
            <pc:sldMk cId="2532165774" sldId="11291"/>
            <ac:spMk id="3" creationId="{DD79B7C0-485C-F9ED-60BD-0B15DE409119}"/>
          </ac:spMkLst>
        </pc:spChg>
        <pc:graphicFrameChg chg="mod">
          <ac:chgData name="Bianca Ardito" userId="3dbb30f507a110b6" providerId="LiveId" clId="{6B3B4EFF-CE60-494E-BECC-B61895DB44D3}" dt="2024-05-24T02:02:15.441" v="678"/>
          <ac:graphicFrameMkLst>
            <pc:docMk/>
            <pc:sldMk cId="2532165774" sldId="11291"/>
            <ac:graphicFrameMk id="7" creationId="{4A07037A-7B66-E0BC-EDFE-119628AEC064}"/>
          </ac:graphicFrameMkLst>
        </pc:graphicFrameChg>
      </pc:sldChg>
      <pc:sldChg chg="modSp mod">
        <pc:chgData name="Bianca Ardito" userId="3dbb30f507a110b6" providerId="LiveId" clId="{6B3B4EFF-CE60-494E-BECC-B61895DB44D3}" dt="2024-05-24T02:59:24.809" v="3220" actId="207"/>
        <pc:sldMkLst>
          <pc:docMk/>
          <pc:sldMk cId="3473810630" sldId="11294"/>
        </pc:sldMkLst>
        <pc:spChg chg="mod">
          <ac:chgData name="Bianca Ardito" userId="3dbb30f507a110b6" providerId="LiveId" clId="{6B3B4EFF-CE60-494E-BECC-B61895DB44D3}" dt="2024-05-24T02:59:24.809" v="3220" actId="207"/>
          <ac:spMkLst>
            <pc:docMk/>
            <pc:sldMk cId="3473810630" sldId="11294"/>
            <ac:spMk id="7" creationId="{26CA9CE4-D755-0744-844F-9D2BDFAE2FD3}"/>
          </ac:spMkLst>
        </pc:spChg>
      </pc:sldChg>
      <pc:sldChg chg="addSp delSp modSp mod">
        <pc:chgData name="Bianca Ardito" userId="3dbb30f507a110b6" providerId="LiveId" clId="{6B3B4EFF-CE60-494E-BECC-B61895DB44D3}" dt="2024-05-24T02:53:33.042" v="3096" actId="207"/>
        <pc:sldMkLst>
          <pc:docMk/>
          <pc:sldMk cId="1620974652" sldId="11295"/>
        </pc:sldMkLst>
        <pc:spChg chg="add del mod modVis">
          <ac:chgData name="Bianca Ardito" userId="3dbb30f507a110b6" providerId="LiveId" clId="{6B3B4EFF-CE60-494E-BECC-B61895DB44D3}" dt="2024-05-24T02:02:15.547" v="798"/>
          <ac:spMkLst>
            <pc:docMk/>
            <pc:sldMk cId="1620974652" sldId="11295"/>
            <ac:spMk id="2" creationId="{83EA40BA-6A8F-BD09-9281-9C270B3C6F9A}"/>
          </ac:spMkLst>
        </pc:spChg>
        <pc:spChg chg="mod">
          <ac:chgData name="Bianca Ardito" userId="3dbb30f507a110b6" providerId="LiveId" clId="{6B3B4EFF-CE60-494E-BECC-B61895DB44D3}" dt="2024-05-24T02:53:26.985" v="3091" actId="948"/>
          <ac:spMkLst>
            <pc:docMk/>
            <pc:sldMk cId="1620974652" sldId="11295"/>
            <ac:spMk id="3" creationId="{A21BF2E9-5D53-8546-B43B-D5C12AACFB33}"/>
          </ac:spMkLst>
        </pc:spChg>
        <pc:spChg chg="mod">
          <ac:chgData name="Bianca Ardito" userId="3dbb30f507a110b6" providerId="LiveId" clId="{6B3B4EFF-CE60-494E-BECC-B61895DB44D3}" dt="2024-05-24T02:53:33.042" v="3096" actId="207"/>
          <ac:spMkLst>
            <pc:docMk/>
            <pc:sldMk cId="1620974652" sldId="11295"/>
            <ac:spMk id="10" creationId="{0CA22309-FB41-D74E-94D7-E12416FEE2FC}"/>
          </ac:spMkLst>
        </pc:spChg>
        <pc:graphicFrameChg chg="mod">
          <ac:chgData name="Bianca Ardito" userId="3dbb30f507a110b6" providerId="LiveId" clId="{6B3B4EFF-CE60-494E-BECC-B61895DB44D3}" dt="2024-05-24T02:53:26.985" v="3095"/>
          <ac:graphicFrameMkLst>
            <pc:docMk/>
            <pc:sldMk cId="1620974652" sldId="11295"/>
            <ac:graphicFrameMk id="13" creationId="{74EF60A9-1E52-890A-1652-34EF64BEED0C}"/>
          </ac:graphicFrameMkLst>
        </pc:graphicFrameChg>
      </pc:sldChg>
      <pc:sldMasterChg chg="addSp delSp modSp mod modSldLayout">
        <pc:chgData name="Bianca Ardito" userId="3dbb30f507a110b6" providerId="LiveId" clId="{6B3B4EFF-CE60-494E-BECC-B61895DB44D3}" dt="2024-05-24T02:48:45.262" v="2845" actId="207"/>
        <pc:sldMasterMkLst>
          <pc:docMk/>
          <pc:sldMasterMk cId="0" sldId="2147484111"/>
        </pc:sldMasterMkLst>
        <pc:spChg chg="add del mod modVis">
          <ac:chgData name="Bianca Ardito" userId="3dbb30f507a110b6" providerId="LiveId" clId="{6B3B4EFF-CE60-494E-BECC-B61895DB44D3}" dt="2024-05-24T02:35:48.711" v="1568"/>
          <ac:spMkLst>
            <pc:docMk/>
            <pc:sldMasterMk cId="0" sldId="2147484111"/>
            <ac:spMk id="8" creationId="{93ADB2C9-7295-49A7-C1F7-B2E958A4816A}"/>
          </ac:spMkLst>
        </pc:spChg>
        <pc:spChg chg="add del mod modVis">
          <ac:chgData name="Bianca Ardito" userId="3dbb30f507a110b6" providerId="LiveId" clId="{6B3B4EFF-CE60-494E-BECC-B61895DB44D3}" dt="2024-05-24T02:35:56.408" v="1604"/>
          <ac:spMkLst>
            <pc:docMk/>
            <pc:sldMasterMk cId="0" sldId="2147484111"/>
            <ac:spMk id="11" creationId="{3E15FC61-C372-9D1A-C65A-2DCD9243F043}"/>
          </ac:spMkLst>
        </pc:spChg>
        <pc:spChg chg="add del mod modVis">
          <ac:chgData name="Bianca Ardito" userId="3dbb30f507a110b6" providerId="LiveId" clId="{6B3B4EFF-CE60-494E-BECC-B61895DB44D3}" dt="2024-05-24T02:39:46.043" v="2562"/>
          <ac:spMkLst>
            <pc:docMk/>
            <pc:sldMasterMk cId="0" sldId="2147484111"/>
            <ac:spMk id="12" creationId="{B1A7D274-D639-0DC0-CB6A-C4141447BE0A}"/>
          </ac:spMkLst>
        </pc:spChg>
        <pc:spChg chg="add del mod modVis">
          <ac:chgData name="Bianca Ardito" userId="3dbb30f507a110b6" providerId="LiveId" clId="{6B3B4EFF-CE60-494E-BECC-B61895DB44D3}" dt="2024-05-24T02:39:50.908" v="2589"/>
          <ac:spMkLst>
            <pc:docMk/>
            <pc:sldMasterMk cId="0" sldId="2147484111"/>
            <ac:spMk id="13" creationId="{9A4F981A-280B-78CA-713F-73C2FC2A8469}"/>
          </ac:spMkLst>
        </pc:spChg>
        <pc:spChg chg="add del mod modVis">
          <ac:chgData name="Bianca Ardito" userId="3dbb30f507a110b6" providerId="LiveId" clId="{6B3B4EFF-CE60-494E-BECC-B61895DB44D3}" dt="2024-05-24T02:39:54.074" v="2616"/>
          <ac:spMkLst>
            <pc:docMk/>
            <pc:sldMasterMk cId="0" sldId="2147484111"/>
            <ac:spMk id="14" creationId="{8255079A-B14C-8508-20EF-58537C82AA31}"/>
          </ac:spMkLst>
        </pc:spChg>
        <pc:spChg chg="mod">
          <ac:chgData name="Bianca Ardito" userId="3dbb30f507a110b6" providerId="LiveId" clId="{6B3B4EFF-CE60-494E-BECC-B61895DB44D3}" dt="2024-05-24T02:39:54.043" v="2593" actId="948"/>
          <ac:spMkLst>
            <pc:docMk/>
            <pc:sldMasterMk cId="0" sldId="2147484111"/>
            <ac:spMk id="23" creationId="{00000000-0000-0000-0000-000000000000}"/>
          </ac:spMkLst>
        </pc:spChg>
        <pc:graphicFrameChg chg="mod">
          <ac:chgData name="Bianca Ardito" userId="3dbb30f507a110b6" providerId="LiveId" clId="{6B3B4EFF-CE60-494E-BECC-B61895DB44D3}" dt="2024-05-24T02:39:54.074" v="2618"/>
          <ac:graphicFrameMkLst>
            <pc:docMk/>
            <pc:sldMasterMk cId="0" sldId="2147484111"/>
            <ac:graphicFrameMk id="3" creationId="{B8FB5793-E404-A8D3-AFA8-88ACE6BD840B}"/>
          </ac:graphicFrameMkLst>
        </pc:graphicFrameChg>
        <pc:picChg chg="add del mod modCrop">
          <ac:chgData name="Bianca Ardito" userId="3dbb30f507a110b6" providerId="LiveId" clId="{6B3B4EFF-CE60-494E-BECC-B61895DB44D3}" dt="2024-05-24T02:35:13.522" v="1525" actId="21"/>
          <ac:picMkLst>
            <pc:docMk/>
            <pc:sldMasterMk cId="0" sldId="2147484111"/>
            <ac:picMk id="4" creationId="{07AF6697-AFA3-3459-C9FB-869D95F6E03E}"/>
          </ac:picMkLst>
        </pc:picChg>
        <pc:picChg chg="del mod">
          <ac:chgData name="Bianca Ardito" userId="3dbb30f507a110b6" providerId="LiveId" clId="{6B3B4EFF-CE60-494E-BECC-B61895DB44D3}" dt="2024-05-24T02:35:44.131" v="1543" actId="478"/>
          <ac:picMkLst>
            <pc:docMk/>
            <pc:sldMasterMk cId="0" sldId="2147484111"/>
            <ac:picMk id="5" creationId="{32C0613C-2388-EEF2-D6FE-896CB69E4161}"/>
          </ac:picMkLst>
        </pc:picChg>
        <pc:picChg chg="add mod">
          <ac:chgData name="Bianca Ardito" userId="3dbb30f507a110b6" providerId="LiveId" clId="{6B3B4EFF-CE60-494E-BECC-B61895DB44D3}" dt="2024-05-24T02:35:41.811" v="1542" actId="554"/>
          <ac:picMkLst>
            <pc:docMk/>
            <pc:sldMasterMk cId="0" sldId="2147484111"/>
            <ac:picMk id="6" creationId="{07AF6697-AFA3-3459-C9FB-869D95F6E03E}"/>
          </ac:picMkLst>
        </pc:picChg>
        <pc:picChg chg="add del mod">
          <ac:chgData name="Bianca Ardito" userId="3dbb30f507a110b6" providerId="LiveId" clId="{6B3B4EFF-CE60-494E-BECC-B61895DB44D3}" dt="2024-05-24T02:35:33.362" v="1532" actId="478"/>
          <ac:picMkLst>
            <pc:docMk/>
            <pc:sldMasterMk cId="0" sldId="2147484111"/>
            <ac:picMk id="7" creationId="{65E3C49A-ACC4-7628-D096-98DABD411408}"/>
          </ac:picMkLst>
        </pc:picChg>
        <pc:cxnChg chg="mod">
          <ac:chgData name="Bianca Ardito" userId="3dbb30f507a110b6" providerId="LiveId" clId="{6B3B4EFF-CE60-494E-BECC-B61895DB44D3}" dt="2024-05-24T02:41:11.788" v="2630" actId="208"/>
          <ac:cxnSpMkLst>
            <pc:docMk/>
            <pc:sldMasterMk cId="0" sldId="2147484111"/>
            <ac:cxnSpMk id="10" creationId="{08451A7B-15B9-49E3-BA0C-88EEC565ABEA}"/>
          </ac:cxnSpMkLst>
        </pc:cxnChg>
        <pc:sldLayoutChg chg="addSp delSp modSp mod">
          <pc:chgData name="Bianca Ardito" userId="3dbb30f507a110b6" providerId="LiveId" clId="{6B3B4EFF-CE60-494E-BECC-B61895DB44D3}" dt="2024-05-24T02:27:56.613" v="1301" actId="478"/>
          <pc:sldLayoutMkLst>
            <pc:docMk/>
            <pc:sldMasterMk cId="0" sldId="2147484111"/>
            <pc:sldLayoutMk cId="0" sldId="2147484112"/>
          </pc:sldLayoutMkLst>
          <pc:spChg chg="add mod ord">
            <ac:chgData name="Bianca Ardito" userId="3dbb30f507a110b6" providerId="LiveId" clId="{6B3B4EFF-CE60-494E-BECC-B61895DB44D3}" dt="2024-05-24T02:27:35.880" v="1278"/>
            <ac:spMkLst>
              <pc:docMk/>
              <pc:sldMasterMk cId="0" sldId="2147484111"/>
              <pc:sldLayoutMk cId="0" sldId="2147484112"/>
              <ac:spMk id="2" creationId="{89158F06-C06B-209F-83F3-1E0A5E22685E}"/>
            </ac:spMkLst>
          </pc:spChg>
          <pc:spChg chg="mod ord">
            <ac:chgData name="Bianca Ardito" userId="3dbb30f507a110b6" providerId="LiveId" clId="{6B3B4EFF-CE60-494E-BECC-B61895DB44D3}" dt="2024-05-24T02:27:35.880" v="1294"/>
            <ac:spMkLst>
              <pc:docMk/>
              <pc:sldMasterMk cId="0" sldId="2147484111"/>
              <pc:sldLayoutMk cId="0" sldId="2147484112"/>
              <ac:spMk id="4" creationId="{560F6FC3-C463-0843-AE87-A28C42ACC74B}"/>
            </ac:spMkLst>
          </pc:spChg>
          <pc:spChg chg="add del mod ord">
            <ac:chgData name="Bianca Ardito" userId="3dbb30f507a110b6" providerId="LiveId" clId="{6B3B4EFF-CE60-494E-BECC-B61895DB44D3}" dt="2024-05-24T02:27:55.938" v="1300" actId="478"/>
            <ac:spMkLst>
              <pc:docMk/>
              <pc:sldMasterMk cId="0" sldId="2147484111"/>
              <pc:sldLayoutMk cId="0" sldId="2147484112"/>
              <ac:spMk id="9" creationId="{5A1E269B-EFB1-6C9F-4A4B-E874DFEFA4A2}"/>
            </ac:spMkLst>
          </pc:spChg>
          <pc:spChg chg="add mod ord">
            <ac:chgData name="Bianca Ardito" userId="3dbb30f507a110b6" providerId="LiveId" clId="{6B3B4EFF-CE60-494E-BECC-B61895DB44D3}" dt="2024-05-24T02:27:35.880" v="1282"/>
            <ac:spMkLst>
              <pc:docMk/>
              <pc:sldMasterMk cId="0" sldId="2147484111"/>
              <pc:sldLayoutMk cId="0" sldId="2147484112"/>
              <ac:spMk id="10" creationId="{B45ED5B0-E191-BB36-628A-EC16E3949701}"/>
            </ac:spMkLst>
          </pc:spChg>
          <pc:spChg chg="add del mod">
            <ac:chgData name="Bianca Ardito" userId="3dbb30f507a110b6" providerId="LiveId" clId="{6B3B4EFF-CE60-494E-BECC-B61895DB44D3}" dt="2024-05-24T02:06:20.980" v="1033" actId="478"/>
            <ac:spMkLst>
              <pc:docMk/>
              <pc:sldMasterMk cId="0" sldId="2147484111"/>
              <pc:sldLayoutMk cId="0" sldId="2147484112"/>
              <ac:spMk id="11" creationId="{C5450339-4791-5E74-D14A-F6B892DEE2A2}"/>
            </ac:spMkLst>
          </pc:spChg>
          <pc:spChg chg="add del mod">
            <ac:chgData name="Bianca Ardito" userId="3dbb30f507a110b6" providerId="LiveId" clId="{6B3B4EFF-CE60-494E-BECC-B61895DB44D3}" dt="2024-05-24T02:27:17.392" v="1253"/>
            <ac:spMkLst>
              <pc:docMk/>
              <pc:sldMasterMk cId="0" sldId="2147484111"/>
              <pc:sldLayoutMk cId="0" sldId="2147484112"/>
              <ac:spMk id="24" creationId="{BE2E1F1F-2C25-9A38-5AC6-0347FA7E4904}"/>
            </ac:spMkLst>
          </pc:spChg>
          <pc:spChg chg="mod ord">
            <ac:chgData name="Bianca Ardito" userId="3dbb30f507a110b6" providerId="LiveId" clId="{6B3B4EFF-CE60-494E-BECC-B61895DB44D3}" dt="2024-05-24T02:27:35.880" v="1292"/>
            <ac:spMkLst>
              <pc:docMk/>
              <pc:sldMasterMk cId="0" sldId="2147484111"/>
              <pc:sldLayoutMk cId="0" sldId="2147484112"/>
              <ac:spMk id="43" creationId="{00000000-0000-0000-0000-000000000000}"/>
            </ac:spMkLst>
          </pc:spChg>
          <pc:spChg chg="mod ord">
            <ac:chgData name="Bianca Ardito" userId="3dbb30f507a110b6" providerId="LiveId" clId="{6B3B4EFF-CE60-494E-BECC-B61895DB44D3}" dt="2024-05-24T02:27:35.880" v="1290"/>
            <ac:spMkLst>
              <pc:docMk/>
              <pc:sldMasterMk cId="0" sldId="2147484111"/>
              <pc:sldLayoutMk cId="0" sldId="2147484112"/>
              <ac:spMk id="69" creationId="{00000000-0000-0000-0000-000000000000}"/>
            </ac:spMkLst>
          </pc:spChg>
          <pc:grpChg chg="del mod ord">
            <ac:chgData name="Bianca Ardito" userId="3dbb30f507a110b6" providerId="LiveId" clId="{6B3B4EFF-CE60-494E-BECC-B61895DB44D3}" dt="2024-05-24T02:06:19.685" v="1032" actId="478"/>
            <ac:grpSpMkLst>
              <pc:docMk/>
              <pc:sldMasterMk cId="0" sldId="2147484111"/>
              <pc:sldLayoutMk cId="0" sldId="2147484112"/>
              <ac:grpSpMk id="6" creationId="{6FE0B7A5-82BE-DF65-4EFA-ADA580B374B6}"/>
            </ac:grpSpMkLst>
          </pc:grpChg>
          <pc:graphicFrameChg chg="add mod ord modVis replST">
            <ac:chgData name="Bianca Ardito" userId="3dbb30f507a110b6" providerId="LiveId" clId="{6B3B4EFF-CE60-494E-BECC-B61895DB44D3}" dt="2024-05-24T02:27:35.880" v="1298"/>
            <ac:graphicFrameMkLst>
              <pc:docMk/>
              <pc:sldMasterMk cId="0" sldId="2147484111"/>
              <pc:sldLayoutMk cId="0" sldId="2147484112"/>
              <ac:graphicFrameMk id="8" creationId="{641C4990-A683-7A3E-EC59-1F24A00844FE}"/>
            </ac:graphicFrameMkLst>
          </pc:graphicFrameChg>
          <pc:picChg chg="del mod ord">
            <ac:chgData name="Bianca Ardito" userId="3dbb30f507a110b6" providerId="LiveId" clId="{6B3B4EFF-CE60-494E-BECC-B61895DB44D3}" dt="2024-05-24T02:27:56.613" v="1301" actId="478"/>
            <ac:picMkLst>
              <pc:docMk/>
              <pc:sldMasterMk cId="0" sldId="2147484111"/>
              <pc:sldLayoutMk cId="0" sldId="2147484112"/>
              <ac:picMk id="7" creationId="{45C1B9F9-6C87-D042-9F44-22708213D448}"/>
            </ac:picMkLst>
          </pc:picChg>
          <pc:picChg chg="add mod ord">
            <ac:chgData name="Bianca Ardito" userId="3dbb30f507a110b6" providerId="LiveId" clId="{6B3B4EFF-CE60-494E-BECC-B61895DB44D3}" dt="2024-05-24T02:27:35.880" v="1286"/>
            <ac:picMkLst>
              <pc:docMk/>
              <pc:sldMasterMk cId="0" sldId="2147484111"/>
              <pc:sldLayoutMk cId="0" sldId="2147484112"/>
              <ac:picMk id="12" creationId="{000F74F5-40A8-BDB5-FE16-7964C8DDA1C8}"/>
            </ac:picMkLst>
          </pc:picChg>
          <pc:picChg chg="add del mod ord modCrop">
            <ac:chgData name="Bianca Ardito" userId="3dbb30f507a110b6" providerId="LiveId" clId="{6B3B4EFF-CE60-494E-BECC-B61895DB44D3}" dt="2024-05-24T02:27:17.392" v="1253"/>
            <ac:picMkLst>
              <pc:docMk/>
              <pc:sldMasterMk cId="0" sldId="2147484111"/>
              <pc:sldLayoutMk cId="0" sldId="2147484112"/>
              <ac:picMk id="14" creationId="{6107BCDC-EBA9-0253-2033-C0092A7C6E31}"/>
            </ac:picMkLst>
          </pc:picChg>
          <pc:picChg chg="add del mod">
            <ac:chgData name="Bianca Ardito" userId="3dbb30f507a110b6" providerId="LiveId" clId="{6B3B4EFF-CE60-494E-BECC-B61895DB44D3}" dt="2024-05-24T02:22:45.576" v="1103" actId="478"/>
            <ac:picMkLst>
              <pc:docMk/>
              <pc:sldMasterMk cId="0" sldId="2147484111"/>
              <pc:sldLayoutMk cId="0" sldId="2147484112"/>
              <ac:picMk id="15" creationId="{F0F66FC4-E3CC-C371-D708-BC2ADBA1DE07}"/>
            </ac:picMkLst>
          </pc:picChg>
          <pc:picChg chg="add del mod ord modCrop">
            <ac:chgData name="Bianca Ardito" userId="3dbb30f507a110b6" providerId="LiveId" clId="{6B3B4EFF-CE60-494E-BECC-B61895DB44D3}" dt="2024-05-24T02:26:44.733" v="1222" actId="478"/>
            <ac:picMkLst>
              <pc:docMk/>
              <pc:sldMasterMk cId="0" sldId="2147484111"/>
              <pc:sldLayoutMk cId="0" sldId="2147484112"/>
              <ac:picMk id="16" creationId="{A302FE2F-7395-5AC1-5EB4-A070E063D65B}"/>
            </ac:picMkLst>
          </pc:picChg>
          <pc:picChg chg="add del mod">
            <ac:chgData name="Bianca Ardito" userId="3dbb30f507a110b6" providerId="LiveId" clId="{6B3B4EFF-CE60-494E-BECC-B61895DB44D3}" dt="2024-05-24T02:22:42.799" v="1102" actId="478"/>
            <ac:picMkLst>
              <pc:docMk/>
              <pc:sldMasterMk cId="0" sldId="2147484111"/>
              <pc:sldLayoutMk cId="0" sldId="2147484112"/>
              <ac:picMk id="17" creationId="{CB9C5500-E424-E9F5-9C2E-3EC87906A0FD}"/>
            </ac:picMkLst>
          </pc:picChg>
          <pc:picChg chg="add del mod ord modCrop">
            <ac:chgData name="Bianca Ardito" userId="3dbb30f507a110b6" providerId="LiveId" clId="{6B3B4EFF-CE60-494E-BECC-B61895DB44D3}" dt="2024-05-24T02:26:44.733" v="1222" actId="478"/>
            <ac:picMkLst>
              <pc:docMk/>
              <pc:sldMasterMk cId="0" sldId="2147484111"/>
              <pc:sldLayoutMk cId="0" sldId="2147484112"/>
              <ac:picMk id="18" creationId="{296C1B88-0C73-6811-818F-AAF782D9E165}"/>
            </ac:picMkLst>
          </pc:picChg>
          <pc:picChg chg="mod ord">
            <ac:chgData name="Bianca Ardito" userId="3dbb30f507a110b6" providerId="LiveId" clId="{6B3B4EFF-CE60-494E-BECC-B61895DB44D3}" dt="2024-05-24T02:27:52.110" v="1299"/>
            <ac:picMkLst>
              <pc:docMk/>
              <pc:sldMasterMk cId="0" sldId="2147484111"/>
              <pc:sldLayoutMk cId="0" sldId="2147484112"/>
              <ac:picMk id="25" creationId="{0A0A4B65-F8C0-0D15-F525-137D81FDBD23}"/>
            </ac:picMkLst>
          </pc:picChg>
          <pc:cxnChg chg="add del mod">
            <ac:chgData name="Bianca Ardito" userId="3dbb30f507a110b6" providerId="LiveId" clId="{6B3B4EFF-CE60-494E-BECC-B61895DB44D3}" dt="2024-05-24T02:24:48.683" v="1120" actId="478"/>
            <ac:cxnSpMkLst>
              <pc:docMk/>
              <pc:sldMasterMk cId="0" sldId="2147484111"/>
              <pc:sldLayoutMk cId="0" sldId="2147484112"/>
              <ac:cxnSpMk id="20" creationId="{AA261057-0883-63C8-85D8-51027D9F1DCC}"/>
            </ac:cxnSpMkLst>
          </pc:cxnChg>
          <pc:cxnChg chg="add del mod">
            <ac:chgData name="Bianca Ardito" userId="3dbb30f507a110b6" providerId="LiveId" clId="{6B3B4EFF-CE60-494E-BECC-B61895DB44D3}" dt="2024-05-24T02:24:48.683" v="1120" actId="478"/>
            <ac:cxnSpMkLst>
              <pc:docMk/>
              <pc:sldMasterMk cId="0" sldId="2147484111"/>
              <pc:sldLayoutMk cId="0" sldId="2147484112"/>
              <ac:cxnSpMk id="21" creationId="{70D77887-3754-1097-B607-2604BEFA00F5}"/>
            </ac:cxnSpMkLst>
          </pc:cxnChg>
          <pc:cxnChg chg="add del mod">
            <ac:chgData name="Bianca Ardito" userId="3dbb30f507a110b6" providerId="LiveId" clId="{6B3B4EFF-CE60-494E-BECC-B61895DB44D3}" dt="2024-05-24T02:24:48.683" v="1120" actId="478"/>
            <ac:cxnSpMkLst>
              <pc:docMk/>
              <pc:sldMasterMk cId="0" sldId="2147484111"/>
              <pc:sldLayoutMk cId="0" sldId="2147484112"/>
              <ac:cxnSpMk id="22" creationId="{D634A288-2576-74DD-380D-5548F30F3FEC}"/>
            </ac:cxnSpMkLst>
          </pc:cxnChg>
          <pc:cxnChg chg="add del mod">
            <ac:chgData name="Bianca Ardito" userId="3dbb30f507a110b6" providerId="LiveId" clId="{6B3B4EFF-CE60-494E-BECC-B61895DB44D3}" dt="2024-05-24T02:24:48.683" v="1120" actId="478"/>
            <ac:cxnSpMkLst>
              <pc:docMk/>
              <pc:sldMasterMk cId="0" sldId="2147484111"/>
              <pc:sldLayoutMk cId="0" sldId="2147484112"/>
              <ac:cxnSpMk id="23" creationId="{3786364C-2648-A5DF-FA88-379ABC16108B}"/>
            </ac:cxnSpMkLst>
          </pc:cxnChg>
        </pc:sldLayoutChg>
        <pc:sldLayoutChg chg="addSp delSp modSp mod">
          <pc:chgData name="Bianca Ardito" userId="3dbb30f507a110b6" providerId="LiveId" clId="{6B3B4EFF-CE60-494E-BECC-B61895DB44D3}" dt="2024-05-24T02:41:18.090" v="2631" actId="208"/>
          <pc:sldLayoutMkLst>
            <pc:docMk/>
            <pc:sldMasterMk cId="0" sldId="2147484111"/>
            <pc:sldLayoutMk cId="0" sldId="2147484113"/>
          </pc:sldLayoutMkLst>
          <pc:spChg chg="mod">
            <ac:chgData name="Bianca Ardito" userId="3dbb30f507a110b6" providerId="LiveId" clId="{6B3B4EFF-CE60-494E-BECC-B61895DB44D3}" dt="2024-05-24T02:39:57.617" v="2619" actId="207"/>
            <ac:spMkLst>
              <pc:docMk/>
              <pc:sldMasterMk cId="0" sldId="2147484111"/>
              <pc:sldLayoutMk cId="0" sldId="2147484113"/>
              <ac:spMk id="2" creationId="{00000000-0000-0000-0000-000000000000}"/>
            </ac:spMkLst>
          </pc:spChg>
          <pc:picChg chg="del">
            <ac:chgData name="Bianca Ardito" userId="3dbb30f507a110b6" providerId="LiveId" clId="{6B3B4EFF-CE60-494E-BECC-B61895DB44D3}" dt="2024-05-24T02:36:01.396" v="1607" actId="478"/>
            <ac:picMkLst>
              <pc:docMk/>
              <pc:sldMasterMk cId="0" sldId="2147484111"/>
              <pc:sldLayoutMk cId="0" sldId="2147484113"/>
              <ac:picMk id="3" creationId="{1D0DFDD1-9657-9AA4-A744-6F7F235301D3}"/>
            </ac:picMkLst>
          </pc:picChg>
          <pc:picChg chg="add mod">
            <ac:chgData name="Bianca Ardito" userId="3dbb30f507a110b6" providerId="LiveId" clId="{6B3B4EFF-CE60-494E-BECC-B61895DB44D3}" dt="2024-05-24T02:36:01.630" v="1608"/>
            <ac:picMkLst>
              <pc:docMk/>
              <pc:sldMasterMk cId="0" sldId="2147484111"/>
              <pc:sldLayoutMk cId="0" sldId="2147484113"/>
              <ac:picMk id="4" creationId="{E91B3518-A847-734B-EF09-B0C6CEA51AE6}"/>
            </ac:picMkLst>
          </pc:picChg>
          <pc:cxnChg chg="mod">
            <ac:chgData name="Bianca Ardito" userId="3dbb30f507a110b6" providerId="LiveId" clId="{6B3B4EFF-CE60-494E-BECC-B61895DB44D3}" dt="2024-05-24T02:41:18.090" v="2631" actId="208"/>
            <ac:cxnSpMkLst>
              <pc:docMk/>
              <pc:sldMasterMk cId="0" sldId="2147484111"/>
              <pc:sldLayoutMk cId="0" sldId="2147484113"/>
              <ac:cxnSpMk id="45" creationId="{00000000-0000-0000-0000-000000000000}"/>
            </ac:cxnSpMkLst>
          </pc:cxnChg>
        </pc:sldLayoutChg>
        <pc:sldLayoutChg chg="addSp delSp modSp mod">
          <pc:chgData name="Bianca Ardito" userId="3dbb30f507a110b6" providerId="LiveId" clId="{6B3B4EFF-CE60-494E-BECC-B61895DB44D3}" dt="2024-05-24T02:45:58.264" v="2715" actId="207"/>
          <pc:sldLayoutMkLst>
            <pc:docMk/>
            <pc:sldMasterMk cId="0" sldId="2147484111"/>
            <pc:sldLayoutMk cId="0" sldId="2147484114"/>
          </pc:sldLayoutMkLst>
          <pc:spChg chg="mod">
            <ac:chgData name="Bianca Ardito" userId="3dbb30f507a110b6" providerId="LiveId" clId="{6B3B4EFF-CE60-494E-BECC-B61895DB44D3}" dt="2024-05-24T02:45:58.264" v="2715" actId="207"/>
            <ac:spMkLst>
              <pc:docMk/>
              <pc:sldMasterMk cId="0" sldId="2147484111"/>
              <pc:sldLayoutMk cId="0" sldId="2147484114"/>
              <ac:spMk id="3" creationId="{00000000-0000-0000-0000-000000000000}"/>
            </ac:spMkLst>
          </pc:spChg>
          <pc:picChg chg="del">
            <ac:chgData name="Bianca Ardito" userId="3dbb30f507a110b6" providerId="LiveId" clId="{6B3B4EFF-CE60-494E-BECC-B61895DB44D3}" dt="2024-05-24T02:36:03.450" v="1609" actId="478"/>
            <ac:picMkLst>
              <pc:docMk/>
              <pc:sldMasterMk cId="0" sldId="2147484111"/>
              <pc:sldLayoutMk cId="0" sldId="2147484114"/>
              <ac:picMk id="2" creationId="{6B9117DC-495C-E9F6-736A-528C8014B552}"/>
            </ac:picMkLst>
          </pc:picChg>
          <pc:picChg chg="add mod">
            <ac:chgData name="Bianca Ardito" userId="3dbb30f507a110b6" providerId="LiveId" clId="{6B3B4EFF-CE60-494E-BECC-B61895DB44D3}" dt="2024-05-24T02:36:03.684" v="1610"/>
            <ac:picMkLst>
              <pc:docMk/>
              <pc:sldMasterMk cId="0" sldId="2147484111"/>
              <pc:sldLayoutMk cId="0" sldId="2147484114"/>
              <ac:picMk id="5" creationId="{E12AA2DF-DF6C-876A-4B6C-D016B74D625D}"/>
            </ac:picMkLst>
          </pc:picChg>
          <pc:cxnChg chg="mod">
            <ac:chgData name="Bianca Ardito" userId="3dbb30f507a110b6" providerId="LiveId" clId="{6B3B4EFF-CE60-494E-BECC-B61895DB44D3}" dt="2024-05-24T02:41:20.628" v="2632" actId="208"/>
            <ac:cxnSpMkLst>
              <pc:docMk/>
              <pc:sldMasterMk cId="0" sldId="2147484111"/>
              <pc:sldLayoutMk cId="0" sldId="2147484114"/>
              <ac:cxnSpMk id="75" creationId="{00000000-0000-0000-0000-000000000000}"/>
            </ac:cxnSpMkLst>
          </pc:cxnChg>
        </pc:sldLayoutChg>
        <pc:sldLayoutChg chg="modSp mod">
          <pc:chgData name="Bianca Ardito" userId="3dbb30f507a110b6" providerId="LiveId" clId="{6B3B4EFF-CE60-494E-BECC-B61895DB44D3}" dt="2024-05-24T02:40:13.079" v="2625" actId="207"/>
          <pc:sldLayoutMkLst>
            <pc:docMk/>
            <pc:sldMasterMk cId="0" sldId="2147484111"/>
            <pc:sldLayoutMk cId="0" sldId="2147484116"/>
          </pc:sldLayoutMkLst>
          <pc:spChg chg="mod">
            <ac:chgData name="Bianca Ardito" userId="3dbb30f507a110b6" providerId="LiveId" clId="{6B3B4EFF-CE60-494E-BECC-B61895DB44D3}" dt="2024-05-24T02:40:13.079" v="2625" actId="207"/>
            <ac:spMkLst>
              <pc:docMk/>
              <pc:sldMasterMk cId="0" sldId="2147484111"/>
              <pc:sldLayoutMk cId="0" sldId="2147484116"/>
              <ac:spMk id="4" creationId="{00000000-0000-0000-0000-000000000000}"/>
            </ac:spMkLst>
          </pc:spChg>
        </pc:sldLayoutChg>
        <pc:sldLayoutChg chg="addSp delSp modSp mod">
          <pc:chgData name="Bianca Ardito" userId="3dbb30f507a110b6" providerId="LiveId" clId="{6B3B4EFF-CE60-494E-BECC-B61895DB44D3}" dt="2024-05-24T02:48:45.262" v="2845" actId="207"/>
          <pc:sldLayoutMkLst>
            <pc:docMk/>
            <pc:sldMasterMk cId="0" sldId="2147484111"/>
            <pc:sldLayoutMk cId="0" sldId="2147484117"/>
          </pc:sldLayoutMkLst>
          <pc:spChg chg="add del mod modVis">
            <ac:chgData name="Bianca Ardito" userId="3dbb30f507a110b6" providerId="LiveId" clId="{6B3B4EFF-CE60-494E-BECC-B61895DB44D3}" dt="2024-05-24T02:36:13.126" v="1637"/>
            <ac:spMkLst>
              <pc:docMk/>
              <pc:sldMasterMk cId="0" sldId="2147484111"/>
              <pc:sldLayoutMk cId="0" sldId="2147484117"/>
              <ac:spMk id="2" creationId="{A6B597AB-FAAC-CC27-7BB4-3A749EBFB18F}"/>
            </ac:spMkLst>
          </pc:spChg>
          <pc:spChg chg="mod">
            <ac:chgData name="Bianca Ardito" userId="3dbb30f507a110b6" providerId="LiveId" clId="{6B3B4EFF-CE60-494E-BECC-B61895DB44D3}" dt="2024-05-24T02:48:45.262" v="2845" actId="207"/>
            <ac:spMkLst>
              <pc:docMk/>
              <pc:sldMasterMk cId="0" sldId="2147484111"/>
              <pc:sldLayoutMk cId="0" sldId="2147484117"/>
              <ac:spMk id="4" creationId="{8C9DBFFC-AF51-AE53-44EA-F5DF04810605}"/>
            </ac:spMkLst>
          </pc:spChg>
          <pc:spChg chg="mod">
            <ac:chgData name="Bianca Ardito" userId="3dbb30f507a110b6" providerId="LiveId" clId="{6B3B4EFF-CE60-494E-BECC-B61895DB44D3}" dt="2024-05-24T02:46:48.739" v="2720" actId="12"/>
            <ac:spMkLst>
              <pc:docMk/>
              <pc:sldMasterMk cId="0" sldId="2147484111"/>
              <pc:sldLayoutMk cId="0" sldId="2147484117"/>
              <ac:spMk id="7" creationId="{72ABE2DD-8058-4D45-8AF6-32ECA81FD264}"/>
            </ac:spMkLst>
          </pc:spChg>
          <pc:spChg chg="mod">
            <ac:chgData name="Bianca Ardito" userId="3dbb30f507a110b6" providerId="LiveId" clId="{6B3B4EFF-CE60-494E-BECC-B61895DB44D3}" dt="2024-05-24T02:41:27.232" v="2634" actId="207"/>
            <ac:spMkLst>
              <pc:docMk/>
              <pc:sldMasterMk cId="0" sldId="2147484111"/>
              <pc:sldLayoutMk cId="0" sldId="2147484117"/>
              <ac:spMk id="18" creationId="{00000000-0000-0000-0000-000000000000}"/>
            </ac:spMkLst>
          </pc:spChg>
          <pc:spChg chg="mod">
            <ac:chgData name="Bianca Ardito" userId="3dbb30f507a110b6" providerId="LiveId" clId="{6B3B4EFF-CE60-494E-BECC-B61895DB44D3}" dt="2024-05-24T02:36:13.094" v="1614" actId="948"/>
            <ac:spMkLst>
              <pc:docMk/>
              <pc:sldMasterMk cId="0" sldId="2147484111"/>
              <pc:sldLayoutMk cId="0" sldId="2147484117"/>
              <ac:spMk id="20" creationId="{00000000-0000-0000-0000-000000000000}"/>
            </ac:spMkLst>
          </pc:spChg>
          <pc:graphicFrameChg chg="add mod ord modVis replST">
            <ac:chgData name="Bianca Ardito" userId="3dbb30f507a110b6" providerId="LiveId" clId="{6B3B4EFF-CE60-494E-BECC-B61895DB44D3}" dt="2024-05-24T02:36:13.142" v="1652"/>
            <ac:graphicFrameMkLst>
              <pc:docMk/>
              <pc:sldMasterMk cId="0" sldId="2147484111"/>
              <pc:sldLayoutMk cId="0" sldId="2147484117"/>
              <ac:graphicFrameMk id="3" creationId="{0CC068B7-B5D3-F4FA-B682-C943979D56E1}"/>
            </ac:graphicFrameMkLst>
          </pc:graphicFrameChg>
        </pc:sldLayoutChg>
        <pc:sldLayoutChg chg="addSp delSp modSp mod">
          <pc:chgData name="Bianca Ardito" userId="3dbb30f507a110b6" providerId="LiveId" clId="{6B3B4EFF-CE60-494E-BECC-B61895DB44D3}" dt="2024-05-24T02:48:01.510" v="2821" actId="207"/>
          <pc:sldLayoutMkLst>
            <pc:docMk/>
            <pc:sldMasterMk cId="0" sldId="2147484111"/>
            <pc:sldLayoutMk cId="2717512347" sldId="2147484180"/>
          </pc:sldLayoutMkLst>
          <pc:spChg chg="add mod">
            <ac:chgData name="Bianca Ardito" userId="3dbb30f507a110b6" providerId="LiveId" clId="{6B3B4EFF-CE60-494E-BECC-B61895DB44D3}" dt="2024-05-24T02:38:53.720" v="2535" actId="2711"/>
            <ac:spMkLst>
              <pc:docMk/>
              <pc:sldMasterMk cId="0" sldId="2147484111"/>
              <pc:sldLayoutMk cId="2717512347" sldId="2147484180"/>
              <ac:spMk id="5" creationId="{D0DB41E5-A800-4283-D1C4-A0539E436600}"/>
            </ac:spMkLst>
          </pc:spChg>
          <pc:spChg chg="add mod">
            <ac:chgData name="Bianca Ardito" userId="3dbb30f507a110b6" providerId="LiveId" clId="{6B3B4EFF-CE60-494E-BECC-B61895DB44D3}" dt="2024-05-24T02:38:53.720" v="2535" actId="2711"/>
            <ac:spMkLst>
              <pc:docMk/>
              <pc:sldMasterMk cId="0" sldId="2147484111"/>
              <pc:sldLayoutMk cId="2717512347" sldId="2147484180"/>
              <ac:spMk id="12" creationId="{73159B68-DA20-73E8-A716-1117165A8552}"/>
            </ac:spMkLst>
          </pc:spChg>
          <pc:spChg chg="mod">
            <ac:chgData name="Bianca Ardito" userId="3dbb30f507a110b6" providerId="LiveId" clId="{6B3B4EFF-CE60-494E-BECC-B61895DB44D3}" dt="2024-05-24T02:48:01.510" v="2821" actId="207"/>
            <ac:spMkLst>
              <pc:docMk/>
              <pc:sldMasterMk cId="0" sldId="2147484111"/>
              <pc:sldLayoutMk cId="2717512347" sldId="2147484180"/>
              <ac:spMk id="13" creationId="{5D8FF07E-5535-55F9-5073-DC25F475FC05}"/>
            </ac:spMkLst>
          </pc:spChg>
          <pc:spChg chg="add mod">
            <ac:chgData name="Bianca Ardito" userId="3dbb30f507a110b6" providerId="LiveId" clId="{6B3B4EFF-CE60-494E-BECC-B61895DB44D3}" dt="2024-05-24T02:38:53.720" v="2535" actId="2711"/>
            <ac:spMkLst>
              <pc:docMk/>
              <pc:sldMasterMk cId="0" sldId="2147484111"/>
              <pc:sldLayoutMk cId="2717512347" sldId="2147484180"/>
              <ac:spMk id="14" creationId="{EED5ACA1-B67F-3F7C-C867-A9A2FE3CA4A7}"/>
            </ac:spMkLst>
          </pc:spChg>
          <pc:spChg chg="add mod">
            <ac:chgData name="Bianca Ardito" userId="3dbb30f507a110b6" providerId="LiveId" clId="{6B3B4EFF-CE60-494E-BECC-B61895DB44D3}" dt="2024-05-24T02:38:53.720" v="2535" actId="2711"/>
            <ac:spMkLst>
              <pc:docMk/>
              <pc:sldMasterMk cId="0" sldId="2147484111"/>
              <pc:sldLayoutMk cId="2717512347" sldId="2147484180"/>
              <ac:spMk id="15" creationId="{58E7360B-F589-7DAA-EF05-9DF6BAF79009}"/>
            </ac:spMkLst>
          </pc:spChg>
          <pc:spChg chg="add mod">
            <ac:chgData name="Bianca Ardito" userId="3dbb30f507a110b6" providerId="LiveId" clId="{6B3B4EFF-CE60-494E-BECC-B61895DB44D3}" dt="2024-05-24T02:38:53.720" v="2535" actId="2711"/>
            <ac:spMkLst>
              <pc:docMk/>
              <pc:sldMasterMk cId="0" sldId="2147484111"/>
              <pc:sldLayoutMk cId="2717512347" sldId="2147484180"/>
              <ac:spMk id="16" creationId="{2D32B205-1C15-9F74-F248-8D7878CD7556}"/>
            </ac:spMkLst>
          </pc:spChg>
          <pc:grpChg chg="del">
            <ac:chgData name="Bianca Ardito" userId="3dbb30f507a110b6" providerId="LiveId" clId="{6B3B4EFF-CE60-494E-BECC-B61895DB44D3}" dt="2024-05-24T02:38:22.187" v="2525" actId="478"/>
            <ac:grpSpMkLst>
              <pc:docMk/>
              <pc:sldMasterMk cId="0" sldId="2147484111"/>
              <pc:sldLayoutMk cId="2717512347" sldId="2147484180"/>
              <ac:grpSpMk id="2" creationId="{372CFB5C-A836-452B-A72F-50A38E97E8EB}"/>
            </ac:grpSpMkLst>
          </pc:grpChg>
          <pc:grpChg chg="del">
            <ac:chgData name="Bianca Ardito" userId="3dbb30f507a110b6" providerId="LiveId" clId="{6B3B4EFF-CE60-494E-BECC-B61895DB44D3}" dt="2024-05-24T02:38:22.187" v="2525" actId="478"/>
            <ac:grpSpMkLst>
              <pc:docMk/>
              <pc:sldMasterMk cId="0" sldId="2147484111"/>
              <pc:sldLayoutMk cId="2717512347" sldId="2147484180"/>
              <ac:grpSpMk id="3" creationId="{848CCCFC-B18A-47A2-AA54-C77EC8C7C70E}"/>
            </ac:grpSpMkLst>
          </pc:grpChg>
          <pc:grpChg chg="del">
            <ac:chgData name="Bianca Ardito" userId="3dbb30f507a110b6" providerId="LiveId" clId="{6B3B4EFF-CE60-494E-BECC-B61895DB44D3}" dt="2024-05-24T02:38:22.187" v="2525" actId="478"/>
            <ac:grpSpMkLst>
              <pc:docMk/>
              <pc:sldMasterMk cId="0" sldId="2147484111"/>
              <pc:sldLayoutMk cId="2717512347" sldId="2147484180"/>
              <ac:grpSpMk id="4" creationId="{8EAF0243-E146-4E99-8E28-DC40C7D59E99}"/>
            </ac:grpSpMkLst>
          </pc:grpChg>
          <pc:grpChg chg="del">
            <ac:chgData name="Bianca Ardito" userId="3dbb30f507a110b6" providerId="LiveId" clId="{6B3B4EFF-CE60-494E-BECC-B61895DB44D3}" dt="2024-05-24T02:38:22.187" v="2525" actId="478"/>
            <ac:grpSpMkLst>
              <pc:docMk/>
              <pc:sldMasterMk cId="0" sldId="2147484111"/>
              <pc:sldLayoutMk cId="2717512347" sldId="2147484180"/>
              <ac:grpSpMk id="10" creationId="{7CA00C49-148C-4357-878A-214B8C9EC3E6}"/>
            </ac:grpSpMkLst>
          </pc:grpChg>
          <pc:grpChg chg="del">
            <ac:chgData name="Bianca Ardito" userId="3dbb30f507a110b6" providerId="LiveId" clId="{6B3B4EFF-CE60-494E-BECC-B61895DB44D3}" dt="2024-05-24T02:38:22.187" v="2525" actId="478"/>
            <ac:grpSpMkLst>
              <pc:docMk/>
              <pc:sldMasterMk cId="0" sldId="2147484111"/>
              <pc:sldLayoutMk cId="2717512347" sldId="2147484180"/>
              <ac:grpSpMk id="11" creationId="{AD5F9F9C-E74C-44DC-B67B-1D5A54455FC3}"/>
            </ac:grpSpMkLst>
          </pc:grpChg>
          <pc:grpChg chg="add mod">
            <ac:chgData name="Bianca Ardito" userId="3dbb30f507a110b6" providerId="LiveId" clId="{6B3B4EFF-CE60-494E-BECC-B61895DB44D3}" dt="2024-05-24T02:38:58.443" v="2537" actId="12789"/>
            <ac:grpSpMkLst>
              <pc:docMk/>
              <pc:sldMasterMk cId="0" sldId="2147484111"/>
              <pc:sldLayoutMk cId="2717512347" sldId="2147484180"/>
              <ac:grpSpMk id="17" creationId="{917AB7CA-C13B-4BD7-C42F-2616C435C043}"/>
            </ac:grpSpMkLst>
          </pc:grpChg>
        </pc:sldLayoutChg>
        <pc:sldLayoutChg chg="addSp delSp modSp mod">
          <pc:chgData name="Bianca Ardito" userId="3dbb30f507a110b6" providerId="LiveId" clId="{6B3B4EFF-CE60-494E-BECC-B61895DB44D3}" dt="2024-05-24T02:48:42.358" v="2843" actId="207"/>
          <pc:sldLayoutMkLst>
            <pc:docMk/>
            <pc:sldMasterMk cId="0" sldId="2147484111"/>
            <pc:sldLayoutMk cId="3135157974" sldId="2147484199"/>
          </pc:sldLayoutMkLst>
          <pc:spChg chg="add del mod modVis">
            <ac:chgData name="Bianca Ardito" userId="3dbb30f507a110b6" providerId="LiveId" clId="{6B3B4EFF-CE60-494E-BECC-B61895DB44D3}" dt="2024-05-24T02:36:24.398" v="1744"/>
            <ac:spMkLst>
              <pc:docMk/>
              <pc:sldMasterMk cId="0" sldId="2147484111"/>
              <pc:sldLayoutMk cId="3135157974" sldId="2147484199"/>
              <ac:spMk id="2" creationId="{DCAA8700-4E88-6900-166B-B76A4C053031}"/>
            </ac:spMkLst>
          </pc:spChg>
          <pc:spChg chg="mod">
            <ac:chgData name="Bianca Ardito" userId="3dbb30f507a110b6" providerId="LiveId" clId="{6B3B4EFF-CE60-494E-BECC-B61895DB44D3}" dt="2024-05-24T02:48:42.358" v="2843" actId="207"/>
            <ac:spMkLst>
              <pc:docMk/>
              <pc:sldMasterMk cId="0" sldId="2147484111"/>
              <pc:sldLayoutMk cId="3135157974" sldId="2147484199"/>
              <ac:spMk id="4" creationId="{E39A23F5-AE38-4CAE-A17D-882BCE8C6612}"/>
            </ac:spMkLst>
          </pc:spChg>
          <pc:spChg chg="mod">
            <ac:chgData name="Bianca Ardito" userId="3dbb30f507a110b6" providerId="LiveId" clId="{6B3B4EFF-CE60-494E-BECC-B61895DB44D3}" dt="2024-05-24T02:47:01.001" v="2721" actId="12"/>
            <ac:spMkLst>
              <pc:docMk/>
              <pc:sldMasterMk cId="0" sldId="2147484111"/>
              <pc:sldLayoutMk cId="3135157974" sldId="2147484199"/>
              <ac:spMk id="11" creationId="{00000000-0000-0000-0000-000000000000}"/>
            </ac:spMkLst>
          </pc:spChg>
          <pc:spChg chg="mod">
            <ac:chgData name="Bianca Ardito" userId="3dbb30f507a110b6" providerId="LiveId" clId="{6B3B4EFF-CE60-494E-BECC-B61895DB44D3}" dt="2024-05-24T02:47:01.001" v="2721" actId="12"/>
            <ac:spMkLst>
              <pc:docMk/>
              <pc:sldMasterMk cId="0" sldId="2147484111"/>
              <pc:sldLayoutMk cId="3135157974" sldId="2147484199"/>
              <ac:spMk id="14" creationId="{5A762AB3-01E5-40CA-AEA4-47AE75F48639}"/>
            </ac:spMkLst>
          </pc:spChg>
          <pc:spChg chg="mod">
            <ac:chgData name="Bianca Ardito" userId="3dbb30f507a110b6" providerId="LiveId" clId="{6B3B4EFF-CE60-494E-BECC-B61895DB44D3}" dt="2024-05-24T02:47:01.001" v="2721" actId="12"/>
            <ac:spMkLst>
              <pc:docMk/>
              <pc:sldMasterMk cId="0" sldId="2147484111"/>
              <pc:sldLayoutMk cId="3135157974" sldId="2147484199"/>
              <ac:spMk id="18" creationId="{00000000-0000-0000-0000-000000000000}"/>
            </ac:spMkLst>
          </pc:spChg>
          <pc:spChg chg="mod">
            <ac:chgData name="Bianca Ardito" userId="3dbb30f507a110b6" providerId="LiveId" clId="{6B3B4EFF-CE60-494E-BECC-B61895DB44D3}" dt="2024-05-24T02:47:01.001" v="2721" actId="12"/>
            <ac:spMkLst>
              <pc:docMk/>
              <pc:sldMasterMk cId="0" sldId="2147484111"/>
              <pc:sldLayoutMk cId="3135157974" sldId="2147484199"/>
              <ac:spMk id="19" creationId="{77A1BCA2-D932-40CA-A7D0-E5CEEEF04981}"/>
            </ac:spMkLst>
          </pc:spChg>
          <pc:spChg chg="mod">
            <ac:chgData name="Bianca Ardito" userId="3dbb30f507a110b6" providerId="LiveId" clId="{6B3B4EFF-CE60-494E-BECC-B61895DB44D3}" dt="2024-05-24T02:47:01.001" v="2721" actId="12"/>
            <ac:spMkLst>
              <pc:docMk/>
              <pc:sldMasterMk cId="0" sldId="2147484111"/>
              <pc:sldLayoutMk cId="3135157974" sldId="2147484199"/>
              <ac:spMk id="20" creationId="{00000000-0000-0000-0000-000000000000}"/>
            </ac:spMkLst>
          </pc:spChg>
          <pc:spChg chg="mod">
            <ac:chgData name="Bianca Ardito" userId="3dbb30f507a110b6" providerId="LiveId" clId="{6B3B4EFF-CE60-494E-BECC-B61895DB44D3}" dt="2024-05-24T02:47:01.001" v="2721" actId="12"/>
            <ac:spMkLst>
              <pc:docMk/>
              <pc:sldMasterMk cId="0" sldId="2147484111"/>
              <pc:sldLayoutMk cId="3135157974" sldId="2147484199"/>
              <ac:spMk id="21" creationId="{D6DF89BE-5A32-4D74-9318-7ADF0DB5F31D}"/>
            </ac:spMkLst>
          </pc:spChg>
          <pc:spChg chg="mod">
            <ac:chgData name="Bianca Ardito" userId="3dbb30f507a110b6" providerId="LiveId" clId="{6B3B4EFF-CE60-494E-BECC-B61895DB44D3}" dt="2024-05-24T02:47:01.001" v="2721" actId="12"/>
            <ac:spMkLst>
              <pc:docMk/>
              <pc:sldMasterMk cId="0" sldId="2147484111"/>
              <pc:sldLayoutMk cId="3135157974" sldId="2147484199"/>
              <ac:spMk id="29" creationId="{00000000-0000-0000-0000-000000000000}"/>
            </ac:spMkLst>
          </pc:spChg>
          <pc:graphicFrameChg chg="add mod ord modVis replST">
            <ac:chgData name="Bianca Ardito" userId="3dbb30f507a110b6" providerId="LiveId" clId="{6B3B4EFF-CE60-494E-BECC-B61895DB44D3}" dt="2024-05-24T02:36:24.424" v="1759"/>
            <ac:graphicFrameMkLst>
              <pc:docMk/>
              <pc:sldMasterMk cId="0" sldId="2147484111"/>
              <pc:sldLayoutMk cId="3135157974" sldId="2147484199"/>
              <ac:graphicFrameMk id="3" creationId="{DD3226E1-C9D7-EED7-DAB5-FC75FC9713ED}"/>
            </ac:graphicFrameMkLst>
          </pc:graphicFrameChg>
        </pc:sldLayoutChg>
        <pc:sldLayoutChg chg="addSp delSp modSp mod">
          <pc:chgData name="Bianca Ardito" userId="3dbb30f507a110b6" providerId="LiveId" clId="{6B3B4EFF-CE60-494E-BECC-B61895DB44D3}" dt="2024-05-24T02:48:40.773" v="2842" actId="207"/>
          <pc:sldLayoutMkLst>
            <pc:docMk/>
            <pc:sldMasterMk cId="0" sldId="2147484111"/>
            <pc:sldLayoutMk cId="2761805657" sldId="2147484200"/>
          </pc:sldLayoutMkLst>
          <pc:spChg chg="add del mod modVis">
            <ac:chgData name="Bianca Ardito" userId="3dbb30f507a110b6" providerId="LiveId" clId="{6B3B4EFF-CE60-494E-BECC-B61895DB44D3}" dt="2024-05-24T02:36:45.880" v="1784"/>
            <ac:spMkLst>
              <pc:docMk/>
              <pc:sldMasterMk cId="0" sldId="2147484111"/>
              <pc:sldLayoutMk cId="2761805657" sldId="2147484200"/>
              <ac:spMk id="2" creationId="{8CFAFAA5-E84F-3593-2F44-E3CF4E2BE285}"/>
            </ac:spMkLst>
          </pc:spChg>
          <pc:spChg chg="mod">
            <ac:chgData name="Bianca Ardito" userId="3dbb30f507a110b6" providerId="LiveId" clId="{6B3B4EFF-CE60-494E-BECC-B61895DB44D3}" dt="2024-05-24T02:48:40.773" v="2842" actId="207"/>
            <ac:spMkLst>
              <pc:docMk/>
              <pc:sldMasterMk cId="0" sldId="2147484111"/>
              <pc:sldLayoutMk cId="2761805657" sldId="2147484200"/>
              <ac:spMk id="4" creationId="{3F9F30E1-9267-9727-A43C-67582D6E41C0}"/>
            </ac:spMkLst>
          </pc:spChg>
          <pc:spChg chg="mod">
            <ac:chgData name="Bianca Ardito" userId="3dbb30f507a110b6" providerId="LiveId" clId="{6B3B4EFF-CE60-494E-BECC-B61895DB44D3}" dt="2024-05-24T02:47:03.211" v="2722" actId="12"/>
            <ac:spMkLst>
              <pc:docMk/>
              <pc:sldMasterMk cId="0" sldId="2147484111"/>
              <pc:sldLayoutMk cId="2761805657" sldId="2147484200"/>
              <ac:spMk id="13" creationId="{00000000-0000-0000-0000-000000000000}"/>
            </ac:spMkLst>
          </pc:spChg>
          <pc:spChg chg="mod">
            <ac:chgData name="Bianca Ardito" userId="3dbb30f507a110b6" providerId="LiveId" clId="{6B3B4EFF-CE60-494E-BECC-B61895DB44D3}" dt="2024-05-24T02:47:03.211" v="2722" actId="12"/>
            <ac:spMkLst>
              <pc:docMk/>
              <pc:sldMasterMk cId="0" sldId="2147484111"/>
              <pc:sldLayoutMk cId="2761805657" sldId="2147484200"/>
              <ac:spMk id="14" creationId="{A2E814B3-9FB8-4C48-BED5-63F3F76DB1ED}"/>
            </ac:spMkLst>
          </pc:spChg>
          <pc:spChg chg="mod">
            <ac:chgData name="Bianca Ardito" userId="3dbb30f507a110b6" providerId="LiveId" clId="{6B3B4EFF-CE60-494E-BECC-B61895DB44D3}" dt="2024-05-24T02:47:03.211" v="2722" actId="12"/>
            <ac:spMkLst>
              <pc:docMk/>
              <pc:sldMasterMk cId="0" sldId="2147484111"/>
              <pc:sldLayoutMk cId="2761805657" sldId="2147484200"/>
              <ac:spMk id="18" creationId="{00000000-0000-0000-0000-000000000000}"/>
            </ac:spMkLst>
          </pc:spChg>
          <pc:spChg chg="mod">
            <ac:chgData name="Bianca Ardito" userId="3dbb30f507a110b6" providerId="LiveId" clId="{6B3B4EFF-CE60-494E-BECC-B61895DB44D3}" dt="2024-05-24T02:47:03.211" v="2722" actId="12"/>
            <ac:spMkLst>
              <pc:docMk/>
              <pc:sldMasterMk cId="0" sldId="2147484111"/>
              <pc:sldLayoutMk cId="2761805657" sldId="2147484200"/>
              <ac:spMk id="19" creationId="{B360C1D2-F5AE-44CC-929E-37B535C60708}"/>
            </ac:spMkLst>
          </pc:spChg>
          <pc:spChg chg="mod">
            <ac:chgData name="Bianca Ardito" userId="3dbb30f507a110b6" providerId="LiveId" clId="{6B3B4EFF-CE60-494E-BECC-B61895DB44D3}" dt="2024-05-24T02:47:03.211" v="2722" actId="12"/>
            <ac:spMkLst>
              <pc:docMk/>
              <pc:sldMasterMk cId="0" sldId="2147484111"/>
              <pc:sldLayoutMk cId="2761805657" sldId="2147484200"/>
              <ac:spMk id="20" creationId="{00000000-0000-0000-0000-000000000000}"/>
            </ac:spMkLst>
          </pc:spChg>
          <pc:spChg chg="mod">
            <ac:chgData name="Bianca Ardito" userId="3dbb30f507a110b6" providerId="LiveId" clId="{6B3B4EFF-CE60-494E-BECC-B61895DB44D3}" dt="2024-05-24T02:47:03.211" v="2722" actId="12"/>
            <ac:spMkLst>
              <pc:docMk/>
              <pc:sldMasterMk cId="0" sldId="2147484111"/>
              <pc:sldLayoutMk cId="2761805657" sldId="2147484200"/>
              <ac:spMk id="21" creationId="{9F561B40-C730-495F-A8EF-2D89A0049193}"/>
            </ac:spMkLst>
          </pc:spChg>
          <pc:spChg chg="mod">
            <ac:chgData name="Bianca Ardito" userId="3dbb30f507a110b6" providerId="LiveId" clId="{6B3B4EFF-CE60-494E-BECC-B61895DB44D3}" dt="2024-05-24T02:47:03.211" v="2722" actId="12"/>
            <ac:spMkLst>
              <pc:docMk/>
              <pc:sldMasterMk cId="0" sldId="2147484111"/>
              <pc:sldLayoutMk cId="2761805657" sldId="2147484200"/>
              <ac:spMk id="29" creationId="{00000000-0000-0000-0000-000000000000}"/>
            </ac:spMkLst>
          </pc:spChg>
          <pc:graphicFrameChg chg="add mod ord modVis replST">
            <ac:chgData name="Bianca Ardito" userId="3dbb30f507a110b6" providerId="LiveId" clId="{6B3B4EFF-CE60-494E-BECC-B61895DB44D3}" dt="2024-05-24T02:36:45.912" v="1799"/>
            <ac:graphicFrameMkLst>
              <pc:docMk/>
              <pc:sldMasterMk cId="0" sldId="2147484111"/>
              <pc:sldLayoutMk cId="2761805657" sldId="2147484200"/>
              <ac:graphicFrameMk id="3" creationId="{86351781-8226-F528-8423-D0AF4C2C12E0}"/>
            </ac:graphicFrameMkLst>
          </pc:graphicFrameChg>
        </pc:sldLayoutChg>
        <pc:sldLayoutChg chg="addSp delSp modSp mod">
          <pc:chgData name="Bianca Ardito" userId="3dbb30f507a110b6" providerId="LiveId" clId="{6B3B4EFF-CE60-494E-BECC-B61895DB44D3}" dt="2024-05-24T02:48:36.446" v="2840" actId="207"/>
          <pc:sldLayoutMkLst>
            <pc:docMk/>
            <pc:sldMasterMk cId="0" sldId="2147484111"/>
            <pc:sldLayoutMk cId="3192167377" sldId="2147484201"/>
          </pc:sldLayoutMkLst>
          <pc:spChg chg="add del mod modVis">
            <ac:chgData name="Bianca Ardito" userId="3dbb30f507a110b6" providerId="LiveId" clId="{6B3B4EFF-CE60-494E-BECC-B61895DB44D3}" dt="2024-05-24T02:36:54.770" v="1864"/>
            <ac:spMkLst>
              <pc:docMk/>
              <pc:sldMasterMk cId="0" sldId="2147484111"/>
              <pc:sldLayoutMk cId="3192167377" sldId="2147484201"/>
              <ac:spMk id="2" creationId="{DA273C7C-10BA-2DF4-2F50-C91D70696CBE}"/>
            </ac:spMkLst>
          </pc:spChg>
          <pc:spChg chg="mod">
            <ac:chgData name="Bianca Ardito" userId="3dbb30f507a110b6" providerId="LiveId" clId="{6B3B4EFF-CE60-494E-BECC-B61895DB44D3}" dt="2024-05-24T02:48:36.446" v="2840" actId="207"/>
            <ac:spMkLst>
              <pc:docMk/>
              <pc:sldMasterMk cId="0" sldId="2147484111"/>
              <pc:sldLayoutMk cId="3192167377" sldId="2147484201"/>
              <ac:spMk id="4" creationId="{8903FC2A-F63F-1790-B2A5-5D34F57765F2}"/>
            </ac:spMkLst>
          </pc:spChg>
          <pc:spChg chg="mod">
            <ac:chgData name="Bianca Ardito" userId="3dbb30f507a110b6" providerId="LiveId" clId="{6B3B4EFF-CE60-494E-BECC-B61895DB44D3}" dt="2024-05-24T02:47:06.960" v="2724" actId="12"/>
            <ac:spMkLst>
              <pc:docMk/>
              <pc:sldMasterMk cId="0" sldId="2147484111"/>
              <pc:sldLayoutMk cId="3192167377" sldId="2147484201"/>
              <ac:spMk id="13" creationId="{00000000-0000-0000-0000-000000000000}"/>
            </ac:spMkLst>
          </pc:spChg>
          <pc:spChg chg="mod">
            <ac:chgData name="Bianca Ardito" userId="3dbb30f507a110b6" providerId="LiveId" clId="{6B3B4EFF-CE60-494E-BECC-B61895DB44D3}" dt="2024-05-24T02:47:06.960" v="2724" actId="12"/>
            <ac:spMkLst>
              <pc:docMk/>
              <pc:sldMasterMk cId="0" sldId="2147484111"/>
              <pc:sldLayoutMk cId="3192167377" sldId="2147484201"/>
              <ac:spMk id="15" creationId="{00000000-0000-0000-0000-000000000000}"/>
            </ac:spMkLst>
          </pc:spChg>
          <pc:spChg chg="mod">
            <ac:chgData name="Bianca Ardito" userId="3dbb30f507a110b6" providerId="LiveId" clId="{6B3B4EFF-CE60-494E-BECC-B61895DB44D3}" dt="2024-05-24T02:47:06.960" v="2724" actId="12"/>
            <ac:spMkLst>
              <pc:docMk/>
              <pc:sldMasterMk cId="0" sldId="2147484111"/>
              <pc:sldLayoutMk cId="3192167377" sldId="2147484201"/>
              <ac:spMk id="16" creationId="{DA80797C-559D-E347-9A6B-35E59FE6920F}"/>
            </ac:spMkLst>
          </pc:spChg>
          <pc:spChg chg="mod">
            <ac:chgData name="Bianca Ardito" userId="3dbb30f507a110b6" providerId="LiveId" clId="{6B3B4EFF-CE60-494E-BECC-B61895DB44D3}" dt="2024-05-24T02:47:06.960" v="2724" actId="12"/>
            <ac:spMkLst>
              <pc:docMk/>
              <pc:sldMasterMk cId="0" sldId="2147484111"/>
              <pc:sldLayoutMk cId="3192167377" sldId="2147484201"/>
              <ac:spMk id="18" creationId="{00000000-0000-0000-0000-000000000000}"/>
            </ac:spMkLst>
          </pc:spChg>
          <pc:spChg chg="mod">
            <ac:chgData name="Bianca Ardito" userId="3dbb30f507a110b6" providerId="LiveId" clId="{6B3B4EFF-CE60-494E-BECC-B61895DB44D3}" dt="2024-05-24T02:47:06.960" v="2724" actId="12"/>
            <ac:spMkLst>
              <pc:docMk/>
              <pc:sldMasterMk cId="0" sldId="2147484111"/>
              <pc:sldLayoutMk cId="3192167377" sldId="2147484201"/>
              <ac:spMk id="20" creationId="{00000000-0000-0000-0000-000000000000}"/>
            </ac:spMkLst>
          </pc:spChg>
          <pc:spChg chg="mod">
            <ac:chgData name="Bianca Ardito" userId="3dbb30f507a110b6" providerId="LiveId" clId="{6B3B4EFF-CE60-494E-BECC-B61895DB44D3}" dt="2024-05-24T02:47:06.960" v="2724" actId="12"/>
            <ac:spMkLst>
              <pc:docMk/>
              <pc:sldMasterMk cId="0" sldId="2147484111"/>
              <pc:sldLayoutMk cId="3192167377" sldId="2147484201"/>
              <ac:spMk id="21" creationId="{00000000-0000-0000-0000-000000000000}"/>
            </ac:spMkLst>
          </pc:spChg>
          <pc:spChg chg="mod">
            <ac:chgData name="Bianca Ardito" userId="3dbb30f507a110b6" providerId="LiveId" clId="{6B3B4EFF-CE60-494E-BECC-B61895DB44D3}" dt="2024-05-24T02:47:06.960" v="2724" actId="12"/>
            <ac:spMkLst>
              <pc:docMk/>
              <pc:sldMasterMk cId="0" sldId="2147484111"/>
              <pc:sldLayoutMk cId="3192167377" sldId="2147484201"/>
              <ac:spMk id="22" creationId="{72CE1EDB-73FB-4BF5-91FC-600381DEE25D}"/>
            </ac:spMkLst>
          </pc:spChg>
          <pc:spChg chg="mod">
            <ac:chgData name="Bianca Ardito" userId="3dbb30f507a110b6" providerId="LiveId" clId="{6B3B4EFF-CE60-494E-BECC-B61895DB44D3}" dt="2024-05-24T02:47:06.960" v="2724" actId="12"/>
            <ac:spMkLst>
              <pc:docMk/>
              <pc:sldMasterMk cId="0" sldId="2147484111"/>
              <pc:sldLayoutMk cId="3192167377" sldId="2147484201"/>
              <ac:spMk id="29" creationId="{00000000-0000-0000-0000-000000000000}"/>
            </ac:spMkLst>
          </pc:spChg>
          <pc:spChg chg="mod">
            <ac:chgData name="Bianca Ardito" userId="3dbb30f507a110b6" providerId="LiveId" clId="{6B3B4EFF-CE60-494E-BECC-B61895DB44D3}" dt="2024-05-24T02:47:06.960" v="2724" actId="12"/>
            <ac:spMkLst>
              <pc:docMk/>
              <pc:sldMasterMk cId="0" sldId="2147484111"/>
              <pc:sldLayoutMk cId="3192167377" sldId="2147484201"/>
              <ac:spMk id="30" creationId="{1DB07414-1023-478A-B2EF-679F3B5B3498}"/>
            </ac:spMkLst>
          </pc:spChg>
          <pc:spChg chg="mod">
            <ac:chgData name="Bianca Ardito" userId="3dbb30f507a110b6" providerId="LiveId" clId="{6B3B4EFF-CE60-494E-BECC-B61895DB44D3}" dt="2024-05-24T02:47:06.960" v="2724" actId="12"/>
            <ac:spMkLst>
              <pc:docMk/>
              <pc:sldMasterMk cId="0" sldId="2147484111"/>
              <pc:sldLayoutMk cId="3192167377" sldId="2147484201"/>
              <ac:spMk id="31" creationId="{276AE61B-9899-46DA-A7C5-506674DF0E1E}"/>
            </ac:spMkLst>
          </pc:spChg>
          <pc:spChg chg="mod">
            <ac:chgData name="Bianca Ardito" userId="3dbb30f507a110b6" providerId="LiveId" clId="{6B3B4EFF-CE60-494E-BECC-B61895DB44D3}" dt="2024-05-24T02:47:06.960" v="2724" actId="12"/>
            <ac:spMkLst>
              <pc:docMk/>
              <pc:sldMasterMk cId="0" sldId="2147484111"/>
              <pc:sldLayoutMk cId="3192167377" sldId="2147484201"/>
              <ac:spMk id="32" creationId="{2CBDC230-5755-4209-BFB7-18905EA6C0AB}"/>
            </ac:spMkLst>
          </pc:spChg>
          <pc:graphicFrameChg chg="add mod ord modVis replST">
            <ac:chgData name="Bianca Ardito" userId="3dbb30f507a110b6" providerId="LiveId" clId="{6B3B4EFF-CE60-494E-BECC-B61895DB44D3}" dt="2024-05-24T02:36:54.802" v="1879"/>
            <ac:graphicFrameMkLst>
              <pc:docMk/>
              <pc:sldMasterMk cId="0" sldId="2147484111"/>
              <pc:sldLayoutMk cId="3192167377" sldId="2147484201"/>
              <ac:graphicFrameMk id="3" creationId="{75927D97-BF6D-60F5-BC26-653BCE0014BC}"/>
            </ac:graphicFrameMkLst>
          </pc:graphicFrameChg>
        </pc:sldLayoutChg>
        <pc:sldLayoutChg chg="addSp delSp modSp mod">
          <pc:chgData name="Bianca Ardito" userId="3dbb30f507a110b6" providerId="LiveId" clId="{6B3B4EFF-CE60-494E-BECC-B61895DB44D3}" dt="2024-05-24T02:48:35.084" v="2839" actId="207"/>
          <pc:sldLayoutMkLst>
            <pc:docMk/>
            <pc:sldMasterMk cId="0" sldId="2147484111"/>
            <pc:sldLayoutMk cId="968388804" sldId="2147484202"/>
          </pc:sldLayoutMkLst>
          <pc:spChg chg="add del mod modVis">
            <ac:chgData name="Bianca Ardito" userId="3dbb30f507a110b6" providerId="LiveId" clId="{6B3B4EFF-CE60-494E-BECC-B61895DB44D3}" dt="2024-05-24T02:36:59.227" v="1904"/>
            <ac:spMkLst>
              <pc:docMk/>
              <pc:sldMasterMk cId="0" sldId="2147484111"/>
              <pc:sldLayoutMk cId="968388804" sldId="2147484202"/>
              <ac:spMk id="2" creationId="{C0512B89-43F1-723A-ED81-4172C3CE4A99}"/>
            </ac:spMkLst>
          </pc:spChg>
          <pc:spChg chg="mod">
            <ac:chgData name="Bianca Ardito" userId="3dbb30f507a110b6" providerId="LiveId" clId="{6B3B4EFF-CE60-494E-BECC-B61895DB44D3}" dt="2024-05-24T02:48:35.084" v="2839" actId="207"/>
            <ac:spMkLst>
              <pc:docMk/>
              <pc:sldMasterMk cId="0" sldId="2147484111"/>
              <pc:sldLayoutMk cId="968388804" sldId="2147484202"/>
              <ac:spMk id="4" creationId="{B7AD4770-AA92-825E-761D-BA0FA3ED48E7}"/>
            </ac:spMkLst>
          </pc:spChg>
          <pc:spChg chg="mod">
            <ac:chgData name="Bianca Ardito" userId="3dbb30f507a110b6" providerId="LiveId" clId="{6B3B4EFF-CE60-494E-BECC-B61895DB44D3}" dt="2024-05-24T02:47:08.702" v="2725" actId="12"/>
            <ac:spMkLst>
              <pc:docMk/>
              <pc:sldMasterMk cId="0" sldId="2147484111"/>
              <pc:sldLayoutMk cId="968388804" sldId="2147484202"/>
              <ac:spMk id="11" creationId="{00000000-0000-0000-0000-000000000000}"/>
            </ac:spMkLst>
          </pc:spChg>
          <pc:spChg chg="mod">
            <ac:chgData name="Bianca Ardito" userId="3dbb30f507a110b6" providerId="LiveId" clId="{6B3B4EFF-CE60-494E-BECC-B61895DB44D3}" dt="2024-05-24T02:47:08.702" v="2725" actId="12"/>
            <ac:spMkLst>
              <pc:docMk/>
              <pc:sldMasterMk cId="0" sldId="2147484111"/>
              <pc:sldLayoutMk cId="968388804" sldId="2147484202"/>
              <ac:spMk id="14" creationId="{00000000-0000-0000-0000-000000000000}"/>
            </ac:spMkLst>
          </pc:spChg>
          <pc:spChg chg="mod">
            <ac:chgData name="Bianca Ardito" userId="3dbb30f507a110b6" providerId="LiveId" clId="{6B3B4EFF-CE60-494E-BECC-B61895DB44D3}" dt="2024-05-24T02:47:08.702" v="2725" actId="12"/>
            <ac:spMkLst>
              <pc:docMk/>
              <pc:sldMasterMk cId="0" sldId="2147484111"/>
              <pc:sldLayoutMk cId="968388804" sldId="2147484202"/>
              <ac:spMk id="16" creationId="{AEB08E1D-6E42-422B-B75D-88F191569A84}"/>
            </ac:spMkLst>
          </pc:spChg>
          <pc:spChg chg="mod">
            <ac:chgData name="Bianca Ardito" userId="3dbb30f507a110b6" providerId="LiveId" clId="{6B3B4EFF-CE60-494E-BECC-B61895DB44D3}" dt="2024-05-24T02:47:08.702" v="2725" actId="12"/>
            <ac:spMkLst>
              <pc:docMk/>
              <pc:sldMasterMk cId="0" sldId="2147484111"/>
              <pc:sldLayoutMk cId="968388804" sldId="2147484202"/>
              <ac:spMk id="18" creationId="{00000000-0000-0000-0000-000000000000}"/>
            </ac:spMkLst>
          </pc:spChg>
          <pc:spChg chg="mod">
            <ac:chgData name="Bianca Ardito" userId="3dbb30f507a110b6" providerId="LiveId" clId="{6B3B4EFF-CE60-494E-BECC-B61895DB44D3}" dt="2024-05-24T02:47:08.702" v="2725" actId="12"/>
            <ac:spMkLst>
              <pc:docMk/>
              <pc:sldMasterMk cId="0" sldId="2147484111"/>
              <pc:sldLayoutMk cId="968388804" sldId="2147484202"/>
              <ac:spMk id="20" creationId="{00000000-0000-0000-0000-000000000000}"/>
            </ac:spMkLst>
          </pc:spChg>
          <pc:spChg chg="mod">
            <ac:chgData name="Bianca Ardito" userId="3dbb30f507a110b6" providerId="LiveId" clId="{6B3B4EFF-CE60-494E-BECC-B61895DB44D3}" dt="2024-05-24T02:47:08.702" v="2725" actId="12"/>
            <ac:spMkLst>
              <pc:docMk/>
              <pc:sldMasterMk cId="0" sldId="2147484111"/>
              <pc:sldLayoutMk cId="968388804" sldId="2147484202"/>
              <ac:spMk id="23" creationId="{F90A3B40-6AA5-4C7C-8856-67FE74B67681}"/>
            </ac:spMkLst>
          </pc:spChg>
          <pc:spChg chg="mod">
            <ac:chgData name="Bianca Ardito" userId="3dbb30f507a110b6" providerId="LiveId" clId="{6B3B4EFF-CE60-494E-BECC-B61895DB44D3}" dt="2024-05-24T02:47:08.702" v="2725" actId="12"/>
            <ac:spMkLst>
              <pc:docMk/>
              <pc:sldMasterMk cId="0" sldId="2147484111"/>
              <pc:sldLayoutMk cId="968388804" sldId="2147484202"/>
              <ac:spMk id="24" creationId="{3C6F70AA-E67C-471F-9E3B-78226FEBE7DE}"/>
            </ac:spMkLst>
          </pc:spChg>
          <pc:spChg chg="mod">
            <ac:chgData name="Bianca Ardito" userId="3dbb30f507a110b6" providerId="LiveId" clId="{6B3B4EFF-CE60-494E-BECC-B61895DB44D3}" dt="2024-05-24T02:47:08.702" v="2725" actId="12"/>
            <ac:spMkLst>
              <pc:docMk/>
              <pc:sldMasterMk cId="0" sldId="2147484111"/>
              <pc:sldLayoutMk cId="968388804" sldId="2147484202"/>
              <ac:spMk id="26" creationId="{653EBA6C-19B8-4E5D-8F58-997FBFD67ABD}"/>
            </ac:spMkLst>
          </pc:spChg>
          <pc:spChg chg="mod">
            <ac:chgData name="Bianca Ardito" userId="3dbb30f507a110b6" providerId="LiveId" clId="{6B3B4EFF-CE60-494E-BECC-B61895DB44D3}" dt="2024-05-24T02:47:08.702" v="2725" actId="12"/>
            <ac:spMkLst>
              <pc:docMk/>
              <pc:sldMasterMk cId="0" sldId="2147484111"/>
              <pc:sldLayoutMk cId="968388804" sldId="2147484202"/>
              <ac:spMk id="29" creationId="{00000000-0000-0000-0000-000000000000}"/>
            </ac:spMkLst>
          </pc:spChg>
          <pc:graphicFrameChg chg="add mod ord modVis replST">
            <ac:chgData name="Bianca Ardito" userId="3dbb30f507a110b6" providerId="LiveId" clId="{6B3B4EFF-CE60-494E-BECC-B61895DB44D3}" dt="2024-05-24T02:36:59.258" v="1919"/>
            <ac:graphicFrameMkLst>
              <pc:docMk/>
              <pc:sldMasterMk cId="0" sldId="2147484111"/>
              <pc:sldLayoutMk cId="968388804" sldId="2147484202"/>
              <ac:graphicFrameMk id="3" creationId="{ACDD9390-8B62-7EAB-9B87-433A697D8151}"/>
            </ac:graphicFrameMkLst>
          </pc:graphicFrameChg>
        </pc:sldLayoutChg>
        <pc:sldLayoutChg chg="addSp delSp modSp mod">
          <pc:chgData name="Bianca Ardito" userId="3dbb30f507a110b6" providerId="LiveId" clId="{6B3B4EFF-CE60-494E-BECC-B61895DB44D3}" dt="2024-05-24T02:48:33.717" v="2838" actId="207"/>
          <pc:sldLayoutMkLst>
            <pc:docMk/>
            <pc:sldMasterMk cId="0" sldId="2147484111"/>
            <pc:sldLayoutMk cId="3830878987" sldId="2147484203"/>
          </pc:sldLayoutMkLst>
          <pc:spChg chg="add del mod modVis">
            <ac:chgData name="Bianca Ardito" userId="3dbb30f507a110b6" providerId="LiveId" clId="{6B3B4EFF-CE60-494E-BECC-B61895DB44D3}" dt="2024-05-24T02:37:03.630" v="1944"/>
            <ac:spMkLst>
              <pc:docMk/>
              <pc:sldMasterMk cId="0" sldId="2147484111"/>
              <pc:sldLayoutMk cId="3830878987" sldId="2147484203"/>
              <ac:spMk id="2" creationId="{5CD29AA9-F790-9520-263A-7C8065D52196}"/>
            </ac:spMkLst>
          </pc:spChg>
          <pc:spChg chg="mod">
            <ac:chgData name="Bianca Ardito" userId="3dbb30f507a110b6" providerId="LiveId" clId="{6B3B4EFF-CE60-494E-BECC-B61895DB44D3}" dt="2024-05-24T02:48:33.717" v="2838" actId="207"/>
            <ac:spMkLst>
              <pc:docMk/>
              <pc:sldMasterMk cId="0" sldId="2147484111"/>
              <pc:sldLayoutMk cId="3830878987" sldId="2147484203"/>
              <ac:spMk id="4" creationId="{C0D417DE-FBF7-2467-54A8-34B3EDC751C4}"/>
            </ac:spMkLst>
          </pc:spChg>
          <pc:spChg chg="mod">
            <ac:chgData name="Bianca Ardito" userId="3dbb30f507a110b6" providerId="LiveId" clId="{6B3B4EFF-CE60-494E-BECC-B61895DB44D3}" dt="2024-05-24T02:47:11.083" v="2726" actId="12"/>
            <ac:spMkLst>
              <pc:docMk/>
              <pc:sldMasterMk cId="0" sldId="2147484111"/>
              <pc:sldLayoutMk cId="3830878987" sldId="2147484203"/>
              <ac:spMk id="11" creationId="{00000000-0000-0000-0000-000000000000}"/>
            </ac:spMkLst>
          </pc:spChg>
          <pc:spChg chg="mod">
            <ac:chgData name="Bianca Ardito" userId="3dbb30f507a110b6" providerId="LiveId" clId="{6B3B4EFF-CE60-494E-BECC-B61895DB44D3}" dt="2024-05-24T02:47:11.083" v="2726" actId="12"/>
            <ac:spMkLst>
              <pc:docMk/>
              <pc:sldMasterMk cId="0" sldId="2147484111"/>
              <pc:sldLayoutMk cId="3830878987" sldId="2147484203"/>
              <ac:spMk id="14" creationId="{00000000-0000-0000-0000-000000000000}"/>
            </ac:spMkLst>
          </pc:spChg>
          <pc:spChg chg="mod">
            <ac:chgData name="Bianca Ardito" userId="3dbb30f507a110b6" providerId="LiveId" clId="{6B3B4EFF-CE60-494E-BECC-B61895DB44D3}" dt="2024-05-24T02:47:11.083" v="2726" actId="12"/>
            <ac:spMkLst>
              <pc:docMk/>
              <pc:sldMasterMk cId="0" sldId="2147484111"/>
              <pc:sldLayoutMk cId="3830878987" sldId="2147484203"/>
              <ac:spMk id="17" creationId="{00000000-0000-0000-0000-000000000000}"/>
            </ac:spMkLst>
          </pc:spChg>
          <pc:spChg chg="mod">
            <ac:chgData name="Bianca Ardito" userId="3dbb30f507a110b6" providerId="LiveId" clId="{6B3B4EFF-CE60-494E-BECC-B61895DB44D3}" dt="2024-05-24T02:47:11.083" v="2726" actId="12"/>
            <ac:spMkLst>
              <pc:docMk/>
              <pc:sldMasterMk cId="0" sldId="2147484111"/>
              <pc:sldLayoutMk cId="3830878987" sldId="2147484203"/>
              <ac:spMk id="18" creationId="{00000000-0000-0000-0000-000000000000}"/>
            </ac:spMkLst>
          </pc:spChg>
          <pc:spChg chg="mod">
            <ac:chgData name="Bianca Ardito" userId="3dbb30f507a110b6" providerId="LiveId" clId="{6B3B4EFF-CE60-494E-BECC-B61895DB44D3}" dt="2024-05-24T02:47:11.083" v="2726" actId="12"/>
            <ac:spMkLst>
              <pc:docMk/>
              <pc:sldMasterMk cId="0" sldId="2147484111"/>
              <pc:sldLayoutMk cId="3830878987" sldId="2147484203"/>
              <ac:spMk id="20" creationId="{00000000-0000-0000-0000-000000000000}"/>
            </ac:spMkLst>
          </pc:spChg>
          <pc:spChg chg="mod">
            <ac:chgData name="Bianca Ardito" userId="3dbb30f507a110b6" providerId="LiveId" clId="{6B3B4EFF-CE60-494E-BECC-B61895DB44D3}" dt="2024-05-24T02:47:11.083" v="2726" actId="12"/>
            <ac:spMkLst>
              <pc:docMk/>
              <pc:sldMasterMk cId="0" sldId="2147484111"/>
              <pc:sldLayoutMk cId="3830878987" sldId="2147484203"/>
              <ac:spMk id="22" creationId="{00000000-0000-0000-0000-000000000000}"/>
            </ac:spMkLst>
          </pc:spChg>
          <pc:spChg chg="mod">
            <ac:chgData name="Bianca Ardito" userId="3dbb30f507a110b6" providerId="LiveId" clId="{6B3B4EFF-CE60-494E-BECC-B61895DB44D3}" dt="2024-05-24T02:47:11.083" v="2726" actId="12"/>
            <ac:spMkLst>
              <pc:docMk/>
              <pc:sldMasterMk cId="0" sldId="2147484111"/>
              <pc:sldLayoutMk cId="3830878987" sldId="2147484203"/>
              <ac:spMk id="25" creationId="{00000000-0000-0000-0000-000000000000}"/>
            </ac:spMkLst>
          </pc:spChg>
          <pc:spChg chg="mod">
            <ac:chgData name="Bianca Ardito" userId="3dbb30f507a110b6" providerId="LiveId" clId="{6B3B4EFF-CE60-494E-BECC-B61895DB44D3}" dt="2024-05-24T02:47:11.083" v="2726" actId="12"/>
            <ac:spMkLst>
              <pc:docMk/>
              <pc:sldMasterMk cId="0" sldId="2147484111"/>
              <pc:sldLayoutMk cId="3830878987" sldId="2147484203"/>
              <ac:spMk id="27" creationId="{335F1980-F9D0-4F90-8833-472CF8AF939C}"/>
            </ac:spMkLst>
          </pc:spChg>
          <pc:spChg chg="mod">
            <ac:chgData name="Bianca Ardito" userId="3dbb30f507a110b6" providerId="LiveId" clId="{6B3B4EFF-CE60-494E-BECC-B61895DB44D3}" dt="2024-05-24T02:47:11.083" v="2726" actId="12"/>
            <ac:spMkLst>
              <pc:docMk/>
              <pc:sldMasterMk cId="0" sldId="2147484111"/>
              <pc:sldLayoutMk cId="3830878987" sldId="2147484203"/>
              <ac:spMk id="29" creationId="{00000000-0000-0000-0000-000000000000}"/>
            </ac:spMkLst>
          </pc:spChg>
          <pc:spChg chg="mod">
            <ac:chgData name="Bianca Ardito" userId="3dbb30f507a110b6" providerId="LiveId" clId="{6B3B4EFF-CE60-494E-BECC-B61895DB44D3}" dt="2024-05-24T02:47:11.083" v="2726" actId="12"/>
            <ac:spMkLst>
              <pc:docMk/>
              <pc:sldMasterMk cId="0" sldId="2147484111"/>
              <pc:sldLayoutMk cId="3830878987" sldId="2147484203"/>
              <ac:spMk id="30" creationId="{C8F0D092-0BEB-4967-918E-EF474453B1AF}"/>
            </ac:spMkLst>
          </pc:spChg>
          <pc:spChg chg="mod">
            <ac:chgData name="Bianca Ardito" userId="3dbb30f507a110b6" providerId="LiveId" clId="{6B3B4EFF-CE60-494E-BECC-B61895DB44D3}" dt="2024-05-24T02:47:11.083" v="2726" actId="12"/>
            <ac:spMkLst>
              <pc:docMk/>
              <pc:sldMasterMk cId="0" sldId="2147484111"/>
              <pc:sldLayoutMk cId="3830878987" sldId="2147484203"/>
              <ac:spMk id="31" creationId="{42CD5210-AEB6-47DB-9172-DA2A1387FDBD}"/>
            </ac:spMkLst>
          </pc:spChg>
          <pc:spChg chg="mod">
            <ac:chgData name="Bianca Ardito" userId="3dbb30f507a110b6" providerId="LiveId" clId="{6B3B4EFF-CE60-494E-BECC-B61895DB44D3}" dt="2024-05-24T02:47:11.083" v="2726" actId="12"/>
            <ac:spMkLst>
              <pc:docMk/>
              <pc:sldMasterMk cId="0" sldId="2147484111"/>
              <pc:sldLayoutMk cId="3830878987" sldId="2147484203"/>
              <ac:spMk id="32" creationId="{80B15E7C-7492-4C45-8F02-167E257EC126}"/>
            </ac:spMkLst>
          </pc:spChg>
          <pc:spChg chg="mod">
            <ac:chgData name="Bianca Ardito" userId="3dbb30f507a110b6" providerId="LiveId" clId="{6B3B4EFF-CE60-494E-BECC-B61895DB44D3}" dt="2024-05-24T02:47:11.083" v="2726" actId="12"/>
            <ac:spMkLst>
              <pc:docMk/>
              <pc:sldMasterMk cId="0" sldId="2147484111"/>
              <pc:sldLayoutMk cId="3830878987" sldId="2147484203"/>
              <ac:spMk id="33" creationId="{AA489037-374B-44C0-9751-449A70C86AD9}"/>
            </ac:spMkLst>
          </pc:spChg>
          <pc:spChg chg="mod">
            <ac:chgData name="Bianca Ardito" userId="3dbb30f507a110b6" providerId="LiveId" clId="{6B3B4EFF-CE60-494E-BECC-B61895DB44D3}" dt="2024-05-24T02:47:11.083" v="2726" actId="12"/>
            <ac:spMkLst>
              <pc:docMk/>
              <pc:sldMasterMk cId="0" sldId="2147484111"/>
              <pc:sldLayoutMk cId="3830878987" sldId="2147484203"/>
              <ac:spMk id="34" creationId="{43FA990E-0B61-49A0-AB69-F936C7F3DE82}"/>
            </ac:spMkLst>
          </pc:spChg>
          <pc:spChg chg="mod">
            <ac:chgData name="Bianca Ardito" userId="3dbb30f507a110b6" providerId="LiveId" clId="{6B3B4EFF-CE60-494E-BECC-B61895DB44D3}" dt="2024-05-24T02:47:11.083" v="2726" actId="12"/>
            <ac:spMkLst>
              <pc:docMk/>
              <pc:sldMasterMk cId="0" sldId="2147484111"/>
              <pc:sldLayoutMk cId="3830878987" sldId="2147484203"/>
              <ac:spMk id="36" creationId="{051E46B5-C8A8-4D56-94E5-A0413F7619E2}"/>
            </ac:spMkLst>
          </pc:spChg>
          <pc:graphicFrameChg chg="add mod ord modVis replST">
            <ac:chgData name="Bianca Ardito" userId="3dbb30f507a110b6" providerId="LiveId" clId="{6B3B4EFF-CE60-494E-BECC-B61895DB44D3}" dt="2024-05-24T02:37:03.645" v="1959"/>
            <ac:graphicFrameMkLst>
              <pc:docMk/>
              <pc:sldMasterMk cId="0" sldId="2147484111"/>
              <pc:sldLayoutMk cId="3830878987" sldId="2147484203"/>
              <ac:graphicFrameMk id="3" creationId="{965BF33A-1657-0A9E-8B76-9B2A9C5ED214}"/>
            </ac:graphicFrameMkLst>
          </pc:graphicFrameChg>
        </pc:sldLayoutChg>
        <pc:sldLayoutChg chg="addSp delSp modSp mod">
          <pc:chgData name="Bianca Ardito" userId="3dbb30f507a110b6" providerId="LiveId" clId="{6B3B4EFF-CE60-494E-BECC-B61895DB44D3}" dt="2024-05-24T02:48:32.370" v="2837" actId="207"/>
          <pc:sldLayoutMkLst>
            <pc:docMk/>
            <pc:sldMasterMk cId="0" sldId="2147484111"/>
            <pc:sldLayoutMk cId="4211974423" sldId="2147484204"/>
          </pc:sldLayoutMkLst>
          <pc:spChg chg="add del mod modVis">
            <ac:chgData name="Bianca Ardito" userId="3dbb30f507a110b6" providerId="LiveId" clId="{6B3B4EFF-CE60-494E-BECC-B61895DB44D3}" dt="2024-05-24T02:37:07.990" v="1984"/>
            <ac:spMkLst>
              <pc:docMk/>
              <pc:sldMasterMk cId="0" sldId="2147484111"/>
              <pc:sldLayoutMk cId="4211974423" sldId="2147484204"/>
              <ac:spMk id="2" creationId="{02BA8A01-A272-C63C-1245-27ECA21ACBC1}"/>
            </ac:spMkLst>
          </pc:spChg>
          <pc:spChg chg="mod">
            <ac:chgData name="Bianca Ardito" userId="3dbb30f507a110b6" providerId="LiveId" clId="{6B3B4EFF-CE60-494E-BECC-B61895DB44D3}" dt="2024-05-24T02:48:32.370" v="2837" actId="207"/>
            <ac:spMkLst>
              <pc:docMk/>
              <pc:sldMasterMk cId="0" sldId="2147484111"/>
              <pc:sldLayoutMk cId="4211974423" sldId="2147484204"/>
              <ac:spMk id="4" creationId="{392B8FE8-266B-EF52-4731-BFC25F4D0631}"/>
            </ac:spMkLst>
          </pc:spChg>
          <pc:spChg chg="mod">
            <ac:chgData name="Bianca Ardito" userId="3dbb30f507a110b6" providerId="LiveId" clId="{6B3B4EFF-CE60-494E-BECC-B61895DB44D3}" dt="2024-05-24T02:47:12.667" v="2727" actId="12"/>
            <ac:spMkLst>
              <pc:docMk/>
              <pc:sldMasterMk cId="0" sldId="2147484111"/>
              <pc:sldLayoutMk cId="4211974423" sldId="2147484204"/>
              <ac:spMk id="11" creationId="{00000000-0000-0000-0000-000000000000}"/>
            </ac:spMkLst>
          </pc:spChg>
          <pc:spChg chg="mod">
            <ac:chgData name="Bianca Ardito" userId="3dbb30f507a110b6" providerId="LiveId" clId="{6B3B4EFF-CE60-494E-BECC-B61895DB44D3}" dt="2024-05-24T02:47:12.667" v="2727" actId="12"/>
            <ac:spMkLst>
              <pc:docMk/>
              <pc:sldMasterMk cId="0" sldId="2147484111"/>
              <pc:sldLayoutMk cId="4211974423" sldId="2147484204"/>
              <ac:spMk id="13" creationId="{BF3D642A-740D-41C7-ADD2-AF4B783A79BE}"/>
            </ac:spMkLst>
          </pc:spChg>
          <pc:spChg chg="mod">
            <ac:chgData name="Bianca Ardito" userId="3dbb30f507a110b6" providerId="LiveId" clId="{6B3B4EFF-CE60-494E-BECC-B61895DB44D3}" dt="2024-05-24T02:47:12.667" v="2727" actId="12"/>
            <ac:spMkLst>
              <pc:docMk/>
              <pc:sldMasterMk cId="0" sldId="2147484111"/>
              <pc:sldLayoutMk cId="4211974423" sldId="2147484204"/>
              <ac:spMk id="16" creationId="{2571362A-96F8-4C78-8338-66AA2FE17B9B}"/>
            </ac:spMkLst>
          </pc:spChg>
          <pc:spChg chg="mod">
            <ac:chgData name="Bianca Ardito" userId="3dbb30f507a110b6" providerId="LiveId" clId="{6B3B4EFF-CE60-494E-BECC-B61895DB44D3}" dt="2024-05-24T02:47:12.667" v="2727" actId="12"/>
            <ac:spMkLst>
              <pc:docMk/>
              <pc:sldMasterMk cId="0" sldId="2147484111"/>
              <pc:sldLayoutMk cId="4211974423" sldId="2147484204"/>
              <ac:spMk id="17" creationId="{0150F6FE-4B35-482F-AB19-5C7931A77A5C}"/>
            </ac:spMkLst>
          </pc:spChg>
          <pc:spChg chg="mod">
            <ac:chgData name="Bianca Ardito" userId="3dbb30f507a110b6" providerId="LiveId" clId="{6B3B4EFF-CE60-494E-BECC-B61895DB44D3}" dt="2024-05-24T02:47:12.667" v="2727" actId="12"/>
            <ac:spMkLst>
              <pc:docMk/>
              <pc:sldMasterMk cId="0" sldId="2147484111"/>
              <pc:sldLayoutMk cId="4211974423" sldId="2147484204"/>
              <ac:spMk id="18" creationId="{00000000-0000-0000-0000-000000000000}"/>
            </ac:spMkLst>
          </pc:spChg>
          <pc:spChg chg="mod">
            <ac:chgData name="Bianca Ardito" userId="3dbb30f507a110b6" providerId="LiveId" clId="{6B3B4EFF-CE60-494E-BECC-B61895DB44D3}" dt="2024-05-24T02:47:12.667" v="2727" actId="12"/>
            <ac:spMkLst>
              <pc:docMk/>
              <pc:sldMasterMk cId="0" sldId="2147484111"/>
              <pc:sldLayoutMk cId="4211974423" sldId="2147484204"/>
              <ac:spMk id="20" creationId="{00000000-0000-0000-0000-000000000000}"/>
            </ac:spMkLst>
          </pc:spChg>
          <pc:spChg chg="mod">
            <ac:chgData name="Bianca Ardito" userId="3dbb30f507a110b6" providerId="LiveId" clId="{6B3B4EFF-CE60-494E-BECC-B61895DB44D3}" dt="2024-05-24T02:47:12.667" v="2727" actId="12"/>
            <ac:spMkLst>
              <pc:docMk/>
              <pc:sldMasterMk cId="0" sldId="2147484111"/>
              <pc:sldLayoutMk cId="4211974423" sldId="2147484204"/>
              <ac:spMk id="29" creationId="{00000000-0000-0000-0000-000000000000}"/>
            </ac:spMkLst>
          </pc:spChg>
          <pc:graphicFrameChg chg="add mod ord modVis replST">
            <ac:chgData name="Bianca Ardito" userId="3dbb30f507a110b6" providerId="LiveId" clId="{6B3B4EFF-CE60-494E-BECC-B61895DB44D3}" dt="2024-05-24T02:37:08.022" v="1999"/>
            <ac:graphicFrameMkLst>
              <pc:docMk/>
              <pc:sldMasterMk cId="0" sldId="2147484111"/>
              <pc:sldLayoutMk cId="4211974423" sldId="2147484204"/>
              <ac:graphicFrameMk id="3" creationId="{4BCD7C78-D6F4-CDBD-A6D8-CECE2D820183}"/>
            </ac:graphicFrameMkLst>
          </pc:graphicFrameChg>
        </pc:sldLayoutChg>
        <pc:sldLayoutChg chg="addSp delSp modSp mod">
          <pc:chgData name="Bianca Ardito" userId="3dbb30f507a110b6" providerId="LiveId" clId="{6B3B4EFF-CE60-494E-BECC-B61895DB44D3}" dt="2024-05-24T02:48:30.237" v="2836" actId="207"/>
          <pc:sldLayoutMkLst>
            <pc:docMk/>
            <pc:sldMasterMk cId="0" sldId="2147484111"/>
            <pc:sldLayoutMk cId="3529707065" sldId="2147484205"/>
          </pc:sldLayoutMkLst>
          <pc:spChg chg="add del mod modVis">
            <ac:chgData name="Bianca Ardito" userId="3dbb30f507a110b6" providerId="LiveId" clId="{6B3B4EFF-CE60-494E-BECC-B61895DB44D3}" dt="2024-05-24T02:37:14.589" v="2024"/>
            <ac:spMkLst>
              <pc:docMk/>
              <pc:sldMasterMk cId="0" sldId="2147484111"/>
              <pc:sldLayoutMk cId="3529707065" sldId="2147484205"/>
              <ac:spMk id="2" creationId="{79ED9F84-9C27-7474-66DB-2D506426D6DA}"/>
            </ac:spMkLst>
          </pc:spChg>
          <pc:spChg chg="mod">
            <ac:chgData name="Bianca Ardito" userId="3dbb30f507a110b6" providerId="LiveId" clId="{6B3B4EFF-CE60-494E-BECC-B61895DB44D3}" dt="2024-05-24T02:48:30.237" v="2836" actId="207"/>
            <ac:spMkLst>
              <pc:docMk/>
              <pc:sldMasterMk cId="0" sldId="2147484111"/>
              <pc:sldLayoutMk cId="3529707065" sldId="2147484205"/>
              <ac:spMk id="4" creationId="{B72B1CAE-213A-9EDB-7491-BE62CB5934D0}"/>
            </ac:spMkLst>
          </pc:spChg>
          <pc:spChg chg="mod">
            <ac:chgData name="Bianca Ardito" userId="3dbb30f507a110b6" providerId="LiveId" clId="{6B3B4EFF-CE60-494E-BECC-B61895DB44D3}" dt="2024-05-24T02:47:14.374" v="2728" actId="12"/>
            <ac:spMkLst>
              <pc:docMk/>
              <pc:sldMasterMk cId="0" sldId="2147484111"/>
              <pc:sldLayoutMk cId="3529707065" sldId="2147484205"/>
              <ac:spMk id="11" creationId="{00000000-0000-0000-0000-000000000000}"/>
            </ac:spMkLst>
          </pc:spChg>
          <pc:spChg chg="mod">
            <ac:chgData name="Bianca Ardito" userId="3dbb30f507a110b6" providerId="LiveId" clId="{6B3B4EFF-CE60-494E-BECC-B61895DB44D3}" dt="2024-05-24T02:47:14.374" v="2728" actId="12"/>
            <ac:spMkLst>
              <pc:docMk/>
              <pc:sldMasterMk cId="0" sldId="2147484111"/>
              <pc:sldLayoutMk cId="3529707065" sldId="2147484205"/>
              <ac:spMk id="13" creationId="{06783952-989C-4FC7-9FC7-06685AE0B0F9}"/>
            </ac:spMkLst>
          </pc:spChg>
          <pc:spChg chg="mod">
            <ac:chgData name="Bianca Ardito" userId="3dbb30f507a110b6" providerId="LiveId" clId="{6B3B4EFF-CE60-494E-BECC-B61895DB44D3}" dt="2024-05-24T02:47:14.374" v="2728" actId="12"/>
            <ac:spMkLst>
              <pc:docMk/>
              <pc:sldMasterMk cId="0" sldId="2147484111"/>
              <pc:sldLayoutMk cId="3529707065" sldId="2147484205"/>
              <ac:spMk id="16" creationId="{DA278E37-679E-4BBF-B101-B07511585B31}"/>
            </ac:spMkLst>
          </pc:spChg>
          <pc:spChg chg="mod">
            <ac:chgData name="Bianca Ardito" userId="3dbb30f507a110b6" providerId="LiveId" clId="{6B3B4EFF-CE60-494E-BECC-B61895DB44D3}" dt="2024-05-24T02:47:14.374" v="2728" actId="12"/>
            <ac:spMkLst>
              <pc:docMk/>
              <pc:sldMasterMk cId="0" sldId="2147484111"/>
              <pc:sldLayoutMk cId="3529707065" sldId="2147484205"/>
              <ac:spMk id="17" creationId="{56A5C88E-695E-4265-BB06-8A790651F156}"/>
            </ac:spMkLst>
          </pc:spChg>
          <pc:spChg chg="mod">
            <ac:chgData name="Bianca Ardito" userId="3dbb30f507a110b6" providerId="LiveId" clId="{6B3B4EFF-CE60-494E-BECC-B61895DB44D3}" dt="2024-05-24T02:47:14.374" v="2728" actId="12"/>
            <ac:spMkLst>
              <pc:docMk/>
              <pc:sldMasterMk cId="0" sldId="2147484111"/>
              <pc:sldLayoutMk cId="3529707065" sldId="2147484205"/>
              <ac:spMk id="18" creationId="{00000000-0000-0000-0000-000000000000}"/>
            </ac:spMkLst>
          </pc:spChg>
          <pc:spChg chg="mod">
            <ac:chgData name="Bianca Ardito" userId="3dbb30f507a110b6" providerId="LiveId" clId="{6B3B4EFF-CE60-494E-BECC-B61895DB44D3}" dt="2024-05-24T02:47:14.374" v="2728" actId="12"/>
            <ac:spMkLst>
              <pc:docMk/>
              <pc:sldMasterMk cId="0" sldId="2147484111"/>
              <pc:sldLayoutMk cId="3529707065" sldId="2147484205"/>
              <ac:spMk id="20" creationId="{00000000-0000-0000-0000-000000000000}"/>
            </ac:spMkLst>
          </pc:spChg>
          <pc:spChg chg="mod">
            <ac:chgData name="Bianca Ardito" userId="3dbb30f507a110b6" providerId="LiveId" clId="{6B3B4EFF-CE60-494E-BECC-B61895DB44D3}" dt="2024-05-24T02:47:14.374" v="2728" actId="12"/>
            <ac:spMkLst>
              <pc:docMk/>
              <pc:sldMasterMk cId="0" sldId="2147484111"/>
              <pc:sldLayoutMk cId="3529707065" sldId="2147484205"/>
              <ac:spMk id="29" creationId="{00000000-0000-0000-0000-000000000000}"/>
            </ac:spMkLst>
          </pc:spChg>
          <pc:graphicFrameChg chg="add mod ord modVis replST">
            <ac:chgData name="Bianca Ardito" userId="3dbb30f507a110b6" providerId="LiveId" clId="{6B3B4EFF-CE60-494E-BECC-B61895DB44D3}" dt="2024-05-24T02:37:14.605" v="2039"/>
            <ac:graphicFrameMkLst>
              <pc:docMk/>
              <pc:sldMasterMk cId="0" sldId="2147484111"/>
              <pc:sldLayoutMk cId="3529707065" sldId="2147484205"/>
              <ac:graphicFrameMk id="3" creationId="{7C884C9A-D5C9-B57D-C89B-5837A5BCAE3B}"/>
            </ac:graphicFrameMkLst>
          </pc:graphicFrameChg>
        </pc:sldLayoutChg>
        <pc:sldLayoutChg chg="addSp delSp modSp mod">
          <pc:chgData name="Bianca Ardito" userId="3dbb30f507a110b6" providerId="LiveId" clId="{6B3B4EFF-CE60-494E-BECC-B61895DB44D3}" dt="2024-05-24T02:48:26.084" v="2835" actId="207"/>
          <pc:sldLayoutMkLst>
            <pc:docMk/>
            <pc:sldMasterMk cId="0" sldId="2147484111"/>
            <pc:sldLayoutMk cId="2159503465" sldId="2147484206"/>
          </pc:sldLayoutMkLst>
          <pc:spChg chg="add del mod modVis">
            <ac:chgData name="Bianca Ardito" userId="3dbb30f507a110b6" providerId="LiveId" clId="{6B3B4EFF-CE60-494E-BECC-B61895DB44D3}" dt="2024-05-24T02:37:19.059" v="2064"/>
            <ac:spMkLst>
              <pc:docMk/>
              <pc:sldMasterMk cId="0" sldId="2147484111"/>
              <pc:sldLayoutMk cId="2159503465" sldId="2147484206"/>
              <ac:spMk id="2" creationId="{878D61BF-2513-1C69-AD4A-57E670D20A53}"/>
            </ac:spMkLst>
          </pc:spChg>
          <pc:spChg chg="mod">
            <ac:chgData name="Bianca Ardito" userId="3dbb30f507a110b6" providerId="LiveId" clId="{6B3B4EFF-CE60-494E-BECC-B61895DB44D3}" dt="2024-05-24T02:48:26.084" v="2835" actId="207"/>
            <ac:spMkLst>
              <pc:docMk/>
              <pc:sldMasterMk cId="0" sldId="2147484111"/>
              <pc:sldLayoutMk cId="2159503465" sldId="2147484206"/>
              <ac:spMk id="4" creationId="{5C269ADF-D75D-263E-4FAC-B34127A93977}"/>
            </ac:spMkLst>
          </pc:spChg>
          <pc:spChg chg="mod">
            <ac:chgData name="Bianca Ardito" userId="3dbb30f507a110b6" providerId="LiveId" clId="{6B3B4EFF-CE60-494E-BECC-B61895DB44D3}" dt="2024-05-24T02:47:16.335" v="2729" actId="12"/>
            <ac:spMkLst>
              <pc:docMk/>
              <pc:sldMasterMk cId="0" sldId="2147484111"/>
              <pc:sldLayoutMk cId="2159503465" sldId="2147484206"/>
              <ac:spMk id="11" creationId="{00000000-0000-0000-0000-000000000000}"/>
            </ac:spMkLst>
          </pc:spChg>
          <pc:spChg chg="mod">
            <ac:chgData name="Bianca Ardito" userId="3dbb30f507a110b6" providerId="LiveId" clId="{6B3B4EFF-CE60-494E-BECC-B61895DB44D3}" dt="2024-05-24T02:47:16.335" v="2729" actId="12"/>
            <ac:spMkLst>
              <pc:docMk/>
              <pc:sldMasterMk cId="0" sldId="2147484111"/>
              <pc:sldLayoutMk cId="2159503465" sldId="2147484206"/>
              <ac:spMk id="16" creationId="{EFABB8EF-DD53-41BD-9104-2DE7D3793CCE}"/>
            </ac:spMkLst>
          </pc:spChg>
          <pc:spChg chg="mod">
            <ac:chgData name="Bianca Ardito" userId="3dbb30f507a110b6" providerId="LiveId" clId="{6B3B4EFF-CE60-494E-BECC-B61895DB44D3}" dt="2024-05-24T02:47:16.335" v="2729" actId="12"/>
            <ac:spMkLst>
              <pc:docMk/>
              <pc:sldMasterMk cId="0" sldId="2147484111"/>
              <pc:sldLayoutMk cId="2159503465" sldId="2147484206"/>
              <ac:spMk id="18" creationId="{00000000-0000-0000-0000-000000000000}"/>
            </ac:spMkLst>
          </pc:spChg>
          <pc:spChg chg="mod">
            <ac:chgData name="Bianca Ardito" userId="3dbb30f507a110b6" providerId="LiveId" clId="{6B3B4EFF-CE60-494E-BECC-B61895DB44D3}" dt="2024-05-24T02:47:16.335" v="2729" actId="12"/>
            <ac:spMkLst>
              <pc:docMk/>
              <pc:sldMasterMk cId="0" sldId="2147484111"/>
              <pc:sldLayoutMk cId="2159503465" sldId="2147484206"/>
              <ac:spMk id="19" creationId="{495446AC-1B9A-4D25-9D5E-32C669F47FC8}"/>
            </ac:spMkLst>
          </pc:spChg>
          <pc:spChg chg="mod">
            <ac:chgData name="Bianca Ardito" userId="3dbb30f507a110b6" providerId="LiveId" clId="{6B3B4EFF-CE60-494E-BECC-B61895DB44D3}" dt="2024-05-24T02:47:16.335" v="2729" actId="12"/>
            <ac:spMkLst>
              <pc:docMk/>
              <pc:sldMasterMk cId="0" sldId="2147484111"/>
              <pc:sldLayoutMk cId="2159503465" sldId="2147484206"/>
              <ac:spMk id="20" creationId="{00000000-0000-0000-0000-000000000000}"/>
            </ac:spMkLst>
          </pc:spChg>
          <pc:spChg chg="mod">
            <ac:chgData name="Bianca Ardito" userId="3dbb30f507a110b6" providerId="LiveId" clId="{6B3B4EFF-CE60-494E-BECC-B61895DB44D3}" dt="2024-05-24T02:47:16.335" v="2729" actId="12"/>
            <ac:spMkLst>
              <pc:docMk/>
              <pc:sldMasterMk cId="0" sldId="2147484111"/>
              <pc:sldLayoutMk cId="2159503465" sldId="2147484206"/>
              <ac:spMk id="22" creationId="{00000000-0000-0000-0000-000000000000}"/>
            </ac:spMkLst>
          </pc:spChg>
          <pc:spChg chg="mod">
            <ac:chgData name="Bianca Ardito" userId="3dbb30f507a110b6" providerId="LiveId" clId="{6B3B4EFF-CE60-494E-BECC-B61895DB44D3}" dt="2024-05-24T02:47:16.335" v="2729" actId="12"/>
            <ac:spMkLst>
              <pc:docMk/>
              <pc:sldMasterMk cId="0" sldId="2147484111"/>
              <pc:sldLayoutMk cId="2159503465" sldId="2147484206"/>
              <ac:spMk id="24" creationId="{093D714D-2356-424D-98F7-EA88DF3FF367}"/>
            </ac:spMkLst>
          </pc:spChg>
          <pc:spChg chg="mod">
            <ac:chgData name="Bianca Ardito" userId="3dbb30f507a110b6" providerId="LiveId" clId="{6B3B4EFF-CE60-494E-BECC-B61895DB44D3}" dt="2024-05-24T02:47:16.335" v="2729" actId="12"/>
            <ac:spMkLst>
              <pc:docMk/>
              <pc:sldMasterMk cId="0" sldId="2147484111"/>
              <pc:sldLayoutMk cId="2159503465" sldId="2147484206"/>
              <ac:spMk id="25" creationId="{FC2571CA-20AE-4CB2-8372-D5762B3B10AC}"/>
            </ac:spMkLst>
          </pc:spChg>
          <pc:spChg chg="mod">
            <ac:chgData name="Bianca Ardito" userId="3dbb30f507a110b6" providerId="LiveId" clId="{6B3B4EFF-CE60-494E-BECC-B61895DB44D3}" dt="2024-05-24T02:47:16.335" v="2729" actId="12"/>
            <ac:spMkLst>
              <pc:docMk/>
              <pc:sldMasterMk cId="0" sldId="2147484111"/>
              <pc:sldLayoutMk cId="2159503465" sldId="2147484206"/>
              <ac:spMk id="29" creationId="{00000000-0000-0000-0000-000000000000}"/>
            </ac:spMkLst>
          </pc:spChg>
          <pc:graphicFrameChg chg="add mod ord modVis replST">
            <ac:chgData name="Bianca Ardito" userId="3dbb30f507a110b6" providerId="LiveId" clId="{6B3B4EFF-CE60-494E-BECC-B61895DB44D3}" dt="2024-05-24T02:37:19.090" v="2079"/>
            <ac:graphicFrameMkLst>
              <pc:docMk/>
              <pc:sldMasterMk cId="0" sldId="2147484111"/>
              <pc:sldLayoutMk cId="2159503465" sldId="2147484206"/>
              <ac:graphicFrameMk id="3" creationId="{D645A4C4-A852-FDF1-11D0-180F5C012F3E}"/>
            </ac:graphicFrameMkLst>
          </pc:graphicFrameChg>
        </pc:sldLayoutChg>
        <pc:sldLayoutChg chg="addSp delSp modSp mod">
          <pc:chgData name="Bianca Ardito" userId="3dbb30f507a110b6" providerId="LiveId" clId="{6B3B4EFF-CE60-494E-BECC-B61895DB44D3}" dt="2024-05-24T02:48:24.650" v="2834" actId="207"/>
          <pc:sldLayoutMkLst>
            <pc:docMk/>
            <pc:sldMasterMk cId="0" sldId="2147484111"/>
            <pc:sldLayoutMk cId="925827769" sldId="2147484207"/>
          </pc:sldLayoutMkLst>
          <pc:spChg chg="add del mod modVis">
            <ac:chgData name="Bianca Ardito" userId="3dbb30f507a110b6" providerId="LiveId" clId="{6B3B4EFF-CE60-494E-BECC-B61895DB44D3}" dt="2024-05-24T02:37:23.667" v="2104"/>
            <ac:spMkLst>
              <pc:docMk/>
              <pc:sldMasterMk cId="0" sldId="2147484111"/>
              <pc:sldLayoutMk cId="925827769" sldId="2147484207"/>
              <ac:spMk id="2" creationId="{1478E8BE-48C3-82AB-A847-F4FF390C71A7}"/>
            </ac:spMkLst>
          </pc:spChg>
          <pc:spChg chg="mod">
            <ac:chgData name="Bianca Ardito" userId="3dbb30f507a110b6" providerId="LiveId" clId="{6B3B4EFF-CE60-494E-BECC-B61895DB44D3}" dt="2024-05-24T02:48:24.650" v="2834" actId="207"/>
            <ac:spMkLst>
              <pc:docMk/>
              <pc:sldMasterMk cId="0" sldId="2147484111"/>
              <pc:sldLayoutMk cId="925827769" sldId="2147484207"/>
              <ac:spMk id="4" creationId="{58F1708B-B1AE-3A18-5EE7-D82D4C898CBB}"/>
            </ac:spMkLst>
          </pc:spChg>
          <pc:spChg chg="mod">
            <ac:chgData name="Bianca Ardito" userId="3dbb30f507a110b6" providerId="LiveId" clId="{6B3B4EFF-CE60-494E-BECC-B61895DB44D3}" dt="2024-05-24T02:47:18.029" v="2730" actId="12"/>
            <ac:spMkLst>
              <pc:docMk/>
              <pc:sldMasterMk cId="0" sldId="2147484111"/>
              <pc:sldLayoutMk cId="925827769" sldId="2147484207"/>
              <ac:spMk id="11" creationId="{00000000-0000-0000-0000-000000000000}"/>
            </ac:spMkLst>
          </pc:spChg>
          <pc:spChg chg="mod">
            <ac:chgData name="Bianca Ardito" userId="3dbb30f507a110b6" providerId="LiveId" clId="{6B3B4EFF-CE60-494E-BECC-B61895DB44D3}" dt="2024-05-24T02:47:18.029" v="2730" actId="12"/>
            <ac:spMkLst>
              <pc:docMk/>
              <pc:sldMasterMk cId="0" sldId="2147484111"/>
              <pc:sldLayoutMk cId="925827769" sldId="2147484207"/>
              <ac:spMk id="17" creationId="{00000000-0000-0000-0000-000000000000}"/>
            </ac:spMkLst>
          </pc:spChg>
          <pc:spChg chg="mod">
            <ac:chgData name="Bianca Ardito" userId="3dbb30f507a110b6" providerId="LiveId" clId="{6B3B4EFF-CE60-494E-BECC-B61895DB44D3}" dt="2024-05-24T02:47:18.029" v="2730" actId="12"/>
            <ac:spMkLst>
              <pc:docMk/>
              <pc:sldMasterMk cId="0" sldId="2147484111"/>
              <pc:sldLayoutMk cId="925827769" sldId="2147484207"/>
              <ac:spMk id="18" creationId="{00000000-0000-0000-0000-000000000000}"/>
            </ac:spMkLst>
          </pc:spChg>
          <pc:spChg chg="mod">
            <ac:chgData name="Bianca Ardito" userId="3dbb30f507a110b6" providerId="LiveId" clId="{6B3B4EFF-CE60-494E-BECC-B61895DB44D3}" dt="2024-05-24T02:47:18.029" v="2730" actId="12"/>
            <ac:spMkLst>
              <pc:docMk/>
              <pc:sldMasterMk cId="0" sldId="2147484111"/>
              <pc:sldLayoutMk cId="925827769" sldId="2147484207"/>
              <ac:spMk id="20" creationId="{00000000-0000-0000-0000-000000000000}"/>
            </ac:spMkLst>
          </pc:spChg>
          <pc:spChg chg="mod">
            <ac:chgData name="Bianca Ardito" userId="3dbb30f507a110b6" providerId="LiveId" clId="{6B3B4EFF-CE60-494E-BECC-B61895DB44D3}" dt="2024-05-24T02:47:18.029" v="2730" actId="12"/>
            <ac:spMkLst>
              <pc:docMk/>
              <pc:sldMasterMk cId="0" sldId="2147484111"/>
              <pc:sldLayoutMk cId="925827769" sldId="2147484207"/>
              <ac:spMk id="21" creationId="{B6212790-78CA-405F-8B77-5D18FB00F6DD}"/>
            </ac:spMkLst>
          </pc:spChg>
          <pc:spChg chg="mod">
            <ac:chgData name="Bianca Ardito" userId="3dbb30f507a110b6" providerId="LiveId" clId="{6B3B4EFF-CE60-494E-BECC-B61895DB44D3}" dt="2024-05-24T02:47:18.029" v="2730" actId="12"/>
            <ac:spMkLst>
              <pc:docMk/>
              <pc:sldMasterMk cId="0" sldId="2147484111"/>
              <pc:sldLayoutMk cId="925827769" sldId="2147484207"/>
              <ac:spMk id="23" creationId="{DD3DDF9B-60D7-48D5-8103-A6A8A92AF3FC}"/>
            </ac:spMkLst>
          </pc:spChg>
          <pc:spChg chg="mod">
            <ac:chgData name="Bianca Ardito" userId="3dbb30f507a110b6" providerId="LiveId" clId="{6B3B4EFF-CE60-494E-BECC-B61895DB44D3}" dt="2024-05-24T02:47:18.029" v="2730" actId="12"/>
            <ac:spMkLst>
              <pc:docMk/>
              <pc:sldMasterMk cId="0" sldId="2147484111"/>
              <pc:sldLayoutMk cId="925827769" sldId="2147484207"/>
              <ac:spMk id="24" creationId="{2606B990-3D0D-4A06-8200-E9098ADD4E5D}"/>
            </ac:spMkLst>
          </pc:spChg>
          <pc:spChg chg="mod">
            <ac:chgData name="Bianca Ardito" userId="3dbb30f507a110b6" providerId="LiveId" clId="{6B3B4EFF-CE60-494E-BECC-B61895DB44D3}" dt="2024-05-24T02:47:18.029" v="2730" actId="12"/>
            <ac:spMkLst>
              <pc:docMk/>
              <pc:sldMasterMk cId="0" sldId="2147484111"/>
              <pc:sldLayoutMk cId="925827769" sldId="2147484207"/>
              <ac:spMk id="25" creationId="{87DE3AE1-5509-4220-B2B4-0302413D1255}"/>
            </ac:spMkLst>
          </pc:spChg>
          <pc:spChg chg="mod">
            <ac:chgData name="Bianca Ardito" userId="3dbb30f507a110b6" providerId="LiveId" clId="{6B3B4EFF-CE60-494E-BECC-B61895DB44D3}" dt="2024-05-24T02:47:18.029" v="2730" actId="12"/>
            <ac:spMkLst>
              <pc:docMk/>
              <pc:sldMasterMk cId="0" sldId="2147484111"/>
              <pc:sldLayoutMk cId="925827769" sldId="2147484207"/>
              <ac:spMk id="29" creationId="{00000000-0000-0000-0000-000000000000}"/>
            </ac:spMkLst>
          </pc:spChg>
          <pc:graphicFrameChg chg="add mod ord modVis replST">
            <ac:chgData name="Bianca Ardito" userId="3dbb30f507a110b6" providerId="LiveId" clId="{6B3B4EFF-CE60-494E-BECC-B61895DB44D3}" dt="2024-05-24T02:37:23.687" v="2119"/>
            <ac:graphicFrameMkLst>
              <pc:docMk/>
              <pc:sldMasterMk cId="0" sldId="2147484111"/>
              <pc:sldLayoutMk cId="925827769" sldId="2147484207"/>
              <ac:graphicFrameMk id="3" creationId="{BFEA5B48-DD93-139B-D4C1-2BFFA4AB6C34}"/>
            </ac:graphicFrameMkLst>
          </pc:graphicFrameChg>
        </pc:sldLayoutChg>
        <pc:sldLayoutChg chg="addSp delSp modSp mod">
          <pc:chgData name="Bianca Ardito" userId="3dbb30f507a110b6" providerId="LiveId" clId="{6B3B4EFF-CE60-494E-BECC-B61895DB44D3}" dt="2024-05-24T02:48:22.082" v="2833" actId="207"/>
          <pc:sldLayoutMkLst>
            <pc:docMk/>
            <pc:sldMasterMk cId="0" sldId="2147484111"/>
            <pc:sldLayoutMk cId="379634310" sldId="2147484208"/>
          </pc:sldLayoutMkLst>
          <pc:spChg chg="add del mod modVis">
            <ac:chgData name="Bianca Ardito" userId="3dbb30f507a110b6" providerId="LiveId" clId="{6B3B4EFF-CE60-494E-BECC-B61895DB44D3}" dt="2024-05-24T02:37:27.777" v="2144"/>
            <ac:spMkLst>
              <pc:docMk/>
              <pc:sldMasterMk cId="0" sldId="2147484111"/>
              <pc:sldLayoutMk cId="379634310" sldId="2147484208"/>
              <ac:spMk id="2" creationId="{B4038D5E-8EC1-6531-7A12-40D11AC34F18}"/>
            </ac:spMkLst>
          </pc:spChg>
          <pc:spChg chg="mod">
            <ac:chgData name="Bianca Ardito" userId="3dbb30f507a110b6" providerId="LiveId" clId="{6B3B4EFF-CE60-494E-BECC-B61895DB44D3}" dt="2024-05-24T02:48:22.082" v="2833" actId="207"/>
            <ac:spMkLst>
              <pc:docMk/>
              <pc:sldMasterMk cId="0" sldId="2147484111"/>
              <pc:sldLayoutMk cId="379634310" sldId="2147484208"/>
              <ac:spMk id="4" creationId="{E9281A32-AF5C-BB66-0FD3-9392E098A504}"/>
            </ac:spMkLst>
          </pc:spChg>
          <pc:spChg chg="mod">
            <ac:chgData name="Bianca Ardito" userId="3dbb30f507a110b6" providerId="LiveId" clId="{6B3B4EFF-CE60-494E-BECC-B61895DB44D3}" dt="2024-05-24T02:47:19.836" v="2731" actId="12"/>
            <ac:spMkLst>
              <pc:docMk/>
              <pc:sldMasterMk cId="0" sldId="2147484111"/>
              <pc:sldLayoutMk cId="379634310" sldId="2147484208"/>
              <ac:spMk id="13" creationId="{00000000-0000-0000-0000-000000000000}"/>
            </ac:spMkLst>
          </pc:spChg>
          <pc:spChg chg="mod">
            <ac:chgData name="Bianca Ardito" userId="3dbb30f507a110b6" providerId="LiveId" clId="{6B3B4EFF-CE60-494E-BECC-B61895DB44D3}" dt="2024-05-24T02:47:19.836" v="2731" actId="12"/>
            <ac:spMkLst>
              <pc:docMk/>
              <pc:sldMasterMk cId="0" sldId="2147484111"/>
              <pc:sldLayoutMk cId="379634310" sldId="2147484208"/>
              <ac:spMk id="15" creationId="{C50E46EA-419E-43A7-9A3A-A89848935A9F}"/>
            </ac:spMkLst>
          </pc:spChg>
          <pc:spChg chg="mod">
            <ac:chgData name="Bianca Ardito" userId="3dbb30f507a110b6" providerId="LiveId" clId="{6B3B4EFF-CE60-494E-BECC-B61895DB44D3}" dt="2024-05-24T02:47:19.836" v="2731" actId="12"/>
            <ac:spMkLst>
              <pc:docMk/>
              <pc:sldMasterMk cId="0" sldId="2147484111"/>
              <pc:sldLayoutMk cId="379634310" sldId="2147484208"/>
              <ac:spMk id="18" creationId="{00000000-0000-0000-0000-000000000000}"/>
            </ac:spMkLst>
          </pc:spChg>
          <pc:spChg chg="mod">
            <ac:chgData name="Bianca Ardito" userId="3dbb30f507a110b6" providerId="LiveId" clId="{6B3B4EFF-CE60-494E-BECC-B61895DB44D3}" dt="2024-05-24T02:47:19.836" v="2731" actId="12"/>
            <ac:spMkLst>
              <pc:docMk/>
              <pc:sldMasterMk cId="0" sldId="2147484111"/>
              <pc:sldLayoutMk cId="379634310" sldId="2147484208"/>
              <ac:spMk id="20" creationId="{00000000-0000-0000-0000-000000000000}"/>
            </ac:spMkLst>
          </pc:spChg>
          <pc:spChg chg="mod">
            <ac:chgData name="Bianca Ardito" userId="3dbb30f507a110b6" providerId="LiveId" clId="{6B3B4EFF-CE60-494E-BECC-B61895DB44D3}" dt="2024-05-24T02:47:19.836" v="2731" actId="12"/>
            <ac:spMkLst>
              <pc:docMk/>
              <pc:sldMasterMk cId="0" sldId="2147484111"/>
              <pc:sldLayoutMk cId="379634310" sldId="2147484208"/>
              <ac:spMk id="21" creationId="{00000000-0000-0000-0000-000000000000}"/>
            </ac:spMkLst>
          </pc:spChg>
          <pc:spChg chg="mod">
            <ac:chgData name="Bianca Ardito" userId="3dbb30f507a110b6" providerId="LiveId" clId="{6B3B4EFF-CE60-494E-BECC-B61895DB44D3}" dt="2024-05-24T02:47:19.836" v="2731" actId="12"/>
            <ac:spMkLst>
              <pc:docMk/>
              <pc:sldMasterMk cId="0" sldId="2147484111"/>
              <pc:sldLayoutMk cId="379634310" sldId="2147484208"/>
              <ac:spMk id="22" creationId="{F7A527A7-21BF-4A0F-B809-6F6F8C074E1C}"/>
            </ac:spMkLst>
          </pc:spChg>
          <pc:spChg chg="mod">
            <ac:chgData name="Bianca Ardito" userId="3dbb30f507a110b6" providerId="LiveId" clId="{6B3B4EFF-CE60-494E-BECC-B61895DB44D3}" dt="2024-05-24T02:47:19.836" v="2731" actId="12"/>
            <ac:spMkLst>
              <pc:docMk/>
              <pc:sldMasterMk cId="0" sldId="2147484111"/>
              <pc:sldLayoutMk cId="379634310" sldId="2147484208"/>
              <ac:spMk id="23" creationId="{888AD895-B63C-4657-A849-4F9EA50A95AA}"/>
            </ac:spMkLst>
          </pc:spChg>
          <pc:spChg chg="mod">
            <ac:chgData name="Bianca Ardito" userId="3dbb30f507a110b6" providerId="LiveId" clId="{6B3B4EFF-CE60-494E-BECC-B61895DB44D3}" dt="2024-05-24T02:47:19.836" v="2731" actId="12"/>
            <ac:spMkLst>
              <pc:docMk/>
              <pc:sldMasterMk cId="0" sldId="2147484111"/>
              <pc:sldLayoutMk cId="379634310" sldId="2147484208"/>
              <ac:spMk id="24" creationId="{9BB0D739-126B-4E99-84AC-68C7DC78AED3}"/>
            </ac:spMkLst>
          </pc:spChg>
          <pc:spChg chg="mod">
            <ac:chgData name="Bianca Ardito" userId="3dbb30f507a110b6" providerId="LiveId" clId="{6B3B4EFF-CE60-494E-BECC-B61895DB44D3}" dt="2024-05-24T02:47:19.836" v="2731" actId="12"/>
            <ac:spMkLst>
              <pc:docMk/>
              <pc:sldMasterMk cId="0" sldId="2147484111"/>
              <pc:sldLayoutMk cId="379634310" sldId="2147484208"/>
              <ac:spMk id="29" creationId="{00000000-0000-0000-0000-000000000000}"/>
            </ac:spMkLst>
          </pc:spChg>
          <pc:graphicFrameChg chg="add mod ord modVis replST">
            <ac:chgData name="Bianca Ardito" userId="3dbb30f507a110b6" providerId="LiveId" clId="{6B3B4EFF-CE60-494E-BECC-B61895DB44D3}" dt="2024-05-24T02:37:27.808" v="2159"/>
            <ac:graphicFrameMkLst>
              <pc:docMk/>
              <pc:sldMasterMk cId="0" sldId="2147484111"/>
              <pc:sldLayoutMk cId="379634310" sldId="2147484208"/>
              <ac:graphicFrameMk id="3" creationId="{91045D5F-9BF7-7D8C-18FC-0F0C4EC43E95}"/>
            </ac:graphicFrameMkLst>
          </pc:graphicFrameChg>
        </pc:sldLayoutChg>
        <pc:sldLayoutChg chg="addSp delSp modSp mod">
          <pc:chgData name="Bianca Ardito" userId="3dbb30f507a110b6" providerId="LiveId" clId="{6B3B4EFF-CE60-494E-BECC-B61895DB44D3}" dt="2024-05-24T02:48:20.770" v="2832" actId="207"/>
          <pc:sldLayoutMkLst>
            <pc:docMk/>
            <pc:sldMasterMk cId="0" sldId="2147484111"/>
            <pc:sldLayoutMk cId="1983530104" sldId="2147484209"/>
          </pc:sldLayoutMkLst>
          <pc:spChg chg="add del mod modVis">
            <ac:chgData name="Bianca Ardito" userId="3dbb30f507a110b6" providerId="LiveId" clId="{6B3B4EFF-CE60-494E-BECC-B61895DB44D3}" dt="2024-05-24T02:37:31.855" v="2184"/>
            <ac:spMkLst>
              <pc:docMk/>
              <pc:sldMasterMk cId="0" sldId="2147484111"/>
              <pc:sldLayoutMk cId="1983530104" sldId="2147484209"/>
              <ac:spMk id="2" creationId="{5516D70A-423C-6A7E-0197-5AC1C44468A0}"/>
            </ac:spMkLst>
          </pc:spChg>
          <pc:spChg chg="mod">
            <ac:chgData name="Bianca Ardito" userId="3dbb30f507a110b6" providerId="LiveId" clId="{6B3B4EFF-CE60-494E-BECC-B61895DB44D3}" dt="2024-05-24T02:48:20.770" v="2832" actId="207"/>
            <ac:spMkLst>
              <pc:docMk/>
              <pc:sldMasterMk cId="0" sldId="2147484111"/>
              <pc:sldLayoutMk cId="1983530104" sldId="2147484209"/>
              <ac:spMk id="4" creationId="{38909304-23AB-5F46-C5B0-11D8666F9616}"/>
            </ac:spMkLst>
          </pc:spChg>
          <pc:spChg chg="mod">
            <ac:chgData name="Bianca Ardito" userId="3dbb30f507a110b6" providerId="LiveId" clId="{6B3B4EFF-CE60-494E-BECC-B61895DB44D3}" dt="2024-05-24T02:47:21.855" v="2732" actId="12"/>
            <ac:spMkLst>
              <pc:docMk/>
              <pc:sldMasterMk cId="0" sldId="2147484111"/>
              <pc:sldLayoutMk cId="1983530104" sldId="2147484209"/>
              <ac:spMk id="13" creationId="{00000000-0000-0000-0000-000000000000}"/>
            </ac:spMkLst>
          </pc:spChg>
          <pc:spChg chg="mod">
            <ac:chgData name="Bianca Ardito" userId="3dbb30f507a110b6" providerId="LiveId" clId="{6B3B4EFF-CE60-494E-BECC-B61895DB44D3}" dt="2024-05-24T02:47:21.855" v="2732" actId="12"/>
            <ac:spMkLst>
              <pc:docMk/>
              <pc:sldMasterMk cId="0" sldId="2147484111"/>
              <pc:sldLayoutMk cId="1983530104" sldId="2147484209"/>
              <ac:spMk id="15" creationId="{00000000-0000-0000-0000-000000000000}"/>
            </ac:spMkLst>
          </pc:spChg>
          <pc:spChg chg="mod">
            <ac:chgData name="Bianca Ardito" userId="3dbb30f507a110b6" providerId="LiveId" clId="{6B3B4EFF-CE60-494E-BECC-B61895DB44D3}" dt="2024-05-24T02:47:21.855" v="2732" actId="12"/>
            <ac:spMkLst>
              <pc:docMk/>
              <pc:sldMasterMk cId="0" sldId="2147484111"/>
              <pc:sldLayoutMk cId="1983530104" sldId="2147484209"/>
              <ac:spMk id="17" creationId="{EB51660B-48EE-48DA-934D-A90404FD50F9}"/>
            </ac:spMkLst>
          </pc:spChg>
          <pc:spChg chg="mod">
            <ac:chgData name="Bianca Ardito" userId="3dbb30f507a110b6" providerId="LiveId" clId="{6B3B4EFF-CE60-494E-BECC-B61895DB44D3}" dt="2024-05-24T02:47:21.855" v="2732" actId="12"/>
            <ac:spMkLst>
              <pc:docMk/>
              <pc:sldMasterMk cId="0" sldId="2147484111"/>
              <pc:sldLayoutMk cId="1983530104" sldId="2147484209"/>
              <ac:spMk id="18" creationId="{00000000-0000-0000-0000-000000000000}"/>
            </ac:spMkLst>
          </pc:spChg>
          <pc:spChg chg="mod">
            <ac:chgData name="Bianca Ardito" userId="3dbb30f507a110b6" providerId="LiveId" clId="{6B3B4EFF-CE60-494E-BECC-B61895DB44D3}" dt="2024-05-24T02:47:21.855" v="2732" actId="12"/>
            <ac:spMkLst>
              <pc:docMk/>
              <pc:sldMasterMk cId="0" sldId="2147484111"/>
              <pc:sldLayoutMk cId="1983530104" sldId="2147484209"/>
              <ac:spMk id="20" creationId="{00000000-0000-0000-0000-000000000000}"/>
            </ac:spMkLst>
          </pc:spChg>
          <pc:spChg chg="mod">
            <ac:chgData name="Bianca Ardito" userId="3dbb30f507a110b6" providerId="LiveId" clId="{6B3B4EFF-CE60-494E-BECC-B61895DB44D3}" dt="2024-05-24T02:47:21.855" v="2732" actId="12"/>
            <ac:spMkLst>
              <pc:docMk/>
              <pc:sldMasterMk cId="0" sldId="2147484111"/>
              <pc:sldLayoutMk cId="1983530104" sldId="2147484209"/>
              <ac:spMk id="21" creationId="{21D00ED4-A806-4DC5-84D8-68F03901E805}"/>
            </ac:spMkLst>
          </pc:spChg>
          <pc:spChg chg="mod">
            <ac:chgData name="Bianca Ardito" userId="3dbb30f507a110b6" providerId="LiveId" clId="{6B3B4EFF-CE60-494E-BECC-B61895DB44D3}" dt="2024-05-24T02:47:21.855" v="2732" actId="12"/>
            <ac:spMkLst>
              <pc:docMk/>
              <pc:sldMasterMk cId="0" sldId="2147484111"/>
              <pc:sldLayoutMk cId="1983530104" sldId="2147484209"/>
              <ac:spMk id="22" creationId="{787105FE-BD28-4FEE-9666-8D5BFCA212EE}"/>
            </ac:spMkLst>
          </pc:spChg>
          <pc:spChg chg="mod">
            <ac:chgData name="Bianca Ardito" userId="3dbb30f507a110b6" providerId="LiveId" clId="{6B3B4EFF-CE60-494E-BECC-B61895DB44D3}" dt="2024-05-24T02:47:21.855" v="2732" actId="12"/>
            <ac:spMkLst>
              <pc:docMk/>
              <pc:sldMasterMk cId="0" sldId="2147484111"/>
              <pc:sldLayoutMk cId="1983530104" sldId="2147484209"/>
              <ac:spMk id="23" creationId="{82CB3220-5DA3-40AC-A8EB-9050D978223B}"/>
            </ac:spMkLst>
          </pc:spChg>
          <pc:spChg chg="mod">
            <ac:chgData name="Bianca Ardito" userId="3dbb30f507a110b6" providerId="LiveId" clId="{6B3B4EFF-CE60-494E-BECC-B61895DB44D3}" dt="2024-05-24T02:47:21.855" v="2732" actId="12"/>
            <ac:spMkLst>
              <pc:docMk/>
              <pc:sldMasterMk cId="0" sldId="2147484111"/>
              <pc:sldLayoutMk cId="1983530104" sldId="2147484209"/>
              <ac:spMk id="29" creationId="{00000000-0000-0000-0000-000000000000}"/>
            </ac:spMkLst>
          </pc:spChg>
          <pc:graphicFrameChg chg="add mod ord modVis replST">
            <ac:chgData name="Bianca Ardito" userId="3dbb30f507a110b6" providerId="LiveId" clId="{6B3B4EFF-CE60-494E-BECC-B61895DB44D3}" dt="2024-05-24T02:37:31.886" v="2199"/>
            <ac:graphicFrameMkLst>
              <pc:docMk/>
              <pc:sldMasterMk cId="0" sldId="2147484111"/>
              <pc:sldLayoutMk cId="1983530104" sldId="2147484209"/>
              <ac:graphicFrameMk id="3" creationId="{59DC5A1E-7CB7-E7B9-4418-F42846F7BCE4}"/>
            </ac:graphicFrameMkLst>
          </pc:graphicFrameChg>
        </pc:sldLayoutChg>
        <pc:sldLayoutChg chg="addSp delSp modSp mod">
          <pc:chgData name="Bianca Ardito" userId="3dbb30f507a110b6" providerId="LiveId" clId="{6B3B4EFF-CE60-494E-BECC-B61895DB44D3}" dt="2024-05-24T02:48:19.185" v="2831" actId="207"/>
          <pc:sldLayoutMkLst>
            <pc:docMk/>
            <pc:sldMasterMk cId="0" sldId="2147484111"/>
            <pc:sldLayoutMk cId="1782198046" sldId="2147484211"/>
          </pc:sldLayoutMkLst>
          <pc:spChg chg="add del mod modVis">
            <ac:chgData name="Bianca Ardito" userId="3dbb30f507a110b6" providerId="LiveId" clId="{6B3B4EFF-CE60-494E-BECC-B61895DB44D3}" dt="2024-05-24T02:37:36.387" v="2224"/>
            <ac:spMkLst>
              <pc:docMk/>
              <pc:sldMasterMk cId="0" sldId="2147484111"/>
              <pc:sldLayoutMk cId="1782198046" sldId="2147484211"/>
              <ac:spMk id="2" creationId="{796C7880-91C9-9888-461E-14ECC778AA6D}"/>
            </ac:spMkLst>
          </pc:spChg>
          <pc:spChg chg="mod">
            <ac:chgData name="Bianca Ardito" userId="3dbb30f507a110b6" providerId="LiveId" clId="{6B3B4EFF-CE60-494E-BECC-B61895DB44D3}" dt="2024-05-24T02:48:19.185" v="2831" actId="207"/>
            <ac:spMkLst>
              <pc:docMk/>
              <pc:sldMasterMk cId="0" sldId="2147484111"/>
              <pc:sldLayoutMk cId="1782198046" sldId="2147484211"/>
              <ac:spMk id="4" creationId="{4A350E70-8064-6EFA-AB78-D05E925AC319}"/>
            </ac:spMkLst>
          </pc:spChg>
          <pc:spChg chg="mod">
            <ac:chgData name="Bianca Ardito" userId="3dbb30f507a110b6" providerId="LiveId" clId="{6B3B4EFF-CE60-494E-BECC-B61895DB44D3}" dt="2024-05-24T02:47:23.629" v="2733" actId="12"/>
            <ac:spMkLst>
              <pc:docMk/>
              <pc:sldMasterMk cId="0" sldId="2147484111"/>
              <pc:sldLayoutMk cId="1782198046" sldId="2147484211"/>
              <ac:spMk id="11" creationId="{00000000-0000-0000-0000-000000000000}"/>
            </ac:spMkLst>
          </pc:spChg>
          <pc:spChg chg="mod">
            <ac:chgData name="Bianca Ardito" userId="3dbb30f507a110b6" providerId="LiveId" clId="{6B3B4EFF-CE60-494E-BECC-B61895DB44D3}" dt="2024-05-24T02:47:23.629" v="2733" actId="12"/>
            <ac:spMkLst>
              <pc:docMk/>
              <pc:sldMasterMk cId="0" sldId="2147484111"/>
              <pc:sldLayoutMk cId="1782198046" sldId="2147484211"/>
              <ac:spMk id="14" creationId="{00000000-0000-0000-0000-000000000000}"/>
            </ac:spMkLst>
          </pc:spChg>
          <pc:spChg chg="mod">
            <ac:chgData name="Bianca Ardito" userId="3dbb30f507a110b6" providerId="LiveId" clId="{6B3B4EFF-CE60-494E-BECC-B61895DB44D3}" dt="2024-05-24T02:47:23.629" v="2733" actId="12"/>
            <ac:spMkLst>
              <pc:docMk/>
              <pc:sldMasterMk cId="0" sldId="2147484111"/>
              <pc:sldLayoutMk cId="1782198046" sldId="2147484211"/>
              <ac:spMk id="17" creationId="{D3BC5F7E-BBB9-4518-A65D-F7A7D8103D8B}"/>
            </ac:spMkLst>
          </pc:spChg>
          <pc:spChg chg="mod">
            <ac:chgData name="Bianca Ardito" userId="3dbb30f507a110b6" providerId="LiveId" clId="{6B3B4EFF-CE60-494E-BECC-B61895DB44D3}" dt="2024-05-24T02:47:23.629" v="2733" actId="12"/>
            <ac:spMkLst>
              <pc:docMk/>
              <pc:sldMasterMk cId="0" sldId="2147484111"/>
              <pc:sldLayoutMk cId="1782198046" sldId="2147484211"/>
              <ac:spMk id="18" creationId="{00000000-0000-0000-0000-000000000000}"/>
            </ac:spMkLst>
          </pc:spChg>
          <pc:spChg chg="mod">
            <ac:chgData name="Bianca Ardito" userId="3dbb30f507a110b6" providerId="LiveId" clId="{6B3B4EFF-CE60-494E-BECC-B61895DB44D3}" dt="2024-05-24T02:47:23.629" v="2733" actId="12"/>
            <ac:spMkLst>
              <pc:docMk/>
              <pc:sldMasterMk cId="0" sldId="2147484111"/>
              <pc:sldLayoutMk cId="1782198046" sldId="2147484211"/>
              <ac:spMk id="20" creationId="{00000000-0000-0000-0000-000000000000}"/>
            </ac:spMkLst>
          </pc:spChg>
          <pc:spChg chg="mod">
            <ac:chgData name="Bianca Ardito" userId="3dbb30f507a110b6" providerId="LiveId" clId="{6B3B4EFF-CE60-494E-BECC-B61895DB44D3}" dt="2024-05-24T02:47:23.629" v="2733" actId="12"/>
            <ac:spMkLst>
              <pc:docMk/>
              <pc:sldMasterMk cId="0" sldId="2147484111"/>
              <pc:sldLayoutMk cId="1782198046" sldId="2147484211"/>
              <ac:spMk id="21" creationId="{576728DE-35AC-440E-B2A6-6E5CC569080D}"/>
            </ac:spMkLst>
          </pc:spChg>
          <pc:spChg chg="mod">
            <ac:chgData name="Bianca Ardito" userId="3dbb30f507a110b6" providerId="LiveId" clId="{6B3B4EFF-CE60-494E-BECC-B61895DB44D3}" dt="2024-05-24T02:47:23.629" v="2733" actId="12"/>
            <ac:spMkLst>
              <pc:docMk/>
              <pc:sldMasterMk cId="0" sldId="2147484111"/>
              <pc:sldLayoutMk cId="1782198046" sldId="2147484211"/>
              <ac:spMk id="22" creationId="{8FA60C01-B4E8-4D19-B7C8-72DAD676D1A1}"/>
            </ac:spMkLst>
          </pc:spChg>
          <pc:spChg chg="mod">
            <ac:chgData name="Bianca Ardito" userId="3dbb30f507a110b6" providerId="LiveId" clId="{6B3B4EFF-CE60-494E-BECC-B61895DB44D3}" dt="2024-05-24T02:47:23.629" v="2733" actId="12"/>
            <ac:spMkLst>
              <pc:docMk/>
              <pc:sldMasterMk cId="0" sldId="2147484111"/>
              <pc:sldLayoutMk cId="1782198046" sldId="2147484211"/>
              <ac:spMk id="23" creationId="{E685F241-3CF7-4AAA-B315-4E82D43659B9}"/>
            </ac:spMkLst>
          </pc:spChg>
          <pc:spChg chg="mod">
            <ac:chgData name="Bianca Ardito" userId="3dbb30f507a110b6" providerId="LiveId" clId="{6B3B4EFF-CE60-494E-BECC-B61895DB44D3}" dt="2024-05-24T02:47:23.629" v="2733" actId="12"/>
            <ac:spMkLst>
              <pc:docMk/>
              <pc:sldMasterMk cId="0" sldId="2147484111"/>
              <pc:sldLayoutMk cId="1782198046" sldId="2147484211"/>
              <ac:spMk id="29" creationId="{00000000-0000-0000-0000-000000000000}"/>
            </ac:spMkLst>
          </pc:spChg>
          <pc:graphicFrameChg chg="add mod ord modVis replST">
            <ac:chgData name="Bianca Ardito" userId="3dbb30f507a110b6" providerId="LiveId" clId="{6B3B4EFF-CE60-494E-BECC-B61895DB44D3}" dt="2024-05-24T02:37:36.403" v="2239"/>
            <ac:graphicFrameMkLst>
              <pc:docMk/>
              <pc:sldMasterMk cId="0" sldId="2147484111"/>
              <pc:sldLayoutMk cId="1782198046" sldId="2147484211"/>
              <ac:graphicFrameMk id="3" creationId="{CBD785ED-8673-C914-72F7-371DB8422A61}"/>
            </ac:graphicFrameMkLst>
          </pc:graphicFrameChg>
        </pc:sldLayoutChg>
        <pc:sldLayoutChg chg="addSp delSp modSp mod">
          <pc:chgData name="Bianca Ardito" userId="3dbb30f507a110b6" providerId="LiveId" clId="{6B3B4EFF-CE60-494E-BECC-B61895DB44D3}" dt="2024-05-24T02:48:17.805" v="2830" actId="207"/>
          <pc:sldLayoutMkLst>
            <pc:docMk/>
            <pc:sldMasterMk cId="0" sldId="2147484111"/>
            <pc:sldLayoutMk cId="1906496419" sldId="2147484212"/>
          </pc:sldLayoutMkLst>
          <pc:spChg chg="add del mod modVis">
            <ac:chgData name="Bianca Ardito" userId="3dbb30f507a110b6" providerId="LiveId" clId="{6B3B4EFF-CE60-494E-BECC-B61895DB44D3}" dt="2024-05-24T02:37:41.485" v="2264"/>
            <ac:spMkLst>
              <pc:docMk/>
              <pc:sldMasterMk cId="0" sldId="2147484111"/>
              <pc:sldLayoutMk cId="1906496419" sldId="2147484212"/>
              <ac:spMk id="2" creationId="{063A62EA-0DBE-28C8-909C-05F4EA6F28C2}"/>
            </ac:spMkLst>
          </pc:spChg>
          <pc:spChg chg="mod">
            <ac:chgData name="Bianca Ardito" userId="3dbb30f507a110b6" providerId="LiveId" clId="{6B3B4EFF-CE60-494E-BECC-B61895DB44D3}" dt="2024-05-24T02:48:17.805" v="2830" actId="207"/>
            <ac:spMkLst>
              <pc:docMk/>
              <pc:sldMasterMk cId="0" sldId="2147484111"/>
              <pc:sldLayoutMk cId="1906496419" sldId="2147484212"/>
              <ac:spMk id="4" creationId="{BE478BEF-9B39-4D2B-A0DB-B14D180256B2}"/>
            </ac:spMkLst>
          </pc:spChg>
          <pc:spChg chg="mod">
            <ac:chgData name="Bianca Ardito" userId="3dbb30f507a110b6" providerId="LiveId" clId="{6B3B4EFF-CE60-494E-BECC-B61895DB44D3}" dt="2024-05-24T02:47:25.356" v="2734" actId="12"/>
            <ac:spMkLst>
              <pc:docMk/>
              <pc:sldMasterMk cId="0" sldId="2147484111"/>
              <pc:sldLayoutMk cId="1906496419" sldId="2147484212"/>
              <ac:spMk id="11" creationId="{00000000-0000-0000-0000-000000000000}"/>
            </ac:spMkLst>
          </pc:spChg>
          <pc:spChg chg="mod">
            <ac:chgData name="Bianca Ardito" userId="3dbb30f507a110b6" providerId="LiveId" clId="{6B3B4EFF-CE60-494E-BECC-B61895DB44D3}" dt="2024-05-24T02:47:25.356" v="2734" actId="12"/>
            <ac:spMkLst>
              <pc:docMk/>
              <pc:sldMasterMk cId="0" sldId="2147484111"/>
              <pc:sldLayoutMk cId="1906496419" sldId="2147484212"/>
              <ac:spMk id="14" creationId="{00000000-0000-0000-0000-000000000000}"/>
            </ac:spMkLst>
          </pc:spChg>
          <pc:spChg chg="mod">
            <ac:chgData name="Bianca Ardito" userId="3dbb30f507a110b6" providerId="LiveId" clId="{6B3B4EFF-CE60-494E-BECC-B61895DB44D3}" dt="2024-05-24T02:47:25.356" v="2734" actId="12"/>
            <ac:spMkLst>
              <pc:docMk/>
              <pc:sldMasterMk cId="0" sldId="2147484111"/>
              <pc:sldLayoutMk cId="1906496419" sldId="2147484212"/>
              <ac:spMk id="17" creationId="{2510BDB9-5E80-43E2-A2E8-7F82843CEA53}"/>
            </ac:spMkLst>
          </pc:spChg>
          <pc:spChg chg="mod">
            <ac:chgData name="Bianca Ardito" userId="3dbb30f507a110b6" providerId="LiveId" clId="{6B3B4EFF-CE60-494E-BECC-B61895DB44D3}" dt="2024-05-24T02:47:25.356" v="2734" actId="12"/>
            <ac:spMkLst>
              <pc:docMk/>
              <pc:sldMasterMk cId="0" sldId="2147484111"/>
              <pc:sldLayoutMk cId="1906496419" sldId="2147484212"/>
              <ac:spMk id="18" creationId="{00000000-0000-0000-0000-000000000000}"/>
            </ac:spMkLst>
          </pc:spChg>
          <pc:spChg chg="mod">
            <ac:chgData name="Bianca Ardito" userId="3dbb30f507a110b6" providerId="LiveId" clId="{6B3B4EFF-CE60-494E-BECC-B61895DB44D3}" dt="2024-05-24T02:47:25.356" v="2734" actId="12"/>
            <ac:spMkLst>
              <pc:docMk/>
              <pc:sldMasterMk cId="0" sldId="2147484111"/>
              <pc:sldLayoutMk cId="1906496419" sldId="2147484212"/>
              <ac:spMk id="20" creationId="{00000000-0000-0000-0000-000000000000}"/>
            </ac:spMkLst>
          </pc:spChg>
          <pc:spChg chg="mod">
            <ac:chgData name="Bianca Ardito" userId="3dbb30f507a110b6" providerId="LiveId" clId="{6B3B4EFF-CE60-494E-BECC-B61895DB44D3}" dt="2024-05-24T02:47:25.356" v="2734" actId="12"/>
            <ac:spMkLst>
              <pc:docMk/>
              <pc:sldMasterMk cId="0" sldId="2147484111"/>
              <pc:sldLayoutMk cId="1906496419" sldId="2147484212"/>
              <ac:spMk id="21" creationId="{1A49EB2C-6818-4E1E-B1ED-40372F428F22}"/>
            </ac:spMkLst>
          </pc:spChg>
          <pc:spChg chg="mod">
            <ac:chgData name="Bianca Ardito" userId="3dbb30f507a110b6" providerId="LiveId" clId="{6B3B4EFF-CE60-494E-BECC-B61895DB44D3}" dt="2024-05-24T02:47:25.356" v="2734" actId="12"/>
            <ac:spMkLst>
              <pc:docMk/>
              <pc:sldMasterMk cId="0" sldId="2147484111"/>
              <pc:sldLayoutMk cId="1906496419" sldId="2147484212"/>
              <ac:spMk id="22" creationId="{9D096F37-E242-4641-99D7-2907AA3D65D7}"/>
            </ac:spMkLst>
          </pc:spChg>
          <pc:spChg chg="mod">
            <ac:chgData name="Bianca Ardito" userId="3dbb30f507a110b6" providerId="LiveId" clId="{6B3B4EFF-CE60-494E-BECC-B61895DB44D3}" dt="2024-05-24T02:47:25.356" v="2734" actId="12"/>
            <ac:spMkLst>
              <pc:docMk/>
              <pc:sldMasterMk cId="0" sldId="2147484111"/>
              <pc:sldLayoutMk cId="1906496419" sldId="2147484212"/>
              <ac:spMk id="23" creationId="{88C6734D-F723-4530-AAC9-CBF01EE71661}"/>
            </ac:spMkLst>
          </pc:spChg>
          <pc:spChg chg="mod">
            <ac:chgData name="Bianca Ardito" userId="3dbb30f507a110b6" providerId="LiveId" clId="{6B3B4EFF-CE60-494E-BECC-B61895DB44D3}" dt="2024-05-24T02:47:25.356" v="2734" actId="12"/>
            <ac:spMkLst>
              <pc:docMk/>
              <pc:sldMasterMk cId="0" sldId="2147484111"/>
              <pc:sldLayoutMk cId="1906496419" sldId="2147484212"/>
              <ac:spMk id="29" creationId="{00000000-0000-0000-0000-000000000000}"/>
            </ac:spMkLst>
          </pc:spChg>
          <pc:graphicFrameChg chg="add mod ord modVis replST">
            <ac:chgData name="Bianca Ardito" userId="3dbb30f507a110b6" providerId="LiveId" clId="{6B3B4EFF-CE60-494E-BECC-B61895DB44D3}" dt="2024-05-24T02:37:41.517" v="2279"/>
            <ac:graphicFrameMkLst>
              <pc:docMk/>
              <pc:sldMasterMk cId="0" sldId="2147484111"/>
              <pc:sldLayoutMk cId="1906496419" sldId="2147484212"/>
              <ac:graphicFrameMk id="3" creationId="{AB96CE2E-D447-7BDD-A590-7197D3AFD594}"/>
            </ac:graphicFrameMkLst>
          </pc:graphicFrameChg>
        </pc:sldLayoutChg>
        <pc:sldLayoutChg chg="addSp delSp modSp mod">
          <pc:chgData name="Bianca Ardito" userId="3dbb30f507a110b6" providerId="LiveId" clId="{6B3B4EFF-CE60-494E-BECC-B61895DB44D3}" dt="2024-05-24T02:48:16.344" v="2829" actId="207"/>
          <pc:sldLayoutMkLst>
            <pc:docMk/>
            <pc:sldMasterMk cId="0" sldId="2147484111"/>
            <pc:sldLayoutMk cId="2619778402" sldId="2147484213"/>
          </pc:sldLayoutMkLst>
          <pc:spChg chg="add del mod modVis">
            <ac:chgData name="Bianca Ardito" userId="3dbb30f507a110b6" providerId="LiveId" clId="{6B3B4EFF-CE60-494E-BECC-B61895DB44D3}" dt="2024-05-24T02:37:49.259" v="2304"/>
            <ac:spMkLst>
              <pc:docMk/>
              <pc:sldMasterMk cId="0" sldId="2147484111"/>
              <pc:sldLayoutMk cId="2619778402" sldId="2147484213"/>
              <ac:spMk id="2" creationId="{D037DAF0-BE9F-390F-9ED4-DEA126B73C39}"/>
            </ac:spMkLst>
          </pc:spChg>
          <pc:spChg chg="mod">
            <ac:chgData name="Bianca Ardito" userId="3dbb30f507a110b6" providerId="LiveId" clId="{6B3B4EFF-CE60-494E-BECC-B61895DB44D3}" dt="2024-05-24T02:48:16.344" v="2829" actId="207"/>
            <ac:spMkLst>
              <pc:docMk/>
              <pc:sldMasterMk cId="0" sldId="2147484111"/>
              <pc:sldLayoutMk cId="2619778402" sldId="2147484213"/>
              <ac:spMk id="4" creationId="{A7755113-433A-E6A6-D307-C3F3F2CFB9C3}"/>
            </ac:spMkLst>
          </pc:spChg>
          <pc:spChg chg="mod">
            <ac:chgData name="Bianca Ardito" userId="3dbb30f507a110b6" providerId="LiveId" clId="{6B3B4EFF-CE60-494E-BECC-B61895DB44D3}" dt="2024-05-24T02:47:27.108" v="2735" actId="12"/>
            <ac:spMkLst>
              <pc:docMk/>
              <pc:sldMasterMk cId="0" sldId="2147484111"/>
              <pc:sldLayoutMk cId="2619778402" sldId="2147484213"/>
              <ac:spMk id="13" creationId="{00000000-0000-0000-0000-000000000000}"/>
            </ac:spMkLst>
          </pc:spChg>
          <pc:spChg chg="mod">
            <ac:chgData name="Bianca Ardito" userId="3dbb30f507a110b6" providerId="LiveId" clId="{6B3B4EFF-CE60-494E-BECC-B61895DB44D3}" dt="2024-05-24T02:47:27.108" v="2735" actId="12"/>
            <ac:spMkLst>
              <pc:docMk/>
              <pc:sldMasterMk cId="0" sldId="2147484111"/>
              <pc:sldLayoutMk cId="2619778402" sldId="2147484213"/>
              <ac:spMk id="15" creationId="{00000000-0000-0000-0000-000000000000}"/>
            </ac:spMkLst>
          </pc:spChg>
          <pc:spChg chg="mod">
            <ac:chgData name="Bianca Ardito" userId="3dbb30f507a110b6" providerId="LiveId" clId="{6B3B4EFF-CE60-494E-BECC-B61895DB44D3}" dt="2024-05-24T02:47:27.108" v="2735" actId="12"/>
            <ac:spMkLst>
              <pc:docMk/>
              <pc:sldMasterMk cId="0" sldId="2147484111"/>
              <pc:sldLayoutMk cId="2619778402" sldId="2147484213"/>
              <ac:spMk id="17" creationId="{AA0AB5C9-B845-46F8-AA4F-D0DD09D514DC}"/>
            </ac:spMkLst>
          </pc:spChg>
          <pc:spChg chg="mod">
            <ac:chgData name="Bianca Ardito" userId="3dbb30f507a110b6" providerId="LiveId" clId="{6B3B4EFF-CE60-494E-BECC-B61895DB44D3}" dt="2024-05-24T02:47:27.108" v="2735" actId="12"/>
            <ac:spMkLst>
              <pc:docMk/>
              <pc:sldMasterMk cId="0" sldId="2147484111"/>
              <pc:sldLayoutMk cId="2619778402" sldId="2147484213"/>
              <ac:spMk id="18" creationId="{00000000-0000-0000-0000-000000000000}"/>
            </ac:spMkLst>
          </pc:spChg>
          <pc:spChg chg="mod">
            <ac:chgData name="Bianca Ardito" userId="3dbb30f507a110b6" providerId="LiveId" clId="{6B3B4EFF-CE60-494E-BECC-B61895DB44D3}" dt="2024-05-24T02:47:27.108" v="2735" actId="12"/>
            <ac:spMkLst>
              <pc:docMk/>
              <pc:sldMasterMk cId="0" sldId="2147484111"/>
              <pc:sldLayoutMk cId="2619778402" sldId="2147484213"/>
              <ac:spMk id="20" creationId="{00000000-0000-0000-0000-000000000000}"/>
            </ac:spMkLst>
          </pc:spChg>
          <pc:spChg chg="mod">
            <ac:chgData name="Bianca Ardito" userId="3dbb30f507a110b6" providerId="LiveId" clId="{6B3B4EFF-CE60-494E-BECC-B61895DB44D3}" dt="2024-05-24T02:47:27.108" v="2735" actId="12"/>
            <ac:spMkLst>
              <pc:docMk/>
              <pc:sldMasterMk cId="0" sldId="2147484111"/>
              <pc:sldLayoutMk cId="2619778402" sldId="2147484213"/>
              <ac:spMk id="23" creationId="{C2187E5E-431E-45A2-83F2-ABC25D4C193B}"/>
            </ac:spMkLst>
          </pc:spChg>
          <pc:spChg chg="mod">
            <ac:chgData name="Bianca Ardito" userId="3dbb30f507a110b6" providerId="LiveId" clId="{6B3B4EFF-CE60-494E-BECC-B61895DB44D3}" dt="2024-05-24T02:47:27.108" v="2735" actId="12"/>
            <ac:spMkLst>
              <pc:docMk/>
              <pc:sldMasterMk cId="0" sldId="2147484111"/>
              <pc:sldLayoutMk cId="2619778402" sldId="2147484213"/>
              <ac:spMk id="24" creationId="{58BB769B-E07C-4BDA-8FF1-4BDF3A4824C7}"/>
            </ac:spMkLst>
          </pc:spChg>
          <pc:spChg chg="mod">
            <ac:chgData name="Bianca Ardito" userId="3dbb30f507a110b6" providerId="LiveId" clId="{6B3B4EFF-CE60-494E-BECC-B61895DB44D3}" dt="2024-05-24T02:47:27.108" v="2735" actId="12"/>
            <ac:spMkLst>
              <pc:docMk/>
              <pc:sldMasterMk cId="0" sldId="2147484111"/>
              <pc:sldLayoutMk cId="2619778402" sldId="2147484213"/>
              <ac:spMk id="25" creationId="{6A4AF570-27A5-451E-80D7-93C907332541}"/>
            </ac:spMkLst>
          </pc:spChg>
          <pc:spChg chg="mod">
            <ac:chgData name="Bianca Ardito" userId="3dbb30f507a110b6" providerId="LiveId" clId="{6B3B4EFF-CE60-494E-BECC-B61895DB44D3}" dt="2024-05-24T02:47:27.108" v="2735" actId="12"/>
            <ac:spMkLst>
              <pc:docMk/>
              <pc:sldMasterMk cId="0" sldId="2147484111"/>
              <pc:sldLayoutMk cId="2619778402" sldId="2147484213"/>
              <ac:spMk id="29" creationId="{00000000-0000-0000-0000-000000000000}"/>
            </ac:spMkLst>
          </pc:spChg>
          <pc:graphicFrameChg chg="add mod ord modVis replST">
            <ac:chgData name="Bianca Ardito" userId="3dbb30f507a110b6" providerId="LiveId" clId="{6B3B4EFF-CE60-494E-BECC-B61895DB44D3}" dt="2024-05-24T02:37:49.291" v="2319"/>
            <ac:graphicFrameMkLst>
              <pc:docMk/>
              <pc:sldMasterMk cId="0" sldId="2147484111"/>
              <pc:sldLayoutMk cId="2619778402" sldId="2147484213"/>
              <ac:graphicFrameMk id="3" creationId="{FFB98AC6-4A97-69FF-8863-73C265A5B611}"/>
            </ac:graphicFrameMkLst>
          </pc:graphicFrameChg>
        </pc:sldLayoutChg>
        <pc:sldLayoutChg chg="addSp delSp modSp mod">
          <pc:chgData name="Bianca Ardito" userId="3dbb30f507a110b6" providerId="LiveId" clId="{6B3B4EFF-CE60-494E-BECC-B61895DB44D3}" dt="2024-05-24T02:48:15.078" v="2828" actId="207"/>
          <pc:sldLayoutMkLst>
            <pc:docMk/>
            <pc:sldMasterMk cId="0" sldId="2147484111"/>
            <pc:sldLayoutMk cId="3461132866" sldId="2147484214"/>
          </pc:sldLayoutMkLst>
          <pc:spChg chg="add del mod modVis">
            <ac:chgData name="Bianca Ardito" userId="3dbb30f507a110b6" providerId="LiveId" clId="{6B3B4EFF-CE60-494E-BECC-B61895DB44D3}" dt="2024-05-24T02:37:53.430" v="2344"/>
            <ac:spMkLst>
              <pc:docMk/>
              <pc:sldMasterMk cId="0" sldId="2147484111"/>
              <pc:sldLayoutMk cId="3461132866" sldId="2147484214"/>
              <ac:spMk id="2" creationId="{5CDA0F63-F488-6075-A4D3-C2AA12D6060D}"/>
            </ac:spMkLst>
          </pc:spChg>
          <pc:spChg chg="mod">
            <ac:chgData name="Bianca Ardito" userId="3dbb30f507a110b6" providerId="LiveId" clId="{6B3B4EFF-CE60-494E-BECC-B61895DB44D3}" dt="2024-05-24T02:48:15.078" v="2828" actId="207"/>
            <ac:spMkLst>
              <pc:docMk/>
              <pc:sldMasterMk cId="0" sldId="2147484111"/>
              <pc:sldLayoutMk cId="3461132866" sldId="2147484214"/>
              <ac:spMk id="4" creationId="{B0FC6748-B938-C9D1-9D4C-F3AA7468CDD1}"/>
            </ac:spMkLst>
          </pc:spChg>
          <pc:spChg chg="mod">
            <ac:chgData name="Bianca Ardito" userId="3dbb30f507a110b6" providerId="LiveId" clId="{6B3B4EFF-CE60-494E-BECC-B61895DB44D3}" dt="2024-05-24T02:47:29.069" v="2736" actId="12"/>
            <ac:spMkLst>
              <pc:docMk/>
              <pc:sldMasterMk cId="0" sldId="2147484111"/>
              <pc:sldLayoutMk cId="3461132866" sldId="2147484214"/>
              <ac:spMk id="15" creationId="{00000000-0000-0000-0000-000000000000}"/>
            </ac:spMkLst>
          </pc:spChg>
          <pc:spChg chg="mod">
            <ac:chgData name="Bianca Ardito" userId="3dbb30f507a110b6" providerId="LiveId" clId="{6B3B4EFF-CE60-494E-BECC-B61895DB44D3}" dt="2024-05-24T02:47:29.069" v="2736" actId="12"/>
            <ac:spMkLst>
              <pc:docMk/>
              <pc:sldMasterMk cId="0" sldId="2147484111"/>
              <pc:sldLayoutMk cId="3461132866" sldId="2147484214"/>
              <ac:spMk id="18" creationId="{00000000-0000-0000-0000-000000000000}"/>
            </ac:spMkLst>
          </pc:spChg>
          <pc:spChg chg="mod">
            <ac:chgData name="Bianca Ardito" userId="3dbb30f507a110b6" providerId="LiveId" clId="{6B3B4EFF-CE60-494E-BECC-B61895DB44D3}" dt="2024-05-24T02:47:29.069" v="2736" actId="12"/>
            <ac:spMkLst>
              <pc:docMk/>
              <pc:sldMasterMk cId="0" sldId="2147484111"/>
              <pc:sldLayoutMk cId="3461132866" sldId="2147484214"/>
              <ac:spMk id="20" creationId="{00000000-0000-0000-0000-000000000000}"/>
            </ac:spMkLst>
          </pc:spChg>
          <pc:spChg chg="mod">
            <ac:chgData name="Bianca Ardito" userId="3dbb30f507a110b6" providerId="LiveId" clId="{6B3B4EFF-CE60-494E-BECC-B61895DB44D3}" dt="2024-05-24T02:47:29.069" v="2736" actId="12"/>
            <ac:spMkLst>
              <pc:docMk/>
              <pc:sldMasterMk cId="0" sldId="2147484111"/>
              <pc:sldLayoutMk cId="3461132866" sldId="2147484214"/>
              <ac:spMk id="21" creationId="{00000000-0000-0000-0000-000000000000}"/>
            </ac:spMkLst>
          </pc:spChg>
          <pc:spChg chg="mod">
            <ac:chgData name="Bianca Ardito" userId="3dbb30f507a110b6" providerId="LiveId" clId="{6B3B4EFF-CE60-494E-BECC-B61895DB44D3}" dt="2024-05-24T02:47:29.069" v="2736" actId="12"/>
            <ac:spMkLst>
              <pc:docMk/>
              <pc:sldMasterMk cId="0" sldId="2147484111"/>
              <pc:sldLayoutMk cId="3461132866" sldId="2147484214"/>
              <ac:spMk id="22" creationId="{F12E1E9C-5ACE-41F2-A914-A4518C9B7F77}"/>
            </ac:spMkLst>
          </pc:spChg>
          <pc:spChg chg="mod">
            <ac:chgData name="Bianca Ardito" userId="3dbb30f507a110b6" providerId="LiveId" clId="{6B3B4EFF-CE60-494E-BECC-B61895DB44D3}" dt="2024-05-24T02:47:29.069" v="2736" actId="12"/>
            <ac:spMkLst>
              <pc:docMk/>
              <pc:sldMasterMk cId="0" sldId="2147484111"/>
              <pc:sldLayoutMk cId="3461132866" sldId="2147484214"/>
              <ac:spMk id="24" creationId="{08D4A781-4B3D-4A40-8B45-B53B434852E3}"/>
            </ac:spMkLst>
          </pc:spChg>
          <pc:spChg chg="mod">
            <ac:chgData name="Bianca Ardito" userId="3dbb30f507a110b6" providerId="LiveId" clId="{6B3B4EFF-CE60-494E-BECC-B61895DB44D3}" dt="2024-05-24T02:47:29.069" v="2736" actId="12"/>
            <ac:spMkLst>
              <pc:docMk/>
              <pc:sldMasterMk cId="0" sldId="2147484111"/>
              <pc:sldLayoutMk cId="3461132866" sldId="2147484214"/>
              <ac:spMk id="25" creationId="{93F75E13-7220-47EA-896C-50F058CFB0F1}"/>
            </ac:spMkLst>
          </pc:spChg>
          <pc:spChg chg="mod">
            <ac:chgData name="Bianca Ardito" userId="3dbb30f507a110b6" providerId="LiveId" clId="{6B3B4EFF-CE60-494E-BECC-B61895DB44D3}" dt="2024-05-24T02:47:29.069" v="2736" actId="12"/>
            <ac:spMkLst>
              <pc:docMk/>
              <pc:sldMasterMk cId="0" sldId="2147484111"/>
              <pc:sldLayoutMk cId="3461132866" sldId="2147484214"/>
              <ac:spMk id="26" creationId="{83CB9D3F-21F2-4EC8-99C7-3986F4225340}"/>
            </ac:spMkLst>
          </pc:spChg>
          <pc:spChg chg="mod">
            <ac:chgData name="Bianca Ardito" userId="3dbb30f507a110b6" providerId="LiveId" clId="{6B3B4EFF-CE60-494E-BECC-B61895DB44D3}" dt="2024-05-24T02:47:29.069" v="2736" actId="12"/>
            <ac:spMkLst>
              <pc:docMk/>
              <pc:sldMasterMk cId="0" sldId="2147484111"/>
              <pc:sldLayoutMk cId="3461132866" sldId="2147484214"/>
              <ac:spMk id="29" creationId="{00000000-0000-0000-0000-000000000000}"/>
            </ac:spMkLst>
          </pc:spChg>
          <pc:graphicFrameChg chg="add mod ord modVis replST">
            <ac:chgData name="Bianca Ardito" userId="3dbb30f507a110b6" providerId="LiveId" clId="{6B3B4EFF-CE60-494E-BECC-B61895DB44D3}" dt="2024-05-24T02:37:53.462" v="2359"/>
            <ac:graphicFrameMkLst>
              <pc:docMk/>
              <pc:sldMasterMk cId="0" sldId="2147484111"/>
              <pc:sldLayoutMk cId="3461132866" sldId="2147484214"/>
              <ac:graphicFrameMk id="3" creationId="{374C8DA1-BFB8-6D6B-9401-F0AE37111B94}"/>
            </ac:graphicFrameMkLst>
          </pc:graphicFrameChg>
        </pc:sldLayoutChg>
        <pc:sldLayoutChg chg="addSp delSp modSp mod">
          <pc:chgData name="Bianca Ardito" userId="3dbb30f507a110b6" providerId="LiveId" clId="{6B3B4EFF-CE60-494E-BECC-B61895DB44D3}" dt="2024-05-24T02:48:07.165" v="2823" actId="207"/>
          <pc:sldLayoutMkLst>
            <pc:docMk/>
            <pc:sldMasterMk cId="0" sldId="2147484111"/>
            <pc:sldLayoutMk cId="470005944" sldId="2147484217"/>
          </pc:sldLayoutMkLst>
          <pc:spChg chg="add del mod modVis">
            <ac:chgData name="Bianca Ardito" userId="3dbb30f507a110b6" providerId="LiveId" clId="{6B3B4EFF-CE60-494E-BECC-B61895DB44D3}" dt="2024-05-24T02:47:41.362" v="2765"/>
            <ac:spMkLst>
              <pc:docMk/>
              <pc:sldMasterMk cId="0" sldId="2147484111"/>
              <pc:sldLayoutMk cId="470005944" sldId="2147484217"/>
              <ac:spMk id="2" creationId="{84256524-50BE-6010-C3F7-624E0BCCF521}"/>
            </ac:spMkLst>
          </pc:spChg>
          <pc:spChg chg="mod">
            <ac:chgData name="Bianca Ardito" userId="3dbb30f507a110b6" providerId="LiveId" clId="{6B3B4EFF-CE60-494E-BECC-B61895DB44D3}" dt="2024-05-24T02:48:07.165" v="2823" actId="207"/>
            <ac:spMkLst>
              <pc:docMk/>
              <pc:sldMasterMk cId="0" sldId="2147484111"/>
              <pc:sldLayoutMk cId="470005944" sldId="2147484217"/>
              <ac:spMk id="4" creationId="{AAFCFFC9-01C3-6437-13A4-531B9F34A638}"/>
            </ac:spMkLst>
          </pc:spChg>
          <pc:spChg chg="mod">
            <ac:chgData name="Bianca Ardito" userId="3dbb30f507a110b6" providerId="LiveId" clId="{6B3B4EFF-CE60-494E-BECC-B61895DB44D3}" dt="2024-05-24T02:47:40.663" v="2741" actId="12"/>
            <ac:spMkLst>
              <pc:docMk/>
              <pc:sldMasterMk cId="0" sldId="2147484111"/>
              <pc:sldLayoutMk cId="470005944" sldId="2147484217"/>
              <ac:spMk id="5" creationId="{B1440A25-8C70-E1E4-8890-F3019E9C6A6F}"/>
            </ac:spMkLst>
          </pc:spChg>
          <pc:spChg chg="mod">
            <ac:chgData name="Bianca Ardito" userId="3dbb30f507a110b6" providerId="LiveId" clId="{6B3B4EFF-CE60-494E-BECC-B61895DB44D3}" dt="2024-05-24T02:47:41.330" v="2742" actId="948"/>
            <ac:spMkLst>
              <pc:docMk/>
              <pc:sldMasterMk cId="0" sldId="2147484111"/>
              <pc:sldLayoutMk cId="470005944" sldId="2147484217"/>
              <ac:spMk id="20" creationId="{00000000-0000-0000-0000-000000000000}"/>
            </ac:spMkLst>
          </pc:spChg>
          <pc:graphicFrameChg chg="add mod ord modVis replST">
            <ac:chgData name="Bianca Ardito" userId="3dbb30f507a110b6" providerId="LiveId" clId="{6B3B4EFF-CE60-494E-BECC-B61895DB44D3}" dt="2024-05-24T02:47:41.378" v="2780"/>
            <ac:graphicFrameMkLst>
              <pc:docMk/>
              <pc:sldMasterMk cId="0" sldId="2147484111"/>
              <pc:sldLayoutMk cId="470005944" sldId="2147484217"/>
              <ac:graphicFrameMk id="3" creationId="{100F89AF-5D38-8318-94B3-383650F0140F}"/>
            </ac:graphicFrameMkLst>
          </pc:graphicFrameChg>
        </pc:sldLayoutChg>
        <pc:sldLayoutChg chg="addSp delSp modSp mod">
          <pc:chgData name="Bianca Ardito" userId="3dbb30f507a110b6" providerId="LiveId" clId="{6B3B4EFF-CE60-494E-BECC-B61895DB44D3}" dt="2024-05-24T02:48:05.235" v="2822" actId="207"/>
          <pc:sldLayoutMkLst>
            <pc:docMk/>
            <pc:sldMasterMk cId="0" sldId="2147484111"/>
            <pc:sldLayoutMk cId="4278354298" sldId="2147484218"/>
          </pc:sldLayoutMkLst>
          <pc:spChg chg="add del mod modVis">
            <ac:chgData name="Bianca Ardito" userId="3dbb30f507a110b6" providerId="LiveId" clId="{6B3B4EFF-CE60-494E-BECC-B61895DB44D3}" dt="2024-05-24T02:47:43.384" v="2805"/>
            <ac:spMkLst>
              <pc:docMk/>
              <pc:sldMasterMk cId="0" sldId="2147484111"/>
              <pc:sldLayoutMk cId="4278354298" sldId="2147484218"/>
              <ac:spMk id="2" creationId="{CD837B5B-738D-AA33-91E6-0D6B7E392893}"/>
            </ac:spMkLst>
          </pc:spChg>
          <pc:spChg chg="mod">
            <ac:chgData name="Bianca Ardito" userId="3dbb30f507a110b6" providerId="LiveId" clId="{6B3B4EFF-CE60-494E-BECC-B61895DB44D3}" dt="2024-05-24T02:48:05.235" v="2822" actId="207"/>
            <ac:spMkLst>
              <pc:docMk/>
              <pc:sldMasterMk cId="0" sldId="2147484111"/>
              <pc:sldLayoutMk cId="4278354298" sldId="2147484218"/>
              <ac:spMk id="4" creationId="{A6E8D184-04D1-9030-03EE-217A8CB3DEA4}"/>
            </ac:spMkLst>
          </pc:spChg>
          <pc:spChg chg="mod">
            <ac:chgData name="Bianca Ardito" userId="3dbb30f507a110b6" providerId="LiveId" clId="{6B3B4EFF-CE60-494E-BECC-B61895DB44D3}" dt="2024-05-24T02:47:42.506" v="2781" actId="12"/>
            <ac:spMkLst>
              <pc:docMk/>
              <pc:sldMasterMk cId="0" sldId="2147484111"/>
              <pc:sldLayoutMk cId="4278354298" sldId="2147484218"/>
              <ac:spMk id="7" creationId="{00000000-0000-0000-0000-000000000000}"/>
            </ac:spMkLst>
          </pc:spChg>
          <pc:spChg chg="mod">
            <ac:chgData name="Bianca Ardito" userId="3dbb30f507a110b6" providerId="LiveId" clId="{6B3B4EFF-CE60-494E-BECC-B61895DB44D3}" dt="2024-05-24T02:47:43.352" v="2782" actId="948"/>
            <ac:spMkLst>
              <pc:docMk/>
              <pc:sldMasterMk cId="0" sldId="2147484111"/>
              <pc:sldLayoutMk cId="4278354298" sldId="2147484218"/>
              <ac:spMk id="20" creationId="{00000000-0000-0000-0000-000000000000}"/>
            </ac:spMkLst>
          </pc:spChg>
          <pc:graphicFrameChg chg="add mod ord modVis replST">
            <ac:chgData name="Bianca Ardito" userId="3dbb30f507a110b6" providerId="LiveId" clId="{6B3B4EFF-CE60-494E-BECC-B61895DB44D3}" dt="2024-05-24T02:47:43.416" v="2820"/>
            <ac:graphicFrameMkLst>
              <pc:docMk/>
              <pc:sldMasterMk cId="0" sldId="2147484111"/>
              <pc:sldLayoutMk cId="4278354298" sldId="2147484218"/>
              <ac:graphicFrameMk id="3" creationId="{D59EAC49-33F7-F4E0-DD57-AF8BE8821DF3}"/>
            </ac:graphicFrameMkLst>
          </pc:graphicFrameChg>
        </pc:sldLayoutChg>
        <pc:sldLayoutChg chg="addSp delSp modSp mod">
          <pc:chgData name="Bianca Ardito" userId="3dbb30f507a110b6" providerId="LiveId" clId="{6B3B4EFF-CE60-494E-BECC-B61895DB44D3}" dt="2024-05-24T02:46:26.207" v="2719" actId="207"/>
          <pc:sldLayoutMkLst>
            <pc:docMk/>
            <pc:sldMasterMk cId="0" sldId="2147484111"/>
            <pc:sldLayoutMk cId="2232774954" sldId="2147484219"/>
          </pc:sldLayoutMkLst>
          <pc:spChg chg="mod">
            <ac:chgData name="Bianca Ardito" userId="3dbb30f507a110b6" providerId="LiveId" clId="{6B3B4EFF-CE60-494E-BECC-B61895DB44D3}" dt="2024-05-24T02:46:26.207" v="2719" actId="207"/>
            <ac:spMkLst>
              <pc:docMk/>
              <pc:sldMasterMk cId="0" sldId="2147484111"/>
              <pc:sldLayoutMk cId="2232774954" sldId="2147484219"/>
              <ac:spMk id="3" creationId="{00000000-0000-0000-0000-000000000000}"/>
            </ac:spMkLst>
          </pc:spChg>
          <pc:picChg chg="del">
            <ac:chgData name="Bianca Ardito" userId="3dbb30f507a110b6" providerId="LiveId" clId="{6B3B4EFF-CE60-494E-BECC-B61895DB44D3}" dt="2024-05-24T02:36:05.424" v="1611" actId="478"/>
            <ac:picMkLst>
              <pc:docMk/>
              <pc:sldMasterMk cId="0" sldId="2147484111"/>
              <pc:sldLayoutMk cId="2232774954" sldId="2147484219"/>
              <ac:picMk id="2" creationId="{F3999C60-0BF0-75B9-FA73-101E9E2ED671}"/>
            </ac:picMkLst>
          </pc:picChg>
          <pc:picChg chg="add mod">
            <ac:chgData name="Bianca Ardito" userId="3dbb30f507a110b6" providerId="LiveId" clId="{6B3B4EFF-CE60-494E-BECC-B61895DB44D3}" dt="2024-05-24T02:36:05.653" v="1612"/>
            <ac:picMkLst>
              <pc:docMk/>
              <pc:sldMasterMk cId="0" sldId="2147484111"/>
              <pc:sldLayoutMk cId="2232774954" sldId="2147484219"/>
              <ac:picMk id="5" creationId="{ACD891AC-991C-76DF-9974-74080F2682B2}"/>
            </ac:picMkLst>
          </pc:picChg>
          <pc:cxnChg chg="mod">
            <ac:chgData name="Bianca Ardito" userId="3dbb30f507a110b6" providerId="LiveId" clId="{6B3B4EFF-CE60-494E-BECC-B61895DB44D3}" dt="2024-05-24T02:41:22.574" v="2633" actId="208"/>
            <ac:cxnSpMkLst>
              <pc:docMk/>
              <pc:sldMasterMk cId="0" sldId="2147484111"/>
              <pc:sldLayoutMk cId="2232774954" sldId="2147484219"/>
              <ac:cxnSpMk id="75" creationId="{00000000-0000-0000-0000-000000000000}"/>
            </ac:cxnSpMkLst>
          </pc:cxnChg>
        </pc:sldLayoutChg>
        <pc:sldLayoutChg chg="addSp delSp modSp mod">
          <pc:chgData name="Bianca Ardito" userId="3dbb30f507a110b6" providerId="LiveId" clId="{6B3B4EFF-CE60-494E-BECC-B61895DB44D3}" dt="2024-05-24T02:48:13.662" v="2827" actId="207"/>
          <pc:sldLayoutMkLst>
            <pc:docMk/>
            <pc:sldMasterMk cId="0" sldId="2147484111"/>
            <pc:sldLayoutMk cId="1474199136" sldId="2147484220"/>
          </pc:sldLayoutMkLst>
          <pc:spChg chg="add del mod modVis">
            <ac:chgData name="Bianca Ardito" userId="3dbb30f507a110b6" providerId="LiveId" clId="{6B3B4EFF-CE60-494E-BECC-B61895DB44D3}" dt="2024-05-24T02:37:57.509" v="2384"/>
            <ac:spMkLst>
              <pc:docMk/>
              <pc:sldMasterMk cId="0" sldId="2147484111"/>
              <pc:sldLayoutMk cId="1474199136" sldId="2147484220"/>
              <ac:spMk id="2" creationId="{B47E867E-BEE0-1753-E83C-FC8C6B8916E4}"/>
            </ac:spMkLst>
          </pc:spChg>
          <pc:spChg chg="mod">
            <ac:chgData name="Bianca Ardito" userId="3dbb30f507a110b6" providerId="LiveId" clId="{6B3B4EFF-CE60-494E-BECC-B61895DB44D3}" dt="2024-05-24T02:48:13.662" v="2827" actId="207"/>
            <ac:spMkLst>
              <pc:docMk/>
              <pc:sldMasterMk cId="0" sldId="2147484111"/>
              <pc:sldLayoutMk cId="1474199136" sldId="2147484220"/>
              <ac:spMk id="4" creationId="{AB199B99-8286-120A-A94F-EF2F6152E88B}"/>
            </ac:spMkLst>
          </pc:spChg>
          <pc:spChg chg="mod">
            <ac:chgData name="Bianca Ardito" userId="3dbb30f507a110b6" providerId="LiveId" clId="{6B3B4EFF-CE60-494E-BECC-B61895DB44D3}" dt="2024-05-24T02:47:30.965" v="2737" actId="12"/>
            <ac:spMkLst>
              <pc:docMk/>
              <pc:sldMasterMk cId="0" sldId="2147484111"/>
              <pc:sldLayoutMk cId="1474199136" sldId="2147484220"/>
              <ac:spMk id="11" creationId="{00000000-0000-0000-0000-000000000000}"/>
            </ac:spMkLst>
          </pc:spChg>
          <pc:spChg chg="mod">
            <ac:chgData name="Bianca Ardito" userId="3dbb30f507a110b6" providerId="LiveId" clId="{6B3B4EFF-CE60-494E-BECC-B61895DB44D3}" dt="2024-05-24T02:47:30.965" v="2737" actId="12"/>
            <ac:spMkLst>
              <pc:docMk/>
              <pc:sldMasterMk cId="0" sldId="2147484111"/>
              <pc:sldLayoutMk cId="1474199136" sldId="2147484220"/>
              <ac:spMk id="14" creationId="{00000000-0000-0000-0000-000000000000}"/>
            </ac:spMkLst>
          </pc:spChg>
          <pc:spChg chg="mod">
            <ac:chgData name="Bianca Ardito" userId="3dbb30f507a110b6" providerId="LiveId" clId="{6B3B4EFF-CE60-494E-BECC-B61895DB44D3}" dt="2024-05-24T02:47:30.965" v="2737" actId="12"/>
            <ac:spMkLst>
              <pc:docMk/>
              <pc:sldMasterMk cId="0" sldId="2147484111"/>
              <pc:sldLayoutMk cId="1474199136" sldId="2147484220"/>
              <ac:spMk id="16" creationId="{A5A00F4B-91CE-49B5-AFB4-9D8B2005B73F}"/>
            </ac:spMkLst>
          </pc:spChg>
          <pc:spChg chg="mod">
            <ac:chgData name="Bianca Ardito" userId="3dbb30f507a110b6" providerId="LiveId" clId="{6B3B4EFF-CE60-494E-BECC-B61895DB44D3}" dt="2024-05-24T02:47:30.965" v="2737" actId="12"/>
            <ac:spMkLst>
              <pc:docMk/>
              <pc:sldMasterMk cId="0" sldId="2147484111"/>
              <pc:sldLayoutMk cId="1474199136" sldId="2147484220"/>
              <ac:spMk id="18" creationId="{00000000-0000-0000-0000-000000000000}"/>
            </ac:spMkLst>
          </pc:spChg>
          <pc:spChg chg="mod">
            <ac:chgData name="Bianca Ardito" userId="3dbb30f507a110b6" providerId="LiveId" clId="{6B3B4EFF-CE60-494E-BECC-B61895DB44D3}" dt="2024-05-24T02:47:30.965" v="2737" actId="12"/>
            <ac:spMkLst>
              <pc:docMk/>
              <pc:sldMasterMk cId="0" sldId="2147484111"/>
              <pc:sldLayoutMk cId="1474199136" sldId="2147484220"/>
              <ac:spMk id="19" creationId="{AC459E1E-6DCA-4C73-8D64-0789EB67BFA0}"/>
            </ac:spMkLst>
          </pc:spChg>
          <pc:spChg chg="mod">
            <ac:chgData name="Bianca Ardito" userId="3dbb30f507a110b6" providerId="LiveId" clId="{6B3B4EFF-CE60-494E-BECC-B61895DB44D3}" dt="2024-05-24T02:47:30.965" v="2737" actId="12"/>
            <ac:spMkLst>
              <pc:docMk/>
              <pc:sldMasterMk cId="0" sldId="2147484111"/>
              <pc:sldLayoutMk cId="1474199136" sldId="2147484220"/>
              <ac:spMk id="20" creationId="{00000000-0000-0000-0000-000000000000}"/>
            </ac:spMkLst>
          </pc:spChg>
          <pc:spChg chg="mod">
            <ac:chgData name="Bianca Ardito" userId="3dbb30f507a110b6" providerId="LiveId" clId="{6B3B4EFF-CE60-494E-BECC-B61895DB44D3}" dt="2024-05-24T02:47:30.965" v="2737" actId="12"/>
            <ac:spMkLst>
              <pc:docMk/>
              <pc:sldMasterMk cId="0" sldId="2147484111"/>
              <pc:sldLayoutMk cId="1474199136" sldId="2147484220"/>
              <ac:spMk id="21" creationId="{192A2A45-48F6-4834-AA92-35CBB2D4DA7A}"/>
            </ac:spMkLst>
          </pc:spChg>
          <pc:spChg chg="mod">
            <ac:chgData name="Bianca Ardito" userId="3dbb30f507a110b6" providerId="LiveId" clId="{6B3B4EFF-CE60-494E-BECC-B61895DB44D3}" dt="2024-05-24T02:47:30.965" v="2737" actId="12"/>
            <ac:spMkLst>
              <pc:docMk/>
              <pc:sldMasterMk cId="0" sldId="2147484111"/>
              <pc:sldLayoutMk cId="1474199136" sldId="2147484220"/>
              <ac:spMk id="22" creationId="{29B69B91-8750-4FC5-AF37-9B155A89D5E9}"/>
            </ac:spMkLst>
          </pc:spChg>
          <pc:spChg chg="mod">
            <ac:chgData name="Bianca Ardito" userId="3dbb30f507a110b6" providerId="LiveId" clId="{6B3B4EFF-CE60-494E-BECC-B61895DB44D3}" dt="2024-05-24T02:47:30.965" v="2737" actId="12"/>
            <ac:spMkLst>
              <pc:docMk/>
              <pc:sldMasterMk cId="0" sldId="2147484111"/>
              <pc:sldLayoutMk cId="1474199136" sldId="2147484220"/>
              <ac:spMk id="29" creationId="{00000000-0000-0000-0000-000000000000}"/>
            </ac:spMkLst>
          </pc:spChg>
          <pc:graphicFrameChg chg="add mod ord modVis replST">
            <ac:chgData name="Bianca Ardito" userId="3dbb30f507a110b6" providerId="LiveId" clId="{6B3B4EFF-CE60-494E-BECC-B61895DB44D3}" dt="2024-05-24T02:37:57.540" v="2399"/>
            <ac:graphicFrameMkLst>
              <pc:docMk/>
              <pc:sldMasterMk cId="0" sldId="2147484111"/>
              <pc:sldLayoutMk cId="1474199136" sldId="2147484220"/>
              <ac:graphicFrameMk id="3" creationId="{C14F1213-EB76-29A8-0835-639B9276999A}"/>
            </ac:graphicFrameMkLst>
          </pc:graphicFrameChg>
        </pc:sldLayoutChg>
        <pc:sldLayoutChg chg="addSp delSp modSp mod">
          <pc:chgData name="Bianca Ardito" userId="3dbb30f507a110b6" providerId="LiveId" clId="{6B3B4EFF-CE60-494E-BECC-B61895DB44D3}" dt="2024-05-24T02:48:43.867" v="2844" actId="207"/>
          <pc:sldLayoutMkLst>
            <pc:docMk/>
            <pc:sldMasterMk cId="0" sldId="2147484111"/>
            <pc:sldLayoutMk cId="1292331569" sldId="2147484221"/>
          </pc:sldLayoutMkLst>
          <pc:spChg chg="add del mod modVis">
            <ac:chgData name="Bianca Ardito" userId="3dbb30f507a110b6" providerId="LiveId" clId="{6B3B4EFF-CE60-494E-BECC-B61895DB44D3}" dt="2024-05-24T02:36:15.915" v="1677"/>
            <ac:spMkLst>
              <pc:docMk/>
              <pc:sldMasterMk cId="0" sldId="2147484111"/>
              <pc:sldLayoutMk cId="1292331569" sldId="2147484221"/>
              <ac:spMk id="2" creationId="{6F4E2BDC-22AB-F22D-3759-99A4CCF72901}"/>
            </ac:spMkLst>
          </pc:spChg>
          <pc:spChg chg="mod">
            <ac:chgData name="Bianca Ardito" userId="3dbb30f507a110b6" providerId="LiveId" clId="{6B3B4EFF-CE60-494E-BECC-B61895DB44D3}" dt="2024-05-24T02:48:43.867" v="2844" actId="207"/>
            <ac:spMkLst>
              <pc:docMk/>
              <pc:sldMasterMk cId="0" sldId="2147484111"/>
              <pc:sldLayoutMk cId="1292331569" sldId="2147484221"/>
              <ac:spMk id="4" creationId="{A10FFEA0-4945-68EE-7C78-5C7898A032F9}"/>
            </ac:spMkLst>
          </pc:spChg>
          <pc:spChg chg="add del mod modVis">
            <ac:chgData name="Bianca Ardito" userId="3dbb30f507a110b6" providerId="LiveId" clId="{6B3B4EFF-CE60-494E-BECC-B61895DB44D3}" dt="2024-05-24T02:36:18.254" v="1717"/>
            <ac:spMkLst>
              <pc:docMk/>
              <pc:sldMasterMk cId="0" sldId="2147484111"/>
              <pc:sldLayoutMk cId="1292331569" sldId="2147484221"/>
              <ac:spMk id="5" creationId="{65100B92-990A-C1F9-30FD-AD2F9F546A17}"/>
            </ac:spMkLst>
          </pc:spChg>
          <pc:spChg chg="mod">
            <ac:chgData name="Bianca Ardito" userId="3dbb30f507a110b6" providerId="LiveId" clId="{6B3B4EFF-CE60-494E-BECC-B61895DB44D3}" dt="2024-05-24T02:36:18.222" v="1694" actId="948"/>
            <ac:spMkLst>
              <pc:docMk/>
              <pc:sldMasterMk cId="0" sldId="2147484111"/>
              <pc:sldLayoutMk cId="1292331569" sldId="2147484221"/>
              <ac:spMk id="20" creationId="{00000000-0000-0000-0000-000000000000}"/>
            </ac:spMkLst>
          </pc:spChg>
          <pc:graphicFrameChg chg="add mod ord modVis replST">
            <ac:chgData name="Bianca Ardito" userId="3dbb30f507a110b6" providerId="LiveId" clId="{6B3B4EFF-CE60-494E-BECC-B61895DB44D3}" dt="2024-05-24T02:36:18.269" v="1719"/>
            <ac:graphicFrameMkLst>
              <pc:docMk/>
              <pc:sldMasterMk cId="0" sldId="2147484111"/>
              <pc:sldLayoutMk cId="1292331569" sldId="2147484221"/>
              <ac:graphicFrameMk id="3" creationId="{15267C60-0F2F-0DF7-8E53-4B0460D03BC5}"/>
            </ac:graphicFrameMkLst>
          </pc:graphicFrameChg>
        </pc:sldLayoutChg>
        <pc:sldLayoutChg chg="addSp delSp modSp mod">
          <pc:chgData name="Bianca Ardito" userId="3dbb30f507a110b6" providerId="LiveId" clId="{6B3B4EFF-CE60-494E-BECC-B61895DB44D3}" dt="2024-05-24T02:48:38.139" v="2841" actId="207"/>
          <pc:sldLayoutMkLst>
            <pc:docMk/>
            <pc:sldMasterMk cId="0" sldId="2147484111"/>
            <pc:sldLayoutMk cId="375970869" sldId="2147484249"/>
          </pc:sldLayoutMkLst>
          <pc:spChg chg="add del mod modVis">
            <ac:chgData name="Bianca Ardito" userId="3dbb30f507a110b6" providerId="LiveId" clId="{6B3B4EFF-CE60-494E-BECC-B61895DB44D3}" dt="2024-05-24T02:36:50.596" v="1824"/>
            <ac:spMkLst>
              <pc:docMk/>
              <pc:sldMasterMk cId="0" sldId="2147484111"/>
              <pc:sldLayoutMk cId="375970869" sldId="2147484249"/>
              <ac:spMk id="2" creationId="{99EDC32B-9120-9DA5-9FB4-361E6F6302A8}"/>
            </ac:spMkLst>
          </pc:spChg>
          <pc:spChg chg="mod">
            <ac:chgData name="Bianca Ardito" userId="3dbb30f507a110b6" providerId="LiveId" clId="{6B3B4EFF-CE60-494E-BECC-B61895DB44D3}" dt="2024-05-24T02:47:05.095" v="2723" actId="12"/>
            <ac:spMkLst>
              <pc:docMk/>
              <pc:sldMasterMk cId="0" sldId="2147484111"/>
              <pc:sldLayoutMk cId="375970869" sldId="2147484249"/>
              <ac:spMk id="3" creationId="{FD8BA375-D772-E145-B997-1A560BA693FA}"/>
            </ac:spMkLst>
          </pc:spChg>
          <pc:spChg chg="mod">
            <ac:chgData name="Bianca Ardito" userId="3dbb30f507a110b6" providerId="LiveId" clId="{6B3B4EFF-CE60-494E-BECC-B61895DB44D3}" dt="2024-05-24T02:48:38.139" v="2841" actId="207"/>
            <ac:spMkLst>
              <pc:docMk/>
              <pc:sldMasterMk cId="0" sldId="2147484111"/>
              <pc:sldLayoutMk cId="375970869" sldId="2147484249"/>
              <ac:spMk id="5" creationId="{2BEC0AEB-6B23-621A-F517-F58DBED30891}"/>
            </ac:spMkLst>
          </pc:spChg>
          <pc:spChg chg="mod">
            <ac:chgData name="Bianca Ardito" userId="3dbb30f507a110b6" providerId="LiveId" clId="{6B3B4EFF-CE60-494E-BECC-B61895DB44D3}" dt="2024-05-24T02:47:05.095" v="2723" actId="12"/>
            <ac:spMkLst>
              <pc:docMk/>
              <pc:sldMasterMk cId="0" sldId="2147484111"/>
              <pc:sldLayoutMk cId="375970869" sldId="2147484249"/>
              <ac:spMk id="13" creationId="{00000000-0000-0000-0000-000000000000}"/>
            </ac:spMkLst>
          </pc:spChg>
          <pc:spChg chg="mod">
            <ac:chgData name="Bianca Ardito" userId="3dbb30f507a110b6" providerId="LiveId" clId="{6B3B4EFF-CE60-494E-BECC-B61895DB44D3}" dt="2024-05-24T02:47:05.095" v="2723" actId="12"/>
            <ac:spMkLst>
              <pc:docMk/>
              <pc:sldMasterMk cId="0" sldId="2147484111"/>
              <pc:sldLayoutMk cId="375970869" sldId="2147484249"/>
              <ac:spMk id="14" creationId="{A2E814B3-9FB8-4C48-BED5-63F3F76DB1ED}"/>
            </ac:spMkLst>
          </pc:spChg>
          <pc:spChg chg="mod">
            <ac:chgData name="Bianca Ardito" userId="3dbb30f507a110b6" providerId="LiveId" clId="{6B3B4EFF-CE60-494E-BECC-B61895DB44D3}" dt="2024-05-24T02:47:05.095" v="2723" actId="12"/>
            <ac:spMkLst>
              <pc:docMk/>
              <pc:sldMasterMk cId="0" sldId="2147484111"/>
              <pc:sldLayoutMk cId="375970869" sldId="2147484249"/>
              <ac:spMk id="18" creationId="{00000000-0000-0000-0000-000000000000}"/>
            </ac:spMkLst>
          </pc:spChg>
          <pc:spChg chg="mod">
            <ac:chgData name="Bianca Ardito" userId="3dbb30f507a110b6" providerId="LiveId" clId="{6B3B4EFF-CE60-494E-BECC-B61895DB44D3}" dt="2024-05-24T02:47:05.095" v="2723" actId="12"/>
            <ac:spMkLst>
              <pc:docMk/>
              <pc:sldMasterMk cId="0" sldId="2147484111"/>
              <pc:sldLayoutMk cId="375970869" sldId="2147484249"/>
              <ac:spMk id="19" creationId="{B360C1D2-F5AE-44CC-929E-37B535C60708}"/>
            </ac:spMkLst>
          </pc:spChg>
          <pc:spChg chg="mod">
            <ac:chgData name="Bianca Ardito" userId="3dbb30f507a110b6" providerId="LiveId" clId="{6B3B4EFF-CE60-494E-BECC-B61895DB44D3}" dt="2024-05-24T02:47:05.095" v="2723" actId="12"/>
            <ac:spMkLst>
              <pc:docMk/>
              <pc:sldMasterMk cId="0" sldId="2147484111"/>
              <pc:sldLayoutMk cId="375970869" sldId="2147484249"/>
              <ac:spMk id="20" creationId="{00000000-0000-0000-0000-000000000000}"/>
            </ac:spMkLst>
          </pc:spChg>
          <pc:spChg chg="mod">
            <ac:chgData name="Bianca Ardito" userId="3dbb30f507a110b6" providerId="LiveId" clId="{6B3B4EFF-CE60-494E-BECC-B61895DB44D3}" dt="2024-05-24T02:47:05.095" v="2723" actId="12"/>
            <ac:spMkLst>
              <pc:docMk/>
              <pc:sldMasterMk cId="0" sldId="2147484111"/>
              <pc:sldLayoutMk cId="375970869" sldId="2147484249"/>
              <ac:spMk id="21" creationId="{9F561B40-C730-495F-A8EF-2D89A0049193}"/>
            </ac:spMkLst>
          </pc:spChg>
          <pc:spChg chg="mod">
            <ac:chgData name="Bianca Ardito" userId="3dbb30f507a110b6" providerId="LiveId" clId="{6B3B4EFF-CE60-494E-BECC-B61895DB44D3}" dt="2024-05-24T02:47:05.095" v="2723" actId="12"/>
            <ac:spMkLst>
              <pc:docMk/>
              <pc:sldMasterMk cId="0" sldId="2147484111"/>
              <pc:sldLayoutMk cId="375970869" sldId="2147484249"/>
              <ac:spMk id="29" creationId="{00000000-0000-0000-0000-000000000000}"/>
            </ac:spMkLst>
          </pc:spChg>
          <pc:spChg chg="mod">
            <ac:chgData name="Bianca Ardito" userId="3dbb30f507a110b6" providerId="LiveId" clId="{6B3B4EFF-CE60-494E-BECC-B61895DB44D3}" dt="2024-05-24T02:47:05.095" v="2723" actId="12"/>
            <ac:spMkLst>
              <pc:docMk/>
              <pc:sldMasterMk cId="0" sldId="2147484111"/>
              <pc:sldLayoutMk cId="375970869" sldId="2147484249"/>
              <ac:spMk id="34" creationId="{BE01B07A-FD42-3248-94D1-51B05489F46F}"/>
            </ac:spMkLst>
          </pc:spChg>
          <pc:graphicFrameChg chg="add mod ord modVis replST">
            <ac:chgData name="Bianca Ardito" userId="3dbb30f507a110b6" providerId="LiveId" clId="{6B3B4EFF-CE60-494E-BECC-B61895DB44D3}" dt="2024-05-24T02:36:50.618" v="1839"/>
            <ac:graphicFrameMkLst>
              <pc:docMk/>
              <pc:sldMasterMk cId="0" sldId="2147484111"/>
              <pc:sldLayoutMk cId="375970869" sldId="2147484249"/>
              <ac:graphicFrameMk id="4" creationId="{2941B9F2-DAE4-58A0-DD9F-3084D2B824A7}"/>
            </ac:graphicFrameMkLst>
          </pc:graphicFrameChg>
        </pc:sldLayoutChg>
        <pc:sldLayoutChg chg="addSp delSp modSp mod">
          <pc:chgData name="Bianca Ardito" userId="3dbb30f507a110b6" providerId="LiveId" clId="{6B3B4EFF-CE60-494E-BECC-B61895DB44D3}" dt="2024-05-24T02:48:12.486" v="2826" actId="207"/>
          <pc:sldLayoutMkLst>
            <pc:docMk/>
            <pc:sldMasterMk cId="0" sldId="2147484111"/>
            <pc:sldLayoutMk cId="1319706073" sldId="2147484250"/>
          </pc:sldLayoutMkLst>
          <pc:spChg chg="add del mod modVis">
            <ac:chgData name="Bianca Ardito" userId="3dbb30f507a110b6" providerId="LiveId" clId="{6B3B4EFF-CE60-494E-BECC-B61895DB44D3}" dt="2024-05-24T02:38:01.647" v="2424"/>
            <ac:spMkLst>
              <pc:docMk/>
              <pc:sldMasterMk cId="0" sldId="2147484111"/>
              <pc:sldLayoutMk cId="1319706073" sldId="2147484250"/>
              <ac:spMk id="2" creationId="{6954291B-6D64-9007-7D58-200D407C21B9}"/>
            </ac:spMkLst>
          </pc:spChg>
          <pc:spChg chg="mod">
            <ac:chgData name="Bianca Ardito" userId="3dbb30f507a110b6" providerId="LiveId" clId="{6B3B4EFF-CE60-494E-BECC-B61895DB44D3}" dt="2024-05-24T02:48:12.486" v="2826" actId="207"/>
            <ac:spMkLst>
              <pc:docMk/>
              <pc:sldMasterMk cId="0" sldId="2147484111"/>
              <pc:sldLayoutMk cId="1319706073" sldId="2147484250"/>
              <ac:spMk id="4" creationId="{4082D733-7914-583B-8D14-C3419DBA0D0C}"/>
            </ac:spMkLst>
          </pc:spChg>
          <pc:spChg chg="add mod">
            <ac:chgData name="Bianca Ardito" userId="3dbb30f507a110b6" providerId="LiveId" clId="{6B3B4EFF-CE60-494E-BECC-B61895DB44D3}" dt="2024-05-24T02:47:34.901" v="2738" actId="12"/>
            <ac:spMkLst>
              <pc:docMk/>
              <pc:sldMasterMk cId="0" sldId="2147484111"/>
              <pc:sldLayoutMk cId="1319706073" sldId="2147484250"/>
              <ac:spMk id="5" creationId="{84D58899-B691-CF1A-1275-1E424435AD3B}"/>
            </ac:spMkLst>
          </pc:spChg>
          <pc:spChg chg="mod">
            <ac:chgData name="Bianca Ardito" userId="3dbb30f507a110b6" providerId="LiveId" clId="{6B3B4EFF-CE60-494E-BECC-B61895DB44D3}" dt="2024-05-24T02:47:34.901" v="2738" actId="12"/>
            <ac:spMkLst>
              <pc:docMk/>
              <pc:sldMasterMk cId="0" sldId="2147484111"/>
              <pc:sldLayoutMk cId="1319706073" sldId="2147484250"/>
              <ac:spMk id="6" creationId="{2BAED5F8-5514-44E2-A5E3-60EBFA99357A}"/>
            </ac:spMkLst>
          </pc:spChg>
          <pc:spChg chg="add mod">
            <ac:chgData name="Bianca Ardito" userId="3dbb30f507a110b6" providerId="LiveId" clId="{6B3B4EFF-CE60-494E-BECC-B61895DB44D3}" dt="2024-05-24T02:47:34.901" v="2738" actId="12"/>
            <ac:spMkLst>
              <pc:docMk/>
              <pc:sldMasterMk cId="0" sldId="2147484111"/>
              <pc:sldLayoutMk cId="1319706073" sldId="2147484250"/>
              <ac:spMk id="8" creationId="{E8074E6E-1645-54F3-D93F-40E7B0634348}"/>
            </ac:spMkLst>
          </pc:spChg>
          <pc:spChg chg="mod">
            <ac:chgData name="Bianca Ardito" userId="3dbb30f507a110b6" providerId="LiveId" clId="{6B3B4EFF-CE60-494E-BECC-B61895DB44D3}" dt="2024-05-24T02:47:34.901" v="2738" actId="12"/>
            <ac:spMkLst>
              <pc:docMk/>
              <pc:sldMasterMk cId="0" sldId="2147484111"/>
              <pc:sldLayoutMk cId="1319706073" sldId="2147484250"/>
              <ac:spMk id="13" creationId="{75EBB523-8995-3D4F-A480-0395B056AA69}"/>
            </ac:spMkLst>
          </pc:spChg>
          <pc:spChg chg="mod">
            <ac:chgData name="Bianca Ardito" userId="3dbb30f507a110b6" providerId="LiveId" clId="{6B3B4EFF-CE60-494E-BECC-B61895DB44D3}" dt="2024-05-24T02:47:34.901" v="2738" actId="12"/>
            <ac:spMkLst>
              <pc:docMk/>
              <pc:sldMasterMk cId="0" sldId="2147484111"/>
              <pc:sldLayoutMk cId="1319706073" sldId="2147484250"/>
              <ac:spMk id="17" creationId="{B072BD7F-C568-B34A-832D-1C44320BBA5D}"/>
            </ac:spMkLst>
          </pc:spChg>
          <pc:spChg chg="mod">
            <ac:chgData name="Bianca Ardito" userId="3dbb30f507a110b6" providerId="LiveId" clId="{6B3B4EFF-CE60-494E-BECC-B61895DB44D3}" dt="2024-05-24T02:47:34.901" v="2738" actId="12"/>
            <ac:spMkLst>
              <pc:docMk/>
              <pc:sldMasterMk cId="0" sldId="2147484111"/>
              <pc:sldLayoutMk cId="1319706073" sldId="2147484250"/>
              <ac:spMk id="20" creationId="{00000000-0000-0000-0000-000000000000}"/>
            </ac:spMkLst>
          </pc:spChg>
          <pc:spChg chg="mod">
            <ac:chgData name="Bianca Ardito" userId="3dbb30f507a110b6" providerId="LiveId" clId="{6B3B4EFF-CE60-494E-BECC-B61895DB44D3}" dt="2024-05-24T02:47:34.901" v="2738" actId="12"/>
            <ac:spMkLst>
              <pc:docMk/>
              <pc:sldMasterMk cId="0" sldId="2147484111"/>
              <pc:sldLayoutMk cId="1319706073" sldId="2147484250"/>
              <ac:spMk id="29" creationId="{00000000-0000-0000-0000-000000000000}"/>
            </ac:spMkLst>
          </pc:spChg>
          <pc:spChg chg="mod">
            <ac:chgData name="Bianca Ardito" userId="3dbb30f507a110b6" providerId="LiveId" clId="{6B3B4EFF-CE60-494E-BECC-B61895DB44D3}" dt="2024-05-24T02:47:34.901" v="2738" actId="12"/>
            <ac:spMkLst>
              <pc:docMk/>
              <pc:sldMasterMk cId="0" sldId="2147484111"/>
              <pc:sldLayoutMk cId="1319706073" sldId="2147484250"/>
              <ac:spMk id="30" creationId="{DB69A315-DFC1-8243-9F88-AB659AE3E5FD}"/>
            </ac:spMkLst>
          </pc:spChg>
          <pc:graphicFrameChg chg="add mod ord modVis replST">
            <ac:chgData name="Bianca Ardito" userId="3dbb30f507a110b6" providerId="LiveId" clId="{6B3B4EFF-CE60-494E-BECC-B61895DB44D3}" dt="2024-05-24T02:38:01.679" v="2439"/>
            <ac:graphicFrameMkLst>
              <pc:docMk/>
              <pc:sldMasterMk cId="0" sldId="2147484111"/>
              <pc:sldLayoutMk cId="1319706073" sldId="2147484250"/>
              <ac:graphicFrameMk id="3" creationId="{B6DD873A-B218-5AA5-3694-11F34442311C}"/>
            </ac:graphicFrameMkLst>
          </pc:graphicFrameChg>
          <pc:cxnChg chg="add mod">
            <ac:chgData name="Bianca Ardito" userId="3dbb30f507a110b6" providerId="LiveId" clId="{6B3B4EFF-CE60-494E-BECC-B61895DB44D3}" dt="2024-05-24T02:47:34.901" v="2738" actId="12"/>
            <ac:cxnSpMkLst>
              <pc:docMk/>
              <pc:sldMasterMk cId="0" sldId="2147484111"/>
              <pc:sldLayoutMk cId="1319706073" sldId="2147484250"/>
              <ac:cxnSpMk id="7" creationId="{1C5FF3A6-F33A-3CE2-6E81-B5E7BDCA8968}"/>
            </ac:cxnSpMkLst>
          </pc:cxnChg>
          <pc:cxnChg chg="del mod">
            <ac:chgData name="Bianca Ardito" userId="3dbb30f507a110b6" providerId="LiveId" clId="{6B3B4EFF-CE60-494E-BECC-B61895DB44D3}" dt="2024-05-24T02:44:30.782" v="2690" actId="478"/>
            <ac:cxnSpMkLst>
              <pc:docMk/>
              <pc:sldMasterMk cId="0" sldId="2147484111"/>
              <pc:sldLayoutMk cId="1319706073" sldId="2147484250"/>
              <ac:cxnSpMk id="22" creationId="{BE2742AA-8037-774A-AA6B-12E433B614B4}"/>
            </ac:cxnSpMkLst>
          </pc:cxnChg>
        </pc:sldLayoutChg>
        <pc:sldLayoutChg chg="addSp delSp modSp mod">
          <pc:chgData name="Bianca Ardito" userId="3dbb30f507a110b6" providerId="LiveId" clId="{6B3B4EFF-CE60-494E-BECC-B61895DB44D3}" dt="2024-05-24T02:48:10.072" v="2825" actId="207"/>
          <pc:sldLayoutMkLst>
            <pc:docMk/>
            <pc:sldMasterMk cId="0" sldId="2147484111"/>
            <pc:sldLayoutMk cId="1311286659" sldId="2147484251"/>
          </pc:sldLayoutMkLst>
          <pc:spChg chg="add del mod modVis">
            <ac:chgData name="Bianca Ardito" userId="3dbb30f507a110b6" providerId="LiveId" clId="{6B3B4EFF-CE60-494E-BECC-B61895DB44D3}" dt="2024-05-24T02:38:05.865" v="2464"/>
            <ac:spMkLst>
              <pc:docMk/>
              <pc:sldMasterMk cId="0" sldId="2147484111"/>
              <pc:sldLayoutMk cId="1311286659" sldId="2147484251"/>
              <ac:spMk id="2" creationId="{DEF79FEC-57E9-78D0-7185-F9025EF5E226}"/>
            </ac:spMkLst>
          </pc:spChg>
          <pc:spChg chg="mod">
            <ac:chgData name="Bianca Ardito" userId="3dbb30f507a110b6" providerId="LiveId" clId="{6B3B4EFF-CE60-494E-BECC-B61895DB44D3}" dt="2024-05-24T02:48:10.072" v="2825" actId="207"/>
            <ac:spMkLst>
              <pc:docMk/>
              <pc:sldMasterMk cId="0" sldId="2147484111"/>
              <pc:sldLayoutMk cId="1311286659" sldId="2147484251"/>
              <ac:spMk id="4" creationId="{3FE72DD3-AF0D-4131-88D2-D008CDE886F4}"/>
            </ac:spMkLst>
          </pc:spChg>
          <pc:spChg chg="add mod">
            <ac:chgData name="Bianca Ardito" userId="3dbb30f507a110b6" providerId="LiveId" clId="{6B3B4EFF-CE60-494E-BECC-B61895DB44D3}" dt="2024-05-24T02:47:36.641" v="2739" actId="12"/>
            <ac:spMkLst>
              <pc:docMk/>
              <pc:sldMasterMk cId="0" sldId="2147484111"/>
              <pc:sldLayoutMk cId="1311286659" sldId="2147484251"/>
              <ac:spMk id="5" creationId="{9696ED97-3E96-E0FD-50E6-461169E9375E}"/>
            </ac:spMkLst>
          </pc:spChg>
          <pc:spChg chg="mod">
            <ac:chgData name="Bianca Ardito" userId="3dbb30f507a110b6" providerId="LiveId" clId="{6B3B4EFF-CE60-494E-BECC-B61895DB44D3}" dt="2024-05-24T02:47:36.641" v="2739" actId="12"/>
            <ac:spMkLst>
              <pc:docMk/>
              <pc:sldMasterMk cId="0" sldId="2147484111"/>
              <pc:sldLayoutMk cId="1311286659" sldId="2147484251"/>
              <ac:spMk id="6" creationId="{2BAED5F8-5514-44E2-A5E3-60EBFA99357A}"/>
            </ac:spMkLst>
          </pc:spChg>
          <pc:spChg chg="mod">
            <ac:chgData name="Bianca Ardito" userId="3dbb30f507a110b6" providerId="LiveId" clId="{6B3B4EFF-CE60-494E-BECC-B61895DB44D3}" dt="2024-05-24T02:47:36.641" v="2739" actId="12"/>
            <ac:spMkLst>
              <pc:docMk/>
              <pc:sldMasterMk cId="0" sldId="2147484111"/>
              <pc:sldLayoutMk cId="1311286659" sldId="2147484251"/>
              <ac:spMk id="13" creationId="{75EBB523-8995-3D4F-A480-0395B056AA69}"/>
            </ac:spMkLst>
          </pc:spChg>
          <pc:spChg chg="mod">
            <ac:chgData name="Bianca Ardito" userId="3dbb30f507a110b6" providerId="LiveId" clId="{6B3B4EFF-CE60-494E-BECC-B61895DB44D3}" dt="2024-05-24T02:47:36.641" v="2739" actId="12"/>
            <ac:spMkLst>
              <pc:docMk/>
              <pc:sldMasterMk cId="0" sldId="2147484111"/>
              <pc:sldLayoutMk cId="1311286659" sldId="2147484251"/>
              <ac:spMk id="16" creationId="{79764C6F-2FBA-AD44-BBE3-01AC0C7ECB15}"/>
            </ac:spMkLst>
          </pc:spChg>
          <pc:spChg chg="mod">
            <ac:chgData name="Bianca Ardito" userId="3dbb30f507a110b6" providerId="LiveId" clId="{6B3B4EFF-CE60-494E-BECC-B61895DB44D3}" dt="2024-05-24T02:47:36.641" v="2739" actId="12"/>
            <ac:spMkLst>
              <pc:docMk/>
              <pc:sldMasterMk cId="0" sldId="2147484111"/>
              <pc:sldLayoutMk cId="1311286659" sldId="2147484251"/>
              <ac:spMk id="17" creationId="{B072BD7F-C568-B34A-832D-1C44320BBA5D}"/>
            </ac:spMkLst>
          </pc:spChg>
          <pc:spChg chg="mod">
            <ac:chgData name="Bianca Ardito" userId="3dbb30f507a110b6" providerId="LiveId" clId="{6B3B4EFF-CE60-494E-BECC-B61895DB44D3}" dt="2024-05-24T02:47:36.641" v="2739" actId="12"/>
            <ac:spMkLst>
              <pc:docMk/>
              <pc:sldMasterMk cId="0" sldId="2147484111"/>
              <pc:sldLayoutMk cId="1311286659" sldId="2147484251"/>
              <ac:spMk id="18" creationId="{7FA82365-1B08-214F-8BF5-6ED165B6755F}"/>
            </ac:spMkLst>
          </pc:spChg>
          <pc:spChg chg="mod">
            <ac:chgData name="Bianca Ardito" userId="3dbb30f507a110b6" providerId="LiveId" clId="{6B3B4EFF-CE60-494E-BECC-B61895DB44D3}" dt="2024-05-24T02:47:36.641" v="2739" actId="12"/>
            <ac:spMkLst>
              <pc:docMk/>
              <pc:sldMasterMk cId="0" sldId="2147484111"/>
              <pc:sldLayoutMk cId="1311286659" sldId="2147484251"/>
              <ac:spMk id="20" creationId="{00000000-0000-0000-0000-000000000000}"/>
            </ac:spMkLst>
          </pc:spChg>
          <pc:spChg chg="mod">
            <ac:chgData name="Bianca Ardito" userId="3dbb30f507a110b6" providerId="LiveId" clId="{6B3B4EFF-CE60-494E-BECC-B61895DB44D3}" dt="2024-05-24T02:47:36.641" v="2739" actId="12"/>
            <ac:spMkLst>
              <pc:docMk/>
              <pc:sldMasterMk cId="0" sldId="2147484111"/>
              <pc:sldLayoutMk cId="1311286659" sldId="2147484251"/>
              <ac:spMk id="21" creationId="{11E846AE-C0A3-8D4E-9026-1B9FC8948510}"/>
            </ac:spMkLst>
          </pc:spChg>
          <pc:spChg chg="mod">
            <ac:chgData name="Bianca Ardito" userId="3dbb30f507a110b6" providerId="LiveId" clId="{6B3B4EFF-CE60-494E-BECC-B61895DB44D3}" dt="2024-05-24T02:47:36.641" v="2739" actId="12"/>
            <ac:spMkLst>
              <pc:docMk/>
              <pc:sldMasterMk cId="0" sldId="2147484111"/>
              <pc:sldLayoutMk cId="1311286659" sldId="2147484251"/>
              <ac:spMk id="26" creationId="{98C9784F-3F0A-D04C-A0F8-DFE74C106F31}"/>
            </ac:spMkLst>
          </pc:spChg>
          <pc:spChg chg="mod">
            <ac:chgData name="Bianca Ardito" userId="3dbb30f507a110b6" providerId="LiveId" clId="{6B3B4EFF-CE60-494E-BECC-B61895DB44D3}" dt="2024-05-24T02:47:36.641" v="2739" actId="12"/>
            <ac:spMkLst>
              <pc:docMk/>
              <pc:sldMasterMk cId="0" sldId="2147484111"/>
              <pc:sldLayoutMk cId="1311286659" sldId="2147484251"/>
              <ac:spMk id="29" creationId="{00000000-0000-0000-0000-000000000000}"/>
            </ac:spMkLst>
          </pc:spChg>
          <pc:spChg chg="mod">
            <ac:chgData name="Bianca Ardito" userId="3dbb30f507a110b6" providerId="LiveId" clId="{6B3B4EFF-CE60-494E-BECC-B61895DB44D3}" dt="2024-05-24T02:47:36.641" v="2739" actId="12"/>
            <ac:spMkLst>
              <pc:docMk/>
              <pc:sldMasterMk cId="0" sldId="2147484111"/>
              <pc:sldLayoutMk cId="1311286659" sldId="2147484251"/>
              <ac:spMk id="30" creationId="{DB69A315-DFC1-8243-9F88-AB659AE3E5FD}"/>
            </ac:spMkLst>
          </pc:spChg>
          <pc:spChg chg="mod">
            <ac:chgData name="Bianca Ardito" userId="3dbb30f507a110b6" providerId="LiveId" clId="{6B3B4EFF-CE60-494E-BECC-B61895DB44D3}" dt="2024-05-24T02:47:36.641" v="2739" actId="12"/>
            <ac:spMkLst>
              <pc:docMk/>
              <pc:sldMasterMk cId="0" sldId="2147484111"/>
              <pc:sldLayoutMk cId="1311286659" sldId="2147484251"/>
              <ac:spMk id="31" creationId="{991A1211-17C7-4B4F-9015-2D77F88FAEB4}"/>
            </ac:spMkLst>
          </pc:spChg>
          <pc:spChg chg="mod">
            <ac:chgData name="Bianca Ardito" userId="3dbb30f507a110b6" providerId="LiveId" clId="{6B3B4EFF-CE60-494E-BECC-B61895DB44D3}" dt="2024-05-24T02:47:36.641" v="2739" actId="12"/>
            <ac:spMkLst>
              <pc:docMk/>
              <pc:sldMasterMk cId="0" sldId="2147484111"/>
              <pc:sldLayoutMk cId="1311286659" sldId="2147484251"/>
              <ac:spMk id="32" creationId="{02900851-7CB1-C046-97BC-22846EAAAB96}"/>
            </ac:spMkLst>
          </pc:spChg>
          <pc:graphicFrameChg chg="add mod ord modVis replST">
            <ac:chgData name="Bianca Ardito" userId="3dbb30f507a110b6" providerId="LiveId" clId="{6B3B4EFF-CE60-494E-BECC-B61895DB44D3}" dt="2024-05-24T02:38:05.896" v="2479"/>
            <ac:graphicFrameMkLst>
              <pc:docMk/>
              <pc:sldMasterMk cId="0" sldId="2147484111"/>
              <pc:sldLayoutMk cId="1311286659" sldId="2147484251"/>
              <ac:graphicFrameMk id="3" creationId="{C262BD13-5E20-5629-5727-524FC5E41CD5}"/>
            </ac:graphicFrameMkLst>
          </pc:graphicFrameChg>
          <pc:cxnChg chg="mod">
            <ac:chgData name="Bianca Ardito" userId="3dbb30f507a110b6" providerId="LiveId" clId="{6B3B4EFF-CE60-494E-BECC-B61895DB44D3}" dt="2024-05-24T02:47:36.641" v="2739" actId="12"/>
            <ac:cxnSpMkLst>
              <pc:docMk/>
              <pc:sldMasterMk cId="0" sldId="2147484111"/>
              <pc:sldLayoutMk cId="1311286659" sldId="2147484251"/>
              <ac:cxnSpMk id="19" creationId="{6EF8686A-E3DD-164C-A6A8-901DA20A1698}"/>
            </ac:cxnSpMkLst>
          </pc:cxnChg>
          <pc:cxnChg chg="mod">
            <ac:chgData name="Bianca Ardito" userId="3dbb30f507a110b6" providerId="LiveId" clId="{6B3B4EFF-CE60-494E-BECC-B61895DB44D3}" dt="2024-05-24T02:47:36.641" v="2739" actId="12"/>
            <ac:cxnSpMkLst>
              <pc:docMk/>
              <pc:sldMasterMk cId="0" sldId="2147484111"/>
              <pc:sldLayoutMk cId="1311286659" sldId="2147484251"/>
              <ac:cxnSpMk id="22" creationId="{BE2742AA-8037-774A-AA6B-12E433B614B4}"/>
            </ac:cxnSpMkLst>
          </pc:cxnChg>
        </pc:sldLayoutChg>
        <pc:sldLayoutChg chg="addSp delSp modSp mod">
          <pc:chgData name="Bianca Ardito" userId="3dbb30f507a110b6" providerId="LiveId" clId="{6B3B4EFF-CE60-494E-BECC-B61895DB44D3}" dt="2024-05-24T02:48:08.615" v="2824" actId="207"/>
          <pc:sldLayoutMkLst>
            <pc:docMk/>
            <pc:sldMasterMk cId="0" sldId="2147484111"/>
            <pc:sldLayoutMk cId="3131196613" sldId="2147484252"/>
          </pc:sldLayoutMkLst>
          <pc:spChg chg="add del mod modVis">
            <ac:chgData name="Bianca Ardito" userId="3dbb30f507a110b6" providerId="LiveId" clId="{6B3B4EFF-CE60-494E-BECC-B61895DB44D3}" dt="2024-05-24T02:38:09.944" v="2504"/>
            <ac:spMkLst>
              <pc:docMk/>
              <pc:sldMasterMk cId="0" sldId="2147484111"/>
              <pc:sldLayoutMk cId="3131196613" sldId="2147484252"/>
              <ac:spMk id="2" creationId="{F0EAF471-881C-246A-0556-708E2743D342}"/>
            </ac:spMkLst>
          </pc:spChg>
          <pc:spChg chg="mod">
            <ac:chgData name="Bianca Ardito" userId="3dbb30f507a110b6" providerId="LiveId" clId="{6B3B4EFF-CE60-494E-BECC-B61895DB44D3}" dt="2024-05-24T02:48:08.615" v="2824" actId="207"/>
            <ac:spMkLst>
              <pc:docMk/>
              <pc:sldMasterMk cId="0" sldId="2147484111"/>
              <pc:sldLayoutMk cId="3131196613" sldId="2147484252"/>
              <ac:spMk id="4" creationId="{887CFB3C-F6D4-4B2C-C86F-73C488955794}"/>
            </ac:spMkLst>
          </pc:spChg>
          <pc:spChg chg="mod">
            <ac:chgData name="Bianca Ardito" userId="3dbb30f507a110b6" providerId="LiveId" clId="{6B3B4EFF-CE60-494E-BECC-B61895DB44D3}" dt="2024-05-24T02:47:38.415" v="2740" actId="12"/>
            <ac:spMkLst>
              <pc:docMk/>
              <pc:sldMasterMk cId="0" sldId="2147484111"/>
              <pc:sldLayoutMk cId="3131196613" sldId="2147484252"/>
              <ac:spMk id="13" creationId="{75EBB523-8995-3D4F-A480-0395B056AA69}"/>
            </ac:spMkLst>
          </pc:spChg>
          <pc:spChg chg="mod">
            <ac:chgData name="Bianca Ardito" userId="3dbb30f507a110b6" providerId="LiveId" clId="{6B3B4EFF-CE60-494E-BECC-B61895DB44D3}" dt="2024-05-24T02:47:38.415" v="2740" actId="12"/>
            <ac:spMkLst>
              <pc:docMk/>
              <pc:sldMasterMk cId="0" sldId="2147484111"/>
              <pc:sldLayoutMk cId="3131196613" sldId="2147484252"/>
              <ac:spMk id="17" creationId="{B072BD7F-C568-B34A-832D-1C44320BBA5D}"/>
            </ac:spMkLst>
          </pc:spChg>
          <pc:spChg chg="mod">
            <ac:chgData name="Bianca Ardito" userId="3dbb30f507a110b6" providerId="LiveId" clId="{6B3B4EFF-CE60-494E-BECC-B61895DB44D3}" dt="2024-05-24T02:47:38.415" v="2740" actId="12"/>
            <ac:spMkLst>
              <pc:docMk/>
              <pc:sldMasterMk cId="0" sldId="2147484111"/>
              <pc:sldLayoutMk cId="3131196613" sldId="2147484252"/>
              <ac:spMk id="20" creationId="{00000000-0000-0000-0000-000000000000}"/>
            </ac:spMkLst>
          </pc:spChg>
          <pc:spChg chg="mod">
            <ac:chgData name="Bianca Ardito" userId="3dbb30f507a110b6" providerId="LiveId" clId="{6B3B4EFF-CE60-494E-BECC-B61895DB44D3}" dt="2024-05-24T02:47:38.415" v="2740" actId="12"/>
            <ac:spMkLst>
              <pc:docMk/>
              <pc:sldMasterMk cId="0" sldId="2147484111"/>
              <pc:sldLayoutMk cId="3131196613" sldId="2147484252"/>
              <ac:spMk id="21" creationId="{11E846AE-C0A3-8D4E-9026-1B9FC8948510}"/>
            </ac:spMkLst>
          </pc:spChg>
          <pc:spChg chg="mod">
            <ac:chgData name="Bianca Ardito" userId="3dbb30f507a110b6" providerId="LiveId" clId="{6B3B4EFF-CE60-494E-BECC-B61895DB44D3}" dt="2024-05-24T02:47:38.415" v="2740" actId="12"/>
            <ac:spMkLst>
              <pc:docMk/>
              <pc:sldMasterMk cId="0" sldId="2147484111"/>
              <pc:sldLayoutMk cId="3131196613" sldId="2147484252"/>
              <ac:spMk id="30" creationId="{DB69A315-DFC1-8243-9F88-AB659AE3E5FD}"/>
            </ac:spMkLst>
          </pc:spChg>
          <pc:spChg chg="mod">
            <ac:chgData name="Bianca Ardito" userId="3dbb30f507a110b6" providerId="LiveId" clId="{6B3B4EFF-CE60-494E-BECC-B61895DB44D3}" dt="2024-05-24T02:47:38.415" v="2740" actId="12"/>
            <ac:spMkLst>
              <pc:docMk/>
              <pc:sldMasterMk cId="0" sldId="2147484111"/>
              <pc:sldLayoutMk cId="3131196613" sldId="2147484252"/>
              <ac:spMk id="32" creationId="{02900851-7CB1-C046-97BC-22846EAAAB96}"/>
            </ac:spMkLst>
          </pc:spChg>
          <pc:spChg chg="mod">
            <ac:chgData name="Bianca Ardito" userId="3dbb30f507a110b6" providerId="LiveId" clId="{6B3B4EFF-CE60-494E-BECC-B61895DB44D3}" dt="2024-05-24T02:47:38.415" v="2740" actId="12"/>
            <ac:spMkLst>
              <pc:docMk/>
              <pc:sldMasterMk cId="0" sldId="2147484111"/>
              <pc:sldLayoutMk cId="3131196613" sldId="2147484252"/>
              <ac:spMk id="40" creationId="{EBC828F6-3FCD-A648-81C0-C211ABDC500C}"/>
            </ac:spMkLst>
          </pc:spChg>
          <pc:spChg chg="mod">
            <ac:chgData name="Bianca Ardito" userId="3dbb30f507a110b6" providerId="LiveId" clId="{6B3B4EFF-CE60-494E-BECC-B61895DB44D3}" dt="2024-05-24T02:47:38.415" v="2740" actId="12"/>
            <ac:spMkLst>
              <pc:docMk/>
              <pc:sldMasterMk cId="0" sldId="2147484111"/>
              <pc:sldLayoutMk cId="3131196613" sldId="2147484252"/>
              <ac:spMk id="41" creationId="{8DA01423-AAF2-B148-ADB0-90D4BEB19D01}"/>
            </ac:spMkLst>
          </pc:spChg>
          <pc:spChg chg="mod">
            <ac:chgData name="Bianca Ardito" userId="3dbb30f507a110b6" providerId="LiveId" clId="{6B3B4EFF-CE60-494E-BECC-B61895DB44D3}" dt="2024-05-24T02:47:38.415" v="2740" actId="12"/>
            <ac:spMkLst>
              <pc:docMk/>
              <pc:sldMasterMk cId="0" sldId="2147484111"/>
              <pc:sldLayoutMk cId="3131196613" sldId="2147484252"/>
              <ac:spMk id="42" creationId="{E9EA2920-DA29-5044-8844-7A36F139CAE9}"/>
            </ac:spMkLst>
          </pc:spChg>
          <pc:spChg chg="mod">
            <ac:chgData name="Bianca Ardito" userId="3dbb30f507a110b6" providerId="LiveId" clId="{6B3B4EFF-CE60-494E-BECC-B61895DB44D3}" dt="2024-05-24T02:47:38.415" v="2740" actId="12"/>
            <ac:spMkLst>
              <pc:docMk/>
              <pc:sldMasterMk cId="0" sldId="2147484111"/>
              <pc:sldLayoutMk cId="3131196613" sldId="2147484252"/>
              <ac:spMk id="43" creationId="{47814F4B-AB37-6C46-9DD8-4B631B066DDE}"/>
            </ac:spMkLst>
          </pc:spChg>
          <pc:spChg chg="mod">
            <ac:chgData name="Bianca Ardito" userId="3dbb30f507a110b6" providerId="LiveId" clId="{6B3B4EFF-CE60-494E-BECC-B61895DB44D3}" dt="2024-05-24T02:47:38.415" v="2740" actId="12"/>
            <ac:spMkLst>
              <pc:docMk/>
              <pc:sldMasterMk cId="0" sldId="2147484111"/>
              <pc:sldLayoutMk cId="3131196613" sldId="2147484252"/>
              <ac:spMk id="45" creationId="{AA6885C7-EBED-7D4B-AB05-7B00FB9BBEA7}"/>
            </ac:spMkLst>
          </pc:spChg>
          <pc:spChg chg="mod">
            <ac:chgData name="Bianca Ardito" userId="3dbb30f507a110b6" providerId="LiveId" clId="{6B3B4EFF-CE60-494E-BECC-B61895DB44D3}" dt="2024-05-24T02:47:38.415" v="2740" actId="12"/>
            <ac:spMkLst>
              <pc:docMk/>
              <pc:sldMasterMk cId="0" sldId="2147484111"/>
              <pc:sldLayoutMk cId="3131196613" sldId="2147484252"/>
              <ac:spMk id="46" creationId="{029E2491-A93B-114E-83BE-48B1A3E0410E}"/>
            </ac:spMkLst>
          </pc:spChg>
          <pc:spChg chg="mod">
            <ac:chgData name="Bianca Ardito" userId="3dbb30f507a110b6" providerId="LiveId" clId="{6B3B4EFF-CE60-494E-BECC-B61895DB44D3}" dt="2024-05-24T02:47:38.415" v="2740" actId="12"/>
            <ac:spMkLst>
              <pc:docMk/>
              <pc:sldMasterMk cId="0" sldId="2147484111"/>
              <pc:sldLayoutMk cId="3131196613" sldId="2147484252"/>
              <ac:spMk id="47" creationId="{332F0ECA-A609-6045-B2F7-7B31621EF1A5}"/>
            </ac:spMkLst>
          </pc:spChg>
          <pc:spChg chg="mod">
            <ac:chgData name="Bianca Ardito" userId="3dbb30f507a110b6" providerId="LiveId" clId="{6B3B4EFF-CE60-494E-BECC-B61895DB44D3}" dt="2024-05-24T02:47:38.415" v="2740" actId="12"/>
            <ac:spMkLst>
              <pc:docMk/>
              <pc:sldMasterMk cId="0" sldId="2147484111"/>
              <pc:sldLayoutMk cId="3131196613" sldId="2147484252"/>
              <ac:spMk id="48" creationId="{666339A8-0621-7E49-B0ED-F5DBD10D64F5}"/>
            </ac:spMkLst>
          </pc:spChg>
          <pc:spChg chg="mod">
            <ac:chgData name="Bianca Ardito" userId="3dbb30f507a110b6" providerId="LiveId" clId="{6B3B4EFF-CE60-494E-BECC-B61895DB44D3}" dt="2024-05-24T02:47:38.415" v="2740" actId="12"/>
            <ac:spMkLst>
              <pc:docMk/>
              <pc:sldMasterMk cId="0" sldId="2147484111"/>
              <pc:sldLayoutMk cId="3131196613" sldId="2147484252"/>
              <ac:spMk id="49" creationId="{1D547C5A-48B9-434B-9AF9-3E12AE78471D}"/>
            </ac:spMkLst>
          </pc:spChg>
          <pc:spChg chg="mod">
            <ac:chgData name="Bianca Ardito" userId="3dbb30f507a110b6" providerId="LiveId" clId="{6B3B4EFF-CE60-494E-BECC-B61895DB44D3}" dt="2024-05-24T02:47:38.415" v="2740" actId="12"/>
            <ac:spMkLst>
              <pc:docMk/>
              <pc:sldMasterMk cId="0" sldId="2147484111"/>
              <pc:sldLayoutMk cId="3131196613" sldId="2147484252"/>
              <ac:spMk id="51" creationId="{B67D75CD-3C76-A54C-8299-029CF0483C4F}"/>
            </ac:spMkLst>
          </pc:spChg>
          <pc:spChg chg="mod">
            <ac:chgData name="Bianca Ardito" userId="3dbb30f507a110b6" providerId="LiveId" clId="{6B3B4EFF-CE60-494E-BECC-B61895DB44D3}" dt="2024-05-24T02:47:38.415" v="2740" actId="12"/>
            <ac:spMkLst>
              <pc:docMk/>
              <pc:sldMasterMk cId="0" sldId="2147484111"/>
              <pc:sldLayoutMk cId="3131196613" sldId="2147484252"/>
              <ac:spMk id="52" creationId="{54DDD6B1-5B25-0244-B571-0E32B784CA45}"/>
            </ac:spMkLst>
          </pc:spChg>
          <pc:graphicFrameChg chg="add mod ord modVis replST">
            <ac:chgData name="Bianca Ardito" userId="3dbb30f507a110b6" providerId="LiveId" clId="{6B3B4EFF-CE60-494E-BECC-B61895DB44D3}" dt="2024-05-24T02:38:09.975" v="2519"/>
            <ac:graphicFrameMkLst>
              <pc:docMk/>
              <pc:sldMasterMk cId="0" sldId="2147484111"/>
              <pc:sldLayoutMk cId="3131196613" sldId="2147484252"/>
              <ac:graphicFrameMk id="3" creationId="{B06F67FB-1FAA-8BB9-FA40-E53103336422}"/>
            </ac:graphicFrameMkLst>
          </pc:graphicFrameChg>
          <pc:cxnChg chg="mod">
            <ac:chgData name="Bianca Ardito" userId="3dbb30f507a110b6" providerId="LiveId" clId="{6B3B4EFF-CE60-494E-BECC-B61895DB44D3}" dt="2024-05-24T02:47:38.415" v="2740" actId="12"/>
            <ac:cxnSpMkLst>
              <pc:docMk/>
              <pc:sldMasterMk cId="0" sldId="2147484111"/>
              <pc:sldLayoutMk cId="3131196613" sldId="2147484252"/>
              <ac:cxnSpMk id="22" creationId="{BE2742AA-8037-774A-AA6B-12E433B614B4}"/>
            </ac:cxnSpMkLst>
          </pc:cxnChg>
          <pc:cxnChg chg="mod">
            <ac:chgData name="Bianca Ardito" userId="3dbb30f507a110b6" providerId="LiveId" clId="{6B3B4EFF-CE60-494E-BECC-B61895DB44D3}" dt="2024-05-24T02:47:38.415" v="2740" actId="12"/>
            <ac:cxnSpMkLst>
              <pc:docMk/>
              <pc:sldMasterMk cId="0" sldId="2147484111"/>
              <pc:sldLayoutMk cId="3131196613" sldId="2147484252"/>
              <ac:cxnSpMk id="44" creationId="{9E80BA9F-1DF1-AF46-B464-5D600C23BB72}"/>
            </ac:cxnSpMkLst>
          </pc:cxnChg>
          <pc:cxnChg chg="mod">
            <ac:chgData name="Bianca Ardito" userId="3dbb30f507a110b6" providerId="LiveId" clId="{6B3B4EFF-CE60-494E-BECC-B61895DB44D3}" dt="2024-05-24T02:47:38.415" v="2740" actId="12"/>
            <ac:cxnSpMkLst>
              <pc:docMk/>
              <pc:sldMasterMk cId="0" sldId="2147484111"/>
              <pc:sldLayoutMk cId="3131196613" sldId="2147484252"/>
              <ac:cxnSpMk id="50" creationId="{AA3F167E-398A-4E47-A822-551F8D0BE4DD}"/>
            </ac:cxnSpMkLst>
          </pc:cxnChg>
        </pc:sldLayoutChg>
        <pc:sldLayoutChg chg="addSp delSp modSp mod">
          <pc:chgData name="Bianca Ardito" userId="3dbb30f507a110b6" providerId="LiveId" clId="{6B3B4EFF-CE60-494E-BECC-B61895DB44D3}" dt="2024-05-24T02:38:14.503" v="2524"/>
          <pc:sldLayoutMkLst>
            <pc:docMk/>
            <pc:sldMasterMk cId="0" sldId="2147484111"/>
            <pc:sldLayoutMk cId="169549109" sldId="2147484253"/>
          </pc:sldLayoutMkLst>
          <pc:spChg chg="mod ord">
            <ac:chgData name="Bianca Ardito" userId="3dbb30f507a110b6" providerId="LiveId" clId="{6B3B4EFF-CE60-494E-BECC-B61895DB44D3}" dt="2024-05-24T02:38:14.488" v="2520" actId="948"/>
            <ac:spMkLst>
              <pc:docMk/>
              <pc:sldMasterMk cId="0" sldId="2147484111"/>
              <pc:sldLayoutMk cId="169549109" sldId="2147484253"/>
              <ac:spMk id="2" creationId="{6D23523E-27C0-E247-919A-9E8F54CEB67A}"/>
            </ac:spMkLst>
          </pc:spChg>
          <pc:spChg chg="add del mod ord">
            <ac:chgData name="Bianca Ardito" userId="3dbb30f507a110b6" providerId="LiveId" clId="{6B3B4EFF-CE60-494E-BECC-B61895DB44D3}" dt="2024-05-24T02:29:06.992" v="1362" actId="207"/>
            <ac:spMkLst>
              <pc:docMk/>
              <pc:sldMasterMk cId="0" sldId="2147484111"/>
              <pc:sldLayoutMk cId="169549109" sldId="2147484253"/>
              <ac:spMk id="4" creationId="{23A80900-68D6-6145-A646-FE0362465B09}"/>
            </ac:spMkLst>
          </pc:spChg>
          <pc:spChg chg="mod ord">
            <ac:chgData name="Bianca Ardito" userId="3dbb30f507a110b6" providerId="LiveId" clId="{6B3B4EFF-CE60-494E-BECC-B61895DB44D3}" dt="2024-05-24T02:29:02.154" v="1361" actId="207"/>
            <ac:spMkLst>
              <pc:docMk/>
              <pc:sldMasterMk cId="0" sldId="2147484111"/>
              <pc:sldLayoutMk cId="169549109" sldId="2147484253"/>
              <ac:spMk id="6" creationId="{22CC77B4-B1CD-224C-99DD-56690339F95F}"/>
            </ac:spMkLst>
          </pc:spChg>
          <pc:spChg chg="add del mod modVis">
            <ac:chgData name="Bianca Ardito" userId="3dbb30f507a110b6" providerId="LiveId" clId="{6B3B4EFF-CE60-494E-BECC-B61895DB44D3}" dt="2024-05-24T02:28:29.415" v="1340"/>
            <ac:spMkLst>
              <pc:docMk/>
              <pc:sldMasterMk cId="0" sldId="2147484111"/>
              <pc:sldLayoutMk cId="169549109" sldId="2147484253"/>
              <ac:spMk id="9" creationId="{0CDD77D4-642C-B4E7-383D-BFADB4C5AD56}"/>
            </ac:spMkLst>
          </pc:spChg>
          <pc:graphicFrameChg chg="mod">
            <ac:chgData name="Bianca Ardito" userId="3dbb30f507a110b6" providerId="LiveId" clId="{6B3B4EFF-CE60-494E-BECC-B61895DB44D3}" dt="2024-05-24T02:38:14.503" v="2524"/>
            <ac:graphicFrameMkLst>
              <pc:docMk/>
              <pc:sldMasterMk cId="0" sldId="2147484111"/>
              <pc:sldLayoutMk cId="169549109" sldId="2147484253"/>
              <ac:graphicFrameMk id="7" creationId="{6E7A470E-6806-926A-8B83-5C8656110ECC}"/>
            </ac:graphicFrameMkLst>
          </pc:graphicFrameChg>
          <pc:picChg chg="add mod">
            <ac:chgData name="Bianca Ardito" userId="3dbb30f507a110b6" providerId="LiveId" clId="{6B3B4EFF-CE60-494E-BECC-B61895DB44D3}" dt="2024-05-24T02:28:10.721" v="1302"/>
            <ac:picMkLst>
              <pc:docMk/>
              <pc:sldMasterMk cId="0" sldId="2147484111"/>
              <pc:sldLayoutMk cId="169549109" sldId="2147484253"/>
              <ac:picMk id="3" creationId="{26BF8A51-19B7-A186-B286-B10364FE3841}"/>
            </ac:picMkLst>
          </pc:picChg>
          <pc:picChg chg="add mod ord modCrop">
            <ac:chgData name="Bianca Ardito" userId="3dbb30f507a110b6" providerId="LiveId" clId="{6B3B4EFF-CE60-494E-BECC-B61895DB44D3}" dt="2024-05-24T02:28:48.027" v="1359" actId="732"/>
            <ac:picMkLst>
              <pc:docMk/>
              <pc:sldMasterMk cId="0" sldId="2147484111"/>
              <pc:sldLayoutMk cId="169549109" sldId="2147484253"/>
              <ac:picMk id="5" creationId="{B40318F1-CA70-CEBE-E0B9-0014EAF98125}"/>
            </ac:picMkLst>
          </pc:picChg>
          <pc:picChg chg="del mod ord">
            <ac:chgData name="Bianca Ardito" userId="3dbb30f507a110b6" providerId="LiveId" clId="{6B3B4EFF-CE60-494E-BECC-B61895DB44D3}" dt="2024-05-24T02:28:32.280" v="1343" actId="478"/>
            <ac:picMkLst>
              <pc:docMk/>
              <pc:sldMasterMk cId="0" sldId="2147484111"/>
              <pc:sldLayoutMk cId="169549109" sldId="2147484253"/>
              <ac:picMk id="8" creationId="{11F32574-F885-D74D-9C62-8EC8535AA045}"/>
            </ac:picMkLst>
          </pc:picChg>
        </pc:sldLayoutChg>
      </pc:sldMasterChg>
      <pc:sldMasterChg chg="addSp delSp modSp mod modSldLayout">
        <pc:chgData name="Bianca Ardito" userId="3dbb30f507a110b6" providerId="LiveId" clId="{6B3B4EFF-CE60-494E-BECC-B61895DB44D3}" dt="2024-05-24T02:34:11.915" v="1517" actId="114"/>
        <pc:sldMasterMkLst>
          <pc:docMk/>
          <pc:sldMasterMk cId="100304480" sldId="2147484222"/>
        </pc:sldMasterMkLst>
        <pc:spChg chg="add del mod modVis">
          <ac:chgData name="Bianca Ardito" userId="3dbb30f507a110b6" providerId="LiveId" clId="{6B3B4EFF-CE60-494E-BECC-B61895DB44D3}" dt="2024-05-24T02:30:27.297" v="1396"/>
          <ac:spMkLst>
            <pc:docMk/>
            <pc:sldMasterMk cId="100304480" sldId="2147484222"/>
            <ac:spMk id="5" creationId="{C83026D2-2E99-F88E-5B79-1435B906AE63}"/>
          </ac:spMkLst>
        </pc:spChg>
        <pc:spChg chg="add del mod modVis">
          <ac:chgData name="Bianca Ardito" userId="3dbb30f507a110b6" providerId="LiveId" clId="{6B3B4EFF-CE60-494E-BECC-B61895DB44D3}" dt="2024-05-24T02:30:29.916" v="1423"/>
          <ac:spMkLst>
            <pc:docMk/>
            <pc:sldMasterMk cId="100304480" sldId="2147484222"/>
            <ac:spMk id="8" creationId="{70B30532-660A-99E0-76C9-EC6F3787DDE9}"/>
          </ac:spMkLst>
        </pc:spChg>
        <pc:spChg chg="mod">
          <ac:chgData name="Bianca Ardito" userId="3dbb30f507a110b6" providerId="LiveId" clId="{6B3B4EFF-CE60-494E-BECC-B61895DB44D3}" dt="2024-05-24T02:30:29.884" v="1400" actId="948"/>
          <ac:spMkLst>
            <pc:docMk/>
            <pc:sldMasterMk cId="100304480" sldId="2147484222"/>
            <ac:spMk id="23" creationId="{00000000-0000-0000-0000-000000000000}"/>
          </ac:spMkLst>
        </pc:spChg>
        <pc:grpChg chg="del mod">
          <ac:chgData name="Bianca Ardito" userId="3dbb30f507a110b6" providerId="LiveId" clId="{6B3B4EFF-CE60-494E-BECC-B61895DB44D3}" dt="2024-05-24T02:30:21.845" v="1371" actId="478"/>
          <ac:grpSpMkLst>
            <pc:docMk/>
            <pc:sldMasterMk cId="100304480" sldId="2147484222"/>
            <ac:grpSpMk id="3" creationId="{D6D94297-D236-DD19-7B23-FAD309981F7B}"/>
          </ac:grpSpMkLst>
        </pc:grpChg>
        <pc:graphicFrameChg chg="mod">
          <ac:chgData name="Bianca Ardito" userId="3dbb30f507a110b6" providerId="LiveId" clId="{6B3B4EFF-CE60-494E-BECC-B61895DB44D3}" dt="2024-05-24T02:30:29.916" v="1425"/>
          <ac:graphicFrameMkLst>
            <pc:docMk/>
            <pc:sldMasterMk cId="100304480" sldId="2147484222"/>
            <ac:graphicFrameMk id="4" creationId="{7A9393E2-986C-4DD7-681C-EECCA4B36FA5}"/>
          </ac:graphicFrameMkLst>
        </pc:graphicFrameChg>
        <pc:picChg chg="add mod">
          <ac:chgData name="Bianca Ardito" userId="3dbb30f507a110b6" providerId="LiveId" clId="{6B3B4EFF-CE60-494E-BECC-B61895DB44D3}" dt="2024-05-24T02:30:17.498" v="1370" actId="553"/>
          <ac:picMkLst>
            <pc:docMk/>
            <pc:sldMasterMk cId="100304480" sldId="2147484222"/>
            <ac:picMk id="2" creationId="{A3A0D61D-D631-D0A6-D77F-4BA537ED6ED9}"/>
          </ac:picMkLst>
        </pc:picChg>
        <pc:sldLayoutChg chg="modSp">
          <pc:chgData name="Bianca Ardito" userId="3dbb30f507a110b6" providerId="LiveId" clId="{6B3B4EFF-CE60-494E-BECC-B61895DB44D3}" dt="2024-05-24T02:34:11.915" v="1517" actId="114"/>
          <pc:sldLayoutMkLst>
            <pc:docMk/>
            <pc:sldMasterMk cId="100304480" sldId="2147484222"/>
            <pc:sldLayoutMk cId="2282062808" sldId="2147484247"/>
          </pc:sldLayoutMkLst>
          <pc:spChg chg="mod">
            <ac:chgData name="Bianca Ardito" userId="3dbb30f507a110b6" providerId="LiveId" clId="{6B3B4EFF-CE60-494E-BECC-B61895DB44D3}" dt="2024-05-24T02:34:05.675" v="1515" actId="113"/>
            <ac:spMkLst>
              <pc:docMk/>
              <pc:sldMasterMk cId="100304480" sldId="2147484222"/>
              <pc:sldLayoutMk cId="2282062808" sldId="2147484247"/>
              <ac:spMk id="13" creationId="{E5C5A680-8C56-5F4B-9628-6DBE90A8F8F3}"/>
            </ac:spMkLst>
          </pc:spChg>
          <pc:spChg chg="mod">
            <ac:chgData name="Bianca Ardito" userId="3dbb30f507a110b6" providerId="LiveId" clId="{6B3B4EFF-CE60-494E-BECC-B61895DB44D3}" dt="2024-05-24T02:34:11.915" v="1517" actId="114"/>
            <ac:spMkLst>
              <pc:docMk/>
              <pc:sldMasterMk cId="100304480" sldId="2147484222"/>
              <pc:sldLayoutMk cId="2282062808" sldId="2147484247"/>
              <ac:spMk id="16" creationId="{276B41C1-8BB3-AB47-AEE0-AE7ED20F06CD}"/>
            </ac:spMkLst>
          </pc:spChg>
        </pc:sldLayoutChg>
        <pc:sldLayoutChg chg="addSp delSp modSp mod">
          <pc:chgData name="Bianca Ardito" userId="3dbb30f507a110b6" providerId="LiveId" clId="{6B3B4EFF-CE60-494E-BECC-B61895DB44D3}" dt="2024-05-24T02:33:15.279" v="1506" actId="1076"/>
          <pc:sldLayoutMkLst>
            <pc:docMk/>
            <pc:sldMasterMk cId="100304480" sldId="2147484222"/>
            <pc:sldLayoutMk cId="3861335952" sldId="2147484248"/>
          </pc:sldLayoutMkLst>
          <pc:spChg chg="add mod ord">
            <ac:chgData name="Bianca Ardito" userId="3dbb30f507a110b6" providerId="LiveId" clId="{6B3B4EFF-CE60-494E-BECC-B61895DB44D3}" dt="2024-05-24T02:33:05.574" v="1503" actId="12788"/>
            <ac:spMkLst>
              <pc:docMk/>
              <pc:sldMasterMk cId="100304480" sldId="2147484222"/>
              <pc:sldLayoutMk cId="3861335952" sldId="2147484248"/>
              <ac:spMk id="2" creationId="{55DAB0CE-D625-30D6-4BF9-A362574B85D1}"/>
            </ac:spMkLst>
          </pc:spChg>
          <pc:spChg chg="add del mod ord">
            <ac:chgData name="Bianca Ardito" userId="3dbb30f507a110b6" providerId="LiveId" clId="{6B3B4EFF-CE60-494E-BECC-B61895DB44D3}" dt="2024-05-24T02:31:54.776" v="1490" actId="478"/>
            <ac:spMkLst>
              <pc:docMk/>
              <pc:sldMasterMk cId="100304480" sldId="2147484222"/>
              <pc:sldLayoutMk cId="3861335952" sldId="2147484248"/>
              <ac:spMk id="3" creationId="{E81BA7DC-4E74-0AD1-A411-B064C15A83C3}"/>
            </ac:spMkLst>
          </pc:spChg>
          <pc:spChg chg="mod ord">
            <ac:chgData name="Bianca Ardito" userId="3dbb30f507a110b6" providerId="LiveId" clId="{6B3B4EFF-CE60-494E-BECC-B61895DB44D3}" dt="2024-05-24T02:31:45.412" v="1481"/>
            <ac:spMkLst>
              <pc:docMk/>
              <pc:sldMasterMk cId="100304480" sldId="2147484222"/>
              <pc:sldLayoutMk cId="3861335952" sldId="2147484248"/>
              <ac:spMk id="5" creationId="{6F6EA360-6F15-3944-99BD-788CC8EB9002}"/>
            </ac:spMkLst>
          </pc:spChg>
          <pc:spChg chg="mod ord">
            <ac:chgData name="Bianca Ardito" userId="3dbb30f507a110b6" providerId="LiveId" clId="{6B3B4EFF-CE60-494E-BECC-B61895DB44D3}" dt="2024-05-24T02:31:45.401" v="1477"/>
            <ac:spMkLst>
              <pc:docMk/>
              <pc:sldMasterMk cId="100304480" sldId="2147484222"/>
              <pc:sldLayoutMk cId="3861335952" sldId="2147484248"/>
              <ac:spMk id="11" creationId="{00AA4605-4081-464E-B78B-62705E50E0AF}"/>
            </ac:spMkLst>
          </pc:spChg>
          <pc:spChg chg="add del mod ord">
            <ac:chgData name="Bianca Ardito" userId="3dbb30f507a110b6" providerId="LiveId" clId="{6B3B4EFF-CE60-494E-BECC-B61895DB44D3}" dt="2024-05-24T02:32:07.229" v="1493" actId="21"/>
            <ac:spMkLst>
              <pc:docMk/>
              <pc:sldMasterMk cId="100304480" sldId="2147484222"/>
              <pc:sldLayoutMk cId="3861335952" sldId="2147484248"/>
              <ac:spMk id="13" creationId="{E5C5A680-8C56-5F4B-9628-6DBE90A8F8F3}"/>
            </ac:spMkLst>
          </pc:spChg>
          <pc:graphicFrameChg chg="add mod ord modVis replST">
            <ac:chgData name="Bianca Ardito" userId="3dbb30f507a110b6" providerId="LiveId" clId="{6B3B4EFF-CE60-494E-BECC-B61895DB44D3}" dt="2024-05-24T02:31:45.412" v="1487"/>
            <ac:graphicFrameMkLst>
              <pc:docMk/>
              <pc:sldMasterMk cId="100304480" sldId="2147484222"/>
              <pc:sldLayoutMk cId="3861335952" sldId="2147484248"/>
              <ac:graphicFrameMk id="4" creationId="{0EED1B81-5172-6496-5271-9EBBEE72F1DC}"/>
            </ac:graphicFrameMkLst>
          </pc:graphicFrameChg>
          <pc:picChg chg="add mod">
            <ac:chgData name="Bianca Ardito" userId="3dbb30f507a110b6" providerId="LiveId" clId="{6B3B4EFF-CE60-494E-BECC-B61895DB44D3}" dt="2024-05-24T02:33:15.279" v="1506" actId="1076"/>
            <ac:picMkLst>
              <pc:docMk/>
              <pc:sldMasterMk cId="100304480" sldId="2147484222"/>
              <pc:sldLayoutMk cId="3861335952" sldId="2147484248"/>
              <ac:picMk id="6" creationId="{3D052479-A5E8-496C-9B77-44F9232BEA99}"/>
            </ac:picMkLst>
          </pc:picChg>
        </pc:sldLayoutChg>
      </pc:sldMasterChg>
    </pc:docChg>
  </pc:docChgLst>
  <pc:docChgLst>
    <pc:chgData name="Bianca Ardito" userId="3dbb30f507a110b6" providerId="LiveId" clId="{FE5803BF-6207-4B37-AF25-E2212107113F}"/>
    <pc:docChg chg="undo custSel delSld modSld modMainMaster replTag">
      <pc:chgData name="Bianca Ardito" userId="3dbb30f507a110b6" providerId="LiveId" clId="{FE5803BF-6207-4B37-AF25-E2212107113F}" dt="2024-05-24T03:39:38.031" v="3270" actId="207"/>
      <pc:docMkLst>
        <pc:docMk/>
      </pc:docMkLst>
      <pc:sldChg chg="addSp delSp modSp mod">
        <pc:chgData name="Bianca Ardito" userId="3dbb30f507a110b6" providerId="LiveId" clId="{FE5803BF-6207-4B37-AF25-E2212107113F}" dt="2024-05-24T03:33:22.581" v="3186" actId="207"/>
        <pc:sldMkLst>
          <pc:docMk/>
          <pc:sldMk cId="2650854113" sldId="299"/>
        </pc:sldMkLst>
        <pc:spChg chg="add del mod modVis">
          <ac:chgData name="Bianca Ardito" userId="3dbb30f507a110b6" providerId="LiveId" clId="{FE5803BF-6207-4B37-AF25-E2212107113F}" dt="2024-05-24T03:22:45.295" v="632"/>
          <ac:spMkLst>
            <pc:docMk/>
            <pc:sldMk cId="2650854113" sldId="299"/>
            <ac:spMk id="2" creationId="{F3068CCD-CF59-A505-B396-3E2599711404}"/>
          </ac:spMkLst>
        </pc:spChg>
        <pc:spChg chg="mod">
          <ac:chgData name="Bianca Ardito" userId="3dbb30f507a110b6" providerId="LiveId" clId="{FE5803BF-6207-4B37-AF25-E2212107113F}" dt="2024-05-24T03:32:59.108" v="2502" actId="948"/>
          <ac:spMkLst>
            <pc:docMk/>
            <pc:sldMk cId="2650854113" sldId="299"/>
            <ac:spMk id="3" creationId="{26F52ABF-064E-43AF-A6A2-827750A7CFEC}"/>
          </ac:spMkLst>
        </pc:spChg>
        <pc:spChg chg="add del mod modVis">
          <ac:chgData name="Bianca Ardito" userId="3dbb30f507a110b6" providerId="LiveId" clId="{FE5803BF-6207-4B37-AF25-E2212107113F}" dt="2024-05-24T03:24:11.986" v="1376"/>
          <ac:spMkLst>
            <pc:docMk/>
            <pc:sldMk cId="2650854113" sldId="299"/>
            <ac:spMk id="4" creationId="{54716479-8A7F-DE64-CC4E-B35A7120B650}"/>
          </ac:spMkLst>
        </pc:spChg>
        <pc:spChg chg="add del mod modVis">
          <ac:chgData name="Bianca Ardito" userId="3dbb30f507a110b6" providerId="LiveId" clId="{FE5803BF-6207-4B37-AF25-E2212107113F}" dt="2024-05-24T03:32:39.744" v="2313"/>
          <ac:spMkLst>
            <pc:docMk/>
            <pc:sldMk cId="2650854113" sldId="299"/>
            <ac:spMk id="9" creationId="{1528199B-08FD-7056-42F7-9B6EC4A322D7}"/>
          </ac:spMkLst>
        </pc:spChg>
        <pc:spChg chg="add del mod modVis">
          <ac:chgData name="Bianca Ardito" userId="3dbb30f507a110b6" providerId="LiveId" clId="{FE5803BF-6207-4B37-AF25-E2212107113F}" dt="2024-05-24T03:32:59.625" v="3054"/>
          <ac:spMkLst>
            <pc:docMk/>
            <pc:sldMk cId="2650854113" sldId="299"/>
            <ac:spMk id="10" creationId="{A4F95FF4-587D-FE9F-97EA-C843E199F77E}"/>
          </ac:spMkLst>
        </pc:spChg>
        <pc:graphicFrameChg chg="mod">
          <ac:chgData name="Bianca Ardito" userId="3dbb30f507a110b6" providerId="LiveId" clId="{FE5803BF-6207-4B37-AF25-E2212107113F}" dt="2024-05-24T03:32:59.625" v="3056"/>
          <ac:graphicFrameMkLst>
            <pc:docMk/>
            <pc:sldMk cId="2650854113" sldId="299"/>
            <ac:graphicFrameMk id="5" creationId="{F29EF140-EEBA-85DC-E8B3-CEE6DDBC520F}"/>
          </ac:graphicFrameMkLst>
        </pc:graphicFrameChg>
        <pc:graphicFrameChg chg="mod">
          <ac:chgData name="Bianca Ardito" userId="3dbb30f507a110b6" providerId="LiveId" clId="{FE5803BF-6207-4B37-AF25-E2212107113F}" dt="2024-05-24T03:33:22.581" v="3186" actId="207"/>
          <ac:graphicFrameMkLst>
            <pc:docMk/>
            <pc:sldMk cId="2650854113" sldId="299"/>
            <ac:graphicFrameMk id="6" creationId="{75023A9B-431B-445F-9FE0-EBA3358F9F5D}"/>
          </ac:graphicFrameMkLst>
        </pc:graphicFrameChg>
      </pc:sldChg>
      <pc:sldChg chg="addSp delSp modSp mod">
        <pc:chgData name="Bianca Ardito" userId="3dbb30f507a110b6" providerId="LiveId" clId="{FE5803BF-6207-4B37-AF25-E2212107113F}" dt="2024-05-24T03:33:47.437" v="3191" actId="207"/>
        <pc:sldMkLst>
          <pc:docMk/>
          <pc:sldMk cId="2733215077" sldId="300"/>
        </pc:sldMkLst>
        <pc:spChg chg="mod">
          <ac:chgData name="Bianca Ardito" userId="3dbb30f507a110b6" providerId="LiveId" clId="{FE5803BF-6207-4B37-AF25-E2212107113F}" dt="2024-05-24T03:32:59.123" v="2522" actId="948"/>
          <ac:spMkLst>
            <pc:docMk/>
            <pc:sldMk cId="2733215077" sldId="300"/>
            <ac:spMk id="3" creationId="{8C457B26-0657-485F-A27E-0DB6D0537B5F}"/>
          </ac:spMkLst>
        </pc:spChg>
        <pc:spChg chg="add del mod modVis">
          <ac:chgData name="Bianca Ardito" userId="3dbb30f507a110b6" providerId="LiveId" clId="{FE5803BF-6207-4B37-AF25-E2212107113F}" dt="2024-05-24T03:22:45.296" v="636"/>
          <ac:spMkLst>
            <pc:docMk/>
            <pc:sldMk cId="2733215077" sldId="300"/>
            <ac:spMk id="5" creationId="{21CFF682-6E65-29BD-6806-8A2DB4FF8C01}"/>
          </ac:spMkLst>
        </pc:spChg>
        <pc:spChg chg="add del mod modVis">
          <ac:chgData name="Bianca Ardito" userId="3dbb30f507a110b6" providerId="LiveId" clId="{FE5803BF-6207-4B37-AF25-E2212107113F}" dt="2024-05-24T03:24:11.986" v="1380"/>
          <ac:spMkLst>
            <pc:docMk/>
            <pc:sldMk cId="2733215077" sldId="300"/>
            <ac:spMk id="8" creationId="{D86F71BC-D5A6-ACDC-BF56-AA1653F4D657}"/>
          </ac:spMkLst>
        </pc:spChg>
        <pc:spChg chg="add del mod modVis">
          <ac:chgData name="Bianca Ardito" userId="3dbb30f507a110b6" providerId="LiveId" clId="{FE5803BF-6207-4B37-AF25-E2212107113F}" dt="2024-05-24T03:32:39.744" v="2317"/>
          <ac:spMkLst>
            <pc:docMk/>
            <pc:sldMk cId="2733215077" sldId="300"/>
            <ac:spMk id="10" creationId="{20E78367-5F6A-0569-783C-5BDAAF744A7E}"/>
          </ac:spMkLst>
        </pc:spChg>
        <pc:spChg chg="add del mod modVis">
          <ac:chgData name="Bianca Ardito" userId="3dbb30f507a110b6" providerId="LiveId" clId="{FE5803BF-6207-4B37-AF25-E2212107113F}" dt="2024-05-24T03:32:59.625" v="3058"/>
          <ac:spMkLst>
            <pc:docMk/>
            <pc:sldMk cId="2733215077" sldId="300"/>
            <ac:spMk id="11" creationId="{242F137C-B5CB-9895-DE88-D9CBC03CE8A9}"/>
          </ac:spMkLst>
        </pc:spChg>
        <pc:graphicFrameChg chg="mod">
          <ac:chgData name="Bianca Ardito" userId="3dbb30f507a110b6" providerId="LiveId" clId="{FE5803BF-6207-4B37-AF25-E2212107113F}" dt="2024-05-24T03:33:47.437" v="3191" actId="207"/>
          <ac:graphicFrameMkLst>
            <pc:docMk/>
            <pc:sldMk cId="2733215077" sldId="300"/>
            <ac:graphicFrameMk id="6" creationId="{FCF42D45-465F-4CAA-BE6A-6343BE72B775}"/>
          </ac:graphicFrameMkLst>
        </pc:graphicFrameChg>
        <pc:graphicFrameChg chg="mod">
          <ac:chgData name="Bianca Ardito" userId="3dbb30f507a110b6" providerId="LiveId" clId="{FE5803BF-6207-4B37-AF25-E2212107113F}" dt="2024-05-24T03:32:59.625" v="3060"/>
          <ac:graphicFrameMkLst>
            <pc:docMk/>
            <pc:sldMk cId="2733215077" sldId="300"/>
            <ac:graphicFrameMk id="7" creationId="{E03C6834-C050-F17B-A14D-D8A2D21742A7}"/>
          </ac:graphicFrameMkLst>
        </pc:graphicFrameChg>
      </pc:sldChg>
      <pc:sldChg chg="addSp delSp modSp mod">
        <pc:chgData name="Bianca Ardito" userId="3dbb30f507a110b6" providerId="LiveId" clId="{FE5803BF-6207-4B37-AF25-E2212107113F}" dt="2024-05-24T03:34:03.821" v="3194" actId="208"/>
        <pc:sldMkLst>
          <pc:docMk/>
          <pc:sldMk cId="734152909" sldId="301"/>
        </pc:sldMkLst>
        <pc:spChg chg="mod">
          <ac:chgData name="Bianca Ardito" userId="3dbb30f507a110b6" providerId="LiveId" clId="{FE5803BF-6207-4B37-AF25-E2212107113F}" dt="2024-05-24T03:32:59.233" v="2622" actId="948"/>
          <ac:spMkLst>
            <pc:docMk/>
            <pc:sldMk cId="734152909" sldId="301"/>
            <ac:spMk id="3" creationId="{50EE96D8-1876-4FDB-95D5-6E7326C92DF7}"/>
          </ac:spMkLst>
        </pc:spChg>
        <pc:spChg chg="add del mod modVis">
          <ac:chgData name="Bianca Ardito" userId="3dbb30f507a110b6" providerId="LiveId" clId="{FE5803BF-6207-4B37-AF25-E2212107113F}" dt="2024-05-24T03:22:45.304" v="656"/>
          <ac:spMkLst>
            <pc:docMk/>
            <pc:sldMk cId="734152909" sldId="301"/>
            <ac:spMk id="5" creationId="{4B70B128-AA26-BA90-566A-CC11A5F959C3}"/>
          </ac:spMkLst>
        </pc:spChg>
        <pc:spChg chg="add del mod modVis">
          <ac:chgData name="Bianca Ardito" userId="3dbb30f507a110b6" providerId="LiveId" clId="{FE5803BF-6207-4B37-AF25-E2212107113F}" dt="2024-05-24T03:24:12.002" v="1400"/>
          <ac:spMkLst>
            <pc:docMk/>
            <pc:sldMk cId="734152909" sldId="301"/>
            <ac:spMk id="8" creationId="{3188DB1A-ECDE-AAED-54E8-4E5DE1291CC5}"/>
          </ac:spMkLst>
        </pc:spChg>
        <pc:spChg chg="add del mod modVis">
          <ac:chgData name="Bianca Ardito" userId="3dbb30f507a110b6" providerId="LiveId" clId="{FE5803BF-6207-4B37-AF25-E2212107113F}" dt="2024-05-24T03:32:39.759" v="2337"/>
          <ac:spMkLst>
            <pc:docMk/>
            <pc:sldMk cId="734152909" sldId="301"/>
            <ac:spMk id="10" creationId="{17F9E1DB-6C9E-F3A2-9E65-73B59CE30DED}"/>
          </ac:spMkLst>
        </pc:spChg>
        <pc:spChg chg="add del mod modVis">
          <ac:chgData name="Bianca Ardito" userId="3dbb30f507a110b6" providerId="LiveId" clId="{FE5803BF-6207-4B37-AF25-E2212107113F}" dt="2024-05-24T03:32:59.640" v="3078"/>
          <ac:spMkLst>
            <pc:docMk/>
            <pc:sldMk cId="734152909" sldId="301"/>
            <ac:spMk id="11" creationId="{957DBFD8-356D-AC6F-4A1C-884B310FCE51}"/>
          </ac:spMkLst>
        </pc:spChg>
        <pc:graphicFrameChg chg="mod">
          <ac:chgData name="Bianca Ardito" userId="3dbb30f507a110b6" providerId="LiveId" clId="{FE5803BF-6207-4B37-AF25-E2212107113F}" dt="2024-05-24T03:32:59.640" v="3080"/>
          <ac:graphicFrameMkLst>
            <pc:docMk/>
            <pc:sldMk cId="734152909" sldId="301"/>
            <ac:graphicFrameMk id="7" creationId="{3A9225A4-ED8E-0C51-0E83-D7603444D1B5}"/>
          </ac:graphicFrameMkLst>
        </pc:graphicFrameChg>
        <pc:graphicFrameChg chg="mod">
          <ac:chgData name="Bianca Ardito" userId="3dbb30f507a110b6" providerId="LiveId" clId="{FE5803BF-6207-4B37-AF25-E2212107113F}" dt="2024-05-24T03:34:03.821" v="3194" actId="208"/>
          <ac:graphicFrameMkLst>
            <pc:docMk/>
            <pc:sldMk cId="734152909" sldId="301"/>
            <ac:graphicFrameMk id="9" creationId="{CF35D3D0-13D6-1243-B9A8-25EE961F20D2}"/>
          </ac:graphicFrameMkLst>
        </pc:graphicFrameChg>
      </pc:sldChg>
      <pc:sldChg chg="addSp delSp modSp mod">
        <pc:chgData name="Bianca Ardito" userId="3dbb30f507a110b6" providerId="LiveId" clId="{FE5803BF-6207-4B37-AF25-E2212107113F}" dt="2024-05-24T03:35:55.275" v="3216" actId="207"/>
        <pc:sldMkLst>
          <pc:docMk/>
          <pc:sldMk cId="1738494508" sldId="302"/>
        </pc:sldMkLst>
        <pc:spChg chg="mod">
          <ac:chgData name="Bianca Ardito" userId="3dbb30f507a110b6" providerId="LiveId" clId="{FE5803BF-6207-4B37-AF25-E2212107113F}" dt="2024-05-24T03:32:59.217" v="2602" actId="948"/>
          <ac:spMkLst>
            <pc:docMk/>
            <pc:sldMk cId="1738494508" sldId="302"/>
            <ac:spMk id="3" creationId="{CCEF14A6-6FCC-42A6-833C-C1307FA22577}"/>
          </ac:spMkLst>
        </pc:spChg>
        <pc:spChg chg="add del mod modVis">
          <ac:chgData name="Bianca Ardito" userId="3dbb30f507a110b6" providerId="LiveId" clId="{FE5803BF-6207-4B37-AF25-E2212107113F}" dt="2024-05-24T03:22:45.302" v="652"/>
          <ac:spMkLst>
            <pc:docMk/>
            <pc:sldMk cId="1738494508" sldId="302"/>
            <ac:spMk id="5" creationId="{483A7F7E-568C-3B1B-8364-3C48D535BCFA}"/>
          </ac:spMkLst>
        </pc:spChg>
        <pc:spChg chg="add del mod modVis">
          <ac:chgData name="Bianca Ardito" userId="3dbb30f507a110b6" providerId="LiveId" clId="{FE5803BF-6207-4B37-AF25-E2212107113F}" dt="2024-05-24T03:24:12.002" v="1396"/>
          <ac:spMkLst>
            <pc:docMk/>
            <pc:sldMk cId="1738494508" sldId="302"/>
            <ac:spMk id="7" creationId="{E38C0F5F-DF55-16E1-050C-027698A0283D}"/>
          </ac:spMkLst>
        </pc:spChg>
        <pc:spChg chg="add del mod modVis">
          <ac:chgData name="Bianca Ardito" userId="3dbb30f507a110b6" providerId="LiveId" clId="{FE5803BF-6207-4B37-AF25-E2212107113F}" dt="2024-05-24T03:32:39.759" v="2333"/>
          <ac:spMkLst>
            <pc:docMk/>
            <pc:sldMk cId="1738494508" sldId="302"/>
            <ac:spMk id="8" creationId="{7F6CFA22-6DDF-5683-88EE-FCFFF00725F9}"/>
          </ac:spMkLst>
        </pc:spChg>
        <pc:spChg chg="mod">
          <ac:chgData name="Bianca Ardito" userId="3dbb30f507a110b6" providerId="LiveId" clId="{FE5803BF-6207-4B37-AF25-E2212107113F}" dt="2024-05-24T03:35:55.275" v="3216" actId="207"/>
          <ac:spMkLst>
            <pc:docMk/>
            <pc:sldMk cId="1738494508" sldId="302"/>
            <ac:spMk id="10" creationId="{2E529DA7-00F0-FE45-8615-1F6425845CD4}"/>
          </ac:spMkLst>
        </pc:spChg>
        <pc:spChg chg="mod">
          <ac:chgData name="Bianca Ardito" userId="3dbb30f507a110b6" providerId="LiveId" clId="{FE5803BF-6207-4B37-AF25-E2212107113F}" dt="2024-05-24T03:35:51.095" v="3215" actId="207"/>
          <ac:spMkLst>
            <pc:docMk/>
            <pc:sldMk cId="1738494508" sldId="302"/>
            <ac:spMk id="11" creationId="{F7E6E933-DA0B-6242-BB0C-86CF73272E45}"/>
          </ac:spMkLst>
        </pc:spChg>
        <pc:spChg chg="add del mod modVis">
          <ac:chgData name="Bianca Ardito" userId="3dbb30f507a110b6" providerId="LiveId" clId="{FE5803BF-6207-4B37-AF25-E2212107113F}" dt="2024-05-24T03:32:59.640" v="3074"/>
          <ac:spMkLst>
            <pc:docMk/>
            <pc:sldMk cId="1738494508" sldId="302"/>
            <ac:spMk id="13" creationId="{0180D0AB-0EA6-C845-ABCF-F84D691BA971}"/>
          </ac:spMkLst>
        </pc:spChg>
        <pc:graphicFrameChg chg="mod">
          <ac:chgData name="Bianca Ardito" userId="3dbb30f507a110b6" providerId="LiveId" clId="{FE5803BF-6207-4B37-AF25-E2212107113F}" dt="2024-05-24T03:35:44.472" v="3214" actId="207"/>
          <ac:graphicFrameMkLst>
            <pc:docMk/>
            <pc:sldMk cId="1738494508" sldId="302"/>
            <ac:graphicFrameMk id="6" creationId="{22945438-15AF-4F00-9651-BAC73D16D005}"/>
          </ac:graphicFrameMkLst>
        </pc:graphicFrameChg>
        <pc:graphicFrameChg chg="mod">
          <ac:chgData name="Bianca Ardito" userId="3dbb30f507a110b6" providerId="LiveId" clId="{FE5803BF-6207-4B37-AF25-E2212107113F}" dt="2024-05-24T03:32:59.640" v="3076"/>
          <ac:graphicFrameMkLst>
            <pc:docMk/>
            <pc:sldMk cId="1738494508" sldId="302"/>
            <ac:graphicFrameMk id="12" creationId="{B91662C4-E954-4235-7026-398316B4A0E1}"/>
          </ac:graphicFrameMkLst>
        </pc:graphicFrameChg>
      </pc:sldChg>
      <pc:sldChg chg="addSp delSp modSp mod">
        <pc:chgData name="Bianca Ardito" userId="3dbb30f507a110b6" providerId="LiveId" clId="{FE5803BF-6207-4B37-AF25-E2212107113F}" dt="2024-05-24T03:35:59.131" v="3217" actId="208"/>
        <pc:sldMkLst>
          <pc:docMk/>
          <pc:sldMk cId="3695694706" sldId="303"/>
        </pc:sldMkLst>
        <pc:spChg chg="add del mod modVis">
          <ac:chgData name="Bianca Ardito" userId="3dbb30f507a110b6" providerId="LiveId" clId="{FE5803BF-6207-4B37-AF25-E2212107113F}" dt="2024-05-24T03:22:45.306" v="680"/>
          <ac:spMkLst>
            <pc:docMk/>
            <pc:sldMk cId="3695694706" sldId="303"/>
            <ac:spMk id="2" creationId="{A38056E6-72BD-D55B-6616-259966F0959E}"/>
          </ac:spMkLst>
        </pc:spChg>
        <pc:spChg chg="mod">
          <ac:chgData name="Bianca Ardito" userId="3dbb30f507a110b6" providerId="LiveId" clId="{FE5803BF-6207-4B37-AF25-E2212107113F}" dt="2024-05-24T03:32:59.328" v="2742" actId="948"/>
          <ac:spMkLst>
            <pc:docMk/>
            <pc:sldMk cId="3695694706" sldId="303"/>
            <ac:spMk id="3" creationId="{67E0ED0F-E0F6-4CDB-8330-7F98EF108590}"/>
          </ac:spMkLst>
        </pc:spChg>
        <pc:spChg chg="add del mod modVis">
          <ac:chgData name="Bianca Ardito" userId="3dbb30f507a110b6" providerId="LiveId" clId="{FE5803BF-6207-4B37-AF25-E2212107113F}" dt="2024-05-24T03:24:12.017" v="1424"/>
          <ac:spMkLst>
            <pc:docMk/>
            <pc:sldMk cId="3695694706" sldId="303"/>
            <ac:spMk id="4" creationId="{21D2E1A9-6333-AD33-D455-7D905DA23425}"/>
          </ac:spMkLst>
        </pc:spChg>
        <pc:spChg chg="add del mod modVis">
          <ac:chgData name="Bianca Ardito" userId="3dbb30f507a110b6" providerId="LiveId" clId="{FE5803BF-6207-4B37-AF25-E2212107113F}" dt="2024-05-24T03:32:39.774" v="2361"/>
          <ac:spMkLst>
            <pc:docMk/>
            <pc:sldMk cId="3695694706" sldId="303"/>
            <ac:spMk id="5" creationId="{9A00ED94-653C-D116-39E1-CEB66F10B735}"/>
          </ac:spMkLst>
        </pc:spChg>
        <pc:spChg chg="add del mod modVis">
          <ac:chgData name="Bianca Ardito" userId="3dbb30f507a110b6" providerId="LiveId" clId="{FE5803BF-6207-4B37-AF25-E2212107113F}" dt="2024-05-24T03:32:59.640" v="3102"/>
          <ac:spMkLst>
            <pc:docMk/>
            <pc:sldMk cId="3695694706" sldId="303"/>
            <ac:spMk id="12" creationId="{F854F24C-0001-3D7E-31AC-39C0F4F326B7}"/>
          </ac:spMkLst>
        </pc:spChg>
        <pc:graphicFrameChg chg="mod">
          <ac:chgData name="Bianca Ardito" userId="3dbb30f507a110b6" providerId="LiveId" clId="{FE5803BF-6207-4B37-AF25-E2212107113F}" dt="2024-05-24T03:32:59.640" v="3104"/>
          <ac:graphicFrameMkLst>
            <pc:docMk/>
            <pc:sldMk cId="3695694706" sldId="303"/>
            <ac:graphicFrameMk id="11" creationId="{028E7A85-2BFB-32C6-1FE7-D5B2162FD5AA}"/>
          </ac:graphicFrameMkLst>
        </pc:graphicFrameChg>
        <pc:cxnChg chg="mod">
          <ac:chgData name="Bianca Ardito" userId="3dbb30f507a110b6" providerId="LiveId" clId="{FE5803BF-6207-4B37-AF25-E2212107113F}" dt="2024-05-24T03:35:59.131" v="3217" actId="208"/>
          <ac:cxnSpMkLst>
            <pc:docMk/>
            <pc:sldMk cId="3695694706" sldId="303"/>
            <ac:cxnSpMk id="10" creationId="{1E3F8F26-C843-4097-A49E-88E96E2EB582}"/>
          </ac:cxnSpMkLst>
        </pc:cxnChg>
      </pc:sldChg>
      <pc:sldChg chg="addSp delSp modSp mod">
        <pc:chgData name="Bianca Ardito" userId="3dbb30f507a110b6" providerId="LiveId" clId="{FE5803BF-6207-4B37-AF25-E2212107113F}" dt="2024-05-24T03:32:59.625" v="3064"/>
        <pc:sldMkLst>
          <pc:docMk/>
          <pc:sldMk cId="334684121" sldId="307"/>
        </pc:sldMkLst>
        <pc:spChg chg="add del mod modVis">
          <ac:chgData name="Bianca Ardito" userId="3dbb30f507a110b6" providerId="LiveId" clId="{FE5803BF-6207-4B37-AF25-E2212107113F}" dt="2024-05-24T03:22:45.298" v="640"/>
          <ac:spMkLst>
            <pc:docMk/>
            <pc:sldMk cId="334684121" sldId="307"/>
            <ac:spMk id="3" creationId="{0065182C-65D6-2033-9224-A8CA4425625A}"/>
          </ac:spMkLst>
        </pc:spChg>
        <pc:spChg chg="mod">
          <ac:chgData name="Bianca Ardito" userId="3dbb30f507a110b6" providerId="LiveId" clId="{FE5803BF-6207-4B37-AF25-E2212107113F}" dt="2024-05-24T03:32:59.155" v="2542" actId="948"/>
          <ac:spMkLst>
            <pc:docMk/>
            <pc:sldMk cId="334684121" sldId="307"/>
            <ac:spMk id="5" creationId="{AC4453E9-4E8B-094B-8B18-EE2014EB2097}"/>
          </ac:spMkLst>
        </pc:spChg>
        <pc:spChg chg="add del mod modVis">
          <ac:chgData name="Bianca Ardito" userId="3dbb30f507a110b6" providerId="LiveId" clId="{FE5803BF-6207-4B37-AF25-E2212107113F}" dt="2024-05-24T03:24:11.986" v="1384"/>
          <ac:spMkLst>
            <pc:docMk/>
            <pc:sldMk cId="334684121" sldId="307"/>
            <ac:spMk id="7" creationId="{E0B2D423-60E3-4B94-1419-73358604FF82}"/>
          </ac:spMkLst>
        </pc:spChg>
        <pc:spChg chg="add del mod modVis">
          <ac:chgData name="Bianca Ardito" userId="3dbb30f507a110b6" providerId="LiveId" clId="{FE5803BF-6207-4B37-AF25-E2212107113F}" dt="2024-05-24T03:32:39.759" v="2321"/>
          <ac:spMkLst>
            <pc:docMk/>
            <pc:sldMk cId="334684121" sldId="307"/>
            <ac:spMk id="11" creationId="{BD29D578-C781-F1A4-8E31-919E1330A5E7}"/>
          </ac:spMkLst>
        </pc:spChg>
        <pc:spChg chg="add del mod modVis">
          <ac:chgData name="Bianca Ardito" userId="3dbb30f507a110b6" providerId="LiveId" clId="{FE5803BF-6207-4B37-AF25-E2212107113F}" dt="2024-05-24T03:32:59.625" v="3062"/>
          <ac:spMkLst>
            <pc:docMk/>
            <pc:sldMk cId="334684121" sldId="307"/>
            <ac:spMk id="12" creationId="{9A0955C4-644B-8C4E-E2D9-E16A6F6A06FA}"/>
          </ac:spMkLst>
        </pc:spChg>
        <pc:graphicFrameChg chg="mod">
          <ac:chgData name="Bianca Ardito" userId="3dbb30f507a110b6" providerId="LiveId" clId="{FE5803BF-6207-4B37-AF25-E2212107113F}" dt="2024-05-24T03:32:59.625" v="3064"/>
          <ac:graphicFrameMkLst>
            <pc:docMk/>
            <pc:sldMk cId="334684121" sldId="307"/>
            <ac:graphicFrameMk id="4" creationId="{1A984485-0AAD-1A67-AA82-047C01D2F6F3}"/>
          </ac:graphicFrameMkLst>
        </pc:graphicFrameChg>
      </pc:sldChg>
      <pc:sldChg chg="addSp delSp modSp mod">
        <pc:chgData name="Bianca Ardito" userId="3dbb30f507a110b6" providerId="LiveId" clId="{FE5803BF-6207-4B37-AF25-E2212107113F}" dt="2024-05-24T03:39:17.836" v="3267" actId="207"/>
        <pc:sldMkLst>
          <pc:docMk/>
          <pc:sldMk cId="2508522238" sldId="324"/>
        </pc:sldMkLst>
        <pc:spChg chg="add del mod modVis">
          <ac:chgData name="Bianca Ardito" userId="3dbb30f507a110b6" providerId="LiveId" clId="{FE5803BF-6207-4B37-AF25-E2212107113F}" dt="2024-05-24T03:22:45.326" v="730"/>
          <ac:spMkLst>
            <pc:docMk/>
            <pc:sldMk cId="2508522238" sldId="324"/>
            <ac:spMk id="2" creationId="{6E3F2EBC-94FE-73C4-5B5B-3E46F30C85A5}"/>
          </ac:spMkLst>
        </pc:spChg>
        <pc:spChg chg="add del mod modVis">
          <ac:chgData name="Bianca Ardito" userId="3dbb30f507a110b6" providerId="LiveId" clId="{FE5803BF-6207-4B37-AF25-E2212107113F}" dt="2024-05-24T03:24:12.033" v="1474"/>
          <ac:spMkLst>
            <pc:docMk/>
            <pc:sldMk cId="2508522238" sldId="324"/>
            <ac:spMk id="3" creationId="{B0D88515-0F62-DC43-E1F0-BC85746F63DF}"/>
          </ac:spMkLst>
        </pc:spChg>
        <pc:spChg chg="add del mod modVis">
          <ac:chgData name="Bianca Ardito" userId="3dbb30f507a110b6" providerId="LiveId" clId="{FE5803BF-6207-4B37-AF25-E2212107113F}" dt="2024-05-24T03:32:39.790" v="2411"/>
          <ac:spMkLst>
            <pc:docMk/>
            <pc:sldMk cId="2508522238" sldId="324"/>
            <ac:spMk id="5" creationId="{C017D5D4-9168-7DA9-01EB-06D6E3813B21}"/>
          </ac:spMkLst>
        </pc:spChg>
        <pc:spChg chg="mod">
          <ac:chgData name="Bianca Ardito" userId="3dbb30f507a110b6" providerId="LiveId" clId="{FE5803BF-6207-4B37-AF25-E2212107113F}" dt="2024-05-24T03:32:59.501" v="2956" actId="948"/>
          <ac:spMkLst>
            <pc:docMk/>
            <pc:sldMk cId="2508522238" sldId="324"/>
            <ac:spMk id="8" creationId="{5088C15A-C182-1446-8C6C-732390AFA250}"/>
          </ac:spMkLst>
        </pc:spChg>
        <pc:spChg chg="add del mod modVis">
          <ac:chgData name="Bianca Ardito" userId="3dbb30f507a110b6" providerId="LiveId" clId="{FE5803BF-6207-4B37-AF25-E2212107113F}" dt="2024-05-24T03:32:59.672" v="3152"/>
          <ac:spMkLst>
            <pc:docMk/>
            <pc:sldMk cId="2508522238" sldId="324"/>
            <ac:spMk id="19" creationId="{33F5AAF5-781D-2140-0D1D-8706686D5298}"/>
          </ac:spMkLst>
        </pc:spChg>
        <pc:spChg chg="del">
          <ac:chgData name="Bianca Ardito" userId="3dbb30f507a110b6" providerId="LiveId" clId="{FE5803BF-6207-4B37-AF25-E2212107113F}" dt="2024-05-24T03:38:14.266" v="3258" actId="478"/>
          <ac:spMkLst>
            <pc:docMk/>
            <pc:sldMk cId="2508522238" sldId="324"/>
            <ac:spMk id="20" creationId="{5526A522-DDAC-F341-9C5E-B587B80C7887}"/>
          </ac:spMkLst>
        </pc:spChg>
        <pc:spChg chg="del">
          <ac:chgData name="Bianca Ardito" userId="3dbb30f507a110b6" providerId="LiveId" clId="{FE5803BF-6207-4B37-AF25-E2212107113F}" dt="2024-05-24T03:38:14.266" v="3258" actId="478"/>
          <ac:spMkLst>
            <pc:docMk/>
            <pc:sldMk cId="2508522238" sldId="324"/>
            <ac:spMk id="22" creationId="{1477CA6B-296A-974F-825C-A26C969491D5}"/>
          </ac:spMkLst>
        </pc:spChg>
        <pc:spChg chg="del">
          <ac:chgData name="Bianca Ardito" userId="3dbb30f507a110b6" providerId="LiveId" clId="{FE5803BF-6207-4B37-AF25-E2212107113F}" dt="2024-05-24T03:38:14.266" v="3258" actId="478"/>
          <ac:spMkLst>
            <pc:docMk/>
            <pc:sldMk cId="2508522238" sldId="324"/>
            <ac:spMk id="24" creationId="{EBE6ECDD-2664-FD4D-AA67-4104E0DD6615}"/>
          </ac:spMkLst>
        </pc:spChg>
        <pc:spChg chg="mod">
          <ac:chgData name="Bianca Ardito" userId="3dbb30f507a110b6" providerId="LiveId" clId="{FE5803BF-6207-4B37-AF25-E2212107113F}" dt="2024-05-24T03:39:17.836" v="3267" actId="207"/>
          <ac:spMkLst>
            <pc:docMk/>
            <pc:sldMk cId="2508522238" sldId="324"/>
            <ac:spMk id="36" creationId="{0AAC1F2C-44EB-E34F-892E-3F2BA19B03DC}"/>
          </ac:spMkLst>
        </pc:spChg>
        <pc:spChg chg="mod">
          <ac:chgData name="Bianca Ardito" userId="3dbb30f507a110b6" providerId="LiveId" clId="{FE5803BF-6207-4B37-AF25-E2212107113F}" dt="2024-05-24T03:39:02.866" v="3263" actId="207"/>
          <ac:spMkLst>
            <pc:docMk/>
            <pc:sldMk cId="2508522238" sldId="324"/>
            <ac:spMk id="43" creationId="{73601210-9879-CC40-978F-FAE37EE7BAC8}"/>
          </ac:spMkLst>
        </pc:spChg>
        <pc:spChg chg="mod">
          <ac:chgData name="Bianca Ardito" userId="3dbb30f507a110b6" providerId="LiveId" clId="{FE5803BF-6207-4B37-AF25-E2212107113F}" dt="2024-05-24T03:39:09.394" v="3264" actId="208"/>
          <ac:spMkLst>
            <pc:docMk/>
            <pc:sldMk cId="2508522238" sldId="324"/>
            <ac:spMk id="44" creationId="{19E6A572-2087-F64D-9B3A-87BCC0C92105}"/>
          </ac:spMkLst>
        </pc:spChg>
        <pc:spChg chg="mod">
          <ac:chgData name="Bianca Ardito" userId="3dbb30f507a110b6" providerId="LiveId" clId="{FE5803BF-6207-4B37-AF25-E2212107113F}" dt="2024-05-24T03:38:56.673" v="3261" actId="208"/>
          <ac:spMkLst>
            <pc:docMk/>
            <pc:sldMk cId="2508522238" sldId="324"/>
            <ac:spMk id="45" creationId="{4C40F3B3-E60C-C94C-8AD9-6B541F48906C}"/>
          </ac:spMkLst>
        </pc:spChg>
        <pc:spChg chg="mod">
          <ac:chgData name="Bianca Ardito" userId="3dbb30f507a110b6" providerId="LiveId" clId="{FE5803BF-6207-4B37-AF25-E2212107113F}" dt="2024-05-24T03:39:14.180" v="3266" actId="207"/>
          <ac:spMkLst>
            <pc:docMk/>
            <pc:sldMk cId="2508522238" sldId="324"/>
            <ac:spMk id="46" creationId="{37A02833-EE9C-044D-95F0-0E56B4D6C22F}"/>
          </ac:spMkLst>
        </pc:spChg>
        <pc:spChg chg="mod">
          <ac:chgData name="Bianca Ardito" userId="3dbb30f507a110b6" providerId="LiveId" clId="{FE5803BF-6207-4B37-AF25-E2212107113F}" dt="2024-05-24T03:39:11.813" v="3265" actId="208"/>
          <ac:spMkLst>
            <pc:docMk/>
            <pc:sldMk cId="2508522238" sldId="324"/>
            <ac:spMk id="47" creationId="{466D4781-0D5A-DE42-A56D-E0DF54458C2E}"/>
          </ac:spMkLst>
        </pc:spChg>
        <pc:spChg chg="mod">
          <ac:chgData name="Bianca Ardito" userId="3dbb30f507a110b6" providerId="LiveId" clId="{FE5803BF-6207-4B37-AF25-E2212107113F}" dt="2024-05-24T03:38:59.063" v="3262" actId="208"/>
          <ac:spMkLst>
            <pc:docMk/>
            <pc:sldMk cId="2508522238" sldId="324"/>
            <ac:spMk id="48" creationId="{756D642C-1721-464C-AB3E-FC9D5F6E4F56}"/>
          </ac:spMkLst>
        </pc:spChg>
        <pc:spChg chg="mod">
          <ac:chgData name="Bianca Ardito" userId="3dbb30f507a110b6" providerId="LiveId" clId="{FE5803BF-6207-4B37-AF25-E2212107113F}" dt="2024-05-24T03:38:17.604" v="3259" actId="1076"/>
          <ac:spMkLst>
            <pc:docMk/>
            <pc:sldMk cId="2508522238" sldId="324"/>
            <ac:spMk id="66" creationId="{FDF90A7A-DD5E-68B4-62D2-A24E36E5541F}"/>
          </ac:spMkLst>
        </pc:spChg>
        <pc:spChg chg="mod">
          <ac:chgData name="Bianca Ardito" userId="3dbb30f507a110b6" providerId="LiveId" clId="{FE5803BF-6207-4B37-AF25-E2212107113F}" dt="2024-05-24T03:38:17.604" v="3259" actId="1076"/>
          <ac:spMkLst>
            <pc:docMk/>
            <pc:sldMk cId="2508522238" sldId="324"/>
            <ac:spMk id="67" creationId="{C28B9F86-65BF-2146-34BE-249A5900BDA3}"/>
          </ac:spMkLst>
        </pc:spChg>
        <pc:spChg chg="mod">
          <ac:chgData name="Bianca Ardito" userId="3dbb30f507a110b6" providerId="LiveId" clId="{FE5803BF-6207-4B37-AF25-E2212107113F}" dt="2024-05-24T03:38:17.604" v="3259" actId="1076"/>
          <ac:spMkLst>
            <pc:docMk/>
            <pc:sldMk cId="2508522238" sldId="324"/>
            <ac:spMk id="68" creationId="{D1118D85-E191-C7D5-2FE7-269142B45E16}"/>
          </ac:spMkLst>
        </pc:spChg>
        <pc:graphicFrameChg chg="mod">
          <ac:chgData name="Bianca Ardito" userId="3dbb30f507a110b6" providerId="LiveId" clId="{FE5803BF-6207-4B37-AF25-E2212107113F}" dt="2024-05-24T03:32:59.672" v="3154"/>
          <ac:graphicFrameMkLst>
            <pc:docMk/>
            <pc:sldMk cId="2508522238" sldId="324"/>
            <ac:graphicFrameMk id="55" creationId="{C046F978-4EB2-05F8-0DB4-966324481789}"/>
          </ac:graphicFrameMkLst>
        </pc:graphicFrameChg>
      </pc:sldChg>
      <pc:sldChg chg="addSp delSp modSp mod chgLayout">
        <pc:chgData name="Bianca Ardito" userId="3dbb30f507a110b6" providerId="LiveId" clId="{FE5803BF-6207-4B37-AF25-E2212107113F}" dt="2024-05-24T03:31:14.050" v="1700" actId="478"/>
        <pc:sldMkLst>
          <pc:docMk/>
          <pc:sldMk cId="3014416030" sldId="328"/>
        </pc:sldMkLst>
        <pc:spChg chg="del mod ord">
          <ac:chgData name="Bianca Ardito" userId="3dbb30f507a110b6" providerId="LiveId" clId="{FE5803BF-6207-4B37-AF25-E2212107113F}" dt="2024-05-24T03:31:11.368" v="1699" actId="478"/>
          <ac:spMkLst>
            <pc:docMk/>
            <pc:sldMk cId="3014416030" sldId="328"/>
            <ac:spMk id="3" creationId="{ADC54570-B39D-BF47-A961-B2ECCA1D2627}"/>
          </ac:spMkLst>
        </pc:spChg>
        <pc:spChg chg="del mod ord">
          <ac:chgData name="Bianca Ardito" userId="3dbb30f507a110b6" providerId="LiveId" clId="{FE5803BF-6207-4B37-AF25-E2212107113F}" dt="2024-05-24T03:31:14.050" v="1700" actId="478"/>
          <ac:spMkLst>
            <pc:docMk/>
            <pc:sldMk cId="3014416030" sldId="328"/>
            <ac:spMk id="4" creationId="{AF323748-4D3B-C84D-ABD3-6093B3F01F29}"/>
          </ac:spMkLst>
        </pc:spChg>
        <pc:spChg chg="add del mod">
          <ac:chgData name="Bianca Ardito" userId="3dbb30f507a110b6" providerId="LiveId" clId="{FE5803BF-6207-4B37-AF25-E2212107113F}" dt="2024-05-24T03:31:09.841" v="1698" actId="6264"/>
          <ac:spMkLst>
            <pc:docMk/>
            <pc:sldMk cId="3014416030" sldId="328"/>
            <ac:spMk id="6" creationId="{B447D5B5-7877-1946-E7CE-425E45B0EC4F}"/>
          </ac:spMkLst>
        </pc:spChg>
        <pc:spChg chg="add del mod">
          <ac:chgData name="Bianca Ardito" userId="3dbb30f507a110b6" providerId="LiveId" clId="{FE5803BF-6207-4B37-AF25-E2212107113F}" dt="2024-05-24T03:31:09.841" v="1698" actId="6264"/>
          <ac:spMkLst>
            <pc:docMk/>
            <pc:sldMk cId="3014416030" sldId="328"/>
            <ac:spMk id="7" creationId="{14304AB4-33BE-8B15-D922-F3B3931DFD0D}"/>
          </ac:spMkLst>
        </pc:spChg>
        <pc:spChg chg="del">
          <ac:chgData name="Bianca Ardito" userId="3dbb30f507a110b6" providerId="LiveId" clId="{FE5803BF-6207-4B37-AF25-E2212107113F}" dt="2024-05-24T03:31:09.841" v="1698" actId="6264"/>
          <ac:spMkLst>
            <pc:docMk/>
            <pc:sldMk cId="3014416030" sldId="328"/>
            <ac:spMk id="8" creationId="{71F8A5C8-F857-7012-7846-67C7C64B7F0D}"/>
          </ac:spMkLst>
        </pc:spChg>
        <pc:spChg chg="add mod ord">
          <ac:chgData name="Bianca Ardito" userId="3dbb30f507a110b6" providerId="LiveId" clId="{FE5803BF-6207-4B37-AF25-E2212107113F}" dt="2024-05-24T03:31:09.841" v="1698" actId="6264"/>
          <ac:spMkLst>
            <pc:docMk/>
            <pc:sldMk cId="3014416030" sldId="328"/>
            <ac:spMk id="10" creationId="{919ED2A6-6344-D2D9-4EEC-D9832D8AA40B}"/>
          </ac:spMkLst>
        </pc:spChg>
        <pc:spChg chg="add mod">
          <ac:chgData name="Bianca Ardito" userId="3dbb30f507a110b6" providerId="LiveId" clId="{FE5803BF-6207-4B37-AF25-E2212107113F}" dt="2024-05-24T03:31:11.368" v="1699" actId="478"/>
          <ac:spMkLst>
            <pc:docMk/>
            <pc:sldMk cId="3014416030" sldId="328"/>
            <ac:spMk id="12" creationId="{45CC7CC8-EDA2-2D60-9761-879982CCD379}"/>
          </ac:spMkLst>
        </pc:spChg>
        <pc:spChg chg="add mod">
          <ac:chgData name="Bianca Ardito" userId="3dbb30f507a110b6" providerId="LiveId" clId="{FE5803BF-6207-4B37-AF25-E2212107113F}" dt="2024-05-24T03:31:14.050" v="1700" actId="478"/>
          <ac:spMkLst>
            <pc:docMk/>
            <pc:sldMk cId="3014416030" sldId="328"/>
            <ac:spMk id="14" creationId="{C85EFF4C-4805-0162-49CA-67EC9FAEA0DA}"/>
          </ac:spMkLst>
        </pc:spChg>
        <pc:picChg chg="add del mod">
          <ac:chgData name="Bianca Ardito" userId="3dbb30f507a110b6" providerId="LiveId" clId="{FE5803BF-6207-4B37-AF25-E2212107113F}" dt="2024-05-24T03:30:10.734" v="1684"/>
          <ac:picMkLst>
            <pc:docMk/>
            <pc:sldMk cId="3014416030" sldId="328"/>
            <ac:picMk id="2" creationId="{E392895A-6756-1E2E-789E-4445E53FE074}"/>
          </ac:picMkLst>
        </pc:picChg>
        <pc:picChg chg="mod">
          <ac:chgData name="Bianca Ardito" userId="3dbb30f507a110b6" providerId="LiveId" clId="{FE5803BF-6207-4B37-AF25-E2212107113F}" dt="2024-05-24T03:30:10.734" v="1684"/>
          <ac:picMkLst>
            <pc:docMk/>
            <pc:sldMk cId="3014416030" sldId="328"/>
            <ac:picMk id="5" creationId="{B71930DA-8A2D-5BAD-55E7-E5D6F3C74AA9}"/>
          </ac:picMkLst>
        </pc:picChg>
        <pc:picChg chg="del mod">
          <ac:chgData name="Bianca Ardito" userId="3dbb30f507a110b6" providerId="LiveId" clId="{FE5803BF-6207-4B37-AF25-E2212107113F}" dt="2024-05-24T03:30:10.734" v="1684"/>
          <ac:picMkLst>
            <pc:docMk/>
            <pc:sldMk cId="3014416030" sldId="328"/>
            <ac:picMk id="9" creationId="{7C1D22BE-1F34-F444-7021-D753FEB86D01}"/>
          </ac:picMkLst>
        </pc:picChg>
      </pc:sldChg>
      <pc:sldChg chg="addSp delSp modSp mod">
        <pc:chgData name="Bianca Ardito" userId="3dbb30f507a110b6" providerId="LiveId" clId="{FE5803BF-6207-4B37-AF25-E2212107113F}" dt="2024-05-24T03:32:59.640" v="3088"/>
        <pc:sldMkLst>
          <pc:docMk/>
          <pc:sldMk cId="2153145067" sldId="329"/>
        </pc:sldMkLst>
        <pc:spChg chg="mod">
          <ac:chgData name="Bianca Ardito" userId="3dbb30f507a110b6" providerId="LiveId" clId="{FE5803BF-6207-4B37-AF25-E2212107113F}" dt="2024-05-24T03:32:59.265" v="2662" actId="948"/>
          <ac:spMkLst>
            <pc:docMk/>
            <pc:sldMk cId="2153145067" sldId="329"/>
            <ac:spMk id="3" creationId="{50EE96D8-1876-4FDB-95D5-6E7326C92DF7}"/>
          </ac:spMkLst>
        </pc:spChg>
        <pc:spChg chg="add del mod modVis">
          <ac:chgData name="Bianca Ardito" userId="3dbb30f507a110b6" providerId="LiveId" clId="{FE5803BF-6207-4B37-AF25-E2212107113F}" dt="2024-05-24T03:22:45.306" v="664"/>
          <ac:spMkLst>
            <pc:docMk/>
            <pc:sldMk cId="2153145067" sldId="329"/>
            <ac:spMk id="5" creationId="{D8D7B937-C030-DF3E-C53B-BB1E8D886542}"/>
          </ac:spMkLst>
        </pc:spChg>
        <pc:spChg chg="add del mod modVis">
          <ac:chgData name="Bianca Ardito" userId="3dbb30f507a110b6" providerId="LiveId" clId="{FE5803BF-6207-4B37-AF25-E2212107113F}" dt="2024-05-24T03:24:12.002" v="1408"/>
          <ac:spMkLst>
            <pc:docMk/>
            <pc:sldMk cId="2153145067" sldId="329"/>
            <ac:spMk id="7" creationId="{DC325B4F-E87A-59EC-4427-6394443DDA95}"/>
          </ac:spMkLst>
        </pc:spChg>
        <pc:spChg chg="add del mod modVis">
          <ac:chgData name="Bianca Ardito" userId="3dbb30f507a110b6" providerId="LiveId" clId="{FE5803BF-6207-4B37-AF25-E2212107113F}" dt="2024-05-24T03:32:39.759" v="2345"/>
          <ac:spMkLst>
            <pc:docMk/>
            <pc:sldMk cId="2153145067" sldId="329"/>
            <ac:spMk id="8" creationId="{00BE74EF-4FAB-5A06-1ECD-A566D0064D31}"/>
          </ac:spMkLst>
        </pc:spChg>
        <pc:spChg chg="add del mod modVis">
          <ac:chgData name="Bianca Ardito" userId="3dbb30f507a110b6" providerId="LiveId" clId="{FE5803BF-6207-4B37-AF25-E2212107113F}" dt="2024-05-24T03:32:59.640" v="3086"/>
          <ac:spMkLst>
            <pc:docMk/>
            <pc:sldMk cId="2153145067" sldId="329"/>
            <ac:spMk id="10" creationId="{9CB57543-B581-0747-61C5-D2977F5FAEBA}"/>
          </ac:spMkLst>
        </pc:spChg>
        <pc:graphicFrameChg chg="mod">
          <ac:chgData name="Bianca Ardito" userId="3dbb30f507a110b6" providerId="LiveId" clId="{FE5803BF-6207-4B37-AF25-E2212107113F}" dt="2024-05-24T03:32:59.640" v="3088"/>
          <ac:graphicFrameMkLst>
            <pc:docMk/>
            <pc:sldMk cId="2153145067" sldId="329"/>
            <ac:graphicFrameMk id="6" creationId="{E7CD19A8-500B-4F3B-5100-CBDB668EAB69}"/>
          </ac:graphicFrameMkLst>
        </pc:graphicFrameChg>
      </pc:sldChg>
      <pc:sldChg chg="addSp delSp modSp mod">
        <pc:chgData name="Bianca Ardito" userId="3dbb30f507a110b6" providerId="LiveId" clId="{FE5803BF-6207-4B37-AF25-E2212107113F}" dt="2024-05-24T03:34:54.420" v="3204" actId="478"/>
        <pc:sldMkLst>
          <pc:docMk/>
          <pc:sldMk cId="4109041084" sldId="330"/>
        </pc:sldMkLst>
        <pc:spChg chg="add del mod modVis">
          <ac:chgData name="Bianca Ardito" userId="3dbb30f507a110b6" providerId="LiveId" clId="{FE5803BF-6207-4B37-AF25-E2212107113F}" dt="2024-05-24T03:22:45.301" v="648"/>
          <ac:spMkLst>
            <pc:docMk/>
            <pc:sldMk cId="4109041084" sldId="330"/>
            <ac:spMk id="2" creationId="{B9206E68-96E9-537B-0A2E-FBDA14510A37}"/>
          </ac:spMkLst>
        </pc:spChg>
        <pc:spChg chg="add del mod modVis">
          <ac:chgData name="Bianca Ardito" userId="3dbb30f507a110b6" providerId="LiveId" clId="{FE5803BF-6207-4B37-AF25-E2212107113F}" dt="2024-05-24T03:24:12.002" v="1392"/>
          <ac:spMkLst>
            <pc:docMk/>
            <pc:sldMk cId="4109041084" sldId="330"/>
            <ac:spMk id="4" creationId="{7BDCBD5C-2E39-E197-2AF2-34B4D5079546}"/>
          </ac:spMkLst>
        </pc:spChg>
        <pc:spChg chg="mod">
          <ac:chgData name="Bianca Ardito" userId="3dbb30f507a110b6" providerId="LiveId" clId="{FE5803BF-6207-4B37-AF25-E2212107113F}" dt="2024-05-24T03:32:59.202" v="2582" actId="948"/>
          <ac:spMkLst>
            <pc:docMk/>
            <pc:sldMk cId="4109041084" sldId="330"/>
            <ac:spMk id="5" creationId="{9611BD2B-71CC-EF4E-8A2D-A395ADD682AF}"/>
          </ac:spMkLst>
        </pc:spChg>
        <pc:spChg chg="add del mod modVis">
          <ac:chgData name="Bianca Ardito" userId="3dbb30f507a110b6" providerId="LiveId" clId="{FE5803BF-6207-4B37-AF25-E2212107113F}" dt="2024-05-24T03:32:39.759" v="2329"/>
          <ac:spMkLst>
            <pc:docMk/>
            <pc:sldMk cId="4109041084" sldId="330"/>
            <ac:spMk id="12" creationId="{2325F71F-8BB5-74A5-9F12-9E71ABE24BD9}"/>
          </ac:spMkLst>
        </pc:spChg>
        <pc:spChg chg="add del mod modVis">
          <ac:chgData name="Bianca Ardito" userId="3dbb30f507a110b6" providerId="LiveId" clId="{FE5803BF-6207-4B37-AF25-E2212107113F}" dt="2024-05-24T03:32:59.625" v="3070"/>
          <ac:spMkLst>
            <pc:docMk/>
            <pc:sldMk cId="4109041084" sldId="330"/>
            <ac:spMk id="13" creationId="{9592EBEE-F32D-821D-FB54-D79B27A882E4}"/>
          </ac:spMkLst>
        </pc:spChg>
        <pc:spChg chg="add del mod">
          <ac:chgData name="Bianca Ardito" userId="3dbb30f507a110b6" providerId="LiveId" clId="{FE5803BF-6207-4B37-AF25-E2212107113F}" dt="2024-05-24T03:34:47.538" v="3201" actId="478"/>
          <ac:spMkLst>
            <pc:docMk/>
            <pc:sldMk cId="4109041084" sldId="330"/>
            <ac:spMk id="18" creationId="{F4C40FC7-1317-842A-2FAF-86D74934D453}"/>
          </ac:spMkLst>
        </pc:spChg>
        <pc:spChg chg="add del mod">
          <ac:chgData name="Bianca Ardito" userId="3dbb30f507a110b6" providerId="LiveId" clId="{FE5803BF-6207-4B37-AF25-E2212107113F}" dt="2024-05-24T03:34:54.420" v="3204" actId="478"/>
          <ac:spMkLst>
            <pc:docMk/>
            <pc:sldMk cId="4109041084" sldId="330"/>
            <ac:spMk id="20" creationId="{F78A6AC9-9359-7BC0-957D-8DAF4855F9F7}"/>
          </ac:spMkLst>
        </pc:spChg>
        <pc:graphicFrameChg chg="mod">
          <ac:chgData name="Bianca Ardito" userId="3dbb30f507a110b6" providerId="LiveId" clId="{FE5803BF-6207-4B37-AF25-E2212107113F}" dt="2024-05-24T03:32:59.625" v="3072"/>
          <ac:graphicFrameMkLst>
            <pc:docMk/>
            <pc:sldMk cId="4109041084" sldId="330"/>
            <ac:graphicFrameMk id="3" creationId="{986F7777-7494-568C-94FB-D0E1574C52B8}"/>
          </ac:graphicFrameMkLst>
        </pc:graphicFrameChg>
        <pc:graphicFrameChg chg="mod">
          <ac:chgData name="Bianca Ardito" userId="3dbb30f507a110b6" providerId="LiveId" clId="{FE5803BF-6207-4B37-AF25-E2212107113F}" dt="2024-05-24T03:34:37.284" v="3198" actId="208"/>
          <ac:graphicFrameMkLst>
            <pc:docMk/>
            <pc:sldMk cId="4109041084" sldId="330"/>
            <ac:graphicFrameMk id="14" creationId="{9A5755E4-E38E-264F-A7CD-F61E28DC3333}"/>
          </ac:graphicFrameMkLst>
        </pc:graphicFrameChg>
        <pc:graphicFrameChg chg="del">
          <ac:chgData name="Bianca Ardito" userId="3dbb30f507a110b6" providerId="LiveId" clId="{FE5803BF-6207-4B37-AF25-E2212107113F}" dt="2024-05-24T03:34:16.280" v="3195" actId="478"/>
          <ac:graphicFrameMkLst>
            <pc:docMk/>
            <pc:sldMk cId="4109041084" sldId="330"/>
            <ac:graphicFrameMk id="15" creationId="{46730FA1-8BBB-7743-9623-DA3F0B3AF37F}"/>
          </ac:graphicFrameMkLst>
        </pc:graphicFrameChg>
        <pc:graphicFrameChg chg="del">
          <ac:chgData name="Bianca Ardito" userId="3dbb30f507a110b6" providerId="LiveId" clId="{FE5803BF-6207-4B37-AF25-E2212107113F}" dt="2024-05-24T03:34:16.280" v="3195" actId="478"/>
          <ac:graphicFrameMkLst>
            <pc:docMk/>
            <pc:sldMk cId="4109041084" sldId="330"/>
            <ac:graphicFrameMk id="16" creationId="{C2FEEB98-432A-D644-A8EB-C3564098DBB7}"/>
          </ac:graphicFrameMkLst>
        </pc:graphicFrameChg>
        <pc:graphicFrameChg chg="add mod">
          <ac:chgData name="Bianca Ardito" userId="3dbb30f507a110b6" providerId="LiveId" clId="{FE5803BF-6207-4B37-AF25-E2212107113F}" dt="2024-05-24T03:34:45.969" v="3200" actId="553"/>
          <ac:graphicFrameMkLst>
            <pc:docMk/>
            <pc:sldMk cId="4109041084" sldId="330"/>
            <ac:graphicFrameMk id="21" creationId="{47F15F89-7338-C61B-907E-DFCA4252C6A0}"/>
          </ac:graphicFrameMkLst>
        </pc:graphicFrameChg>
        <pc:graphicFrameChg chg="add mod">
          <ac:chgData name="Bianca Ardito" userId="3dbb30f507a110b6" providerId="LiveId" clId="{FE5803BF-6207-4B37-AF25-E2212107113F}" dt="2024-05-24T03:34:52.999" v="3203" actId="553"/>
          <ac:graphicFrameMkLst>
            <pc:docMk/>
            <pc:sldMk cId="4109041084" sldId="330"/>
            <ac:graphicFrameMk id="22" creationId="{47783D88-8BF9-7F08-A2CF-6CE9F66E7AA6}"/>
          </ac:graphicFrameMkLst>
        </pc:graphicFrameChg>
      </pc:sldChg>
      <pc:sldChg chg="addSp delSp modSp del mod">
        <pc:chgData name="Bianca Ardito" userId="3dbb30f507a110b6" providerId="LiveId" clId="{FE5803BF-6207-4B37-AF25-E2212107113F}" dt="2024-05-24T03:33:28.542" v="3187" actId="47"/>
        <pc:sldMkLst>
          <pc:docMk/>
          <pc:sldMk cId="3863353278" sldId="331"/>
        </pc:sldMkLst>
        <pc:spChg chg="add del mod modVis">
          <ac:chgData name="Bianca Ardito" userId="3dbb30f507a110b6" providerId="LiveId" clId="{FE5803BF-6207-4B37-AF25-E2212107113F}" dt="2024-05-24T03:22:45.299" v="644"/>
          <ac:spMkLst>
            <pc:docMk/>
            <pc:sldMk cId="3863353278" sldId="331"/>
            <ac:spMk id="2" creationId="{62EC556D-C111-7C0B-C7D1-B23B19C347B6}"/>
          </ac:spMkLst>
        </pc:spChg>
        <pc:spChg chg="mod">
          <ac:chgData name="Bianca Ardito" userId="3dbb30f507a110b6" providerId="LiveId" clId="{FE5803BF-6207-4B37-AF25-E2212107113F}" dt="2024-05-24T03:32:59.170" v="2562" actId="948"/>
          <ac:spMkLst>
            <pc:docMk/>
            <pc:sldMk cId="3863353278" sldId="331"/>
            <ac:spMk id="3" creationId="{26F52ABF-064E-43AF-A6A2-827750A7CFEC}"/>
          </ac:spMkLst>
        </pc:spChg>
        <pc:spChg chg="add del mod modVis">
          <ac:chgData name="Bianca Ardito" userId="3dbb30f507a110b6" providerId="LiveId" clId="{FE5803BF-6207-4B37-AF25-E2212107113F}" dt="2024-05-24T03:24:11.986" v="1388"/>
          <ac:spMkLst>
            <pc:docMk/>
            <pc:sldMk cId="3863353278" sldId="331"/>
            <ac:spMk id="4" creationId="{659DBAB0-0A4D-C5D6-D5FA-C454E3147770}"/>
          </ac:spMkLst>
        </pc:spChg>
        <pc:spChg chg="add del mod modVis">
          <ac:chgData name="Bianca Ardito" userId="3dbb30f507a110b6" providerId="LiveId" clId="{FE5803BF-6207-4B37-AF25-E2212107113F}" dt="2024-05-24T03:32:39.759" v="2325"/>
          <ac:spMkLst>
            <pc:docMk/>
            <pc:sldMk cId="3863353278" sldId="331"/>
            <ac:spMk id="5" creationId="{526C2E63-109C-0AE2-2B7E-37743F783F03}"/>
          </ac:spMkLst>
        </pc:spChg>
        <pc:spChg chg="add del mod modVis">
          <ac:chgData name="Bianca Ardito" userId="3dbb30f507a110b6" providerId="LiveId" clId="{FE5803BF-6207-4B37-AF25-E2212107113F}" dt="2024-05-24T03:32:59.625" v="3066"/>
          <ac:spMkLst>
            <pc:docMk/>
            <pc:sldMk cId="3863353278" sldId="331"/>
            <ac:spMk id="8" creationId="{D5965834-6FF0-8C52-013E-60FDA38BF551}"/>
          </ac:spMkLst>
        </pc:spChg>
        <pc:graphicFrameChg chg="mod">
          <ac:chgData name="Bianca Ardito" userId="3dbb30f507a110b6" providerId="LiveId" clId="{FE5803BF-6207-4B37-AF25-E2212107113F}" dt="2024-05-24T03:32:59.625" v="3068"/>
          <ac:graphicFrameMkLst>
            <pc:docMk/>
            <pc:sldMk cId="3863353278" sldId="331"/>
            <ac:graphicFrameMk id="10" creationId="{CC3E97D6-7A1B-4E8A-E1CB-438005B10F8F}"/>
          </ac:graphicFrameMkLst>
        </pc:graphicFrameChg>
      </pc:sldChg>
      <pc:sldChg chg="addSp delSp modSp mod">
        <pc:chgData name="Bianca Ardito" userId="3dbb30f507a110b6" providerId="LiveId" clId="{FE5803BF-6207-4B37-AF25-E2212107113F}" dt="2024-05-24T03:35:30.026" v="3212" actId="208"/>
        <pc:sldMkLst>
          <pc:docMk/>
          <pc:sldMk cId="2641451638" sldId="332"/>
        </pc:sldMkLst>
        <pc:spChg chg="mod">
          <ac:chgData name="Bianca Ardito" userId="3dbb30f507a110b6" providerId="LiveId" clId="{FE5803BF-6207-4B37-AF25-E2212107113F}" dt="2024-05-24T03:32:59.249" v="2642" actId="948"/>
          <ac:spMkLst>
            <pc:docMk/>
            <pc:sldMk cId="2641451638" sldId="332"/>
            <ac:spMk id="4" creationId="{865CC974-3D39-314B-9E53-0F00D5A825AA}"/>
          </ac:spMkLst>
        </pc:spChg>
        <pc:spChg chg="add del mod modVis">
          <ac:chgData name="Bianca Ardito" userId="3dbb30f507a110b6" providerId="LiveId" clId="{FE5803BF-6207-4B37-AF25-E2212107113F}" dt="2024-05-24T03:22:45.306" v="660"/>
          <ac:spMkLst>
            <pc:docMk/>
            <pc:sldMk cId="2641451638" sldId="332"/>
            <ac:spMk id="8" creationId="{BA84D81A-39BC-4A76-A689-70F4743CCFBF}"/>
          </ac:spMkLst>
        </pc:spChg>
        <pc:spChg chg="add del mod modVis">
          <ac:chgData name="Bianca Ardito" userId="3dbb30f507a110b6" providerId="LiveId" clId="{FE5803BF-6207-4B37-AF25-E2212107113F}" dt="2024-05-24T03:24:12.002" v="1404"/>
          <ac:spMkLst>
            <pc:docMk/>
            <pc:sldMk cId="2641451638" sldId="332"/>
            <ac:spMk id="10" creationId="{6456A381-649B-BB88-B186-063FD5620C8F}"/>
          </ac:spMkLst>
        </pc:spChg>
        <pc:spChg chg="add del mod modVis">
          <ac:chgData name="Bianca Ardito" userId="3dbb30f507a110b6" providerId="LiveId" clId="{FE5803BF-6207-4B37-AF25-E2212107113F}" dt="2024-05-24T03:32:39.759" v="2341"/>
          <ac:spMkLst>
            <pc:docMk/>
            <pc:sldMk cId="2641451638" sldId="332"/>
            <ac:spMk id="11" creationId="{61720FC0-234F-1D49-A813-BD78CB5EF4AA}"/>
          </ac:spMkLst>
        </pc:spChg>
        <pc:spChg chg="add del mod modVis">
          <ac:chgData name="Bianca Ardito" userId="3dbb30f507a110b6" providerId="LiveId" clId="{FE5803BF-6207-4B37-AF25-E2212107113F}" dt="2024-05-24T03:32:59.640" v="3082"/>
          <ac:spMkLst>
            <pc:docMk/>
            <pc:sldMk cId="2641451638" sldId="332"/>
            <ac:spMk id="16" creationId="{33EC14BE-D1A9-EDEF-2A7D-7482C46E7CCB}"/>
          </ac:spMkLst>
        </pc:spChg>
        <pc:graphicFrameChg chg="mod">
          <ac:chgData name="Bianca Ardito" userId="3dbb30f507a110b6" providerId="LiveId" clId="{FE5803BF-6207-4B37-AF25-E2212107113F}" dt="2024-05-24T03:32:59.640" v="3084"/>
          <ac:graphicFrameMkLst>
            <pc:docMk/>
            <pc:sldMk cId="2641451638" sldId="332"/>
            <ac:graphicFrameMk id="9" creationId="{6AC92A13-FBA3-AF1F-C3C2-53C3FA9B247E}"/>
          </ac:graphicFrameMkLst>
        </pc:graphicFrameChg>
        <pc:graphicFrameChg chg="mod">
          <ac:chgData name="Bianca Ardito" userId="3dbb30f507a110b6" providerId="LiveId" clId="{FE5803BF-6207-4B37-AF25-E2212107113F}" dt="2024-05-24T03:35:11.998" v="3208" actId="207"/>
          <ac:graphicFrameMkLst>
            <pc:docMk/>
            <pc:sldMk cId="2641451638" sldId="332"/>
            <ac:graphicFrameMk id="12" creationId="{163FB56A-DCD7-774B-A509-22DFE83B06E6}"/>
          </ac:graphicFrameMkLst>
        </pc:graphicFrameChg>
        <pc:graphicFrameChg chg="mod">
          <ac:chgData name="Bianca Ardito" userId="3dbb30f507a110b6" providerId="LiveId" clId="{FE5803BF-6207-4B37-AF25-E2212107113F}" dt="2024-05-24T03:35:30.026" v="3212" actId="208"/>
          <ac:graphicFrameMkLst>
            <pc:docMk/>
            <pc:sldMk cId="2641451638" sldId="332"/>
            <ac:graphicFrameMk id="13" creationId="{68C8E5E1-A6D1-934E-BD8C-43542740B7C9}"/>
          </ac:graphicFrameMkLst>
        </pc:graphicFrameChg>
        <pc:graphicFrameChg chg="mod">
          <ac:chgData name="Bianca Ardito" userId="3dbb30f507a110b6" providerId="LiveId" clId="{FE5803BF-6207-4B37-AF25-E2212107113F}" dt="2024-05-24T03:35:18.193" v="3209" actId="207"/>
          <ac:graphicFrameMkLst>
            <pc:docMk/>
            <pc:sldMk cId="2641451638" sldId="332"/>
            <ac:graphicFrameMk id="14" creationId="{199639A7-8102-2F4C-AA53-FC6F691E1B12}"/>
          </ac:graphicFrameMkLst>
        </pc:graphicFrameChg>
      </pc:sldChg>
      <pc:sldChg chg="addSp delSp modSp mod">
        <pc:chgData name="Bianca Ardito" userId="3dbb30f507a110b6" providerId="LiveId" clId="{FE5803BF-6207-4B37-AF25-E2212107113F}" dt="2024-05-24T03:36:15.834" v="3219" actId="207"/>
        <pc:sldMkLst>
          <pc:docMk/>
          <pc:sldMk cId="811792675" sldId="334"/>
        </pc:sldMkLst>
        <pc:spChg chg="add del mod modVis">
          <ac:chgData name="Bianca Ardito" userId="3dbb30f507a110b6" providerId="LiveId" clId="{FE5803BF-6207-4B37-AF25-E2212107113F}" dt="2024-05-24T03:22:45.306" v="684"/>
          <ac:spMkLst>
            <pc:docMk/>
            <pc:sldMk cId="811792675" sldId="334"/>
            <ac:spMk id="2" creationId="{11A22EA4-EFE8-BF93-6049-336A3D05004A}"/>
          </ac:spMkLst>
        </pc:spChg>
        <pc:spChg chg="mod">
          <ac:chgData name="Bianca Ardito" userId="3dbb30f507a110b6" providerId="LiveId" clId="{FE5803BF-6207-4B37-AF25-E2212107113F}" dt="2024-05-24T03:32:59.344" v="2762" actId="948"/>
          <ac:spMkLst>
            <pc:docMk/>
            <pc:sldMk cId="811792675" sldId="334"/>
            <ac:spMk id="5" creationId="{5303CCFF-BA52-A64A-8BB6-07AD821FFC1F}"/>
          </ac:spMkLst>
        </pc:spChg>
        <pc:spChg chg="add del mod modVis">
          <ac:chgData name="Bianca Ardito" userId="3dbb30f507a110b6" providerId="LiveId" clId="{FE5803BF-6207-4B37-AF25-E2212107113F}" dt="2024-05-24T03:24:12.017" v="1428"/>
          <ac:spMkLst>
            <pc:docMk/>
            <pc:sldMk cId="811792675" sldId="334"/>
            <ac:spMk id="10" creationId="{7C0488F1-7206-563D-5001-0BC5FFA575AA}"/>
          </ac:spMkLst>
        </pc:spChg>
        <pc:spChg chg="add del mod modVis">
          <ac:chgData name="Bianca Ardito" userId="3dbb30f507a110b6" providerId="LiveId" clId="{FE5803BF-6207-4B37-AF25-E2212107113F}" dt="2024-05-24T03:32:39.774" v="2365"/>
          <ac:spMkLst>
            <pc:docMk/>
            <pc:sldMk cId="811792675" sldId="334"/>
            <ac:spMk id="11" creationId="{810362CA-4D16-D7E0-50EE-1E47D016DAD6}"/>
          </ac:spMkLst>
        </pc:spChg>
        <pc:spChg chg="add del mod modVis">
          <ac:chgData name="Bianca Ardito" userId="3dbb30f507a110b6" providerId="LiveId" clId="{FE5803BF-6207-4B37-AF25-E2212107113F}" dt="2024-05-24T03:32:59.640" v="3106"/>
          <ac:spMkLst>
            <pc:docMk/>
            <pc:sldMk cId="811792675" sldId="334"/>
            <ac:spMk id="12" creationId="{E567C61C-FAAE-22EC-038D-DE37415D7A52}"/>
          </ac:spMkLst>
        </pc:spChg>
        <pc:graphicFrameChg chg="mod">
          <ac:chgData name="Bianca Ardito" userId="3dbb30f507a110b6" providerId="LiveId" clId="{FE5803BF-6207-4B37-AF25-E2212107113F}" dt="2024-05-24T03:32:59.656" v="3108"/>
          <ac:graphicFrameMkLst>
            <pc:docMk/>
            <pc:sldMk cId="811792675" sldId="334"/>
            <ac:graphicFrameMk id="7" creationId="{43DBF374-FDC1-546F-9A8D-012EF2728EDF}"/>
          </ac:graphicFrameMkLst>
        </pc:graphicFrameChg>
        <pc:graphicFrameChg chg="modGraphic">
          <ac:chgData name="Bianca Ardito" userId="3dbb30f507a110b6" providerId="LiveId" clId="{FE5803BF-6207-4B37-AF25-E2212107113F}" dt="2024-05-24T03:36:15.834" v="3219" actId="207"/>
          <ac:graphicFrameMkLst>
            <pc:docMk/>
            <pc:sldMk cId="811792675" sldId="334"/>
            <ac:graphicFrameMk id="8" creationId="{D3D0E45B-E7D3-A945-AB16-A9CF28B13F74}"/>
          </ac:graphicFrameMkLst>
        </pc:graphicFrameChg>
      </pc:sldChg>
      <pc:sldChg chg="addSp delSp modSp mod">
        <pc:chgData name="Bianca Ardito" userId="3dbb30f507a110b6" providerId="LiveId" clId="{FE5803BF-6207-4B37-AF25-E2212107113F}" dt="2024-05-24T03:36:36.069" v="3224" actId="207"/>
        <pc:sldMkLst>
          <pc:docMk/>
          <pc:sldMk cId="1155733277" sldId="335"/>
        </pc:sldMkLst>
        <pc:spChg chg="add del mod modVis">
          <ac:chgData name="Bianca Ardito" userId="3dbb30f507a110b6" providerId="LiveId" clId="{FE5803BF-6207-4B37-AF25-E2212107113F}" dt="2024-05-24T03:22:45.306" v="692"/>
          <ac:spMkLst>
            <pc:docMk/>
            <pc:sldMk cId="1155733277" sldId="335"/>
            <ac:spMk id="2" creationId="{FFAAB4C8-24FB-ED60-4182-BC5CBCDA8999}"/>
          </ac:spMkLst>
        </pc:spChg>
        <pc:spChg chg="add del mod modVis">
          <ac:chgData name="Bianca Ardito" userId="3dbb30f507a110b6" providerId="LiveId" clId="{FE5803BF-6207-4B37-AF25-E2212107113F}" dt="2024-05-24T03:24:12.017" v="1436"/>
          <ac:spMkLst>
            <pc:docMk/>
            <pc:sldMk cId="1155733277" sldId="335"/>
            <ac:spMk id="4" creationId="{E2D0390C-16CC-877D-BB0C-39F62B552A0F}"/>
          </ac:spMkLst>
        </pc:spChg>
        <pc:spChg chg="mod">
          <ac:chgData name="Bianca Ardito" userId="3dbb30f507a110b6" providerId="LiveId" clId="{FE5803BF-6207-4B37-AF25-E2212107113F}" dt="2024-05-24T03:32:59.359" v="2782" actId="948"/>
          <ac:spMkLst>
            <pc:docMk/>
            <pc:sldMk cId="1155733277" sldId="335"/>
            <ac:spMk id="5" creationId="{5303CCFF-BA52-A64A-8BB6-07AD821FFC1F}"/>
          </ac:spMkLst>
        </pc:spChg>
        <pc:spChg chg="add del mod modVis">
          <ac:chgData name="Bianca Ardito" userId="3dbb30f507a110b6" providerId="LiveId" clId="{FE5803BF-6207-4B37-AF25-E2212107113F}" dt="2024-05-24T03:32:39.774" v="2373"/>
          <ac:spMkLst>
            <pc:docMk/>
            <pc:sldMk cId="1155733277" sldId="335"/>
            <ac:spMk id="6" creationId="{1B0AD283-1FB4-308D-D353-EAFDAD3D2ED1}"/>
          </ac:spMkLst>
        </pc:spChg>
        <pc:spChg chg="add del mod modVis">
          <ac:chgData name="Bianca Ardito" userId="3dbb30f507a110b6" providerId="LiveId" clId="{FE5803BF-6207-4B37-AF25-E2212107113F}" dt="2024-05-24T03:32:59.656" v="3114"/>
          <ac:spMkLst>
            <pc:docMk/>
            <pc:sldMk cId="1155733277" sldId="335"/>
            <ac:spMk id="7" creationId="{D245EEE5-0351-9103-281D-E82B31D467C2}"/>
          </ac:spMkLst>
        </pc:spChg>
        <pc:graphicFrameChg chg="mod">
          <ac:chgData name="Bianca Ardito" userId="3dbb30f507a110b6" providerId="LiveId" clId="{FE5803BF-6207-4B37-AF25-E2212107113F}" dt="2024-05-24T03:32:59.656" v="3116"/>
          <ac:graphicFrameMkLst>
            <pc:docMk/>
            <pc:sldMk cId="1155733277" sldId="335"/>
            <ac:graphicFrameMk id="3" creationId="{C992D1C2-4329-8F80-CF3E-F9E7903D080F}"/>
          </ac:graphicFrameMkLst>
        </pc:graphicFrameChg>
        <pc:graphicFrameChg chg="modGraphic">
          <ac:chgData name="Bianca Ardito" userId="3dbb30f507a110b6" providerId="LiveId" clId="{FE5803BF-6207-4B37-AF25-E2212107113F}" dt="2024-05-24T03:36:35.058" v="3223" actId="207"/>
          <ac:graphicFrameMkLst>
            <pc:docMk/>
            <pc:sldMk cId="1155733277" sldId="335"/>
            <ac:graphicFrameMk id="16" creationId="{EC21F79C-ECDA-EA49-9AC6-78B80C48632E}"/>
          </ac:graphicFrameMkLst>
        </pc:graphicFrameChg>
        <pc:graphicFrameChg chg="modGraphic">
          <ac:chgData name="Bianca Ardito" userId="3dbb30f507a110b6" providerId="LiveId" clId="{FE5803BF-6207-4B37-AF25-E2212107113F}" dt="2024-05-24T03:36:36.069" v="3224" actId="207"/>
          <ac:graphicFrameMkLst>
            <pc:docMk/>
            <pc:sldMk cId="1155733277" sldId="335"/>
            <ac:graphicFrameMk id="17" creationId="{FD3C34E2-57D2-6245-A471-70042A946B30}"/>
          </ac:graphicFrameMkLst>
        </pc:graphicFrameChg>
      </pc:sldChg>
      <pc:sldChg chg="addSp delSp modSp mod">
        <pc:chgData name="Bianca Ardito" userId="3dbb30f507a110b6" providerId="LiveId" clId="{FE5803BF-6207-4B37-AF25-E2212107113F}" dt="2024-05-24T03:36:31.567" v="3222" actId="207"/>
        <pc:sldMkLst>
          <pc:docMk/>
          <pc:sldMk cId="1676811444" sldId="336"/>
        </pc:sldMkLst>
        <pc:spChg chg="add del mod modVis">
          <ac:chgData name="Bianca Ardito" userId="3dbb30f507a110b6" providerId="LiveId" clId="{FE5803BF-6207-4B37-AF25-E2212107113F}" dt="2024-05-24T03:22:45.306" v="676"/>
          <ac:spMkLst>
            <pc:docMk/>
            <pc:sldMk cId="1676811444" sldId="336"/>
            <ac:spMk id="2" creationId="{1972B1F2-4460-12F2-9624-AECF5DBA2C54}"/>
          </ac:spMkLst>
        </pc:spChg>
        <pc:spChg chg="mod">
          <ac:chgData name="Bianca Ardito" userId="3dbb30f507a110b6" providerId="LiveId" clId="{FE5803BF-6207-4B37-AF25-E2212107113F}" dt="2024-05-24T03:32:59.312" v="2722" actId="948"/>
          <ac:spMkLst>
            <pc:docMk/>
            <pc:sldMk cId="1676811444" sldId="336"/>
            <ac:spMk id="5" creationId="{5303CCFF-BA52-A64A-8BB6-07AD821FFC1F}"/>
          </ac:spMkLst>
        </pc:spChg>
        <pc:spChg chg="add del mod modVis">
          <ac:chgData name="Bianca Ardito" userId="3dbb30f507a110b6" providerId="LiveId" clId="{FE5803BF-6207-4B37-AF25-E2212107113F}" dt="2024-05-24T03:24:12.002" v="1420"/>
          <ac:spMkLst>
            <pc:docMk/>
            <pc:sldMk cId="1676811444" sldId="336"/>
            <ac:spMk id="10" creationId="{B951AEBF-5068-6B67-9995-F9B8CE032CC6}"/>
          </ac:spMkLst>
        </pc:spChg>
        <pc:spChg chg="add del mod modVis">
          <ac:chgData name="Bianca Ardito" userId="3dbb30f507a110b6" providerId="LiveId" clId="{FE5803BF-6207-4B37-AF25-E2212107113F}" dt="2024-05-24T03:32:39.774" v="2357"/>
          <ac:spMkLst>
            <pc:docMk/>
            <pc:sldMk cId="1676811444" sldId="336"/>
            <ac:spMk id="11" creationId="{645CC8B2-530D-DE8F-7D59-1CA7CE2BDE34}"/>
          </ac:spMkLst>
        </pc:spChg>
        <pc:spChg chg="add del mod modVis">
          <ac:chgData name="Bianca Ardito" userId="3dbb30f507a110b6" providerId="LiveId" clId="{FE5803BF-6207-4B37-AF25-E2212107113F}" dt="2024-05-24T03:32:59.640" v="3098"/>
          <ac:spMkLst>
            <pc:docMk/>
            <pc:sldMk cId="1676811444" sldId="336"/>
            <ac:spMk id="12" creationId="{020E8922-1204-97B9-414D-50E6A89FCEFF}"/>
          </ac:spMkLst>
        </pc:spChg>
        <pc:graphicFrameChg chg="mod">
          <ac:chgData name="Bianca Ardito" userId="3dbb30f507a110b6" providerId="LiveId" clId="{FE5803BF-6207-4B37-AF25-E2212107113F}" dt="2024-05-24T03:32:59.640" v="3100"/>
          <ac:graphicFrameMkLst>
            <pc:docMk/>
            <pc:sldMk cId="1676811444" sldId="336"/>
            <ac:graphicFrameMk id="7" creationId="{7DF370F6-503F-126C-DA36-887FE057C9A2}"/>
          </ac:graphicFrameMkLst>
        </pc:graphicFrameChg>
        <pc:graphicFrameChg chg="modGraphic">
          <ac:chgData name="Bianca Ardito" userId="3dbb30f507a110b6" providerId="LiveId" clId="{FE5803BF-6207-4B37-AF25-E2212107113F}" dt="2024-05-24T03:36:31.567" v="3222" actId="207"/>
          <ac:graphicFrameMkLst>
            <pc:docMk/>
            <pc:sldMk cId="1676811444" sldId="336"/>
            <ac:graphicFrameMk id="8" creationId="{D3D0E45B-E7D3-A945-AB16-A9CF28B13F74}"/>
          </ac:graphicFrameMkLst>
        </pc:graphicFrameChg>
      </pc:sldChg>
      <pc:sldChg chg="addSp delSp modSp mod">
        <pc:chgData name="Bianca Ardito" userId="3dbb30f507a110b6" providerId="LiveId" clId="{FE5803BF-6207-4B37-AF25-E2212107113F}" dt="2024-05-24T03:36:26.511" v="3221" actId="207"/>
        <pc:sldMkLst>
          <pc:docMk/>
          <pc:sldMk cId="1403274909" sldId="337"/>
        </pc:sldMkLst>
        <pc:spChg chg="add del mod modVis">
          <ac:chgData name="Bianca Ardito" userId="3dbb30f507a110b6" providerId="LiveId" clId="{FE5803BF-6207-4B37-AF25-E2212107113F}" dt="2024-05-24T03:22:45.306" v="672"/>
          <ac:spMkLst>
            <pc:docMk/>
            <pc:sldMk cId="1403274909" sldId="337"/>
            <ac:spMk id="2" creationId="{0A9A0793-2297-F263-A9F6-9A3B1BA2BBAA}"/>
          </ac:spMkLst>
        </pc:spChg>
        <pc:spChg chg="mod">
          <ac:chgData name="Bianca Ardito" userId="3dbb30f507a110b6" providerId="LiveId" clId="{FE5803BF-6207-4B37-AF25-E2212107113F}" dt="2024-05-24T03:32:59.297" v="2702" actId="948"/>
          <ac:spMkLst>
            <pc:docMk/>
            <pc:sldMk cId="1403274909" sldId="337"/>
            <ac:spMk id="5" creationId="{5303CCFF-BA52-A64A-8BB6-07AD821FFC1F}"/>
          </ac:spMkLst>
        </pc:spChg>
        <pc:spChg chg="add del mod modVis">
          <ac:chgData name="Bianca Ardito" userId="3dbb30f507a110b6" providerId="LiveId" clId="{FE5803BF-6207-4B37-AF25-E2212107113F}" dt="2024-05-24T03:24:12.002" v="1416"/>
          <ac:spMkLst>
            <pc:docMk/>
            <pc:sldMk cId="1403274909" sldId="337"/>
            <ac:spMk id="9" creationId="{86048500-8EA3-2F6F-28A2-6CB00A96723A}"/>
          </ac:spMkLst>
        </pc:spChg>
        <pc:spChg chg="add del mod modVis">
          <ac:chgData name="Bianca Ardito" userId="3dbb30f507a110b6" providerId="LiveId" clId="{FE5803BF-6207-4B37-AF25-E2212107113F}" dt="2024-05-24T03:32:39.759" v="2353"/>
          <ac:spMkLst>
            <pc:docMk/>
            <pc:sldMk cId="1403274909" sldId="337"/>
            <ac:spMk id="10" creationId="{9108DCBB-9972-5B72-7F8B-D0A82063B58A}"/>
          </ac:spMkLst>
        </pc:spChg>
        <pc:spChg chg="add del mod modVis">
          <ac:chgData name="Bianca Ardito" userId="3dbb30f507a110b6" providerId="LiveId" clId="{FE5803BF-6207-4B37-AF25-E2212107113F}" dt="2024-05-24T03:32:59.640" v="3094"/>
          <ac:spMkLst>
            <pc:docMk/>
            <pc:sldMk cId="1403274909" sldId="337"/>
            <ac:spMk id="11" creationId="{0432C0B9-6734-7A95-08B8-3060C153B934}"/>
          </ac:spMkLst>
        </pc:spChg>
        <pc:graphicFrameChg chg="mod">
          <ac:chgData name="Bianca Ardito" userId="3dbb30f507a110b6" providerId="LiveId" clId="{FE5803BF-6207-4B37-AF25-E2212107113F}" dt="2024-05-24T03:32:59.640" v="3096"/>
          <ac:graphicFrameMkLst>
            <pc:docMk/>
            <pc:sldMk cId="1403274909" sldId="337"/>
            <ac:graphicFrameMk id="7" creationId="{28BD1613-5C92-90BA-5575-67E7E836BB2D}"/>
          </ac:graphicFrameMkLst>
        </pc:graphicFrameChg>
        <pc:graphicFrameChg chg="modGraphic">
          <ac:chgData name="Bianca Ardito" userId="3dbb30f507a110b6" providerId="LiveId" clId="{FE5803BF-6207-4B37-AF25-E2212107113F}" dt="2024-05-24T03:36:26.511" v="3221" actId="207"/>
          <ac:graphicFrameMkLst>
            <pc:docMk/>
            <pc:sldMk cId="1403274909" sldId="337"/>
            <ac:graphicFrameMk id="8" creationId="{D3D0E45B-E7D3-A945-AB16-A9CF28B13F74}"/>
          </ac:graphicFrameMkLst>
        </pc:graphicFrameChg>
      </pc:sldChg>
      <pc:sldChg chg="addSp delSp modSp mod">
        <pc:chgData name="Bianca Ardito" userId="3dbb30f507a110b6" providerId="LiveId" clId="{FE5803BF-6207-4B37-AF25-E2212107113F}" dt="2024-05-24T03:32:59.672" v="3164"/>
        <pc:sldMkLst>
          <pc:docMk/>
          <pc:sldMk cId="546405558" sldId="339"/>
        </pc:sldMkLst>
        <pc:spChg chg="add del mod modVis">
          <ac:chgData name="Bianca Ardito" userId="3dbb30f507a110b6" providerId="LiveId" clId="{FE5803BF-6207-4B37-AF25-E2212107113F}" dt="2024-05-24T03:22:45.338" v="740"/>
          <ac:spMkLst>
            <pc:docMk/>
            <pc:sldMk cId="546405558" sldId="339"/>
            <ac:spMk id="2" creationId="{E371A88B-EF50-DC02-D15E-396263706AF1}"/>
          </ac:spMkLst>
        </pc:spChg>
        <pc:spChg chg="mod">
          <ac:chgData name="Bianca Ardito" userId="3dbb30f507a110b6" providerId="LiveId" clId="{FE5803BF-6207-4B37-AF25-E2212107113F}" dt="2024-05-24T03:32:59.551" v="2996" actId="948"/>
          <ac:spMkLst>
            <pc:docMk/>
            <pc:sldMk cId="546405558" sldId="339"/>
            <ac:spMk id="3" creationId="{614064D2-9FA9-AD4E-BA4B-0F37DB3868F6}"/>
          </ac:spMkLst>
        </pc:spChg>
        <pc:spChg chg="add del mod modVis">
          <ac:chgData name="Bianca Ardito" userId="3dbb30f507a110b6" providerId="LiveId" clId="{FE5803BF-6207-4B37-AF25-E2212107113F}" dt="2024-05-24T03:24:12.049" v="1484"/>
          <ac:spMkLst>
            <pc:docMk/>
            <pc:sldMk cId="546405558" sldId="339"/>
            <ac:spMk id="164" creationId="{0321B9EE-10B6-2B3F-DE9B-0E8A0A838284}"/>
          </ac:spMkLst>
        </pc:spChg>
        <pc:spChg chg="add del mod modVis">
          <ac:chgData name="Bianca Ardito" userId="3dbb30f507a110b6" providerId="LiveId" clId="{FE5803BF-6207-4B37-AF25-E2212107113F}" dt="2024-05-24T03:32:39.806" v="2421"/>
          <ac:spMkLst>
            <pc:docMk/>
            <pc:sldMk cId="546405558" sldId="339"/>
            <ac:spMk id="206" creationId="{1EC6B040-2C13-5340-CFA3-4CCC0081DF1F}"/>
          </ac:spMkLst>
        </pc:spChg>
        <pc:spChg chg="add del mod modVis">
          <ac:chgData name="Bianca Ardito" userId="3dbb30f507a110b6" providerId="LiveId" clId="{FE5803BF-6207-4B37-AF25-E2212107113F}" dt="2024-05-24T03:32:59.672" v="3162"/>
          <ac:spMkLst>
            <pc:docMk/>
            <pc:sldMk cId="546405558" sldId="339"/>
            <ac:spMk id="207" creationId="{42F5170B-9519-7F8F-E9E8-143387E49122}"/>
          </ac:spMkLst>
        </pc:spChg>
        <pc:graphicFrameChg chg="mod">
          <ac:chgData name="Bianca Ardito" userId="3dbb30f507a110b6" providerId="LiveId" clId="{FE5803BF-6207-4B37-AF25-E2212107113F}" dt="2024-05-24T03:32:59.672" v="3164"/>
          <ac:graphicFrameMkLst>
            <pc:docMk/>
            <pc:sldMk cId="546405558" sldId="339"/>
            <ac:graphicFrameMk id="205" creationId="{9C4C6C38-70C4-8088-C290-AE05EFE5F61A}"/>
          </ac:graphicFrameMkLst>
        </pc:graphicFrameChg>
      </pc:sldChg>
      <pc:sldChg chg="addSp delSp modSp mod">
        <pc:chgData name="Bianca Ardito" userId="3dbb30f507a110b6" providerId="LiveId" clId="{FE5803BF-6207-4B37-AF25-E2212107113F}" dt="2024-05-24T03:32:59.625" v="3044"/>
        <pc:sldMkLst>
          <pc:docMk/>
          <pc:sldMk cId="4264889004" sldId="363"/>
        </pc:sldMkLst>
        <pc:spChg chg="add del mod modVis">
          <ac:chgData name="Bianca Ardito" userId="3dbb30f507a110b6" providerId="LiveId" clId="{FE5803BF-6207-4B37-AF25-E2212107113F}" dt="2024-05-24T03:22:45.289" v="620"/>
          <ac:spMkLst>
            <pc:docMk/>
            <pc:sldMk cId="4264889004" sldId="363"/>
            <ac:spMk id="2" creationId="{A047B1D6-35B7-4A6A-6737-87EDD1F61232}"/>
          </ac:spMkLst>
        </pc:spChg>
        <pc:spChg chg="mod">
          <ac:chgData name="Bianca Ardito" userId="3dbb30f507a110b6" providerId="LiveId" clId="{FE5803BF-6207-4B37-AF25-E2212107113F}" dt="2024-05-24T03:32:59.044" v="2442" actId="948"/>
          <ac:spMkLst>
            <pc:docMk/>
            <pc:sldMk cId="4264889004" sldId="363"/>
            <ac:spMk id="3" creationId="{1939EA66-E2A2-FA4F-B5D7-928E77D7A618}"/>
          </ac:spMkLst>
        </pc:spChg>
        <pc:spChg chg="add del mod modVis">
          <ac:chgData name="Bianca Ardito" userId="3dbb30f507a110b6" providerId="LiveId" clId="{FE5803BF-6207-4B37-AF25-E2212107113F}" dt="2024-05-24T03:24:11.986" v="1364"/>
          <ac:spMkLst>
            <pc:docMk/>
            <pc:sldMk cId="4264889004" sldId="363"/>
            <ac:spMk id="4" creationId="{FF790861-E328-9ABC-F092-386CD48614A1}"/>
          </ac:spMkLst>
        </pc:spChg>
        <pc:spChg chg="add del mod modVis">
          <ac:chgData name="Bianca Ardito" userId="3dbb30f507a110b6" providerId="LiveId" clId="{FE5803BF-6207-4B37-AF25-E2212107113F}" dt="2024-05-24T03:32:39.744" v="2301"/>
          <ac:spMkLst>
            <pc:docMk/>
            <pc:sldMk cId="4264889004" sldId="363"/>
            <ac:spMk id="5" creationId="{58C478E1-1C3C-298E-B6C5-4F5FEFAA439A}"/>
          </ac:spMkLst>
        </pc:spChg>
        <pc:spChg chg="add del mod modVis">
          <ac:chgData name="Bianca Ardito" userId="3dbb30f507a110b6" providerId="LiveId" clId="{FE5803BF-6207-4B37-AF25-E2212107113F}" dt="2024-05-24T03:32:59.625" v="3042"/>
          <ac:spMkLst>
            <pc:docMk/>
            <pc:sldMk cId="4264889004" sldId="363"/>
            <ac:spMk id="8" creationId="{52F56E69-5FE4-2842-5A31-BD87CF1D6394}"/>
          </ac:spMkLst>
        </pc:spChg>
        <pc:graphicFrameChg chg="mod">
          <ac:chgData name="Bianca Ardito" userId="3dbb30f507a110b6" providerId="LiveId" clId="{FE5803BF-6207-4B37-AF25-E2212107113F}" dt="2024-05-24T03:32:59.625" v="3044"/>
          <ac:graphicFrameMkLst>
            <pc:docMk/>
            <pc:sldMk cId="4264889004" sldId="363"/>
            <ac:graphicFrameMk id="13" creationId="{4515D52E-22B6-6DD7-82C9-6CC01B094033}"/>
          </ac:graphicFrameMkLst>
        </pc:graphicFrameChg>
      </pc:sldChg>
      <pc:sldChg chg="modSp mod">
        <pc:chgData name="Bianca Ardito" userId="3dbb30f507a110b6" providerId="LiveId" clId="{FE5803BF-6207-4B37-AF25-E2212107113F}" dt="2024-05-24T03:32:59.688" v="3182"/>
        <pc:sldMkLst>
          <pc:docMk/>
          <pc:sldMk cId="2909848633" sldId="369"/>
        </pc:sldMkLst>
        <pc:graphicFrameChg chg="mod">
          <ac:chgData name="Bianca Ardito" userId="3dbb30f507a110b6" providerId="LiveId" clId="{FE5803BF-6207-4B37-AF25-E2212107113F}" dt="2024-05-24T03:32:59.688" v="3182"/>
          <ac:graphicFrameMkLst>
            <pc:docMk/>
            <pc:sldMk cId="2909848633" sldId="369"/>
            <ac:graphicFrameMk id="4" creationId="{01E2C1D7-A7EB-5F69-81C6-D5EEF843D63F}"/>
          </ac:graphicFrameMkLst>
        </pc:graphicFrameChg>
      </pc:sldChg>
      <pc:sldChg chg="addSp delSp modSp mod">
        <pc:chgData name="Bianca Ardito" userId="3dbb30f507a110b6" providerId="LiveId" clId="{FE5803BF-6207-4B37-AF25-E2212107113F}" dt="2024-05-24T03:37:47.943" v="3251" actId="207"/>
        <pc:sldMkLst>
          <pc:docMk/>
          <pc:sldMk cId="2209342424" sldId="11105"/>
        </pc:sldMkLst>
        <pc:spChg chg="add del mod modVis">
          <ac:chgData name="Bianca Ardito" userId="3dbb30f507a110b6" providerId="LiveId" clId="{FE5803BF-6207-4B37-AF25-E2212107113F}" dt="2024-05-24T03:22:45.326" v="718"/>
          <ac:spMkLst>
            <pc:docMk/>
            <pc:sldMk cId="2209342424" sldId="11105"/>
            <ac:spMk id="2" creationId="{DC1BB353-E1E8-103E-FBDB-71BD91119C14}"/>
          </ac:spMkLst>
        </pc:spChg>
        <pc:spChg chg="mod">
          <ac:chgData name="Bianca Ardito" userId="3dbb30f507a110b6" providerId="LiveId" clId="{FE5803BF-6207-4B37-AF25-E2212107113F}" dt="2024-05-24T03:32:59.454" v="2890" actId="948"/>
          <ac:spMkLst>
            <pc:docMk/>
            <pc:sldMk cId="2209342424" sldId="11105"/>
            <ac:spMk id="3" creationId="{AE8094CE-82D3-7D4A-9A48-3F9B55A47590}"/>
          </ac:spMkLst>
        </pc:spChg>
        <pc:spChg chg="add del mod modVis">
          <ac:chgData name="Bianca Ardito" userId="3dbb30f507a110b6" providerId="LiveId" clId="{FE5803BF-6207-4B37-AF25-E2212107113F}" dt="2024-05-24T03:24:12.033" v="1462"/>
          <ac:spMkLst>
            <pc:docMk/>
            <pc:sldMk cId="2209342424" sldId="11105"/>
            <ac:spMk id="5" creationId="{04F941A4-5D5A-A24E-4D3C-8E1C670FA093}"/>
          </ac:spMkLst>
        </pc:spChg>
        <pc:spChg chg="add del mod modVis">
          <ac:chgData name="Bianca Ardito" userId="3dbb30f507a110b6" providerId="LiveId" clId="{FE5803BF-6207-4B37-AF25-E2212107113F}" dt="2024-05-24T03:32:39.790" v="2399"/>
          <ac:spMkLst>
            <pc:docMk/>
            <pc:sldMk cId="2209342424" sldId="11105"/>
            <ac:spMk id="6" creationId="{19D5F5F2-5E5E-53A4-5DF8-CE13B04A836C}"/>
          </ac:spMkLst>
        </pc:spChg>
        <pc:spChg chg="add del mod modVis">
          <ac:chgData name="Bianca Ardito" userId="3dbb30f507a110b6" providerId="LiveId" clId="{FE5803BF-6207-4B37-AF25-E2212107113F}" dt="2024-05-24T03:32:59.672" v="3140"/>
          <ac:spMkLst>
            <pc:docMk/>
            <pc:sldMk cId="2209342424" sldId="11105"/>
            <ac:spMk id="7" creationId="{C0462552-0574-65EC-98D1-72FFE58935A1}"/>
          </ac:spMkLst>
        </pc:spChg>
        <pc:spChg chg="mod">
          <ac:chgData name="Bianca Ardito" userId="3dbb30f507a110b6" providerId="LiveId" clId="{FE5803BF-6207-4B37-AF25-E2212107113F}" dt="2024-05-24T03:37:47.943" v="3251" actId="207"/>
          <ac:spMkLst>
            <pc:docMk/>
            <pc:sldMk cId="2209342424" sldId="11105"/>
            <ac:spMk id="38" creationId="{E4D6E7EC-AC63-CB49-AA2E-CEB9C5D8A6E5}"/>
          </ac:spMkLst>
        </pc:spChg>
        <pc:graphicFrameChg chg="mod">
          <ac:chgData name="Bianca Ardito" userId="3dbb30f507a110b6" providerId="LiveId" clId="{FE5803BF-6207-4B37-AF25-E2212107113F}" dt="2024-05-24T03:32:59.672" v="3142"/>
          <ac:graphicFrameMkLst>
            <pc:docMk/>
            <pc:sldMk cId="2209342424" sldId="11105"/>
            <ac:graphicFrameMk id="4" creationId="{C104A4BF-15ED-9348-DC0A-396EE6867FD4}"/>
          </ac:graphicFrameMkLst>
        </pc:graphicFrameChg>
      </pc:sldChg>
      <pc:sldChg chg="addSp delSp modSp mod">
        <pc:chgData name="Bianca Ardito" userId="3dbb30f507a110b6" providerId="LiveId" clId="{FE5803BF-6207-4B37-AF25-E2212107113F}" dt="2024-05-24T03:37:53.802" v="3253" actId="207"/>
        <pc:sldMkLst>
          <pc:docMk/>
          <pc:sldMk cId="3571950430" sldId="11107"/>
        </pc:sldMkLst>
        <pc:spChg chg="add del mod modVis">
          <ac:chgData name="Bianca Ardito" userId="3dbb30f507a110b6" providerId="LiveId" clId="{FE5803BF-6207-4B37-AF25-E2212107113F}" dt="2024-05-24T03:22:45.326" v="710"/>
          <ac:spMkLst>
            <pc:docMk/>
            <pc:sldMk cId="3571950430" sldId="11107"/>
            <ac:spMk id="2" creationId="{4547C61A-BB8A-D26E-CE1C-78E6877A02F6}"/>
          </ac:spMkLst>
        </pc:spChg>
        <pc:spChg chg="mod">
          <ac:chgData name="Bianca Ardito" userId="3dbb30f507a110b6" providerId="LiveId" clId="{FE5803BF-6207-4B37-AF25-E2212107113F}" dt="2024-05-24T03:32:59.407" v="2846" actId="948"/>
          <ac:spMkLst>
            <pc:docMk/>
            <pc:sldMk cId="3571950430" sldId="11107"/>
            <ac:spMk id="3" creationId="{8DC6A029-6165-4B92-BEA5-462CD5651651}"/>
          </ac:spMkLst>
        </pc:spChg>
        <pc:spChg chg="add del mod modVis">
          <ac:chgData name="Bianca Ardito" userId="3dbb30f507a110b6" providerId="LiveId" clId="{FE5803BF-6207-4B37-AF25-E2212107113F}" dt="2024-05-24T03:24:12.033" v="1454"/>
          <ac:spMkLst>
            <pc:docMk/>
            <pc:sldMk cId="3571950430" sldId="11107"/>
            <ac:spMk id="5" creationId="{2DF444CA-BBB6-F01F-6565-E3142172D318}"/>
          </ac:spMkLst>
        </pc:spChg>
        <pc:spChg chg="add del mod modVis">
          <ac:chgData name="Bianca Ardito" userId="3dbb30f507a110b6" providerId="LiveId" clId="{FE5803BF-6207-4B37-AF25-E2212107113F}" dt="2024-05-24T03:32:39.790" v="2391"/>
          <ac:spMkLst>
            <pc:docMk/>
            <pc:sldMk cId="3571950430" sldId="11107"/>
            <ac:spMk id="6" creationId="{617300E6-3A61-67CA-A13B-E501974C1325}"/>
          </ac:spMkLst>
        </pc:spChg>
        <pc:spChg chg="add del mod modVis">
          <ac:chgData name="Bianca Ardito" userId="3dbb30f507a110b6" providerId="LiveId" clId="{FE5803BF-6207-4B37-AF25-E2212107113F}" dt="2024-05-24T03:32:59.656" v="3132"/>
          <ac:spMkLst>
            <pc:docMk/>
            <pc:sldMk cId="3571950430" sldId="11107"/>
            <ac:spMk id="7" creationId="{2E439773-7F9B-7AC6-FA8D-37664AB39C1E}"/>
          </ac:spMkLst>
        </pc:spChg>
        <pc:spChg chg="mod">
          <ac:chgData name="Bianca Ardito" userId="3dbb30f507a110b6" providerId="LiveId" clId="{FE5803BF-6207-4B37-AF25-E2212107113F}" dt="2024-05-24T03:37:52.736" v="3252" actId="207"/>
          <ac:spMkLst>
            <pc:docMk/>
            <pc:sldMk cId="3571950430" sldId="11107"/>
            <ac:spMk id="56" creationId="{7AF536A9-A409-E044-B04C-64DA0B453220}"/>
          </ac:spMkLst>
        </pc:spChg>
        <pc:spChg chg="mod">
          <ac:chgData name="Bianca Ardito" userId="3dbb30f507a110b6" providerId="LiveId" clId="{FE5803BF-6207-4B37-AF25-E2212107113F}" dt="2024-05-24T03:37:53.802" v="3253" actId="207"/>
          <ac:spMkLst>
            <pc:docMk/>
            <pc:sldMk cId="3571950430" sldId="11107"/>
            <ac:spMk id="57" creationId="{F2DCC9E7-0881-314E-8DC3-8622E049686C}"/>
          </ac:spMkLst>
        </pc:spChg>
        <pc:graphicFrameChg chg="mod">
          <ac:chgData name="Bianca Ardito" userId="3dbb30f507a110b6" providerId="LiveId" clId="{FE5803BF-6207-4B37-AF25-E2212107113F}" dt="2024-05-24T03:32:59.656" v="3134"/>
          <ac:graphicFrameMkLst>
            <pc:docMk/>
            <pc:sldMk cId="3571950430" sldId="11107"/>
            <ac:graphicFrameMk id="4" creationId="{D49C34DF-EE6C-2AF5-A8E9-08CF25187EBC}"/>
          </ac:graphicFrameMkLst>
        </pc:graphicFrameChg>
      </pc:sldChg>
      <pc:sldChg chg="addSp delSp modSp del mod">
        <pc:chgData name="Bianca Ardito" userId="3dbb30f507a110b6" providerId="LiveId" clId="{FE5803BF-6207-4B37-AF25-E2212107113F}" dt="2024-05-24T03:38:45.216" v="3260" actId="47"/>
        <pc:sldMkLst>
          <pc:docMk/>
          <pc:sldMk cId="985718795" sldId="11213"/>
        </pc:sldMkLst>
        <pc:spChg chg="add del mod modVis">
          <ac:chgData name="Bianca Ardito" userId="3dbb30f507a110b6" providerId="LiveId" clId="{FE5803BF-6207-4B37-AF25-E2212107113F}" dt="2024-05-24T03:22:45.338" v="748"/>
          <ac:spMkLst>
            <pc:docMk/>
            <pc:sldMk cId="985718795" sldId="11213"/>
            <ac:spMk id="3" creationId="{418C977E-394A-946D-5345-B829E3A5B926}"/>
          </ac:spMkLst>
        </pc:spChg>
        <pc:spChg chg="add del mod modVis">
          <ac:chgData name="Bianca Ardito" userId="3dbb30f507a110b6" providerId="LiveId" clId="{FE5803BF-6207-4B37-AF25-E2212107113F}" dt="2024-05-24T03:24:12.049" v="1492"/>
          <ac:spMkLst>
            <pc:docMk/>
            <pc:sldMk cId="985718795" sldId="11213"/>
            <ac:spMk id="4" creationId="{FF36491B-7C0B-25DC-D931-68041DD58368}"/>
          </ac:spMkLst>
        </pc:spChg>
        <pc:spChg chg="add del mod modVis">
          <ac:chgData name="Bianca Ardito" userId="3dbb30f507a110b6" providerId="LiveId" clId="{FE5803BF-6207-4B37-AF25-E2212107113F}" dt="2024-05-24T03:32:39.806" v="2429"/>
          <ac:spMkLst>
            <pc:docMk/>
            <pc:sldMk cId="985718795" sldId="11213"/>
            <ac:spMk id="6" creationId="{01F611BF-F3C5-3578-6790-4B439B3A767B}"/>
          </ac:spMkLst>
        </pc:spChg>
        <pc:spChg chg="add del mod modVis">
          <ac:chgData name="Bianca Ardito" userId="3dbb30f507a110b6" providerId="LiveId" clId="{FE5803BF-6207-4B37-AF25-E2212107113F}" dt="2024-05-24T03:32:59.687" v="3170"/>
          <ac:spMkLst>
            <pc:docMk/>
            <pc:sldMk cId="985718795" sldId="11213"/>
            <ac:spMk id="7" creationId="{54421255-12B9-450B-E649-C99F425A3B1F}"/>
          </ac:spMkLst>
        </pc:spChg>
        <pc:spChg chg="mod">
          <ac:chgData name="Bianca Ardito" userId="3dbb30f507a110b6" providerId="LiveId" clId="{FE5803BF-6207-4B37-AF25-E2212107113F}" dt="2024-05-24T03:32:59.578" v="3016" actId="948"/>
          <ac:spMkLst>
            <pc:docMk/>
            <pc:sldMk cId="985718795" sldId="11213"/>
            <ac:spMk id="12" creationId="{D8E0C32D-5E23-D946-A7CD-6BF2C4D6FEB2}"/>
          </ac:spMkLst>
        </pc:spChg>
        <pc:graphicFrameChg chg="mod">
          <ac:chgData name="Bianca Ardito" userId="3dbb30f507a110b6" providerId="LiveId" clId="{FE5803BF-6207-4B37-AF25-E2212107113F}" dt="2024-05-24T03:32:59.688" v="3172"/>
          <ac:graphicFrameMkLst>
            <pc:docMk/>
            <pc:sldMk cId="985718795" sldId="11213"/>
            <ac:graphicFrameMk id="5" creationId="{3EC6F964-842F-1724-04FB-9C54CE2340FF}"/>
          </ac:graphicFrameMkLst>
        </pc:graphicFrameChg>
      </pc:sldChg>
      <pc:sldChg chg="modSp del mod">
        <pc:chgData name="Bianca Ardito" userId="3dbb30f507a110b6" providerId="LiveId" clId="{FE5803BF-6207-4B37-AF25-E2212107113F}" dt="2024-05-24T03:38:45.216" v="3260" actId="47"/>
        <pc:sldMkLst>
          <pc:docMk/>
          <pc:sldMk cId="3607029163" sldId="11233"/>
        </pc:sldMkLst>
        <pc:graphicFrameChg chg="mod">
          <ac:chgData name="Bianca Ardito" userId="3dbb30f507a110b6" providerId="LiveId" clId="{FE5803BF-6207-4B37-AF25-E2212107113F}" dt="2024-05-24T03:32:59.672" v="3166"/>
          <ac:graphicFrameMkLst>
            <pc:docMk/>
            <pc:sldMk cId="3607029163" sldId="11233"/>
            <ac:graphicFrameMk id="7" creationId="{4751A3C2-3E31-E807-6A1F-E8BF51BF573C}"/>
          </ac:graphicFrameMkLst>
        </pc:graphicFrameChg>
      </pc:sldChg>
      <pc:sldChg chg="modSp mod">
        <pc:chgData name="Bianca Ardito" userId="3dbb30f507a110b6" providerId="LiveId" clId="{FE5803BF-6207-4B37-AF25-E2212107113F}" dt="2024-05-24T03:37:39.628" v="3249" actId="207"/>
        <pc:sldMkLst>
          <pc:docMk/>
          <pc:sldMk cId="2795521703" sldId="11254"/>
        </pc:sldMkLst>
        <pc:graphicFrameChg chg="modGraphic">
          <ac:chgData name="Bianca Ardito" userId="3dbb30f507a110b6" providerId="LiveId" clId="{FE5803BF-6207-4B37-AF25-E2212107113F}" dt="2024-05-24T03:37:39.628" v="3249" actId="207"/>
          <ac:graphicFrameMkLst>
            <pc:docMk/>
            <pc:sldMk cId="2795521703" sldId="11254"/>
            <ac:graphicFrameMk id="5" creationId="{BE74424B-580A-8145-82F0-632341F01F0F}"/>
          </ac:graphicFrameMkLst>
        </pc:graphicFrameChg>
        <pc:graphicFrameChg chg="mod">
          <ac:chgData name="Bianca Ardito" userId="3dbb30f507a110b6" providerId="LiveId" clId="{FE5803BF-6207-4B37-AF25-E2212107113F}" dt="2024-05-24T03:32:59.656" v="3126"/>
          <ac:graphicFrameMkLst>
            <pc:docMk/>
            <pc:sldMk cId="2795521703" sldId="11254"/>
            <ac:graphicFrameMk id="9" creationId="{C3828D6E-A261-0944-7552-262FF5660F00}"/>
          </ac:graphicFrameMkLst>
        </pc:graphicFrameChg>
      </pc:sldChg>
      <pc:sldChg chg="modSp mod">
        <pc:chgData name="Bianca Ardito" userId="3dbb30f507a110b6" providerId="LiveId" clId="{FE5803BF-6207-4B37-AF25-E2212107113F}" dt="2024-05-24T03:39:28.323" v="3269" actId="2711"/>
        <pc:sldMkLst>
          <pc:docMk/>
          <pc:sldMk cId="2736189411" sldId="11256"/>
        </pc:sldMkLst>
        <pc:spChg chg="mod">
          <ac:chgData name="Bianca Ardito" userId="3dbb30f507a110b6" providerId="LiveId" clId="{FE5803BF-6207-4B37-AF25-E2212107113F}" dt="2024-05-24T03:39:28.323" v="3269" actId="2711"/>
          <ac:spMkLst>
            <pc:docMk/>
            <pc:sldMk cId="2736189411" sldId="11256"/>
            <ac:spMk id="169" creationId="{13174A9C-2ABE-D54E-8C4D-756E1FEC5056}"/>
          </ac:spMkLst>
        </pc:spChg>
        <pc:graphicFrameChg chg="mod">
          <ac:chgData name="Bianca Ardito" userId="3dbb30f507a110b6" providerId="LiveId" clId="{FE5803BF-6207-4B37-AF25-E2212107113F}" dt="2024-05-24T03:32:59.672" v="3156"/>
          <ac:graphicFrameMkLst>
            <pc:docMk/>
            <pc:sldMk cId="2736189411" sldId="11256"/>
            <ac:graphicFrameMk id="22" creationId="{A849BA50-C50D-0B92-DC19-05D26036D490}"/>
          </ac:graphicFrameMkLst>
        </pc:graphicFrameChg>
      </pc:sldChg>
      <pc:sldChg chg="addSp delSp modSp mod">
        <pc:chgData name="Bianca Ardito" userId="3dbb30f507a110b6" providerId="LiveId" clId="{FE5803BF-6207-4B37-AF25-E2212107113F}" dt="2024-05-24T03:32:59.625" v="3048"/>
        <pc:sldMkLst>
          <pc:docMk/>
          <pc:sldMk cId="2931731727" sldId="11274"/>
        </pc:sldMkLst>
        <pc:spChg chg="mod">
          <ac:chgData name="Bianca Ardito" userId="3dbb30f507a110b6" providerId="LiveId" clId="{FE5803BF-6207-4B37-AF25-E2212107113F}" dt="2024-05-24T03:32:59.076" v="2462" actId="948"/>
          <ac:spMkLst>
            <pc:docMk/>
            <pc:sldMk cId="2931731727" sldId="11274"/>
            <ac:spMk id="3" creationId="{1939EA66-E2A2-FA4F-B5D7-928E77D7A618}"/>
          </ac:spMkLst>
        </pc:spChg>
        <pc:spChg chg="add del mod modVis">
          <ac:chgData name="Bianca Ardito" userId="3dbb30f507a110b6" providerId="LiveId" clId="{FE5803BF-6207-4B37-AF25-E2212107113F}" dt="2024-05-24T03:22:45.291" v="624"/>
          <ac:spMkLst>
            <pc:docMk/>
            <pc:sldMk cId="2931731727" sldId="11274"/>
            <ac:spMk id="14" creationId="{F0E401AE-D85E-2DCD-87C4-84DF505F0DAE}"/>
          </ac:spMkLst>
        </pc:spChg>
        <pc:spChg chg="add del mod modVis">
          <ac:chgData name="Bianca Ardito" userId="3dbb30f507a110b6" providerId="LiveId" clId="{FE5803BF-6207-4B37-AF25-E2212107113F}" dt="2024-05-24T03:24:11.986" v="1368"/>
          <ac:spMkLst>
            <pc:docMk/>
            <pc:sldMk cId="2931731727" sldId="11274"/>
            <ac:spMk id="15" creationId="{3E91A9DE-27C6-974E-9B58-99E6E483D460}"/>
          </ac:spMkLst>
        </pc:spChg>
        <pc:spChg chg="add del mod modVis">
          <ac:chgData name="Bianca Ardito" userId="3dbb30f507a110b6" providerId="LiveId" clId="{FE5803BF-6207-4B37-AF25-E2212107113F}" dt="2024-05-24T03:32:39.744" v="2305"/>
          <ac:spMkLst>
            <pc:docMk/>
            <pc:sldMk cId="2931731727" sldId="11274"/>
            <ac:spMk id="16" creationId="{4F8850B9-FE8F-47F3-176C-C64B7A0697A0}"/>
          </ac:spMkLst>
        </pc:spChg>
        <pc:spChg chg="add del mod modVis">
          <ac:chgData name="Bianca Ardito" userId="3dbb30f507a110b6" providerId="LiveId" clId="{FE5803BF-6207-4B37-AF25-E2212107113F}" dt="2024-05-24T03:32:59.625" v="3046"/>
          <ac:spMkLst>
            <pc:docMk/>
            <pc:sldMk cId="2931731727" sldId="11274"/>
            <ac:spMk id="17" creationId="{4FA5A7D7-11E8-B580-A7F8-371FF72EEA58}"/>
          </ac:spMkLst>
        </pc:spChg>
        <pc:graphicFrameChg chg="mod">
          <ac:chgData name="Bianca Ardito" userId="3dbb30f507a110b6" providerId="LiveId" clId="{FE5803BF-6207-4B37-AF25-E2212107113F}" dt="2024-05-24T03:32:59.625" v="3048"/>
          <ac:graphicFrameMkLst>
            <pc:docMk/>
            <pc:sldMk cId="2931731727" sldId="11274"/>
            <ac:graphicFrameMk id="40" creationId="{C0EF90CA-2EA9-4B94-9217-1FAB148AE18A}"/>
          </ac:graphicFrameMkLst>
        </pc:graphicFrameChg>
      </pc:sldChg>
      <pc:sldChg chg="modSp mod">
        <pc:chgData name="Bianca Ardito" userId="3dbb30f507a110b6" providerId="LiveId" clId="{FE5803BF-6207-4B37-AF25-E2212107113F}" dt="2024-05-24T03:36:55.521" v="3229" actId="207"/>
        <pc:sldMkLst>
          <pc:docMk/>
          <pc:sldMk cId="1412284307" sldId="11275"/>
        </pc:sldMkLst>
        <pc:graphicFrameChg chg="mod">
          <ac:chgData name="Bianca Ardito" userId="3dbb30f507a110b6" providerId="LiveId" clId="{FE5803BF-6207-4B37-AF25-E2212107113F}" dt="2024-05-24T03:32:59.656" v="3112"/>
          <ac:graphicFrameMkLst>
            <pc:docMk/>
            <pc:sldMk cId="1412284307" sldId="11275"/>
            <ac:graphicFrameMk id="5" creationId="{9C31DC37-5650-F9F6-C985-8230EA701E0F}"/>
          </ac:graphicFrameMkLst>
        </pc:graphicFrameChg>
        <pc:graphicFrameChg chg="modGraphic">
          <ac:chgData name="Bianca Ardito" userId="3dbb30f507a110b6" providerId="LiveId" clId="{FE5803BF-6207-4B37-AF25-E2212107113F}" dt="2024-05-24T03:36:55.521" v="3229" actId="207"/>
          <ac:graphicFrameMkLst>
            <pc:docMk/>
            <pc:sldMk cId="1412284307" sldId="11275"/>
            <ac:graphicFrameMk id="11" creationId="{1B10AA69-5F62-D74E-B893-D6A5E6DEF222}"/>
          </ac:graphicFrameMkLst>
        </pc:graphicFrameChg>
      </pc:sldChg>
      <pc:sldChg chg="modSp mod">
        <pc:chgData name="Bianca Ardito" userId="3dbb30f507a110b6" providerId="LiveId" clId="{FE5803BF-6207-4B37-AF25-E2212107113F}" dt="2024-05-24T03:39:38.031" v="3270" actId="207"/>
        <pc:sldMkLst>
          <pc:docMk/>
          <pc:sldMk cId="3861332114" sldId="11276"/>
        </pc:sldMkLst>
        <pc:spChg chg="mod">
          <ac:chgData name="Bianca Ardito" userId="3dbb30f507a110b6" providerId="LiveId" clId="{FE5803BF-6207-4B37-AF25-E2212107113F}" dt="2024-05-24T03:39:38.031" v="3270" actId="207"/>
          <ac:spMkLst>
            <pc:docMk/>
            <pc:sldMk cId="3861332114" sldId="11276"/>
            <ac:spMk id="23" creationId="{09E58F94-EFD8-CA4F-91A7-A1D3C4E66360}"/>
          </ac:spMkLst>
        </pc:spChg>
        <pc:graphicFrameChg chg="mod">
          <ac:chgData name="Bianca Ardito" userId="3dbb30f507a110b6" providerId="LiveId" clId="{FE5803BF-6207-4B37-AF25-E2212107113F}" dt="2024-05-24T03:32:59.672" v="3168"/>
          <ac:graphicFrameMkLst>
            <pc:docMk/>
            <pc:sldMk cId="3861332114" sldId="11276"/>
            <ac:graphicFrameMk id="24" creationId="{A9A07062-6D36-6636-90CE-8F9740116F8D}"/>
          </ac:graphicFrameMkLst>
        </pc:graphicFrameChg>
      </pc:sldChg>
      <pc:sldChg chg="addSp delSp modSp mod">
        <pc:chgData name="Bianca Ardito" userId="3dbb30f507a110b6" providerId="LiveId" clId="{FE5803BF-6207-4B37-AF25-E2212107113F}" dt="2024-05-24T03:38:00.717" v="3256" actId="207"/>
        <pc:sldMkLst>
          <pc:docMk/>
          <pc:sldMk cId="3237930165" sldId="11277"/>
        </pc:sldMkLst>
        <pc:spChg chg="add del mod modVis">
          <ac:chgData name="Bianca Ardito" userId="3dbb30f507a110b6" providerId="LiveId" clId="{FE5803BF-6207-4B37-AF25-E2212107113F}" dt="2024-05-24T03:22:45.326" v="706"/>
          <ac:spMkLst>
            <pc:docMk/>
            <pc:sldMk cId="3237930165" sldId="11277"/>
            <ac:spMk id="2" creationId="{A176DAA1-A135-5A21-33E6-53227F74EDE1}"/>
          </ac:spMkLst>
        </pc:spChg>
        <pc:spChg chg="add del mod modVis">
          <ac:chgData name="Bianca Ardito" userId="3dbb30f507a110b6" providerId="LiveId" clId="{FE5803BF-6207-4B37-AF25-E2212107113F}" dt="2024-05-24T03:24:12.017" v="1450"/>
          <ac:spMkLst>
            <pc:docMk/>
            <pc:sldMk cId="3237930165" sldId="11277"/>
            <ac:spMk id="4" creationId="{8348AE5D-5C4A-D116-6833-96BC56836793}"/>
          </ac:spMkLst>
        </pc:spChg>
        <pc:spChg chg="add del mod modVis">
          <ac:chgData name="Bianca Ardito" userId="3dbb30f507a110b6" providerId="LiveId" clId="{FE5803BF-6207-4B37-AF25-E2212107113F}" dt="2024-05-24T03:32:39.774" v="2387"/>
          <ac:spMkLst>
            <pc:docMk/>
            <pc:sldMk cId="3237930165" sldId="11277"/>
            <ac:spMk id="5" creationId="{447985B7-B38E-9F6C-70D5-1EF574653F90}"/>
          </ac:spMkLst>
        </pc:spChg>
        <pc:spChg chg="add del mod modVis">
          <ac:chgData name="Bianca Ardito" userId="3dbb30f507a110b6" providerId="LiveId" clId="{FE5803BF-6207-4B37-AF25-E2212107113F}" dt="2024-05-24T03:32:59.656" v="3128"/>
          <ac:spMkLst>
            <pc:docMk/>
            <pc:sldMk cId="3237930165" sldId="11277"/>
            <ac:spMk id="6" creationId="{F7B64ED5-2AFF-A81C-33A0-71DE4017050E}"/>
          </ac:spMkLst>
        </pc:spChg>
        <pc:spChg chg="mod">
          <ac:chgData name="Bianca Ardito" userId="3dbb30f507a110b6" providerId="LiveId" clId="{FE5803BF-6207-4B37-AF25-E2212107113F}" dt="2024-05-24T03:32:59.392" v="2822" actId="948"/>
          <ac:spMkLst>
            <pc:docMk/>
            <pc:sldMk cId="3237930165" sldId="11277"/>
            <ac:spMk id="21" creationId="{6188ABA6-6184-9142-AF01-A55A66CC6EB0}"/>
          </ac:spMkLst>
        </pc:spChg>
        <pc:spChg chg="mod">
          <ac:chgData name="Bianca Ardito" userId="3dbb30f507a110b6" providerId="LiveId" clId="{FE5803BF-6207-4B37-AF25-E2212107113F}" dt="2024-05-24T03:37:58.729" v="3254" actId="207"/>
          <ac:spMkLst>
            <pc:docMk/>
            <pc:sldMk cId="3237930165" sldId="11277"/>
            <ac:spMk id="58" creationId="{3AB06FFC-A76C-7C4A-AC1A-D9EFFEF9B2E6}"/>
          </ac:spMkLst>
        </pc:spChg>
        <pc:spChg chg="mod">
          <ac:chgData name="Bianca Ardito" userId="3dbb30f507a110b6" providerId="LiveId" clId="{FE5803BF-6207-4B37-AF25-E2212107113F}" dt="2024-05-24T03:37:59.386" v="3255" actId="207"/>
          <ac:spMkLst>
            <pc:docMk/>
            <pc:sldMk cId="3237930165" sldId="11277"/>
            <ac:spMk id="59" creationId="{20C20977-2F8A-0A48-8AA0-8E6061EDF2C3}"/>
          </ac:spMkLst>
        </pc:spChg>
        <pc:spChg chg="mod">
          <ac:chgData name="Bianca Ardito" userId="3dbb30f507a110b6" providerId="LiveId" clId="{FE5803BF-6207-4B37-AF25-E2212107113F}" dt="2024-05-24T03:38:00.717" v="3256" actId="207"/>
          <ac:spMkLst>
            <pc:docMk/>
            <pc:sldMk cId="3237930165" sldId="11277"/>
            <ac:spMk id="60" creationId="{9C9B240F-4381-324F-A779-B9257740426E}"/>
          </ac:spMkLst>
        </pc:spChg>
        <pc:graphicFrameChg chg="mod">
          <ac:chgData name="Bianca Ardito" userId="3dbb30f507a110b6" providerId="LiveId" clId="{FE5803BF-6207-4B37-AF25-E2212107113F}" dt="2024-05-24T03:32:59.656" v="3130"/>
          <ac:graphicFrameMkLst>
            <pc:docMk/>
            <pc:sldMk cId="3237930165" sldId="11277"/>
            <ac:graphicFrameMk id="3" creationId="{6FB8D69B-9A01-8191-9F97-372CABA50E3A}"/>
          </ac:graphicFrameMkLst>
        </pc:graphicFrameChg>
      </pc:sldChg>
      <pc:sldChg chg="addSp delSp modSp mod">
        <pc:chgData name="Bianca Ardito" userId="3dbb30f507a110b6" providerId="LiveId" clId="{FE5803BF-6207-4B37-AF25-E2212107113F}" dt="2024-05-24T03:32:59.672" v="3160"/>
        <pc:sldMkLst>
          <pc:docMk/>
          <pc:sldMk cId="4013362073" sldId="11279"/>
        </pc:sldMkLst>
        <pc:spChg chg="add del mod modVis">
          <ac:chgData name="Bianca Ardito" userId="3dbb30f507a110b6" providerId="LiveId" clId="{FE5803BF-6207-4B37-AF25-E2212107113F}" dt="2024-05-24T03:22:45.338" v="736"/>
          <ac:spMkLst>
            <pc:docMk/>
            <pc:sldMk cId="4013362073" sldId="11279"/>
            <ac:spMk id="2" creationId="{AE86A32F-4CE7-055F-4BD0-E059A3439651}"/>
          </ac:spMkLst>
        </pc:spChg>
        <pc:spChg chg="mod">
          <ac:chgData name="Bianca Ardito" userId="3dbb30f507a110b6" providerId="LiveId" clId="{FE5803BF-6207-4B37-AF25-E2212107113F}" dt="2024-05-24T03:32:59.533" v="2976" actId="948"/>
          <ac:spMkLst>
            <pc:docMk/>
            <pc:sldMk cId="4013362073" sldId="11279"/>
            <ac:spMk id="3" creationId="{614064D2-9FA9-AD4E-BA4B-0F37DB3868F6}"/>
          </ac:spMkLst>
        </pc:spChg>
        <pc:spChg chg="add del mod modVis">
          <ac:chgData name="Bianca Ardito" userId="3dbb30f507a110b6" providerId="LiveId" clId="{FE5803BF-6207-4B37-AF25-E2212107113F}" dt="2024-05-24T03:24:12.033" v="1480"/>
          <ac:spMkLst>
            <pc:docMk/>
            <pc:sldMk cId="4013362073" sldId="11279"/>
            <ac:spMk id="6" creationId="{1296DD5C-6EC0-FC10-2D27-5CC8D8BA9859}"/>
          </ac:spMkLst>
        </pc:spChg>
        <pc:spChg chg="add del mod modVis">
          <ac:chgData name="Bianca Ardito" userId="3dbb30f507a110b6" providerId="LiveId" clId="{FE5803BF-6207-4B37-AF25-E2212107113F}" dt="2024-05-24T03:32:39.806" v="2417"/>
          <ac:spMkLst>
            <pc:docMk/>
            <pc:sldMk cId="4013362073" sldId="11279"/>
            <ac:spMk id="8" creationId="{BCCCFEB0-DAD0-FAEF-8191-BBF63D0853D5}"/>
          </ac:spMkLst>
        </pc:spChg>
        <pc:spChg chg="add del mod modVis">
          <ac:chgData name="Bianca Ardito" userId="3dbb30f507a110b6" providerId="LiveId" clId="{FE5803BF-6207-4B37-AF25-E2212107113F}" dt="2024-05-24T03:32:59.672" v="3158"/>
          <ac:spMkLst>
            <pc:docMk/>
            <pc:sldMk cId="4013362073" sldId="11279"/>
            <ac:spMk id="9" creationId="{AC3E7E41-8FA4-E053-7A60-86D6242A1007}"/>
          </ac:spMkLst>
        </pc:spChg>
        <pc:graphicFrameChg chg="mod">
          <ac:chgData name="Bianca Ardito" userId="3dbb30f507a110b6" providerId="LiveId" clId="{FE5803BF-6207-4B37-AF25-E2212107113F}" dt="2024-05-24T03:32:59.672" v="3160"/>
          <ac:graphicFrameMkLst>
            <pc:docMk/>
            <pc:sldMk cId="4013362073" sldId="11279"/>
            <ac:graphicFrameMk id="7" creationId="{2E82AB34-BDB6-A562-B4BA-C91D7794AFC6}"/>
          </ac:graphicFrameMkLst>
        </pc:graphicFrameChg>
      </pc:sldChg>
      <pc:sldChg chg="addSp delSp modSp mod">
        <pc:chgData name="Bianca Ardito" userId="3dbb30f507a110b6" providerId="LiveId" clId="{FE5803BF-6207-4B37-AF25-E2212107113F}" dt="2024-05-24T03:36:39.139" v="3226" actId="207"/>
        <pc:sldMkLst>
          <pc:docMk/>
          <pc:sldMk cId="3946442108" sldId="11280"/>
        </pc:sldMkLst>
        <pc:spChg chg="add del mod modVis">
          <ac:chgData name="Bianca Ardito" userId="3dbb30f507a110b6" providerId="LiveId" clId="{FE5803BF-6207-4B37-AF25-E2212107113F}" dt="2024-05-24T03:22:45.322" v="698"/>
          <ac:spMkLst>
            <pc:docMk/>
            <pc:sldMk cId="3946442108" sldId="11280"/>
            <ac:spMk id="2" creationId="{4066AADD-4794-956B-3119-E53E46A4527B}"/>
          </ac:spMkLst>
        </pc:spChg>
        <pc:spChg chg="add del mod modVis">
          <ac:chgData name="Bianca Ardito" userId="3dbb30f507a110b6" providerId="LiveId" clId="{FE5803BF-6207-4B37-AF25-E2212107113F}" dt="2024-05-24T03:24:12.017" v="1442"/>
          <ac:spMkLst>
            <pc:docMk/>
            <pc:sldMk cId="3946442108" sldId="11280"/>
            <ac:spMk id="4" creationId="{99DBC97E-FCA4-3981-A4DD-71734517900E}"/>
          </ac:spMkLst>
        </pc:spChg>
        <pc:spChg chg="mod">
          <ac:chgData name="Bianca Ardito" userId="3dbb30f507a110b6" providerId="LiveId" clId="{FE5803BF-6207-4B37-AF25-E2212107113F}" dt="2024-05-24T03:32:59.384" v="2802" actId="948"/>
          <ac:spMkLst>
            <pc:docMk/>
            <pc:sldMk cId="3946442108" sldId="11280"/>
            <ac:spMk id="5" creationId="{5303CCFF-BA52-A64A-8BB6-07AD821FFC1F}"/>
          </ac:spMkLst>
        </pc:spChg>
        <pc:spChg chg="add del mod modVis">
          <ac:chgData name="Bianca Ardito" userId="3dbb30f507a110b6" providerId="LiveId" clId="{FE5803BF-6207-4B37-AF25-E2212107113F}" dt="2024-05-24T03:32:39.774" v="2379"/>
          <ac:spMkLst>
            <pc:docMk/>
            <pc:sldMk cId="3946442108" sldId="11280"/>
            <ac:spMk id="6" creationId="{14E80E2A-1478-36C9-939A-F08CED436B5B}"/>
          </ac:spMkLst>
        </pc:spChg>
        <pc:spChg chg="add del mod modVis">
          <ac:chgData name="Bianca Ardito" userId="3dbb30f507a110b6" providerId="LiveId" clId="{FE5803BF-6207-4B37-AF25-E2212107113F}" dt="2024-05-24T03:32:59.656" v="3120"/>
          <ac:spMkLst>
            <pc:docMk/>
            <pc:sldMk cId="3946442108" sldId="11280"/>
            <ac:spMk id="7" creationId="{9453FDAE-352E-5EC6-CF3F-833C8D68ECA1}"/>
          </ac:spMkLst>
        </pc:spChg>
        <pc:graphicFrameChg chg="mod">
          <ac:chgData name="Bianca Ardito" userId="3dbb30f507a110b6" providerId="LiveId" clId="{FE5803BF-6207-4B37-AF25-E2212107113F}" dt="2024-05-24T03:32:59.656" v="3122"/>
          <ac:graphicFrameMkLst>
            <pc:docMk/>
            <pc:sldMk cId="3946442108" sldId="11280"/>
            <ac:graphicFrameMk id="3" creationId="{E21C7CB7-9470-DA26-C7C1-B25F0EC58910}"/>
          </ac:graphicFrameMkLst>
        </pc:graphicFrameChg>
        <pc:graphicFrameChg chg="modGraphic">
          <ac:chgData name="Bianca Ardito" userId="3dbb30f507a110b6" providerId="LiveId" clId="{FE5803BF-6207-4B37-AF25-E2212107113F}" dt="2024-05-24T03:36:38.288" v="3225" actId="207"/>
          <ac:graphicFrameMkLst>
            <pc:docMk/>
            <pc:sldMk cId="3946442108" sldId="11280"/>
            <ac:graphicFrameMk id="16" creationId="{EC21F79C-ECDA-EA49-9AC6-78B80C48632E}"/>
          </ac:graphicFrameMkLst>
        </pc:graphicFrameChg>
        <pc:graphicFrameChg chg="modGraphic">
          <ac:chgData name="Bianca Ardito" userId="3dbb30f507a110b6" providerId="LiveId" clId="{FE5803BF-6207-4B37-AF25-E2212107113F}" dt="2024-05-24T03:36:39.139" v="3226" actId="207"/>
          <ac:graphicFrameMkLst>
            <pc:docMk/>
            <pc:sldMk cId="3946442108" sldId="11280"/>
            <ac:graphicFrameMk id="17" creationId="{FD3C34E2-57D2-6245-A471-70042A946B30}"/>
          </ac:graphicFrameMkLst>
        </pc:graphicFrameChg>
      </pc:sldChg>
      <pc:sldChg chg="modSp mod">
        <pc:chgData name="Bianca Ardito" userId="3dbb30f507a110b6" providerId="LiveId" clId="{FE5803BF-6207-4B37-AF25-E2212107113F}" dt="2024-05-24T03:37:28.875" v="3238" actId="207"/>
        <pc:sldMkLst>
          <pc:docMk/>
          <pc:sldMk cId="1515056707" sldId="11281"/>
        </pc:sldMkLst>
        <pc:spChg chg="mod">
          <ac:chgData name="Bianca Ardito" userId="3dbb30f507a110b6" providerId="LiveId" clId="{FE5803BF-6207-4B37-AF25-E2212107113F}" dt="2024-05-24T03:37:24.482" v="3234" actId="207"/>
          <ac:spMkLst>
            <pc:docMk/>
            <pc:sldMk cId="1515056707" sldId="11281"/>
            <ac:spMk id="14" creationId="{F207B0F1-5943-FC4C-BB23-6C9535B73F58}"/>
          </ac:spMkLst>
        </pc:spChg>
        <pc:spChg chg="mod">
          <ac:chgData name="Bianca Ardito" userId="3dbb30f507a110b6" providerId="LiveId" clId="{FE5803BF-6207-4B37-AF25-E2212107113F}" dt="2024-05-24T03:37:25.987" v="3235" actId="207"/>
          <ac:spMkLst>
            <pc:docMk/>
            <pc:sldMk cId="1515056707" sldId="11281"/>
            <ac:spMk id="15" creationId="{6C758278-F233-CC49-8FED-43F233E4A1EF}"/>
          </ac:spMkLst>
        </pc:spChg>
        <pc:spChg chg="mod">
          <ac:chgData name="Bianca Ardito" userId="3dbb30f507a110b6" providerId="LiveId" clId="{FE5803BF-6207-4B37-AF25-E2212107113F}" dt="2024-05-24T03:37:26.864" v="3236" actId="207"/>
          <ac:spMkLst>
            <pc:docMk/>
            <pc:sldMk cId="1515056707" sldId="11281"/>
            <ac:spMk id="16" creationId="{D60818A5-B315-2E43-BB4A-9F61C2018887}"/>
          </ac:spMkLst>
        </pc:spChg>
        <pc:spChg chg="mod">
          <ac:chgData name="Bianca Ardito" userId="3dbb30f507a110b6" providerId="LiveId" clId="{FE5803BF-6207-4B37-AF25-E2212107113F}" dt="2024-05-24T03:37:27.555" v="3237" actId="207"/>
          <ac:spMkLst>
            <pc:docMk/>
            <pc:sldMk cId="1515056707" sldId="11281"/>
            <ac:spMk id="17" creationId="{1715F0C8-F66A-C34D-AE62-A573D77722B1}"/>
          </ac:spMkLst>
        </pc:spChg>
        <pc:spChg chg="mod">
          <ac:chgData name="Bianca Ardito" userId="3dbb30f507a110b6" providerId="LiveId" clId="{FE5803BF-6207-4B37-AF25-E2212107113F}" dt="2024-05-24T03:37:28.875" v="3238" actId="207"/>
          <ac:spMkLst>
            <pc:docMk/>
            <pc:sldMk cId="1515056707" sldId="11281"/>
            <ac:spMk id="35" creationId="{966B64BB-4468-794F-9B3D-144CD4AC3190}"/>
          </ac:spMkLst>
        </pc:spChg>
        <pc:graphicFrameChg chg="mod">
          <ac:chgData name="Bianca Ardito" userId="3dbb30f507a110b6" providerId="LiveId" clId="{FE5803BF-6207-4B37-AF25-E2212107113F}" dt="2024-05-24T03:32:59.656" v="3124"/>
          <ac:graphicFrameMkLst>
            <pc:docMk/>
            <pc:sldMk cId="1515056707" sldId="11281"/>
            <ac:graphicFrameMk id="5" creationId="{7C429BD7-2773-E80E-585B-CE9D583D7C6B}"/>
          </ac:graphicFrameMkLst>
        </pc:graphicFrameChg>
        <pc:graphicFrameChg chg="modGraphic">
          <ac:chgData name="Bianca Ardito" userId="3dbb30f507a110b6" providerId="LiveId" clId="{FE5803BF-6207-4B37-AF25-E2212107113F}" dt="2024-05-24T03:37:18.772" v="3233" actId="207"/>
          <ac:graphicFrameMkLst>
            <pc:docMk/>
            <pc:sldMk cId="1515056707" sldId="11281"/>
            <ac:graphicFrameMk id="13" creationId="{30FE7AFF-FA14-F445-977B-3DD8DA45527B}"/>
          </ac:graphicFrameMkLst>
        </pc:graphicFrameChg>
      </pc:sldChg>
      <pc:sldChg chg="modSp mod">
        <pc:chgData name="Bianca Ardito" userId="3dbb30f507a110b6" providerId="LiveId" clId="{FE5803BF-6207-4B37-AF25-E2212107113F}" dt="2024-05-24T03:32:59.656" v="3110"/>
        <pc:sldMkLst>
          <pc:docMk/>
          <pc:sldMk cId="307861601" sldId="11282"/>
        </pc:sldMkLst>
        <pc:graphicFrameChg chg="mod">
          <ac:chgData name="Bianca Ardito" userId="3dbb30f507a110b6" providerId="LiveId" clId="{FE5803BF-6207-4B37-AF25-E2212107113F}" dt="2024-05-24T03:32:59.656" v="3110"/>
          <ac:graphicFrameMkLst>
            <pc:docMk/>
            <pc:sldMk cId="307861601" sldId="11282"/>
            <ac:graphicFrameMk id="9" creationId="{CECC2F10-0EB6-693D-BB48-E48F1BB198E1}"/>
          </ac:graphicFrameMkLst>
        </pc:graphicFrameChg>
      </pc:sldChg>
      <pc:sldChg chg="modSp mod">
        <pc:chgData name="Bianca Ardito" userId="3dbb30f507a110b6" providerId="LiveId" clId="{FE5803BF-6207-4B37-AF25-E2212107113F}" dt="2024-05-24T03:37:10.574" v="3232" actId="207"/>
        <pc:sldMkLst>
          <pc:docMk/>
          <pc:sldMk cId="1691331697" sldId="11283"/>
        </pc:sldMkLst>
        <pc:graphicFrameChg chg="mod">
          <ac:chgData name="Bianca Ardito" userId="3dbb30f507a110b6" providerId="LiveId" clId="{FE5803BF-6207-4B37-AF25-E2212107113F}" dt="2024-05-24T03:32:59.656" v="3118"/>
          <ac:graphicFrameMkLst>
            <pc:docMk/>
            <pc:sldMk cId="1691331697" sldId="11283"/>
            <ac:graphicFrameMk id="5" creationId="{4678E00D-3488-F3E5-706C-2AE6A62886C1}"/>
          </ac:graphicFrameMkLst>
        </pc:graphicFrameChg>
        <pc:graphicFrameChg chg="modGraphic">
          <ac:chgData name="Bianca Ardito" userId="3dbb30f507a110b6" providerId="LiveId" clId="{FE5803BF-6207-4B37-AF25-E2212107113F}" dt="2024-05-24T03:37:10.574" v="3232" actId="207"/>
          <ac:graphicFrameMkLst>
            <pc:docMk/>
            <pc:sldMk cId="1691331697" sldId="11283"/>
            <ac:graphicFrameMk id="6" creationId="{5B46F154-646D-3B47-BC42-8386D548694D}"/>
          </ac:graphicFrameMkLst>
        </pc:graphicFrameChg>
      </pc:sldChg>
      <pc:sldChg chg="modSp mod">
        <pc:chgData name="Bianca Ardito" userId="3dbb30f507a110b6" providerId="LiveId" clId="{FE5803BF-6207-4B37-AF25-E2212107113F}" dt="2024-05-24T03:32:59.688" v="3174"/>
        <pc:sldMkLst>
          <pc:docMk/>
          <pc:sldMk cId="435403696" sldId="11284"/>
        </pc:sldMkLst>
        <pc:spChg chg="mod">
          <ac:chgData name="Bianca Ardito" userId="3dbb30f507a110b6" providerId="LiveId" clId="{FE5803BF-6207-4B37-AF25-E2212107113F}" dt="2024-05-24T03:32:59.593" v="3036" actId="948"/>
          <ac:spMkLst>
            <pc:docMk/>
            <pc:sldMk cId="435403696" sldId="11284"/>
            <ac:spMk id="3" creationId="{FB27D475-087D-3345-AB76-051E78367223}"/>
          </ac:spMkLst>
        </pc:spChg>
        <pc:graphicFrameChg chg="mod">
          <ac:chgData name="Bianca Ardito" userId="3dbb30f507a110b6" providerId="LiveId" clId="{FE5803BF-6207-4B37-AF25-E2212107113F}" dt="2024-05-24T03:32:59.688" v="3174"/>
          <ac:graphicFrameMkLst>
            <pc:docMk/>
            <pc:sldMk cId="435403696" sldId="11284"/>
            <ac:graphicFrameMk id="74" creationId="{045DE559-9D65-B389-5FE2-CCA2333558F2}"/>
          </ac:graphicFrameMkLst>
        </pc:graphicFrameChg>
      </pc:sldChg>
      <pc:sldChg chg="modSp mod">
        <pc:chgData name="Bianca Ardito" userId="3dbb30f507a110b6" providerId="LiveId" clId="{FE5803BF-6207-4B37-AF25-E2212107113F}" dt="2024-05-24T03:32:59.688" v="3178"/>
        <pc:sldMkLst>
          <pc:docMk/>
          <pc:sldMk cId="3107299696" sldId="11285"/>
        </pc:sldMkLst>
        <pc:spChg chg="mod">
          <ac:chgData name="Bianca Ardito" userId="3dbb30f507a110b6" providerId="LiveId" clId="{FE5803BF-6207-4B37-AF25-E2212107113F}" dt="2024-05-24T03:32:59.609" v="3038" actId="948"/>
          <ac:spMkLst>
            <pc:docMk/>
            <pc:sldMk cId="3107299696" sldId="11285"/>
            <ac:spMk id="3" creationId="{7F4BE6EC-7281-3D4E-8B8F-74F960207017}"/>
          </ac:spMkLst>
        </pc:spChg>
        <pc:graphicFrameChg chg="mod">
          <ac:chgData name="Bianca Ardito" userId="3dbb30f507a110b6" providerId="LiveId" clId="{FE5803BF-6207-4B37-AF25-E2212107113F}" dt="2024-05-24T03:32:59.688" v="3178"/>
          <ac:graphicFrameMkLst>
            <pc:docMk/>
            <pc:sldMk cId="3107299696" sldId="11285"/>
            <ac:graphicFrameMk id="127" creationId="{4DE33001-6863-0D72-7259-20872D9BB01D}"/>
          </ac:graphicFrameMkLst>
        </pc:graphicFrameChg>
      </pc:sldChg>
      <pc:sldChg chg="modSp mod">
        <pc:chgData name="Bianca Ardito" userId="3dbb30f507a110b6" providerId="LiveId" clId="{FE5803BF-6207-4B37-AF25-E2212107113F}" dt="2024-05-24T03:32:59.688" v="3180"/>
        <pc:sldMkLst>
          <pc:docMk/>
          <pc:sldMk cId="3239908302" sldId="11286"/>
        </pc:sldMkLst>
        <pc:graphicFrameChg chg="mod">
          <ac:chgData name="Bianca Ardito" userId="3dbb30f507a110b6" providerId="LiveId" clId="{FE5803BF-6207-4B37-AF25-E2212107113F}" dt="2024-05-24T03:32:59.688" v="3180"/>
          <ac:graphicFrameMkLst>
            <pc:docMk/>
            <pc:sldMk cId="3239908302" sldId="11286"/>
            <ac:graphicFrameMk id="77" creationId="{D5340E12-8A0C-0327-F12A-7B8B6F5BF08F}"/>
          </ac:graphicFrameMkLst>
        </pc:graphicFrameChg>
      </pc:sldChg>
      <pc:sldChg chg="addSp delSp modSp del mod">
        <pc:chgData name="Bianca Ardito" userId="3dbb30f507a110b6" providerId="LiveId" clId="{FE5803BF-6207-4B37-AF25-E2212107113F}" dt="2024-05-24T03:38:45.216" v="3260" actId="47"/>
        <pc:sldMkLst>
          <pc:docMk/>
          <pc:sldMk cId="1250473514" sldId="11287"/>
        </pc:sldMkLst>
        <pc:spChg chg="add del mod modVis">
          <ac:chgData name="Bianca Ardito" userId="3dbb30f507a110b6" providerId="LiveId" clId="{FE5803BF-6207-4B37-AF25-E2212107113F}" dt="2024-05-24T03:22:45.326" v="714"/>
          <ac:spMkLst>
            <pc:docMk/>
            <pc:sldMk cId="1250473514" sldId="11287"/>
            <ac:spMk id="2" creationId="{C6DC65BA-61A3-82B5-33DD-C190E0B8D144}"/>
          </ac:spMkLst>
        </pc:spChg>
        <pc:spChg chg="mod">
          <ac:chgData name="Bianca Ardito" userId="3dbb30f507a110b6" providerId="LiveId" clId="{FE5803BF-6207-4B37-AF25-E2212107113F}" dt="2024-05-24T03:32:59.438" v="2870" actId="948"/>
          <ac:spMkLst>
            <pc:docMk/>
            <pc:sldMk cId="1250473514" sldId="11287"/>
            <ac:spMk id="3" creationId="{2F2CD533-39A4-C143-AB90-E36E3478242A}"/>
          </ac:spMkLst>
        </pc:spChg>
        <pc:spChg chg="add del mod modVis">
          <ac:chgData name="Bianca Ardito" userId="3dbb30f507a110b6" providerId="LiveId" clId="{FE5803BF-6207-4B37-AF25-E2212107113F}" dt="2024-05-24T03:24:12.033" v="1458"/>
          <ac:spMkLst>
            <pc:docMk/>
            <pc:sldMk cId="1250473514" sldId="11287"/>
            <ac:spMk id="4" creationId="{EEDE9463-FCB0-3930-53BC-C29FBFB1B7A3}"/>
          </ac:spMkLst>
        </pc:spChg>
        <pc:spChg chg="add del mod modVis">
          <ac:chgData name="Bianca Ardito" userId="3dbb30f507a110b6" providerId="LiveId" clId="{FE5803BF-6207-4B37-AF25-E2212107113F}" dt="2024-05-24T03:32:39.790" v="2395"/>
          <ac:spMkLst>
            <pc:docMk/>
            <pc:sldMk cId="1250473514" sldId="11287"/>
            <ac:spMk id="38" creationId="{BF94B3C7-7C16-F8A5-BA74-9E8B399540E8}"/>
          </ac:spMkLst>
        </pc:spChg>
        <pc:spChg chg="add del mod modVis">
          <ac:chgData name="Bianca Ardito" userId="3dbb30f507a110b6" providerId="LiveId" clId="{FE5803BF-6207-4B37-AF25-E2212107113F}" dt="2024-05-24T03:32:59.656" v="3136"/>
          <ac:spMkLst>
            <pc:docMk/>
            <pc:sldMk cId="1250473514" sldId="11287"/>
            <ac:spMk id="40" creationId="{383B99D2-963C-4FE7-2A8C-D92A25B450D7}"/>
          </ac:spMkLst>
        </pc:spChg>
        <pc:graphicFrameChg chg="mod">
          <ac:chgData name="Bianca Ardito" userId="3dbb30f507a110b6" providerId="LiveId" clId="{FE5803BF-6207-4B37-AF25-E2212107113F}" dt="2024-05-24T03:32:59.672" v="3138"/>
          <ac:graphicFrameMkLst>
            <pc:docMk/>
            <pc:sldMk cId="1250473514" sldId="11287"/>
            <ac:graphicFrameMk id="39" creationId="{FFA39272-B583-5FA3-4407-58F3F44DEA8F}"/>
          </ac:graphicFrameMkLst>
        </pc:graphicFrameChg>
      </pc:sldChg>
      <pc:sldChg chg="addSp delSp modSp del mod">
        <pc:chgData name="Bianca Ardito" userId="3dbb30f507a110b6" providerId="LiveId" clId="{FE5803BF-6207-4B37-AF25-E2212107113F}" dt="2024-05-24T03:38:45.216" v="3260" actId="47"/>
        <pc:sldMkLst>
          <pc:docMk/>
          <pc:sldMk cId="1763032171" sldId="11288"/>
        </pc:sldMkLst>
        <pc:spChg chg="add del mod modVis">
          <ac:chgData name="Bianca Ardito" userId="3dbb30f507a110b6" providerId="LiveId" clId="{FE5803BF-6207-4B37-AF25-E2212107113F}" dt="2024-05-24T03:22:45.326" v="726"/>
          <ac:spMkLst>
            <pc:docMk/>
            <pc:sldMk cId="1763032171" sldId="11288"/>
            <ac:spMk id="2" creationId="{07220D27-42B4-06A6-2091-86C32C380A11}"/>
          </ac:spMkLst>
        </pc:spChg>
        <pc:spChg chg="mod">
          <ac:chgData name="Bianca Ardito" userId="3dbb30f507a110b6" providerId="LiveId" clId="{FE5803BF-6207-4B37-AF25-E2212107113F}" dt="2024-05-24T03:32:59.488" v="2936" actId="948"/>
          <ac:spMkLst>
            <pc:docMk/>
            <pc:sldMk cId="1763032171" sldId="11288"/>
            <ac:spMk id="3" creationId="{B046C070-2A2A-A848-AE63-3AFA07CB7043}"/>
          </ac:spMkLst>
        </pc:spChg>
        <pc:spChg chg="add del mod modVis">
          <ac:chgData name="Bianca Ardito" userId="3dbb30f507a110b6" providerId="LiveId" clId="{FE5803BF-6207-4B37-AF25-E2212107113F}" dt="2024-05-24T03:24:12.033" v="1470"/>
          <ac:spMkLst>
            <pc:docMk/>
            <pc:sldMk cId="1763032171" sldId="11288"/>
            <ac:spMk id="4" creationId="{91C6CB5D-6AB5-50C9-C8F2-ADF8DAD59CC1}"/>
          </ac:spMkLst>
        </pc:spChg>
        <pc:spChg chg="add del mod modVis">
          <ac:chgData name="Bianca Ardito" userId="3dbb30f507a110b6" providerId="LiveId" clId="{FE5803BF-6207-4B37-AF25-E2212107113F}" dt="2024-05-24T03:32:39.790" v="2407"/>
          <ac:spMkLst>
            <pc:docMk/>
            <pc:sldMk cId="1763032171" sldId="11288"/>
            <ac:spMk id="60" creationId="{80D6F81F-7ED1-288D-24B7-F711835C4838}"/>
          </ac:spMkLst>
        </pc:spChg>
        <pc:spChg chg="add del mod modVis">
          <ac:chgData name="Bianca Ardito" userId="3dbb30f507a110b6" providerId="LiveId" clId="{FE5803BF-6207-4B37-AF25-E2212107113F}" dt="2024-05-24T03:32:59.672" v="3148"/>
          <ac:spMkLst>
            <pc:docMk/>
            <pc:sldMk cId="1763032171" sldId="11288"/>
            <ac:spMk id="62" creationId="{8C141D81-39F3-B388-D788-B4433E39C247}"/>
          </ac:spMkLst>
        </pc:spChg>
        <pc:graphicFrameChg chg="mod">
          <ac:chgData name="Bianca Ardito" userId="3dbb30f507a110b6" providerId="LiveId" clId="{FE5803BF-6207-4B37-AF25-E2212107113F}" dt="2024-05-24T03:32:59.672" v="3150"/>
          <ac:graphicFrameMkLst>
            <pc:docMk/>
            <pc:sldMk cId="1763032171" sldId="11288"/>
            <ac:graphicFrameMk id="61" creationId="{7EF15FFA-313B-FE49-C37D-6DB166B3F5A4}"/>
          </ac:graphicFrameMkLst>
        </pc:graphicFrameChg>
      </pc:sldChg>
      <pc:sldChg chg="addSp delSp modSp mod">
        <pc:chgData name="Bianca Ardito" userId="3dbb30f507a110b6" providerId="LiveId" clId="{FE5803BF-6207-4B37-AF25-E2212107113F}" dt="2024-05-24T03:32:59.672" v="3146"/>
        <pc:sldMkLst>
          <pc:docMk/>
          <pc:sldMk cId="2136256637" sldId="11289"/>
        </pc:sldMkLst>
        <pc:spChg chg="add del mod modVis">
          <ac:chgData name="Bianca Ardito" userId="3dbb30f507a110b6" providerId="LiveId" clId="{FE5803BF-6207-4B37-AF25-E2212107113F}" dt="2024-05-24T03:22:45.326" v="722"/>
          <ac:spMkLst>
            <pc:docMk/>
            <pc:sldMk cId="2136256637" sldId="11289"/>
            <ac:spMk id="2" creationId="{8CD5F255-0810-D5D7-70DB-616E7B9F54A9}"/>
          </ac:spMkLst>
        </pc:spChg>
        <pc:spChg chg="mod">
          <ac:chgData name="Bianca Ardito" userId="3dbb30f507a110b6" providerId="LiveId" clId="{FE5803BF-6207-4B37-AF25-E2212107113F}" dt="2024-05-24T03:32:59.469" v="2916" actId="948"/>
          <ac:spMkLst>
            <pc:docMk/>
            <pc:sldMk cId="2136256637" sldId="11289"/>
            <ac:spMk id="3" creationId="{83128D1F-E401-264F-B952-EA95965E9197}"/>
          </ac:spMkLst>
        </pc:spChg>
        <pc:spChg chg="add del mod modVis">
          <ac:chgData name="Bianca Ardito" userId="3dbb30f507a110b6" providerId="LiveId" clId="{FE5803BF-6207-4B37-AF25-E2212107113F}" dt="2024-05-24T03:24:12.033" v="1466"/>
          <ac:spMkLst>
            <pc:docMk/>
            <pc:sldMk cId="2136256637" sldId="11289"/>
            <ac:spMk id="4" creationId="{8EDDC05E-50D4-9F5F-8076-5DFEA3CC42D5}"/>
          </ac:spMkLst>
        </pc:spChg>
        <pc:spChg chg="add del mod modVis">
          <ac:chgData name="Bianca Ardito" userId="3dbb30f507a110b6" providerId="LiveId" clId="{FE5803BF-6207-4B37-AF25-E2212107113F}" dt="2024-05-24T03:32:39.790" v="2403"/>
          <ac:spMkLst>
            <pc:docMk/>
            <pc:sldMk cId="2136256637" sldId="11289"/>
            <ac:spMk id="7" creationId="{F21C891C-5779-26D3-DB91-3952F231167D}"/>
          </ac:spMkLst>
        </pc:spChg>
        <pc:spChg chg="add del mod modVis">
          <ac:chgData name="Bianca Ardito" userId="3dbb30f507a110b6" providerId="LiveId" clId="{FE5803BF-6207-4B37-AF25-E2212107113F}" dt="2024-05-24T03:32:59.672" v="3144"/>
          <ac:spMkLst>
            <pc:docMk/>
            <pc:sldMk cId="2136256637" sldId="11289"/>
            <ac:spMk id="9" creationId="{6E1E46F0-95EE-E496-D1EF-1C767E5ABA22}"/>
          </ac:spMkLst>
        </pc:spChg>
        <pc:graphicFrameChg chg="mod">
          <ac:chgData name="Bianca Ardito" userId="3dbb30f507a110b6" providerId="LiveId" clId="{FE5803BF-6207-4B37-AF25-E2212107113F}" dt="2024-05-24T03:32:59.672" v="3146"/>
          <ac:graphicFrameMkLst>
            <pc:docMk/>
            <pc:sldMk cId="2136256637" sldId="11289"/>
            <ac:graphicFrameMk id="8" creationId="{21F6BBF2-447E-F019-5F54-3D862A6E6D90}"/>
          </ac:graphicFrameMkLst>
        </pc:graphicFrameChg>
      </pc:sldChg>
      <pc:sldChg chg="modSp mod">
        <pc:chgData name="Bianca Ardito" userId="3dbb30f507a110b6" providerId="LiveId" clId="{FE5803BF-6207-4B37-AF25-E2212107113F}" dt="2024-05-24T03:32:59.688" v="3176"/>
        <pc:sldMkLst>
          <pc:docMk/>
          <pc:sldMk cId="3394902180" sldId="11290"/>
        </pc:sldMkLst>
        <pc:spChg chg="mod">
          <ac:chgData name="Bianca Ardito" userId="3dbb30f507a110b6" providerId="LiveId" clId="{FE5803BF-6207-4B37-AF25-E2212107113F}" dt="2024-05-24T03:32:59.593" v="3037" actId="948"/>
          <ac:spMkLst>
            <pc:docMk/>
            <pc:sldMk cId="3394902180" sldId="11290"/>
            <ac:spMk id="3" creationId="{CAAFCD89-3917-3744-BF5F-677B8287E7F5}"/>
          </ac:spMkLst>
        </pc:spChg>
        <pc:graphicFrameChg chg="mod">
          <ac:chgData name="Bianca Ardito" userId="3dbb30f507a110b6" providerId="LiveId" clId="{FE5803BF-6207-4B37-AF25-E2212107113F}" dt="2024-05-24T03:32:59.688" v="3176"/>
          <ac:graphicFrameMkLst>
            <pc:docMk/>
            <pc:sldMk cId="3394902180" sldId="11290"/>
            <ac:graphicFrameMk id="15" creationId="{809088C0-162B-A291-80BD-C10579E2E872}"/>
          </ac:graphicFrameMkLst>
        </pc:graphicFrameChg>
      </pc:sldChg>
      <pc:sldChg chg="addSp delSp modSp mod">
        <pc:chgData name="Bianca Ardito" userId="3dbb30f507a110b6" providerId="LiveId" clId="{FE5803BF-6207-4B37-AF25-E2212107113F}" dt="2024-05-24T03:32:59.625" v="3052"/>
        <pc:sldMkLst>
          <pc:docMk/>
          <pc:sldMk cId="2532165774" sldId="11291"/>
        </pc:sldMkLst>
        <pc:spChg chg="mod">
          <ac:chgData name="Bianca Ardito" userId="3dbb30f507a110b6" providerId="LiveId" clId="{FE5803BF-6207-4B37-AF25-E2212107113F}" dt="2024-05-24T03:32:59.092" v="2482" actId="948"/>
          <ac:spMkLst>
            <pc:docMk/>
            <pc:sldMk cId="2532165774" sldId="11291"/>
            <ac:spMk id="2" creationId="{C2B5D6D4-8D4C-794F-8F9B-EC49F0DB3EA7}"/>
          </ac:spMkLst>
        </pc:spChg>
        <pc:spChg chg="add del mod modVis">
          <ac:chgData name="Bianca Ardito" userId="3dbb30f507a110b6" providerId="LiveId" clId="{FE5803BF-6207-4B37-AF25-E2212107113F}" dt="2024-05-24T03:22:45.293" v="628"/>
          <ac:spMkLst>
            <pc:docMk/>
            <pc:sldMk cId="2532165774" sldId="11291"/>
            <ac:spMk id="3" creationId="{84181D2C-EA07-F039-BA15-E1E1E972D1C6}"/>
          </ac:spMkLst>
        </pc:spChg>
        <pc:spChg chg="add del mod modVis">
          <ac:chgData name="Bianca Ardito" userId="3dbb30f507a110b6" providerId="LiveId" clId="{FE5803BF-6207-4B37-AF25-E2212107113F}" dt="2024-05-24T03:24:11.986" v="1372"/>
          <ac:spMkLst>
            <pc:docMk/>
            <pc:sldMk cId="2532165774" sldId="11291"/>
            <ac:spMk id="4" creationId="{BC7A691C-7947-29A2-E801-62FB34E93CCB}"/>
          </ac:spMkLst>
        </pc:spChg>
        <pc:spChg chg="add del mod modVis">
          <ac:chgData name="Bianca Ardito" userId="3dbb30f507a110b6" providerId="LiveId" clId="{FE5803BF-6207-4B37-AF25-E2212107113F}" dt="2024-05-24T03:32:39.744" v="2309"/>
          <ac:spMkLst>
            <pc:docMk/>
            <pc:sldMk cId="2532165774" sldId="11291"/>
            <ac:spMk id="5" creationId="{EF609D25-5C4D-C00F-E1AD-6B6A3920397B}"/>
          </ac:spMkLst>
        </pc:spChg>
        <pc:spChg chg="add del mod modVis">
          <ac:chgData name="Bianca Ardito" userId="3dbb30f507a110b6" providerId="LiveId" clId="{FE5803BF-6207-4B37-AF25-E2212107113F}" dt="2024-05-24T03:32:59.625" v="3050"/>
          <ac:spMkLst>
            <pc:docMk/>
            <pc:sldMk cId="2532165774" sldId="11291"/>
            <ac:spMk id="6" creationId="{0EC4A2C9-8ADF-A350-108F-F9C76658011D}"/>
          </ac:spMkLst>
        </pc:spChg>
        <pc:graphicFrameChg chg="mod">
          <ac:chgData name="Bianca Ardito" userId="3dbb30f507a110b6" providerId="LiveId" clId="{FE5803BF-6207-4B37-AF25-E2212107113F}" dt="2024-05-24T03:32:59.625" v="3052"/>
          <ac:graphicFrameMkLst>
            <pc:docMk/>
            <pc:sldMk cId="2532165774" sldId="11291"/>
            <ac:graphicFrameMk id="7" creationId="{4A07037A-7B66-E0BC-EDFE-119628AEC064}"/>
          </ac:graphicFrameMkLst>
        </pc:graphicFrameChg>
      </pc:sldChg>
      <pc:sldChg chg="modSp mod">
        <pc:chgData name="Bianca Ardito" userId="3dbb30f507a110b6" providerId="LiveId" clId="{FE5803BF-6207-4B37-AF25-E2212107113F}" dt="2024-05-24T03:37:41.893" v="3250" actId="207"/>
        <pc:sldMkLst>
          <pc:docMk/>
          <pc:sldMk cId="3473810630" sldId="11294"/>
        </pc:sldMkLst>
        <pc:spChg chg="mod">
          <ac:chgData name="Bianca Ardito" userId="3dbb30f507a110b6" providerId="LiveId" clId="{FE5803BF-6207-4B37-AF25-E2212107113F}" dt="2024-05-24T03:37:41.893" v="3250" actId="207"/>
          <ac:spMkLst>
            <pc:docMk/>
            <pc:sldMk cId="3473810630" sldId="11294"/>
            <ac:spMk id="7" creationId="{26CA9CE4-D755-0744-844F-9D2BDFAE2FD3}"/>
          </ac:spMkLst>
        </pc:spChg>
      </pc:sldChg>
      <pc:sldChg chg="addSp delSp modSp mod">
        <pc:chgData name="Bianca Ardito" userId="3dbb30f507a110b6" providerId="LiveId" clId="{FE5803BF-6207-4B37-AF25-E2212107113F}" dt="2024-05-24T03:36:04.811" v="3218" actId="207"/>
        <pc:sldMkLst>
          <pc:docMk/>
          <pc:sldMk cId="1620974652" sldId="11295"/>
        </pc:sldMkLst>
        <pc:spChg chg="add del mod modVis">
          <ac:chgData name="Bianca Ardito" userId="3dbb30f507a110b6" providerId="LiveId" clId="{FE5803BF-6207-4B37-AF25-E2212107113F}" dt="2024-05-24T03:22:45.306" v="668"/>
          <ac:spMkLst>
            <pc:docMk/>
            <pc:sldMk cId="1620974652" sldId="11295"/>
            <ac:spMk id="2" creationId="{15F407A4-D6C3-A177-1C3A-E8C2381E2523}"/>
          </ac:spMkLst>
        </pc:spChg>
        <pc:spChg chg="mod">
          <ac:chgData name="Bianca Ardito" userId="3dbb30f507a110b6" providerId="LiveId" clId="{FE5803BF-6207-4B37-AF25-E2212107113F}" dt="2024-05-24T03:32:59.288" v="2682" actId="948"/>
          <ac:spMkLst>
            <pc:docMk/>
            <pc:sldMk cId="1620974652" sldId="11295"/>
            <ac:spMk id="3" creationId="{A21BF2E9-5D53-8546-B43B-D5C12AACFB33}"/>
          </ac:spMkLst>
        </pc:spChg>
        <pc:spChg chg="add del mod modVis">
          <ac:chgData name="Bianca Ardito" userId="3dbb30f507a110b6" providerId="LiveId" clId="{FE5803BF-6207-4B37-AF25-E2212107113F}" dt="2024-05-24T03:24:12.002" v="1412"/>
          <ac:spMkLst>
            <pc:docMk/>
            <pc:sldMk cId="1620974652" sldId="11295"/>
            <ac:spMk id="4" creationId="{6923F819-5F24-47E6-74CA-B00051E8D7C6}"/>
          </ac:spMkLst>
        </pc:spChg>
        <pc:spChg chg="mod">
          <ac:chgData name="Bianca Ardito" userId="3dbb30f507a110b6" providerId="LiveId" clId="{FE5803BF-6207-4B37-AF25-E2212107113F}" dt="2024-05-24T03:36:04.811" v="3218" actId="207"/>
          <ac:spMkLst>
            <pc:docMk/>
            <pc:sldMk cId="1620974652" sldId="11295"/>
            <ac:spMk id="10" creationId="{0CA22309-FB41-D74E-94D7-E12416FEE2FC}"/>
          </ac:spMkLst>
        </pc:spChg>
        <pc:spChg chg="add del mod modVis">
          <ac:chgData name="Bianca Ardito" userId="3dbb30f507a110b6" providerId="LiveId" clId="{FE5803BF-6207-4B37-AF25-E2212107113F}" dt="2024-05-24T03:32:39.759" v="2349"/>
          <ac:spMkLst>
            <pc:docMk/>
            <pc:sldMk cId="1620974652" sldId="11295"/>
            <ac:spMk id="12" creationId="{4A9897F6-08A2-BBC7-E2B8-CF013206256B}"/>
          </ac:spMkLst>
        </pc:spChg>
        <pc:spChg chg="add del mod modVis">
          <ac:chgData name="Bianca Ardito" userId="3dbb30f507a110b6" providerId="LiveId" clId="{FE5803BF-6207-4B37-AF25-E2212107113F}" dt="2024-05-24T03:32:59.640" v="3090"/>
          <ac:spMkLst>
            <pc:docMk/>
            <pc:sldMk cId="1620974652" sldId="11295"/>
            <ac:spMk id="14" creationId="{DBA53331-A75F-BAB5-1E3B-628500F0808E}"/>
          </ac:spMkLst>
        </pc:spChg>
        <pc:graphicFrameChg chg="mod">
          <ac:chgData name="Bianca Ardito" userId="3dbb30f507a110b6" providerId="LiveId" clId="{FE5803BF-6207-4B37-AF25-E2212107113F}" dt="2024-05-24T03:32:59.640" v="3092"/>
          <ac:graphicFrameMkLst>
            <pc:docMk/>
            <pc:sldMk cId="1620974652" sldId="11295"/>
            <ac:graphicFrameMk id="13" creationId="{74EF60A9-1E52-890A-1652-34EF64BEED0C}"/>
          </ac:graphicFrameMkLst>
        </pc:graphicFrameChg>
      </pc:sldChg>
      <pc:sldMasterChg chg="addSp delSp modSp mod modSldLayout">
        <pc:chgData name="Bianca Ardito" userId="3dbb30f507a110b6" providerId="LiveId" clId="{FE5803BF-6207-4B37-AF25-E2212107113F}" dt="2024-05-24T03:29:43.701" v="1678"/>
        <pc:sldMasterMkLst>
          <pc:docMk/>
          <pc:sldMasterMk cId="0" sldId="2147484111"/>
        </pc:sldMasterMkLst>
        <pc:spChg chg="add del mod">
          <ac:chgData name="Bianca Ardito" userId="3dbb30f507a110b6" providerId="LiveId" clId="{FE5803BF-6207-4B37-AF25-E2212107113F}" dt="2024-05-24T03:24:23.135" v="1508" actId="478"/>
          <ac:spMkLst>
            <pc:docMk/>
            <pc:sldMasterMk cId="0" sldId="2147484111"/>
            <ac:spMk id="7" creationId="{726C08C6-7172-5912-6792-2FFBAD5FB45D}"/>
          </ac:spMkLst>
        </pc:spChg>
        <pc:spChg chg="add del mod">
          <ac:chgData name="Bianca Ardito" userId="3dbb30f507a110b6" providerId="LiveId" clId="{FE5803BF-6207-4B37-AF25-E2212107113F}" dt="2024-05-24T03:24:23.135" v="1508" actId="478"/>
          <ac:spMkLst>
            <pc:docMk/>
            <pc:sldMasterMk cId="0" sldId="2147484111"/>
            <ac:spMk id="11" creationId="{539835DC-C2FF-03C5-4E38-934CAC1368DF}"/>
          </ac:spMkLst>
        </pc:spChg>
        <pc:graphicFrameChg chg="add del mod">
          <ac:chgData name="Bianca Ardito" userId="3dbb30f507a110b6" providerId="LiveId" clId="{FE5803BF-6207-4B37-AF25-E2212107113F}" dt="2024-05-24T03:24:23.135" v="1508" actId="478"/>
          <ac:graphicFrameMkLst>
            <pc:docMk/>
            <pc:sldMasterMk cId="0" sldId="2147484111"/>
            <ac:graphicFrameMk id="8" creationId="{F67FD207-E8DC-2F15-1D6D-F3DE3ABEB3F8}"/>
          </ac:graphicFrameMkLst>
        </pc:graphicFrameChg>
        <pc:picChg chg="add del mod">
          <ac:chgData name="Bianca Ardito" userId="3dbb30f507a110b6" providerId="LiveId" clId="{FE5803BF-6207-4B37-AF25-E2212107113F}" dt="2024-05-24T03:24:17.064" v="1506" actId="478"/>
          <ac:picMkLst>
            <pc:docMk/>
            <pc:sldMasterMk cId="0" sldId="2147484111"/>
            <ac:picMk id="4" creationId="{973785C1-4112-7EE1-A559-0C8A0A810E7A}"/>
          </ac:picMkLst>
        </pc:picChg>
        <pc:picChg chg="add del mod">
          <ac:chgData name="Bianca Ardito" userId="3dbb30f507a110b6" providerId="LiveId" clId="{FE5803BF-6207-4B37-AF25-E2212107113F}" dt="2024-05-24T03:24:19.594" v="1507" actId="478"/>
          <ac:picMkLst>
            <pc:docMk/>
            <pc:sldMasterMk cId="0" sldId="2147484111"/>
            <ac:picMk id="5" creationId="{8F46894F-1584-FE12-CC44-B7F153BBB129}"/>
          </ac:picMkLst>
        </pc:picChg>
        <pc:picChg chg="del mod">
          <ac:chgData name="Bianca Ardito" userId="3dbb30f507a110b6" providerId="LiveId" clId="{FE5803BF-6207-4B37-AF25-E2212107113F}" dt="2024-05-24T03:20:53.082" v="6" actId="478"/>
          <ac:picMkLst>
            <pc:docMk/>
            <pc:sldMasterMk cId="0" sldId="2147484111"/>
            <ac:picMk id="6" creationId="{07AF6697-AFA3-3459-C9FB-869D95F6E03E}"/>
          </ac:picMkLst>
        </pc:picChg>
        <pc:picChg chg="add del mod">
          <ac:chgData name="Bianca Ardito" userId="3dbb30f507a110b6" providerId="LiveId" clId="{FE5803BF-6207-4B37-AF25-E2212107113F}" dt="2024-05-24T03:24:23.135" v="1508" actId="478"/>
          <ac:picMkLst>
            <pc:docMk/>
            <pc:sldMasterMk cId="0" sldId="2147484111"/>
            <ac:picMk id="12" creationId="{FDD22F72-C3F9-61A9-767C-D31816538BD1}"/>
          </ac:picMkLst>
        </pc:picChg>
        <pc:cxnChg chg="mod">
          <ac:chgData name="Bianca Ardito" userId="3dbb30f507a110b6" providerId="LiveId" clId="{FE5803BF-6207-4B37-AF25-E2212107113F}" dt="2024-05-24T03:24:38.376" v="1510" actId="208"/>
          <ac:cxnSpMkLst>
            <pc:docMk/>
            <pc:sldMasterMk cId="0" sldId="2147484111"/>
            <ac:cxnSpMk id="10" creationId="{08451A7B-15B9-49E3-BA0C-88EEC565ABEA}"/>
          </ac:cxnSpMkLst>
        </pc:cxnChg>
        <pc:sldLayoutChg chg="addSp delSp modSp mod">
          <pc:chgData name="Bianca Ardito" userId="3dbb30f507a110b6" providerId="LiveId" clId="{FE5803BF-6207-4B37-AF25-E2212107113F}" dt="2024-05-24T03:28:59.638" v="1606" actId="207"/>
          <pc:sldLayoutMkLst>
            <pc:docMk/>
            <pc:sldMasterMk cId="0" sldId="2147484111"/>
            <pc:sldLayoutMk cId="0" sldId="2147484112"/>
          </pc:sldLayoutMkLst>
          <pc:spChg chg="mod ord">
            <ac:chgData name="Bianca Ardito" userId="3dbb30f507a110b6" providerId="LiveId" clId="{FE5803BF-6207-4B37-AF25-E2212107113F}" dt="2024-05-24T03:28:40.714" v="1585"/>
            <ac:spMkLst>
              <pc:docMk/>
              <pc:sldMasterMk cId="0" sldId="2147484111"/>
              <pc:sldLayoutMk cId="0" sldId="2147484112"/>
              <ac:spMk id="2" creationId="{89158F06-C06B-209F-83F3-1E0A5E22685E}"/>
            </ac:spMkLst>
          </pc:spChg>
          <pc:spChg chg="mod ord">
            <ac:chgData name="Bianca Ardito" userId="3dbb30f507a110b6" providerId="LiveId" clId="{FE5803BF-6207-4B37-AF25-E2212107113F}" dt="2024-05-24T03:28:59.638" v="1606" actId="207"/>
            <ac:spMkLst>
              <pc:docMk/>
              <pc:sldMasterMk cId="0" sldId="2147484111"/>
              <pc:sldLayoutMk cId="0" sldId="2147484112"/>
              <ac:spMk id="4" creationId="{560F6FC3-C463-0843-AE87-A28C42ACC74B}"/>
            </ac:spMkLst>
          </pc:spChg>
          <pc:spChg chg="mod ord">
            <ac:chgData name="Bianca Ardito" userId="3dbb30f507a110b6" providerId="LiveId" clId="{FE5803BF-6207-4B37-AF25-E2212107113F}" dt="2024-05-24T03:28:40.730" v="1589"/>
            <ac:spMkLst>
              <pc:docMk/>
              <pc:sldMasterMk cId="0" sldId="2147484111"/>
              <pc:sldLayoutMk cId="0" sldId="2147484112"/>
              <ac:spMk id="10" creationId="{B45ED5B0-E191-BB36-628A-EC16E3949701}"/>
            </ac:spMkLst>
          </pc:spChg>
          <pc:spChg chg="mod ord">
            <ac:chgData name="Bianca Ardito" userId="3dbb30f507a110b6" providerId="LiveId" clId="{FE5803BF-6207-4B37-AF25-E2212107113F}" dt="2024-05-24T03:28:40.730" v="1593"/>
            <ac:spMkLst>
              <pc:docMk/>
              <pc:sldMasterMk cId="0" sldId="2147484111"/>
              <pc:sldLayoutMk cId="0" sldId="2147484112"/>
              <ac:spMk id="43" creationId="{00000000-0000-0000-0000-000000000000}"/>
            </ac:spMkLst>
          </pc:spChg>
          <pc:spChg chg="mod ord">
            <ac:chgData name="Bianca Ardito" userId="3dbb30f507a110b6" providerId="LiveId" clId="{FE5803BF-6207-4B37-AF25-E2212107113F}" dt="2024-05-24T03:28:40.730" v="1591"/>
            <ac:spMkLst>
              <pc:docMk/>
              <pc:sldMasterMk cId="0" sldId="2147484111"/>
              <pc:sldLayoutMk cId="0" sldId="2147484112"/>
              <ac:spMk id="69" creationId="{00000000-0000-0000-0000-000000000000}"/>
            </ac:spMkLst>
          </pc:spChg>
          <pc:graphicFrameChg chg="mod">
            <ac:chgData name="Bianca Ardito" userId="3dbb30f507a110b6" providerId="LiveId" clId="{FE5803BF-6207-4B37-AF25-E2212107113F}" dt="2024-05-24T03:28:40.730" v="1601"/>
            <ac:graphicFrameMkLst>
              <pc:docMk/>
              <pc:sldMasterMk cId="0" sldId="2147484111"/>
              <pc:sldLayoutMk cId="0" sldId="2147484112"/>
              <ac:graphicFrameMk id="8" creationId="{641C4990-A683-7A3E-EC59-1F24A00844FE}"/>
            </ac:graphicFrameMkLst>
          </pc:graphicFrameChg>
          <pc:picChg chg="add mod ord">
            <ac:chgData name="Bianca Ardito" userId="3dbb30f507a110b6" providerId="LiveId" clId="{FE5803BF-6207-4B37-AF25-E2212107113F}" dt="2024-05-24T03:28:40.730" v="1597"/>
            <ac:picMkLst>
              <pc:docMk/>
              <pc:sldMasterMk cId="0" sldId="2147484111"/>
              <pc:sldLayoutMk cId="0" sldId="2147484112"/>
              <ac:picMk id="5" creationId="{D3229239-CD0D-2DC5-67BD-9B545C33C442}"/>
            </ac:picMkLst>
          </pc:picChg>
          <pc:picChg chg="add del mod ord">
            <ac:chgData name="Bianca Ardito" userId="3dbb30f507a110b6" providerId="LiveId" clId="{FE5803BF-6207-4B37-AF25-E2212107113F}" dt="2024-05-24T03:28:16.253" v="1545"/>
            <ac:picMkLst>
              <pc:docMk/>
              <pc:sldMasterMk cId="0" sldId="2147484111"/>
              <pc:sldLayoutMk cId="0" sldId="2147484112"/>
              <ac:picMk id="6" creationId="{C34F4591-E823-FB00-BB61-84A755AD2394}"/>
            </ac:picMkLst>
          </pc:picChg>
          <pc:picChg chg="mod ord">
            <ac:chgData name="Bianca Ardito" userId="3dbb30f507a110b6" providerId="LiveId" clId="{FE5803BF-6207-4B37-AF25-E2212107113F}" dt="2024-05-24T03:28:52.509" v="1605" actId="29295"/>
            <ac:picMkLst>
              <pc:docMk/>
              <pc:sldMasterMk cId="0" sldId="2147484111"/>
              <pc:sldLayoutMk cId="0" sldId="2147484112"/>
              <ac:picMk id="7" creationId="{9C4F8594-B378-6FB8-2AFE-9FBB3CA6A474}"/>
            </ac:picMkLst>
          </pc:picChg>
          <pc:picChg chg="del mod">
            <ac:chgData name="Bianca Ardito" userId="3dbb30f507a110b6" providerId="LiveId" clId="{FE5803BF-6207-4B37-AF25-E2212107113F}" dt="2024-05-24T03:21:20.462" v="19" actId="478"/>
            <ac:picMkLst>
              <pc:docMk/>
              <pc:sldMasterMk cId="0" sldId="2147484111"/>
              <pc:sldLayoutMk cId="0" sldId="2147484112"/>
              <ac:picMk id="12" creationId="{000F74F5-40A8-BDB5-FE16-7964C8DDA1C8}"/>
            </ac:picMkLst>
          </pc:picChg>
          <pc:picChg chg="del mod ord">
            <ac:chgData name="Bianca Ardito" userId="3dbb30f507a110b6" providerId="LiveId" clId="{FE5803BF-6207-4B37-AF25-E2212107113F}" dt="2024-05-24T03:28:16.253" v="1545"/>
            <ac:picMkLst>
              <pc:docMk/>
              <pc:sldMasterMk cId="0" sldId="2147484111"/>
              <pc:sldLayoutMk cId="0" sldId="2147484112"/>
              <ac:picMk id="25" creationId="{0A0A4B65-F8C0-0D15-F525-137D81FDBD23}"/>
            </ac:picMkLst>
          </pc:picChg>
        </pc:sldLayoutChg>
        <pc:sldLayoutChg chg="addSp delSp modSp mod">
          <pc:chgData name="Bianca Ardito" userId="3dbb30f507a110b6" providerId="LiveId" clId="{FE5803BF-6207-4B37-AF25-E2212107113F}" dt="2024-05-24T03:24:42.250" v="1511" actId="208"/>
          <pc:sldLayoutMkLst>
            <pc:docMk/>
            <pc:sldMasterMk cId="0" sldId="2147484111"/>
            <pc:sldLayoutMk cId="0" sldId="2147484113"/>
          </pc:sldLayoutMkLst>
          <pc:picChg chg="add mod">
            <ac:chgData name="Bianca Ardito" userId="3dbb30f507a110b6" providerId="LiveId" clId="{FE5803BF-6207-4B37-AF25-E2212107113F}" dt="2024-05-24T03:20:57.130" v="8"/>
            <ac:picMkLst>
              <pc:docMk/>
              <pc:sldMasterMk cId="0" sldId="2147484111"/>
              <pc:sldLayoutMk cId="0" sldId="2147484113"/>
              <ac:picMk id="3" creationId="{B13FAC93-C879-71C1-9576-F713BE581864}"/>
            </ac:picMkLst>
          </pc:picChg>
          <pc:picChg chg="del">
            <ac:chgData name="Bianca Ardito" userId="3dbb30f507a110b6" providerId="LiveId" clId="{FE5803BF-6207-4B37-AF25-E2212107113F}" dt="2024-05-24T03:20:56.848" v="7" actId="478"/>
            <ac:picMkLst>
              <pc:docMk/>
              <pc:sldMasterMk cId="0" sldId="2147484111"/>
              <pc:sldLayoutMk cId="0" sldId="2147484113"/>
              <ac:picMk id="4" creationId="{E91B3518-A847-734B-EF09-B0C6CEA51AE6}"/>
            </ac:picMkLst>
          </pc:picChg>
          <pc:cxnChg chg="mod">
            <ac:chgData name="Bianca Ardito" userId="3dbb30f507a110b6" providerId="LiveId" clId="{FE5803BF-6207-4B37-AF25-E2212107113F}" dt="2024-05-24T03:24:42.250" v="1511" actId="208"/>
            <ac:cxnSpMkLst>
              <pc:docMk/>
              <pc:sldMasterMk cId="0" sldId="2147484111"/>
              <pc:sldLayoutMk cId="0" sldId="2147484113"/>
              <ac:cxnSpMk id="45" creationId="{00000000-0000-0000-0000-000000000000}"/>
            </ac:cxnSpMkLst>
          </pc:cxnChg>
        </pc:sldLayoutChg>
        <pc:sldLayoutChg chg="addSp delSp modSp mod">
          <pc:chgData name="Bianca Ardito" userId="3dbb30f507a110b6" providerId="LiveId" clId="{FE5803BF-6207-4B37-AF25-E2212107113F}" dt="2024-05-24T03:24:46.986" v="1514" actId="208"/>
          <pc:sldLayoutMkLst>
            <pc:docMk/>
            <pc:sldMasterMk cId="0" sldId="2147484111"/>
            <pc:sldLayoutMk cId="0" sldId="2147484114"/>
          </pc:sldLayoutMkLst>
          <pc:picChg chg="add mod">
            <ac:chgData name="Bianca Ardito" userId="3dbb30f507a110b6" providerId="LiveId" clId="{FE5803BF-6207-4B37-AF25-E2212107113F}" dt="2024-05-24T03:20:59.815" v="10"/>
            <ac:picMkLst>
              <pc:docMk/>
              <pc:sldMasterMk cId="0" sldId="2147484111"/>
              <pc:sldLayoutMk cId="0" sldId="2147484114"/>
              <ac:picMk id="2" creationId="{94B0B7C2-656B-6A80-41ED-D5DFDB869748}"/>
            </ac:picMkLst>
          </pc:picChg>
          <pc:picChg chg="del">
            <ac:chgData name="Bianca Ardito" userId="3dbb30f507a110b6" providerId="LiveId" clId="{FE5803BF-6207-4B37-AF25-E2212107113F}" dt="2024-05-24T03:20:59.463" v="9" actId="478"/>
            <ac:picMkLst>
              <pc:docMk/>
              <pc:sldMasterMk cId="0" sldId="2147484111"/>
              <pc:sldLayoutMk cId="0" sldId="2147484114"/>
              <ac:picMk id="5" creationId="{E12AA2DF-DF6C-876A-4B6C-D016B74D625D}"/>
            </ac:picMkLst>
          </pc:picChg>
          <pc:cxnChg chg="mod">
            <ac:chgData name="Bianca Ardito" userId="3dbb30f507a110b6" providerId="LiveId" clId="{FE5803BF-6207-4B37-AF25-E2212107113F}" dt="2024-05-24T03:24:46.986" v="1514" actId="208"/>
            <ac:cxnSpMkLst>
              <pc:docMk/>
              <pc:sldMasterMk cId="0" sldId="2147484111"/>
              <pc:sldLayoutMk cId="0" sldId="2147484114"/>
              <ac:cxnSpMk id="75" creationId="{00000000-0000-0000-0000-000000000000}"/>
            </ac:cxnSpMkLst>
          </pc:cxnChg>
        </pc:sldLayoutChg>
        <pc:sldLayoutChg chg="delSp mod">
          <pc:chgData name="Bianca Ardito" userId="3dbb30f507a110b6" providerId="LiveId" clId="{FE5803BF-6207-4B37-AF25-E2212107113F}" dt="2024-05-24T03:25:10.379" v="1516" actId="478"/>
          <pc:sldLayoutMkLst>
            <pc:docMk/>
            <pc:sldMasterMk cId="0" sldId="2147484111"/>
            <pc:sldLayoutMk cId="2717512347" sldId="2147484180"/>
          </pc:sldLayoutMkLst>
          <pc:grpChg chg="del">
            <ac:chgData name="Bianca Ardito" userId="3dbb30f507a110b6" providerId="LiveId" clId="{FE5803BF-6207-4B37-AF25-E2212107113F}" dt="2024-05-24T03:25:10.379" v="1516" actId="478"/>
            <ac:grpSpMkLst>
              <pc:docMk/>
              <pc:sldMasterMk cId="0" sldId="2147484111"/>
              <pc:sldLayoutMk cId="2717512347" sldId="2147484180"/>
              <ac:grpSpMk id="17" creationId="{917AB7CA-C13B-4BD7-C42F-2616C435C043}"/>
            </ac:grpSpMkLst>
          </pc:grpChg>
        </pc:sldLayoutChg>
        <pc:sldLayoutChg chg="addSp delSp modSp mod">
          <pc:chgData name="Bianca Ardito" userId="3dbb30f507a110b6" providerId="LiveId" clId="{FE5803BF-6207-4B37-AF25-E2212107113F}" dt="2024-05-24T03:24:49.651" v="1515" actId="208"/>
          <pc:sldLayoutMkLst>
            <pc:docMk/>
            <pc:sldMasterMk cId="0" sldId="2147484111"/>
            <pc:sldLayoutMk cId="2232774954" sldId="2147484219"/>
          </pc:sldLayoutMkLst>
          <pc:picChg chg="add mod">
            <ac:chgData name="Bianca Ardito" userId="3dbb30f507a110b6" providerId="LiveId" clId="{FE5803BF-6207-4B37-AF25-E2212107113F}" dt="2024-05-24T03:21:01.894" v="12"/>
            <ac:picMkLst>
              <pc:docMk/>
              <pc:sldMasterMk cId="0" sldId="2147484111"/>
              <pc:sldLayoutMk cId="2232774954" sldId="2147484219"/>
              <ac:picMk id="2" creationId="{A1DED7B5-F1BA-2749-49EC-A9C479012438}"/>
            </ac:picMkLst>
          </pc:picChg>
          <pc:picChg chg="del">
            <ac:chgData name="Bianca Ardito" userId="3dbb30f507a110b6" providerId="LiveId" clId="{FE5803BF-6207-4B37-AF25-E2212107113F}" dt="2024-05-24T03:21:01.628" v="11" actId="478"/>
            <ac:picMkLst>
              <pc:docMk/>
              <pc:sldMasterMk cId="0" sldId="2147484111"/>
              <pc:sldLayoutMk cId="2232774954" sldId="2147484219"/>
              <ac:picMk id="5" creationId="{ACD891AC-991C-76DF-9974-74080F2682B2}"/>
            </ac:picMkLst>
          </pc:picChg>
          <pc:cxnChg chg="mod">
            <ac:chgData name="Bianca Ardito" userId="3dbb30f507a110b6" providerId="LiveId" clId="{FE5803BF-6207-4B37-AF25-E2212107113F}" dt="2024-05-24T03:24:49.651" v="1515" actId="208"/>
            <ac:cxnSpMkLst>
              <pc:docMk/>
              <pc:sldMasterMk cId="0" sldId="2147484111"/>
              <pc:sldLayoutMk cId="2232774954" sldId="2147484219"/>
              <ac:cxnSpMk id="75" creationId="{00000000-0000-0000-0000-000000000000}"/>
            </ac:cxnSpMkLst>
          </pc:cxnChg>
        </pc:sldLayoutChg>
        <pc:sldLayoutChg chg="addSp delSp modSp mod">
          <pc:chgData name="Bianca Ardito" userId="3dbb30f507a110b6" providerId="LiveId" clId="{FE5803BF-6207-4B37-AF25-E2212107113F}" dt="2024-05-24T03:29:43.701" v="1678"/>
          <pc:sldLayoutMkLst>
            <pc:docMk/>
            <pc:sldMasterMk cId="0" sldId="2147484111"/>
            <pc:sldLayoutMk cId="169549109" sldId="2147484253"/>
          </pc:sldLayoutMkLst>
          <pc:spChg chg="mod ord">
            <ac:chgData name="Bianca Ardito" userId="3dbb30f507a110b6" providerId="LiveId" clId="{FE5803BF-6207-4B37-AF25-E2212107113F}" dt="2024-05-24T03:29:43.701" v="1674"/>
            <ac:spMkLst>
              <pc:docMk/>
              <pc:sldMasterMk cId="0" sldId="2147484111"/>
              <pc:sldLayoutMk cId="169549109" sldId="2147484253"/>
              <ac:spMk id="2" creationId="{6D23523E-27C0-E247-919A-9E8F54CEB67A}"/>
            </ac:spMkLst>
          </pc:spChg>
          <pc:spChg chg="mod ord">
            <ac:chgData name="Bianca Ardito" userId="3dbb30f507a110b6" providerId="LiveId" clId="{FE5803BF-6207-4B37-AF25-E2212107113F}" dt="2024-05-24T03:29:43.701" v="1668"/>
            <ac:spMkLst>
              <pc:docMk/>
              <pc:sldMasterMk cId="0" sldId="2147484111"/>
              <pc:sldLayoutMk cId="169549109" sldId="2147484253"/>
              <ac:spMk id="4" creationId="{23A80900-68D6-6145-A646-FE0362465B09}"/>
            </ac:spMkLst>
          </pc:spChg>
          <pc:spChg chg="mod ord">
            <ac:chgData name="Bianca Ardito" userId="3dbb30f507a110b6" providerId="LiveId" clId="{FE5803BF-6207-4B37-AF25-E2212107113F}" dt="2024-05-24T03:29:43.701" v="1672"/>
            <ac:spMkLst>
              <pc:docMk/>
              <pc:sldMasterMk cId="0" sldId="2147484111"/>
              <pc:sldLayoutMk cId="169549109" sldId="2147484253"/>
              <ac:spMk id="6" creationId="{22CC77B4-B1CD-224C-99DD-56690339F95F}"/>
            </ac:spMkLst>
          </pc:spChg>
          <pc:spChg chg="add del mod modVis">
            <ac:chgData name="Bianca Ardito" userId="3dbb30f507a110b6" providerId="LiveId" clId="{FE5803BF-6207-4B37-AF25-E2212107113F}" dt="2024-05-24T03:29:20.871" v="1645"/>
            <ac:spMkLst>
              <pc:docMk/>
              <pc:sldMasterMk cId="0" sldId="2147484111"/>
              <pc:sldLayoutMk cId="169549109" sldId="2147484253"/>
              <ac:spMk id="8" creationId="{C532C8D6-10BA-536E-E388-77E629B779F5}"/>
            </ac:spMkLst>
          </pc:spChg>
          <pc:graphicFrameChg chg="mod">
            <ac:chgData name="Bianca Ardito" userId="3dbb30f507a110b6" providerId="LiveId" clId="{FE5803BF-6207-4B37-AF25-E2212107113F}" dt="2024-05-24T03:29:43.701" v="1678"/>
            <ac:graphicFrameMkLst>
              <pc:docMk/>
              <pc:sldMasterMk cId="0" sldId="2147484111"/>
              <pc:sldLayoutMk cId="169549109" sldId="2147484253"/>
              <ac:graphicFrameMk id="7" creationId="{6E7A470E-6806-926A-8B83-5C8656110ECC}"/>
            </ac:graphicFrameMkLst>
          </pc:graphicFrameChg>
          <pc:picChg chg="add del mod ord">
            <ac:chgData name="Bianca Ardito" userId="3dbb30f507a110b6" providerId="LiveId" clId="{FE5803BF-6207-4B37-AF25-E2212107113F}" dt="2024-05-24T03:29:37.265" v="1652"/>
            <ac:picMkLst>
              <pc:docMk/>
              <pc:sldMasterMk cId="0" sldId="2147484111"/>
              <pc:sldLayoutMk cId="169549109" sldId="2147484253"/>
              <ac:picMk id="3" creationId="{1C6EB55A-963F-FACE-ABB0-2C02D3EA8FA1}"/>
            </ac:picMkLst>
          </pc:picChg>
          <pc:picChg chg="add del mod ord">
            <ac:chgData name="Bianca Ardito" userId="3dbb30f507a110b6" providerId="LiveId" clId="{FE5803BF-6207-4B37-AF25-E2212107113F}" dt="2024-05-24T03:29:37.265" v="1652"/>
            <ac:picMkLst>
              <pc:docMk/>
              <pc:sldMasterMk cId="0" sldId="2147484111"/>
              <pc:sldLayoutMk cId="169549109" sldId="2147484253"/>
              <ac:picMk id="5" creationId="{B40318F1-CA70-CEBE-E0B9-0014EAF98125}"/>
            </ac:picMkLst>
          </pc:picChg>
          <pc:picChg chg="mod">
            <ac:chgData name="Bianca Ardito" userId="3dbb30f507a110b6" providerId="LiveId" clId="{FE5803BF-6207-4B37-AF25-E2212107113F}" dt="2024-05-24T03:29:26.969" v="1649"/>
            <ac:picMkLst>
              <pc:docMk/>
              <pc:sldMasterMk cId="0" sldId="2147484111"/>
              <pc:sldLayoutMk cId="169549109" sldId="2147484253"/>
              <ac:picMk id="9" creationId="{2B1FF172-BF03-C5C6-AFB6-E6A5DD310835}"/>
            </ac:picMkLst>
          </pc:picChg>
          <pc:picChg chg="mod ord">
            <ac:chgData name="Bianca Ardito" userId="3dbb30f507a110b6" providerId="LiveId" clId="{FE5803BF-6207-4B37-AF25-E2212107113F}" dt="2024-05-24T03:29:43.701" v="1670"/>
            <ac:picMkLst>
              <pc:docMk/>
              <pc:sldMasterMk cId="0" sldId="2147484111"/>
              <pc:sldLayoutMk cId="169549109" sldId="2147484253"/>
              <ac:picMk id="10" creationId="{68C787F0-3B30-374C-22AF-7470BAB60214}"/>
            </ac:picMkLst>
          </pc:picChg>
        </pc:sldLayoutChg>
      </pc:sldMasterChg>
      <pc:sldMasterChg chg="addSp delSp modSp mod modSldLayout">
        <pc:chgData name="Bianca Ardito" userId="3dbb30f507a110b6" providerId="LiveId" clId="{FE5803BF-6207-4B37-AF25-E2212107113F}" dt="2024-05-24T03:31:07.291" v="1697" actId="1076"/>
        <pc:sldMasterMkLst>
          <pc:docMk/>
          <pc:sldMasterMk cId="100304480" sldId="2147484222"/>
        </pc:sldMasterMkLst>
        <pc:picChg chg="del">
          <ac:chgData name="Bianca Ardito" userId="3dbb30f507a110b6" providerId="LiveId" clId="{FE5803BF-6207-4B37-AF25-E2212107113F}" dt="2024-05-24T03:30:37.734" v="1686" actId="478"/>
          <ac:picMkLst>
            <pc:docMk/>
            <pc:sldMasterMk cId="100304480" sldId="2147484222"/>
            <ac:picMk id="2" creationId="{A3A0D61D-D631-D0A6-D77F-4BA537ED6ED9}"/>
          </ac:picMkLst>
        </pc:picChg>
        <pc:picChg chg="add mod">
          <ac:chgData name="Bianca Ardito" userId="3dbb30f507a110b6" providerId="LiveId" clId="{FE5803BF-6207-4B37-AF25-E2212107113F}" dt="2024-05-24T03:30:43.132" v="1689"/>
          <ac:picMkLst>
            <pc:docMk/>
            <pc:sldMasterMk cId="100304480" sldId="2147484222"/>
            <ac:picMk id="3" creationId="{76AF6891-7477-C37B-82ED-4A9B17D62A25}"/>
          </ac:picMkLst>
        </pc:picChg>
        <pc:sldLayoutChg chg="addSp delSp modSp mod">
          <pc:chgData name="Bianca Ardito" userId="3dbb30f507a110b6" providerId="LiveId" clId="{FE5803BF-6207-4B37-AF25-E2212107113F}" dt="2024-05-24T03:31:07.291" v="1697" actId="1076"/>
          <pc:sldLayoutMkLst>
            <pc:docMk/>
            <pc:sldMasterMk cId="100304480" sldId="2147484222"/>
            <pc:sldLayoutMk cId="3861335952" sldId="2147484248"/>
          </pc:sldLayoutMkLst>
          <pc:spChg chg="mod">
            <ac:chgData name="Bianca Ardito" userId="3dbb30f507a110b6" providerId="LiveId" clId="{FE5803BF-6207-4B37-AF25-E2212107113F}" dt="2024-05-24T03:25:39.665" v="1517" actId="207"/>
            <ac:spMkLst>
              <pc:docMk/>
              <pc:sldMasterMk cId="100304480" sldId="2147484222"/>
              <pc:sldLayoutMk cId="3861335952" sldId="2147484248"/>
              <ac:spMk id="2" creationId="{55DAB0CE-D625-30D6-4BF9-A362574B85D1}"/>
            </ac:spMkLst>
          </pc:spChg>
          <pc:picChg chg="add mod">
            <ac:chgData name="Bianca Ardito" userId="3dbb30f507a110b6" providerId="LiveId" clId="{FE5803BF-6207-4B37-AF25-E2212107113F}" dt="2024-05-24T03:31:07.291" v="1697" actId="1076"/>
            <ac:picMkLst>
              <pc:docMk/>
              <pc:sldMasterMk cId="100304480" sldId="2147484222"/>
              <pc:sldLayoutMk cId="3861335952" sldId="2147484248"/>
              <ac:picMk id="3" creationId="{A12432ED-1CAF-BC35-4237-29766ABB69C8}"/>
            </ac:picMkLst>
          </pc:picChg>
          <pc:picChg chg="del mod">
            <ac:chgData name="Bianca Ardito" userId="3dbb30f507a110b6" providerId="LiveId" clId="{FE5803BF-6207-4B37-AF25-E2212107113F}" dt="2024-05-24T03:30:55.616" v="1695" actId="478"/>
            <ac:picMkLst>
              <pc:docMk/>
              <pc:sldMasterMk cId="100304480" sldId="2147484222"/>
              <pc:sldLayoutMk cId="3861335952" sldId="2147484248"/>
              <ac:picMk id="6" creationId="{3D052479-A5E8-496C-9B77-44F9232BEA99}"/>
            </ac:picMkLst>
          </pc:picChg>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B183-48E7-A023-1A189A7EE2F2}"/>
            </c:ext>
          </c:extLst>
        </c:ser>
        <c:ser>
          <c:idx val="1"/>
          <c:order val="1"/>
          <c:tx>
            <c:strRef>
              <c:f>Sheet1!$C$1</c:f>
              <c:strCache>
                <c:ptCount val="1"/>
                <c:pt idx="0">
                  <c:v>Series 2</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B183-48E7-A023-1A189A7EE2F2}"/>
            </c:ext>
          </c:extLst>
        </c:ser>
        <c:ser>
          <c:idx val="2"/>
          <c:order val="2"/>
          <c:tx>
            <c:strRef>
              <c:f>Sheet1!$D$1</c:f>
              <c:strCache>
                <c:ptCount val="1"/>
                <c:pt idx="0">
                  <c:v>Series 3</c:v>
                </c:pt>
              </c:strCache>
            </c:strRef>
          </c:tx>
          <c:spPr>
            <a:solidFill>
              <a:schemeClr val="accent5"/>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B183-48E7-A023-1A189A7EE2F2}"/>
            </c:ext>
          </c:extLst>
        </c:ser>
        <c:dLbls>
          <c:showLegendKey val="0"/>
          <c:showVal val="0"/>
          <c:showCatName val="0"/>
          <c:showSerName val="0"/>
          <c:showPercent val="0"/>
          <c:showBubbleSize val="0"/>
        </c:dLbls>
        <c:gapWidth val="50"/>
        <c:axId val="532332640"/>
        <c:axId val="532333032"/>
      </c:barChart>
      <c:catAx>
        <c:axId val="532332640"/>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crossAx val="532333032"/>
        <c:crosses val="autoZero"/>
        <c:auto val="1"/>
        <c:lblAlgn val="ctr"/>
        <c:lblOffset val="100"/>
        <c:noMultiLvlLbl val="0"/>
      </c:catAx>
      <c:valAx>
        <c:axId val="532333032"/>
        <c:scaling>
          <c:orientation val="minMax"/>
        </c:scaling>
        <c:delete val="0"/>
        <c:axPos val="l"/>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r>
                  <a:rPr lang="en-GB"/>
                  <a:t>Title (units)</a:t>
                </a:r>
              </a:p>
            </c:rich>
          </c:tx>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title>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crossAx val="53233264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legend>
    <c:plotVisOnly val="1"/>
    <c:dispBlanksAs val="gap"/>
    <c:showDLblsOverMax val="0"/>
  </c:chart>
  <c:spPr>
    <a:noFill/>
    <a:ln>
      <a:noFill/>
    </a:ln>
    <a:effectLst/>
  </c:spPr>
  <c:txPr>
    <a:bodyPr/>
    <a:lstStyle/>
    <a:p>
      <a:pPr>
        <a:defRPr sz="800" b="0" i="0">
          <a:latin typeface="Roboto Light" panose="02000000000000000000" pitchFamily="2" charset="0"/>
          <a:ea typeface="Roboto Light" panose="02000000000000000000" pitchFamily="2" charset="0"/>
          <a:cs typeface="Roboto Light" panose="02000000000000000000" pitchFamily="2" charset="0"/>
        </a:defRPr>
      </a:pPr>
      <a:endParaRPr lang="pt-B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4-E182-574C-8874-A80D4B8E987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182-574C-8874-A80D4B8E9876}"/>
              </c:ext>
            </c:extLst>
          </c:dPt>
          <c:dPt>
            <c:idx val="2"/>
            <c:bubble3D val="0"/>
            <c:explosion val="7"/>
            <c:spPr>
              <a:solidFill>
                <a:schemeClr val="accent6"/>
              </a:solidFill>
              <a:ln w="19050">
                <a:solidFill>
                  <a:schemeClr val="lt1"/>
                </a:solidFill>
              </a:ln>
              <a:effectLst/>
            </c:spPr>
            <c:extLst>
              <c:ext xmlns:c16="http://schemas.microsoft.com/office/drawing/2014/chart" uri="{C3380CC4-5D6E-409C-BE32-E72D297353CC}">
                <c16:uniqueId val="{00000002-E182-574C-8874-A80D4B8E987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1-E182-574C-8874-A80D4B8E9876}"/>
              </c:ext>
            </c:extLst>
          </c:dPt>
          <c:dLbls>
            <c:dLbl>
              <c:idx val="0"/>
              <c:layout>
                <c:manualLayout>
                  <c:x val="6.9590439259966871E-2"/>
                  <c:y val="2.3581435097438212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E182-574C-8874-A80D4B8E9876}"/>
                </c:ext>
              </c:extLst>
            </c:dLbl>
            <c:dLbl>
              <c:idx val="1"/>
              <c:layout>
                <c:manualLayout>
                  <c:x val="-6.9590439259966899E-2"/>
                  <c:y val="5.3058228969235975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E182-574C-8874-A80D4B8E9876}"/>
                </c:ext>
              </c:extLst>
            </c:dLbl>
            <c:dLbl>
              <c:idx val="2"/>
              <c:layout>
                <c:manualLayout>
                  <c:x val="-6.9590439259966899E-2"/>
                  <c:y val="-5.8953587743595527E-2"/>
                </c:manualLayout>
              </c:layout>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6"/>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2-E182-574C-8874-A80D4B8E9876}"/>
                </c:ext>
              </c:extLst>
            </c:dLbl>
            <c:dLbl>
              <c:idx val="3"/>
              <c:layout>
                <c:manualLayout>
                  <c:x val="-1.4498008179159763E-2"/>
                  <c:y val="-0.11790717548719105"/>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E182-574C-8874-A80D4B8E9876}"/>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E182-574C-8874-A80D4B8E9876}"/>
            </c:ext>
          </c:extLst>
        </c:ser>
        <c:dLbls>
          <c:showLegendKey val="0"/>
          <c:showVal val="0"/>
          <c:showCatName val="0"/>
          <c:showSerName val="0"/>
          <c:showPercent val="0"/>
          <c:showBubbleSize val="0"/>
          <c:showLeaderLines val="0"/>
        </c:dLbls>
        <c:firstSliceAng val="0"/>
        <c:holeSize val="65"/>
      </c:doughnutChart>
      <c:spPr>
        <a:noFill/>
        <a:ln>
          <a:noFill/>
        </a:ln>
        <a:effectLst/>
      </c:spPr>
    </c:plotArea>
    <c:legend>
      <c:legendPos val="r"/>
      <c:layout>
        <c:manualLayout>
          <c:xMode val="edge"/>
          <c:yMode val="edge"/>
          <c:x val="0.75821477691789241"/>
          <c:y val="0.30027151144465541"/>
          <c:w val="0.12000195437716557"/>
          <c:h val="0.3876657953604918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latin typeface="Roboto Light" panose="02000000000000000000" pitchFamily="2" charset="0"/>
          <a:ea typeface="Roboto Light" panose="02000000000000000000" pitchFamily="2" charset="0"/>
          <a:cs typeface="Roboto Light" panose="02000000000000000000" pitchFamily="2" charset="0"/>
        </a:defRPr>
      </a:pPr>
      <a:endParaRPr lang="pt-B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984777632976683E-2"/>
          <c:y val="3.6589353650508291E-2"/>
          <c:w val="0.91000021902686368"/>
          <c:h val="0.87023394343713967"/>
        </c:manualLayout>
      </c:layout>
      <c:barChart>
        <c:barDir val="col"/>
        <c:grouping val="stacked"/>
        <c:varyColors val="0"/>
        <c:ser>
          <c:idx val="0"/>
          <c:order val="0"/>
          <c:tx>
            <c:strRef>
              <c:f>Sheet1!$E$4</c:f>
              <c:strCache>
                <c:ptCount val="1"/>
                <c:pt idx="0">
                  <c:v>Column13</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0-1BE6-4D8C-BFF1-186AC01E57C4}"/>
              </c:ext>
            </c:extLst>
          </c:dPt>
          <c:dPt>
            <c:idx val="6"/>
            <c:invertIfNegative val="0"/>
            <c:bubble3D val="0"/>
            <c:spPr>
              <a:solidFill>
                <a:schemeClr val="accent1"/>
              </a:solidFill>
              <a:ln>
                <a:noFill/>
              </a:ln>
              <a:effectLst/>
            </c:spPr>
            <c:extLst>
              <c:ext xmlns:c16="http://schemas.microsoft.com/office/drawing/2014/chart" uri="{C3380CC4-5D6E-409C-BE32-E72D297353CC}">
                <c16:uniqueId val="{00000001-1BE6-4D8C-BFF1-186AC01E57C4}"/>
              </c:ext>
            </c:extLst>
          </c:dPt>
          <c:dPt>
            <c:idx val="12"/>
            <c:invertIfNegative val="0"/>
            <c:bubble3D val="0"/>
            <c:spPr>
              <a:solidFill>
                <a:schemeClr val="accent1"/>
              </a:solidFill>
              <a:ln>
                <a:noFill/>
              </a:ln>
              <a:effectLst/>
            </c:spPr>
            <c:extLst>
              <c:ext xmlns:c16="http://schemas.microsoft.com/office/drawing/2014/chart" uri="{C3380CC4-5D6E-409C-BE32-E72D297353CC}">
                <c16:uniqueId val="{00000002-1BE6-4D8C-BFF1-186AC01E57C4}"/>
              </c:ext>
            </c:extLst>
          </c:dPt>
          <c:cat>
            <c:strRef>
              <c:f>Sheet1!$B$5:$B$17</c:f>
              <c:strCache>
                <c:ptCount val="13"/>
                <c:pt idx="0">
                  <c:v>Compounded 
downside case</c:v>
                </c:pt>
                <c:pt idx="1">
                  <c:v>1</c:v>
                </c:pt>
                <c:pt idx="2">
                  <c:v>2</c:v>
                </c:pt>
                <c:pt idx="3">
                  <c:v>3</c:v>
                </c:pt>
                <c:pt idx="4">
                  <c:v>4</c:v>
                </c:pt>
                <c:pt idx="5">
                  <c:v>5</c:v>
                </c:pt>
                <c:pt idx="6">
                  <c:v>Base case</c:v>
                </c:pt>
                <c:pt idx="7">
                  <c:v>6</c:v>
                </c:pt>
                <c:pt idx="8">
                  <c:v>7</c:v>
                </c:pt>
                <c:pt idx="9">
                  <c:v>8</c:v>
                </c:pt>
                <c:pt idx="10">
                  <c:v>9</c:v>
                </c:pt>
                <c:pt idx="11">
                  <c:v>10</c:v>
                </c:pt>
                <c:pt idx="12">
                  <c:v>Compounded 
upside case</c:v>
                </c:pt>
              </c:strCache>
            </c:strRef>
          </c:cat>
          <c:val>
            <c:numRef>
              <c:f>Sheet1!$E$5:$E$17</c:f>
              <c:numCache>
                <c:formatCode>General</c:formatCode>
                <c:ptCount val="13"/>
                <c:pt idx="0" formatCode="0.00&quot;x&quot;">
                  <c:v>1.2</c:v>
                </c:pt>
                <c:pt idx="6" formatCode="0.00&quot;x&quot;">
                  <c:v>2.6</c:v>
                </c:pt>
                <c:pt idx="12" formatCode="0.00&quot;x&quot;">
                  <c:v>3.5</c:v>
                </c:pt>
              </c:numCache>
            </c:numRef>
          </c:val>
          <c:extLst>
            <c:ext xmlns:c16="http://schemas.microsoft.com/office/drawing/2014/chart" uri="{C3380CC4-5D6E-409C-BE32-E72D297353CC}">
              <c16:uniqueId val="{00000000-6E51-42D9-A049-0BC45BD06359}"/>
            </c:ext>
          </c:extLst>
        </c:ser>
        <c:ser>
          <c:idx val="1"/>
          <c:order val="1"/>
          <c:tx>
            <c:strRef>
              <c:f>Sheet1!$F$4</c:f>
              <c:strCache>
                <c:ptCount val="1"/>
                <c:pt idx="0">
                  <c:v>Blanks</c:v>
                </c:pt>
              </c:strCache>
            </c:strRef>
          </c:tx>
          <c:spPr>
            <a:noFill/>
            <a:ln>
              <a:noFill/>
            </a:ln>
            <a:effectLst/>
          </c:spPr>
          <c:invertIfNegative val="0"/>
          <c:dLbls>
            <c:dLbl>
              <c:idx val="0"/>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E51-42D9-A049-0BC45BD06359}"/>
                </c:ext>
              </c:extLst>
            </c:dLbl>
            <c:dLbl>
              <c:idx val="1"/>
              <c:tx>
                <c:rich>
                  <a:bodyPr/>
                  <a:lstStyle/>
                  <a:p>
                    <a:fld id="{7366A957-7099-4F86-8269-496A528A0E39}" type="CELLRANGE">
                      <a:rPr lang="en-US"/>
                      <a:pPr/>
                      <a:t>[CELLRANGE]</a:t>
                    </a:fld>
                    <a:endParaRPr lang="nl-NL"/>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6E51-42D9-A049-0BC45BD06359}"/>
                </c:ext>
              </c:extLst>
            </c:dLbl>
            <c:dLbl>
              <c:idx val="2"/>
              <c:tx>
                <c:rich>
                  <a:bodyPr/>
                  <a:lstStyle/>
                  <a:p>
                    <a:fld id="{49956F86-2E70-45B1-A162-30F1ED340992}" type="CELLRANGE">
                      <a:rPr lang="en-US"/>
                      <a:pPr/>
                      <a:t>[CELLRANGE]</a:t>
                    </a:fld>
                    <a:endParaRPr lang="nl-NL"/>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6E51-42D9-A049-0BC45BD06359}"/>
                </c:ext>
              </c:extLst>
            </c:dLbl>
            <c:dLbl>
              <c:idx val="3"/>
              <c:tx>
                <c:rich>
                  <a:bodyPr/>
                  <a:lstStyle/>
                  <a:p>
                    <a:fld id="{C4ED3D21-F71B-479D-B2C6-17B953EFE53C}" type="CELLRANGE">
                      <a:rPr lang="en-US"/>
                      <a:pPr/>
                      <a:t>[CELLRANGE]</a:t>
                    </a:fld>
                    <a:endParaRPr lang="nl-NL"/>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6E51-42D9-A049-0BC45BD06359}"/>
                </c:ext>
              </c:extLst>
            </c:dLbl>
            <c:dLbl>
              <c:idx val="4"/>
              <c:tx>
                <c:rich>
                  <a:bodyPr/>
                  <a:lstStyle/>
                  <a:p>
                    <a:fld id="{D95C5C92-B1CA-4DB9-8CA8-FEEF33271339}" type="CELLRANGE">
                      <a:rPr lang="en-US"/>
                      <a:pPr/>
                      <a:t>[CELLRANGE]</a:t>
                    </a:fld>
                    <a:endParaRPr lang="nl-NL"/>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6E51-42D9-A049-0BC45BD06359}"/>
                </c:ext>
              </c:extLst>
            </c:dLbl>
            <c:dLbl>
              <c:idx val="5"/>
              <c:tx>
                <c:rich>
                  <a:bodyPr/>
                  <a:lstStyle/>
                  <a:p>
                    <a:fld id="{8A5492A9-BAAE-4C48-AA11-B6EED8CA627D}" type="CELLRANGE">
                      <a:rPr lang="en-US"/>
                      <a:pPr/>
                      <a:t>[CELLRANGE]</a:t>
                    </a:fld>
                    <a:endParaRPr lang="nl-NL"/>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6E51-42D9-A049-0BC45BD06359}"/>
                </c:ext>
              </c:extLst>
            </c:dLbl>
            <c:dLbl>
              <c:idx val="6"/>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6E51-42D9-A049-0BC45BD06359}"/>
                </c:ext>
              </c:extLst>
            </c:dLbl>
            <c:dLbl>
              <c:idx val="7"/>
              <c:tx>
                <c:rich>
                  <a:bodyPr/>
                  <a:lstStyle/>
                  <a:p>
                    <a:fld id="{93891755-496A-D447-919C-C9453A4D751E}" type="CELLRANGE">
                      <a:rPr lang="en-US"/>
                      <a:pPr/>
                      <a:t>[CELLRANGE]</a:t>
                    </a:fld>
                    <a:endParaRPr lang="nl-NL"/>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6E51-42D9-A049-0BC45BD06359}"/>
                </c:ext>
              </c:extLst>
            </c:dLbl>
            <c:dLbl>
              <c:idx val="8"/>
              <c:tx>
                <c:rich>
                  <a:bodyPr/>
                  <a:lstStyle/>
                  <a:p>
                    <a:fld id="{536DAE32-C6D7-E24D-ABF0-A9CA9A5DCFF6}" type="CELLRANGE">
                      <a:rPr lang="en-US"/>
                      <a:pPr/>
                      <a:t>[CELLRANGE]</a:t>
                    </a:fld>
                    <a:endParaRPr lang="nl-NL"/>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6E51-42D9-A049-0BC45BD06359}"/>
                </c:ext>
              </c:extLst>
            </c:dLbl>
            <c:dLbl>
              <c:idx val="9"/>
              <c:tx>
                <c:rich>
                  <a:bodyPr/>
                  <a:lstStyle/>
                  <a:p>
                    <a:fld id="{671CF16D-8CBD-664E-8897-628647649E59}" type="CELLRANGE">
                      <a:rPr lang="en-US"/>
                      <a:pPr/>
                      <a:t>[CELLRANGE]</a:t>
                    </a:fld>
                    <a:endParaRPr lang="nl-NL"/>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6E51-42D9-A049-0BC45BD06359}"/>
                </c:ext>
              </c:extLst>
            </c:dLbl>
            <c:dLbl>
              <c:idx val="10"/>
              <c:tx>
                <c:rich>
                  <a:bodyPr/>
                  <a:lstStyle/>
                  <a:p>
                    <a:fld id="{22982AC0-7F88-8349-9CF0-575F468A9F1E}" type="CELLRANGE">
                      <a:rPr lang="en-US"/>
                      <a:pPr/>
                      <a:t>[CELLRANGE]</a:t>
                    </a:fld>
                    <a:endParaRPr lang="nl-NL"/>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6E51-42D9-A049-0BC45BD06359}"/>
                </c:ext>
              </c:extLst>
            </c:dLbl>
            <c:dLbl>
              <c:idx val="11"/>
              <c:tx>
                <c:rich>
                  <a:bodyPr/>
                  <a:lstStyle/>
                  <a:p>
                    <a:fld id="{8F58B24C-33E1-1144-A819-937F719D3AEB}" type="CELLRANGE">
                      <a:rPr lang="en-US"/>
                      <a:pPr/>
                      <a:t>[CELLRANGE]</a:t>
                    </a:fld>
                    <a:endParaRPr lang="nl-NL"/>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6E51-42D9-A049-0BC45BD06359}"/>
                </c:ext>
              </c:extLst>
            </c:dLbl>
            <c:dLbl>
              <c:idx val="12"/>
              <c:tx>
                <c:rich>
                  <a:bodyPr/>
                  <a:lstStyle/>
                  <a:p>
                    <a:endParaRPr lang="en-US"/>
                  </a:p>
                </c:rich>
              </c:tx>
              <c:dLblPos val="inEnd"/>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6E51-42D9-A049-0BC45BD06359}"/>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B$5:$B$17</c:f>
              <c:strCache>
                <c:ptCount val="13"/>
                <c:pt idx="0">
                  <c:v>Compounded 
downside case</c:v>
                </c:pt>
                <c:pt idx="1">
                  <c:v>1</c:v>
                </c:pt>
                <c:pt idx="2">
                  <c:v>2</c:v>
                </c:pt>
                <c:pt idx="3">
                  <c:v>3</c:v>
                </c:pt>
                <c:pt idx="4">
                  <c:v>4</c:v>
                </c:pt>
                <c:pt idx="5">
                  <c:v>5</c:v>
                </c:pt>
                <c:pt idx="6">
                  <c:v>Base case</c:v>
                </c:pt>
                <c:pt idx="7">
                  <c:v>6</c:v>
                </c:pt>
                <c:pt idx="8">
                  <c:v>7</c:v>
                </c:pt>
                <c:pt idx="9">
                  <c:v>8</c:v>
                </c:pt>
                <c:pt idx="10">
                  <c:v>9</c:v>
                </c:pt>
                <c:pt idx="11">
                  <c:v>10</c:v>
                </c:pt>
                <c:pt idx="12">
                  <c:v>Compounded 
upside case</c:v>
                </c:pt>
              </c:strCache>
            </c:strRef>
          </c:cat>
          <c:val>
            <c:numRef>
              <c:f>Sheet1!$F$5:$F$17</c:f>
              <c:numCache>
                <c:formatCode>0.00"x"</c:formatCode>
                <c:ptCount val="13"/>
                <c:pt idx="1">
                  <c:v>1.2</c:v>
                </c:pt>
                <c:pt idx="2">
                  <c:v>1.3</c:v>
                </c:pt>
                <c:pt idx="3">
                  <c:v>1.6</c:v>
                </c:pt>
                <c:pt idx="4">
                  <c:v>2.1</c:v>
                </c:pt>
                <c:pt idx="5">
                  <c:v>2.4</c:v>
                </c:pt>
                <c:pt idx="7">
                  <c:v>2.6</c:v>
                </c:pt>
                <c:pt idx="8">
                  <c:v>2.8</c:v>
                </c:pt>
                <c:pt idx="9">
                  <c:v>2.9</c:v>
                </c:pt>
                <c:pt idx="10">
                  <c:v>3</c:v>
                </c:pt>
                <c:pt idx="11">
                  <c:v>3.2</c:v>
                </c:pt>
              </c:numCache>
            </c:numRef>
          </c:val>
          <c:extLst>
            <c:ext xmlns:c15="http://schemas.microsoft.com/office/drawing/2012/chart" uri="{02D57815-91ED-43cb-92C2-25804820EDAC}">
              <c15:datalabelsRange>
                <c15:f>Sheet1!$J$5:$J$18</c15:f>
                <c15:dlblRangeCache>
                  <c:ptCount val="14"/>
                  <c:pt idx="1">
                    <c:v>1.20x</c:v>
                  </c:pt>
                  <c:pt idx="2">
                    <c:v>1.30x</c:v>
                  </c:pt>
                  <c:pt idx="3">
                    <c:v>1.60x</c:v>
                  </c:pt>
                  <c:pt idx="4">
                    <c:v>2.10x</c:v>
                  </c:pt>
                  <c:pt idx="5">
                    <c:v>2.40x</c:v>
                  </c:pt>
                </c15:dlblRangeCache>
              </c15:datalabelsRange>
            </c:ext>
            <c:ext xmlns:c16="http://schemas.microsoft.com/office/drawing/2014/chart" uri="{C3380CC4-5D6E-409C-BE32-E72D297353CC}">
              <c16:uniqueId val="{0000000E-6E51-42D9-A049-0BC45BD06359}"/>
            </c:ext>
          </c:extLst>
        </c:ser>
        <c:ser>
          <c:idx val="2"/>
          <c:order val="2"/>
          <c:tx>
            <c:strRef>
              <c:f>Sheet1!$G$4</c:f>
              <c:strCache>
                <c:ptCount val="1"/>
                <c:pt idx="0">
                  <c:v>Downside Delta</c:v>
                </c:pt>
              </c:strCache>
            </c:strRef>
          </c:tx>
          <c:spPr>
            <a:solidFill>
              <a:schemeClr val="accent4"/>
            </a:solidFill>
            <a:ln>
              <a:noFill/>
            </a:ln>
            <a:effectLst/>
          </c:spPr>
          <c:invertIfNegative val="0"/>
          <c:dPt>
            <c:idx val="1"/>
            <c:invertIfNegative val="0"/>
            <c:bubble3D val="0"/>
            <c:spPr>
              <a:solidFill>
                <a:schemeClr val="accent4"/>
              </a:solidFill>
              <a:ln>
                <a:noFill/>
              </a:ln>
              <a:effectLst/>
            </c:spPr>
            <c:extLst>
              <c:ext xmlns:c16="http://schemas.microsoft.com/office/drawing/2014/chart" uri="{C3380CC4-5D6E-409C-BE32-E72D297353CC}">
                <c16:uniqueId val="{00000006-E69E-4D11-9BAA-D9AA7A2882B9}"/>
              </c:ext>
            </c:extLst>
          </c:dPt>
          <c:dPt>
            <c:idx val="2"/>
            <c:invertIfNegative val="0"/>
            <c:bubble3D val="0"/>
            <c:spPr>
              <a:solidFill>
                <a:schemeClr val="accent4"/>
              </a:solidFill>
              <a:ln>
                <a:noFill/>
              </a:ln>
              <a:effectLst/>
            </c:spPr>
            <c:extLst>
              <c:ext xmlns:c16="http://schemas.microsoft.com/office/drawing/2014/chart" uri="{C3380CC4-5D6E-409C-BE32-E72D297353CC}">
                <c16:uniqueId val="{00000007-E69E-4D11-9BAA-D9AA7A2882B9}"/>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8-E69E-4D11-9BAA-D9AA7A2882B9}"/>
              </c:ext>
            </c:extLst>
          </c:dPt>
          <c:dPt>
            <c:idx val="4"/>
            <c:invertIfNegative val="0"/>
            <c:bubble3D val="0"/>
            <c:spPr>
              <a:solidFill>
                <a:schemeClr val="accent4"/>
              </a:solidFill>
              <a:ln>
                <a:noFill/>
              </a:ln>
              <a:effectLst/>
            </c:spPr>
            <c:extLst>
              <c:ext xmlns:c16="http://schemas.microsoft.com/office/drawing/2014/chart" uri="{C3380CC4-5D6E-409C-BE32-E72D297353CC}">
                <c16:uniqueId val="{00000009-E69E-4D11-9BAA-D9AA7A2882B9}"/>
              </c:ext>
            </c:extLst>
          </c:dPt>
          <c:dPt>
            <c:idx val="5"/>
            <c:invertIfNegative val="0"/>
            <c:bubble3D val="0"/>
            <c:spPr>
              <a:solidFill>
                <a:schemeClr val="accent4"/>
              </a:solidFill>
              <a:ln>
                <a:noFill/>
              </a:ln>
              <a:effectLst/>
            </c:spPr>
            <c:extLst>
              <c:ext xmlns:c16="http://schemas.microsoft.com/office/drawing/2014/chart" uri="{C3380CC4-5D6E-409C-BE32-E72D297353CC}">
                <c16:uniqueId val="{0000000A-E69E-4D11-9BAA-D9AA7A2882B9}"/>
              </c:ext>
            </c:extLst>
          </c:dPt>
          <c:cat>
            <c:strRef>
              <c:f>Sheet1!$B$5:$B$17</c:f>
              <c:strCache>
                <c:ptCount val="13"/>
                <c:pt idx="0">
                  <c:v>Compounded 
downside case</c:v>
                </c:pt>
                <c:pt idx="1">
                  <c:v>1</c:v>
                </c:pt>
                <c:pt idx="2">
                  <c:v>2</c:v>
                </c:pt>
                <c:pt idx="3">
                  <c:v>3</c:v>
                </c:pt>
                <c:pt idx="4">
                  <c:v>4</c:v>
                </c:pt>
                <c:pt idx="5">
                  <c:v>5</c:v>
                </c:pt>
                <c:pt idx="6">
                  <c:v>Base case</c:v>
                </c:pt>
                <c:pt idx="7">
                  <c:v>6</c:v>
                </c:pt>
                <c:pt idx="8">
                  <c:v>7</c:v>
                </c:pt>
                <c:pt idx="9">
                  <c:v>8</c:v>
                </c:pt>
                <c:pt idx="10">
                  <c:v>9</c:v>
                </c:pt>
                <c:pt idx="11">
                  <c:v>10</c:v>
                </c:pt>
                <c:pt idx="12">
                  <c:v>Compounded 
upside case</c:v>
                </c:pt>
              </c:strCache>
            </c:strRef>
          </c:cat>
          <c:val>
            <c:numRef>
              <c:f>Sheet1!$G$5:$G$17</c:f>
              <c:numCache>
                <c:formatCode>0.00"x"</c:formatCode>
                <c:ptCount val="13"/>
                <c:pt idx="1">
                  <c:v>0.10000000000000009</c:v>
                </c:pt>
                <c:pt idx="2">
                  <c:v>0.30000000000000004</c:v>
                </c:pt>
                <c:pt idx="3">
                  <c:v>0.5</c:v>
                </c:pt>
                <c:pt idx="4">
                  <c:v>0.29999999999999982</c:v>
                </c:pt>
                <c:pt idx="5">
                  <c:v>0.20000000000000018</c:v>
                </c:pt>
              </c:numCache>
            </c:numRef>
          </c:val>
          <c:extLst>
            <c:ext xmlns:c16="http://schemas.microsoft.com/office/drawing/2014/chart" uri="{C3380CC4-5D6E-409C-BE32-E72D297353CC}">
              <c16:uniqueId val="{0000000F-6E51-42D9-A049-0BC45BD06359}"/>
            </c:ext>
          </c:extLst>
        </c:ser>
        <c:ser>
          <c:idx val="3"/>
          <c:order val="3"/>
          <c:tx>
            <c:strRef>
              <c:f>Sheet1!$H$4</c:f>
              <c:strCache>
                <c:ptCount val="1"/>
                <c:pt idx="0">
                  <c:v>Upside Delta</c:v>
                </c:pt>
              </c:strCache>
            </c:strRef>
          </c:tx>
          <c:spPr>
            <a:solidFill>
              <a:schemeClr val="accent5"/>
            </a:solidFill>
            <a:ln>
              <a:noFill/>
            </a:ln>
            <a:effectLst/>
          </c:spPr>
          <c:invertIfNegative val="0"/>
          <c:cat>
            <c:strRef>
              <c:f>Sheet1!$B$5:$B$17</c:f>
              <c:strCache>
                <c:ptCount val="13"/>
                <c:pt idx="0">
                  <c:v>Compounded 
downside case</c:v>
                </c:pt>
                <c:pt idx="1">
                  <c:v>1</c:v>
                </c:pt>
                <c:pt idx="2">
                  <c:v>2</c:v>
                </c:pt>
                <c:pt idx="3">
                  <c:v>3</c:v>
                </c:pt>
                <c:pt idx="4">
                  <c:v>4</c:v>
                </c:pt>
                <c:pt idx="5">
                  <c:v>5</c:v>
                </c:pt>
                <c:pt idx="6">
                  <c:v>Base case</c:v>
                </c:pt>
                <c:pt idx="7">
                  <c:v>6</c:v>
                </c:pt>
                <c:pt idx="8">
                  <c:v>7</c:v>
                </c:pt>
                <c:pt idx="9">
                  <c:v>8</c:v>
                </c:pt>
                <c:pt idx="10">
                  <c:v>9</c:v>
                </c:pt>
                <c:pt idx="11">
                  <c:v>10</c:v>
                </c:pt>
                <c:pt idx="12">
                  <c:v>Compounded 
upside case</c:v>
                </c:pt>
              </c:strCache>
            </c:strRef>
          </c:cat>
          <c:val>
            <c:numRef>
              <c:f>Sheet1!$H$5:$H$17</c:f>
              <c:numCache>
                <c:formatCode>General</c:formatCode>
                <c:ptCount val="13"/>
                <c:pt idx="7" formatCode="0.00&quot;x&quot;">
                  <c:v>0.19999999999999973</c:v>
                </c:pt>
                <c:pt idx="8" formatCode="0.00&quot;x&quot;">
                  <c:v>0.10000000000000009</c:v>
                </c:pt>
                <c:pt idx="9" formatCode="0.00&quot;x&quot;">
                  <c:v>0.10000000000000009</c:v>
                </c:pt>
                <c:pt idx="10" formatCode="0.00&quot;x&quot;">
                  <c:v>0.20000000000000018</c:v>
                </c:pt>
                <c:pt idx="11" formatCode="0.00&quot;x&quot;">
                  <c:v>0.29999999999999982</c:v>
                </c:pt>
              </c:numCache>
            </c:numRef>
          </c:val>
          <c:extLst>
            <c:ext xmlns:c16="http://schemas.microsoft.com/office/drawing/2014/chart" uri="{C3380CC4-5D6E-409C-BE32-E72D297353CC}">
              <c16:uniqueId val="{00000010-6E51-42D9-A049-0BC45BD06359}"/>
            </c:ext>
          </c:extLst>
        </c:ser>
        <c:ser>
          <c:idx val="4"/>
          <c:order val="4"/>
          <c:tx>
            <c:strRef>
              <c:f>Sheet1!$I$4</c:f>
              <c:strCache>
                <c:ptCount val="1"/>
                <c:pt idx="0">
                  <c:v>Labels Base + upside</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I$5:$I$17</c:f>
              <c:numCache>
                <c:formatCode>General</c:formatCode>
                <c:ptCount val="13"/>
                <c:pt idx="0" formatCode="0.00&quot;x&quot;">
                  <c:v>1.2</c:v>
                </c:pt>
                <c:pt idx="6" formatCode="0.00&quot;x&quot;">
                  <c:v>2.6</c:v>
                </c:pt>
                <c:pt idx="7" formatCode="0.00&quot;x&quot;">
                  <c:v>2.8</c:v>
                </c:pt>
                <c:pt idx="8" formatCode="0.00&quot;x&quot;">
                  <c:v>2.9</c:v>
                </c:pt>
                <c:pt idx="9" formatCode="0.00&quot;x&quot;">
                  <c:v>3</c:v>
                </c:pt>
                <c:pt idx="10" formatCode="0.00&quot;x&quot;">
                  <c:v>3.2</c:v>
                </c:pt>
                <c:pt idx="11" formatCode="0.00&quot;x&quot;">
                  <c:v>3.5</c:v>
                </c:pt>
                <c:pt idx="12" formatCode="0.00&quot;x&quot;">
                  <c:v>3.5</c:v>
                </c:pt>
              </c:numCache>
            </c:numRef>
          </c:val>
          <c:extLst>
            <c:ext xmlns:c16="http://schemas.microsoft.com/office/drawing/2014/chart" uri="{C3380CC4-5D6E-409C-BE32-E72D297353CC}">
              <c16:uniqueId val="{00000011-6E51-42D9-A049-0BC45BD06359}"/>
            </c:ext>
          </c:extLst>
        </c:ser>
        <c:dLbls>
          <c:showLegendKey val="0"/>
          <c:showVal val="0"/>
          <c:showCatName val="0"/>
          <c:showSerName val="0"/>
          <c:showPercent val="0"/>
          <c:showBubbleSize val="0"/>
        </c:dLbls>
        <c:gapWidth val="50"/>
        <c:overlap val="100"/>
        <c:axId val="533025192"/>
        <c:axId val="533025584"/>
      </c:barChart>
      <c:catAx>
        <c:axId val="53302519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crossAx val="533025584"/>
        <c:crosses val="autoZero"/>
        <c:auto val="1"/>
        <c:lblAlgn val="ctr"/>
        <c:lblOffset val="100"/>
        <c:noMultiLvlLbl val="0"/>
      </c:catAx>
      <c:valAx>
        <c:axId val="533025584"/>
        <c:scaling>
          <c:orientation val="minMax"/>
          <c:max val="4.5"/>
        </c:scaling>
        <c:delete val="0"/>
        <c:axPos val="l"/>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r>
                  <a:rPr lang="en-GB"/>
                  <a:t>Multiple of money (x)</a:t>
                </a:r>
              </a:p>
            </c:rich>
          </c:tx>
          <c:layout>
            <c:manualLayout>
              <c:xMode val="edge"/>
              <c:yMode val="edge"/>
              <c:x val="3.001434625956873E-3"/>
              <c:y val="0.35181075113744942"/>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title>
        <c:numFmt formatCode="0.00\ \x;\(0.00\ \x\);\-"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crossAx val="533025192"/>
        <c:crosses val="autoZero"/>
        <c:crossBetween val="between"/>
      </c:valAx>
      <c:spPr>
        <a:noFill/>
        <a:ln w="12700">
          <a:noFill/>
        </a:ln>
        <a:effectLst/>
      </c:spPr>
    </c:plotArea>
    <c:plotVisOnly val="1"/>
    <c:dispBlanksAs val="gap"/>
    <c:showDLblsOverMax val="0"/>
  </c:chart>
  <c:spPr>
    <a:noFill/>
    <a:ln>
      <a:noFill/>
    </a:ln>
    <a:effectLst/>
  </c:spPr>
  <c:txPr>
    <a:bodyPr/>
    <a:lstStyle/>
    <a:p>
      <a:pPr>
        <a:defRPr sz="800" b="0" i="0">
          <a:latin typeface="Roboto Light" panose="02000000000000000000" pitchFamily="2" charset="0"/>
          <a:ea typeface="Roboto Light" panose="02000000000000000000" pitchFamily="2" charset="0"/>
          <a:cs typeface="Roboto Light" panose="02000000000000000000" pitchFamily="2" charset="0"/>
        </a:defRPr>
      </a:pPr>
      <a:endParaRPr lang="pt-B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Low</c:v>
                </c:pt>
              </c:strCache>
            </c:strRef>
          </c:tx>
          <c:spPr>
            <a:noFill/>
            <a:ln>
              <a:noFill/>
            </a:ln>
            <a:effectLst/>
          </c:spPr>
          <c:invertIfNegative val="0"/>
          <c:dLbls>
            <c:numFmt formatCode="&quot;$&quot;#,##0.0&quot;m&quot;;\(&quot;$&quot;#,##0.0&quot;m&quot;\);\-" sourceLinked="0"/>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5975-400C-99B7-2701FB03B6CC}"/>
            </c:ext>
          </c:extLst>
        </c:ser>
        <c:ser>
          <c:idx val="1"/>
          <c:order val="1"/>
          <c:tx>
            <c:strRef>
              <c:f>Sheet1!$C$1</c:f>
              <c:strCache>
                <c:ptCount val="1"/>
                <c:pt idx="0">
                  <c:v>Range</c:v>
                </c:pt>
              </c:strCache>
            </c:strRef>
          </c:tx>
          <c:spPr>
            <a:solidFill>
              <a:schemeClr val="accent1"/>
            </a:solidFill>
            <a:ln>
              <a:noFill/>
            </a:ln>
            <a:effectLst/>
          </c:spPr>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1.7000000000000002</c:v>
                </c:pt>
                <c:pt idx="1">
                  <c:v>4.5</c:v>
                </c:pt>
                <c:pt idx="2">
                  <c:v>2.5</c:v>
                </c:pt>
                <c:pt idx="3">
                  <c:v>0.5</c:v>
                </c:pt>
              </c:numCache>
            </c:numRef>
          </c:val>
          <c:extLst>
            <c:ext xmlns:c16="http://schemas.microsoft.com/office/drawing/2014/chart" uri="{C3380CC4-5D6E-409C-BE32-E72D297353CC}">
              <c16:uniqueId val="{00000001-5975-400C-99B7-2701FB03B6CC}"/>
            </c:ext>
          </c:extLst>
        </c:ser>
        <c:ser>
          <c:idx val="2"/>
          <c:order val="2"/>
          <c:tx>
            <c:strRef>
              <c:f>Sheet1!$D$1</c:f>
              <c:strCache>
                <c:ptCount val="1"/>
                <c:pt idx="0">
                  <c:v>High</c:v>
                </c:pt>
              </c:strCache>
            </c:strRef>
          </c:tx>
          <c:spPr>
            <a:noFill/>
            <a:ln>
              <a:noFill/>
            </a:ln>
            <a:effectLst/>
          </c:spPr>
          <c:invertIfNegative val="0"/>
          <c:dLbls>
            <c:numFmt formatCode="&quot;$&quot;#,##0.0&quot;m&quot;;\(&quot;$&quot;#,##0.0&quot;m&quot;\);\-" sourceLinked="0"/>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6</c:v>
                </c:pt>
                <c:pt idx="1">
                  <c:v>7</c:v>
                </c:pt>
                <c:pt idx="2">
                  <c:v>6</c:v>
                </c:pt>
                <c:pt idx="3">
                  <c:v>5</c:v>
                </c:pt>
              </c:numCache>
            </c:numRef>
          </c:val>
          <c:extLst>
            <c:ext xmlns:c16="http://schemas.microsoft.com/office/drawing/2014/chart" uri="{C3380CC4-5D6E-409C-BE32-E72D297353CC}">
              <c16:uniqueId val="{00000002-5975-400C-99B7-2701FB03B6CC}"/>
            </c:ext>
          </c:extLst>
        </c:ser>
        <c:dLbls>
          <c:showLegendKey val="0"/>
          <c:showVal val="0"/>
          <c:showCatName val="0"/>
          <c:showSerName val="0"/>
          <c:showPercent val="0"/>
          <c:showBubbleSize val="0"/>
        </c:dLbls>
        <c:gapWidth val="100"/>
        <c:overlap val="100"/>
        <c:axId val="533026368"/>
        <c:axId val="533026760"/>
      </c:barChart>
      <c:catAx>
        <c:axId val="533026368"/>
        <c:scaling>
          <c:orientation val="minMax"/>
        </c:scaling>
        <c:delete val="1"/>
        <c:axPos val="l"/>
        <c:majorGridlines>
          <c:spPr>
            <a:ln w="9525" cap="flat" cmpd="sng" algn="ctr">
              <a:solidFill>
                <a:schemeClr val="bg1">
                  <a:lumMod val="85000"/>
                </a:schemeClr>
              </a:solidFill>
              <a:prstDash val="dash"/>
              <a:round/>
            </a:ln>
            <a:effectLst/>
          </c:spPr>
        </c:majorGridlines>
        <c:numFmt formatCode="General" sourceLinked="1"/>
        <c:majorTickMark val="none"/>
        <c:minorTickMark val="none"/>
        <c:tickLblPos val="nextTo"/>
        <c:crossAx val="533026760"/>
        <c:crosses val="autoZero"/>
        <c:auto val="1"/>
        <c:lblAlgn val="ctr"/>
        <c:lblOffset val="100"/>
        <c:noMultiLvlLbl val="0"/>
      </c:catAx>
      <c:valAx>
        <c:axId val="533026760"/>
        <c:scaling>
          <c:orientation val="minMax"/>
        </c:scaling>
        <c:delete val="0"/>
        <c:axPos val="b"/>
        <c:numFmt formatCode="General" sourceLinked="1"/>
        <c:majorTickMark val="none"/>
        <c:minorTickMark val="none"/>
        <c:tickLblPos val="high"/>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crossAx val="533026368"/>
        <c:crosses val="autoZero"/>
        <c:crossBetween val="between"/>
      </c:valAx>
      <c:spPr>
        <a:noFill/>
        <a:ln>
          <a:noFill/>
        </a:ln>
        <a:effectLst/>
      </c:spPr>
    </c:plotArea>
    <c:plotVisOnly val="1"/>
    <c:dispBlanksAs val="gap"/>
    <c:showDLblsOverMax val="0"/>
  </c:chart>
  <c:spPr>
    <a:noFill/>
    <a:ln>
      <a:noFill/>
    </a:ln>
    <a:effectLst/>
  </c:spPr>
  <c:txPr>
    <a:bodyPr/>
    <a:lstStyle/>
    <a:p>
      <a:pPr>
        <a:defRPr sz="800" b="0" i="0">
          <a:latin typeface="Roboto Light" panose="02000000000000000000" pitchFamily="2" charset="0"/>
          <a:ea typeface="Roboto Light" panose="02000000000000000000" pitchFamily="2" charset="0"/>
          <a:cs typeface="Roboto Light" panose="02000000000000000000" pitchFamily="2" charset="0"/>
        </a:defRPr>
      </a:pPr>
      <a:endParaRPr lang="pt-B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008268264102591E-2"/>
          <c:y val="5.8646066325509012E-2"/>
          <c:w val="0.95969270531030626"/>
          <c:h val="0.88220553544650204"/>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F8AF-4501-BBA9-7688B6DE2DA1}"/>
            </c:ext>
          </c:extLst>
        </c:ser>
        <c:ser>
          <c:idx val="1"/>
          <c:order val="1"/>
          <c:tx>
            <c:strRef>
              <c:f>Sheet1!$C$1</c:f>
              <c:strCache>
                <c:ptCount val="1"/>
                <c:pt idx="0">
                  <c:v>Series 2</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F8AF-4501-BBA9-7688B6DE2DA1}"/>
            </c:ext>
          </c:extLst>
        </c:ser>
        <c:ser>
          <c:idx val="2"/>
          <c:order val="2"/>
          <c:tx>
            <c:strRef>
              <c:f>Sheet1!$D$1</c:f>
              <c:strCache>
                <c:ptCount val="1"/>
                <c:pt idx="0">
                  <c:v>Series 3</c:v>
                </c:pt>
              </c:strCache>
            </c:strRef>
          </c:tx>
          <c:spPr>
            <a:solidFill>
              <a:schemeClr val="accent5"/>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F8AF-4501-BBA9-7688B6DE2DA1}"/>
            </c:ext>
          </c:extLst>
        </c:ser>
        <c:ser>
          <c:idx val="3"/>
          <c:order val="3"/>
          <c:tx>
            <c:strRef>
              <c:f>Sheet1!$E$1</c:f>
              <c:strCache>
                <c:ptCount val="1"/>
                <c:pt idx="0">
                  <c:v>Total</c:v>
                </c:pt>
              </c:strCache>
            </c:strRef>
          </c:tx>
          <c:spPr>
            <a:no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Roboto Medium" panose="02000000000000000000" pitchFamily="2" charset="0"/>
                    <a:ea typeface="Roboto Medium" panose="02000000000000000000" pitchFamily="2" charset="0"/>
                    <a:cs typeface="Roboto Light" panose="02000000000000000000" pitchFamily="2" charset="0"/>
                  </a:defRPr>
                </a:pPr>
                <a:endParaRPr lang="pt-B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8.6999999999999993</c:v>
                </c:pt>
                <c:pt idx="1">
                  <c:v>8.9</c:v>
                </c:pt>
                <c:pt idx="2">
                  <c:v>8.3000000000000007</c:v>
                </c:pt>
                <c:pt idx="3">
                  <c:v>12.3</c:v>
                </c:pt>
              </c:numCache>
            </c:numRef>
          </c:val>
          <c:extLst>
            <c:ext xmlns:c16="http://schemas.microsoft.com/office/drawing/2014/chart" uri="{C3380CC4-5D6E-409C-BE32-E72D297353CC}">
              <c16:uniqueId val="{00000003-F8AF-4501-BBA9-7688B6DE2DA1}"/>
            </c:ext>
          </c:extLst>
        </c:ser>
        <c:dLbls>
          <c:showLegendKey val="0"/>
          <c:showVal val="0"/>
          <c:showCatName val="0"/>
          <c:showSerName val="0"/>
          <c:showPercent val="0"/>
          <c:showBubbleSize val="0"/>
        </c:dLbls>
        <c:gapWidth val="50"/>
        <c:overlap val="100"/>
        <c:axId val="532333816"/>
        <c:axId val="532334208"/>
      </c:barChart>
      <c:catAx>
        <c:axId val="532333816"/>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crossAx val="532334208"/>
        <c:crosses val="autoZero"/>
        <c:auto val="1"/>
        <c:lblAlgn val="ctr"/>
        <c:lblOffset val="100"/>
        <c:noMultiLvlLbl val="0"/>
      </c:catAx>
      <c:valAx>
        <c:axId val="532334208"/>
        <c:scaling>
          <c:orientation val="minMax"/>
          <c:max val="15"/>
          <c:min val="0"/>
        </c:scaling>
        <c:delete val="0"/>
        <c:axPos val="l"/>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r>
                  <a:rPr lang="en-GB"/>
                  <a:t>Title (units)</a:t>
                </a:r>
              </a:p>
            </c:rich>
          </c:tx>
          <c:layout>
            <c:manualLayout>
              <c:xMode val="edge"/>
              <c:yMode val="edge"/>
              <c:x val="4.7022877355907709E-3"/>
              <c:y val="0.43261374957118637"/>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title>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crossAx val="532333816"/>
        <c:crosses val="autoZero"/>
        <c:crossBetween val="between"/>
      </c:valAx>
      <c:spPr>
        <a:noFill/>
        <a:ln>
          <a:noFill/>
        </a:ln>
        <a:effectLst/>
      </c:spPr>
    </c:plotArea>
    <c:legend>
      <c:legendPos val="t"/>
      <c:legendEntry>
        <c:idx val="3"/>
        <c:delete val="1"/>
      </c:legendEntry>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legend>
    <c:plotVisOnly val="1"/>
    <c:dispBlanksAs val="gap"/>
    <c:showDLblsOverMax val="0"/>
  </c:chart>
  <c:spPr>
    <a:noFill/>
    <a:ln>
      <a:noFill/>
    </a:ln>
    <a:effectLst/>
  </c:spPr>
  <c:txPr>
    <a:bodyPr/>
    <a:lstStyle/>
    <a:p>
      <a:pPr>
        <a:defRPr sz="800" b="0" i="0">
          <a:latin typeface="Roboto Light" panose="02000000000000000000" pitchFamily="2" charset="0"/>
          <a:ea typeface="Roboto Light" panose="02000000000000000000" pitchFamily="2" charset="0"/>
          <a:cs typeface="Roboto Light" panose="02000000000000000000" pitchFamily="2" charset="0"/>
        </a:defRPr>
      </a:pPr>
      <a:endParaRPr lang="pt-B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613407699037613E-2"/>
          <c:y val="8.5209525511409923E-2"/>
          <c:w val="0.93177548118985132"/>
          <c:h val="0.84756521860864209"/>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cat>
            <c:numRef>
              <c:f>Sheet1!$A$2:$A$10</c:f>
              <c:numCache>
                <c:formatCode>mmm\-yy</c:formatCode>
                <c:ptCount val="9"/>
                <c:pt idx="0">
                  <c:v>43831</c:v>
                </c:pt>
                <c:pt idx="1">
                  <c:v>43862</c:v>
                </c:pt>
                <c:pt idx="2">
                  <c:v>43891</c:v>
                </c:pt>
                <c:pt idx="3">
                  <c:v>43922</c:v>
                </c:pt>
                <c:pt idx="4">
                  <c:v>43952</c:v>
                </c:pt>
                <c:pt idx="5">
                  <c:v>43983</c:v>
                </c:pt>
                <c:pt idx="6">
                  <c:v>44013</c:v>
                </c:pt>
                <c:pt idx="7">
                  <c:v>44044</c:v>
                </c:pt>
                <c:pt idx="8">
                  <c:v>44075</c:v>
                </c:pt>
              </c:numCache>
            </c:numRef>
          </c:cat>
          <c:val>
            <c:numRef>
              <c:f>Sheet1!$B$2:$B$10</c:f>
              <c:numCache>
                <c:formatCode>General</c:formatCode>
                <c:ptCount val="9"/>
                <c:pt idx="0">
                  <c:v>4.3</c:v>
                </c:pt>
                <c:pt idx="1">
                  <c:v>2.5</c:v>
                </c:pt>
                <c:pt idx="2">
                  <c:v>3.5</c:v>
                </c:pt>
                <c:pt idx="3">
                  <c:v>4.5</c:v>
                </c:pt>
                <c:pt idx="4">
                  <c:v>4.3</c:v>
                </c:pt>
                <c:pt idx="5">
                  <c:v>2.5</c:v>
                </c:pt>
                <c:pt idx="6">
                  <c:v>3.5</c:v>
                </c:pt>
                <c:pt idx="7">
                  <c:v>4.5</c:v>
                </c:pt>
                <c:pt idx="8">
                  <c:v>4.5</c:v>
                </c:pt>
              </c:numCache>
            </c:numRef>
          </c:val>
          <c:smooth val="0"/>
          <c:extLst>
            <c:ext xmlns:c16="http://schemas.microsoft.com/office/drawing/2014/chart" uri="{C3380CC4-5D6E-409C-BE32-E72D297353CC}">
              <c16:uniqueId val="{00000000-75F5-6348-90E4-714303D8BE05}"/>
            </c:ext>
          </c:extLst>
        </c:ser>
        <c:ser>
          <c:idx val="1"/>
          <c:order val="1"/>
          <c:tx>
            <c:strRef>
              <c:f>Sheet1!$C$1</c:f>
              <c:strCache>
                <c:ptCount val="1"/>
                <c:pt idx="0">
                  <c:v>Series 2</c:v>
                </c:pt>
              </c:strCache>
            </c:strRef>
          </c:tx>
          <c:spPr>
            <a:ln w="19050" cap="rnd">
              <a:solidFill>
                <a:schemeClr val="accent4"/>
              </a:solidFill>
              <a:round/>
            </a:ln>
            <a:effectLst/>
          </c:spPr>
          <c:marker>
            <c:symbol val="none"/>
          </c:marker>
          <c:cat>
            <c:numRef>
              <c:f>Sheet1!$A$2:$A$10</c:f>
              <c:numCache>
                <c:formatCode>mmm\-yy</c:formatCode>
                <c:ptCount val="9"/>
                <c:pt idx="0">
                  <c:v>43831</c:v>
                </c:pt>
                <c:pt idx="1">
                  <c:v>43862</c:v>
                </c:pt>
                <c:pt idx="2">
                  <c:v>43891</c:v>
                </c:pt>
                <c:pt idx="3">
                  <c:v>43922</c:v>
                </c:pt>
                <c:pt idx="4">
                  <c:v>43952</c:v>
                </c:pt>
                <c:pt idx="5">
                  <c:v>43983</c:v>
                </c:pt>
                <c:pt idx="6">
                  <c:v>44013</c:v>
                </c:pt>
                <c:pt idx="7">
                  <c:v>44044</c:v>
                </c:pt>
                <c:pt idx="8">
                  <c:v>44075</c:v>
                </c:pt>
              </c:numCache>
            </c:numRef>
          </c:cat>
          <c:val>
            <c:numRef>
              <c:f>Sheet1!$C$2:$C$10</c:f>
              <c:numCache>
                <c:formatCode>General</c:formatCode>
                <c:ptCount val="9"/>
                <c:pt idx="0">
                  <c:v>2.4</c:v>
                </c:pt>
                <c:pt idx="1">
                  <c:v>4.4000000000000004</c:v>
                </c:pt>
                <c:pt idx="2">
                  <c:v>1.8</c:v>
                </c:pt>
                <c:pt idx="3">
                  <c:v>2.8</c:v>
                </c:pt>
                <c:pt idx="4">
                  <c:v>2.4</c:v>
                </c:pt>
                <c:pt idx="5">
                  <c:v>4.4000000000000004</c:v>
                </c:pt>
                <c:pt idx="6">
                  <c:v>1.8</c:v>
                </c:pt>
                <c:pt idx="7">
                  <c:v>2.8</c:v>
                </c:pt>
                <c:pt idx="8">
                  <c:v>2.8</c:v>
                </c:pt>
              </c:numCache>
            </c:numRef>
          </c:val>
          <c:smooth val="0"/>
          <c:extLst>
            <c:ext xmlns:c16="http://schemas.microsoft.com/office/drawing/2014/chart" uri="{C3380CC4-5D6E-409C-BE32-E72D297353CC}">
              <c16:uniqueId val="{00000001-75F5-6348-90E4-714303D8BE05}"/>
            </c:ext>
          </c:extLst>
        </c:ser>
        <c:ser>
          <c:idx val="2"/>
          <c:order val="2"/>
          <c:tx>
            <c:strRef>
              <c:f>Sheet1!$D$1</c:f>
              <c:strCache>
                <c:ptCount val="1"/>
                <c:pt idx="0">
                  <c:v>Series 3</c:v>
                </c:pt>
              </c:strCache>
            </c:strRef>
          </c:tx>
          <c:spPr>
            <a:ln w="19050" cap="rnd">
              <a:solidFill>
                <a:schemeClr val="accent6"/>
              </a:solidFill>
              <a:round/>
            </a:ln>
            <a:effectLst/>
          </c:spPr>
          <c:marker>
            <c:symbol val="none"/>
          </c:marker>
          <c:cat>
            <c:numRef>
              <c:f>Sheet1!$A$2:$A$10</c:f>
              <c:numCache>
                <c:formatCode>mmm\-yy</c:formatCode>
                <c:ptCount val="9"/>
                <c:pt idx="0">
                  <c:v>43831</c:v>
                </c:pt>
                <c:pt idx="1">
                  <c:v>43862</c:v>
                </c:pt>
                <c:pt idx="2">
                  <c:v>43891</c:v>
                </c:pt>
                <c:pt idx="3">
                  <c:v>43922</c:v>
                </c:pt>
                <c:pt idx="4">
                  <c:v>43952</c:v>
                </c:pt>
                <c:pt idx="5">
                  <c:v>43983</c:v>
                </c:pt>
                <c:pt idx="6">
                  <c:v>44013</c:v>
                </c:pt>
                <c:pt idx="7">
                  <c:v>44044</c:v>
                </c:pt>
                <c:pt idx="8">
                  <c:v>44075</c:v>
                </c:pt>
              </c:numCache>
            </c:numRef>
          </c:cat>
          <c:val>
            <c:numRef>
              <c:f>Sheet1!$D$2:$D$10</c:f>
              <c:numCache>
                <c:formatCode>General</c:formatCode>
                <c:ptCount val="9"/>
                <c:pt idx="0">
                  <c:v>2</c:v>
                </c:pt>
                <c:pt idx="1">
                  <c:v>2</c:v>
                </c:pt>
                <c:pt idx="2">
                  <c:v>3</c:v>
                </c:pt>
                <c:pt idx="3">
                  <c:v>5</c:v>
                </c:pt>
                <c:pt idx="4">
                  <c:v>2</c:v>
                </c:pt>
                <c:pt idx="5">
                  <c:v>2</c:v>
                </c:pt>
                <c:pt idx="6">
                  <c:v>3</c:v>
                </c:pt>
                <c:pt idx="7">
                  <c:v>5</c:v>
                </c:pt>
                <c:pt idx="8">
                  <c:v>5</c:v>
                </c:pt>
              </c:numCache>
            </c:numRef>
          </c:val>
          <c:smooth val="0"/>
          <c:extLst>
            <c:ext xmlns:c16="http://schemas.microsoft.com/office/drawing/2014/chart" uri="{C3380CC4-5D6E-409C-BE32-E72D297353CC}">
              <c16:uniqueId val="{00000002-75F5-6348-90E4-714303D8BE05}"/>
            </c:ext>
          </c:extLst>
        </c:ser>
        <c:dLbls>
          <c:showLegendKey val="0"/>
          <c:showVal val="0"/>
          <c:showCatName val="0"/>
          <c:showSerName val="0"/>
          <c:showPercent val="0"/>
          <c:showBubbleSize val="0"/>
        </c:dLbls>
        <c:smooth val="0"/>
        <c:axId val="504111407"/>
        <c:axId val="503585311"/>
      </c:lineChart>
      <c:dateAx>
        <c:axId val="504111407"/>
        <c:scaling>
          <c:orientation val="minMax"/>
        </c:scaling>
        <c:delete val="0"/>
        <c:axPos val="b"/>
        <c:numFmt formatCode="mmm\-yy"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crossAx val="503585311"/>
        <c:crosses val="autoZero"/>
        <c:auto val="1"/>
        <c:lblOffset val="100"/>
        <c:baseTimeUnit val="months"/>
      </c:dateAx>
      <c:valAx>
        <c:axId val="503585311"/>
        <c:scaling>
          <c:orientation val="minMax"/>
        </c:scaling>
        <c:delete val="0"/>
        <c:axPos val="l"/>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r>
                  <a:rPr lang="en-US" dirty="0"/>
                  <a:t>Percentage</a:t>
                </a:r>
              </a:p>
            </c:rich>
          </c:tx>
          <c:layout>
            <c:manualLayout>
              <c:xMode val="edge"/>
              <c:yMode val="edge"/>
              <c:x val="4.518482064741907E-3"/>
              <c:y val="0.44646408457605319"/>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crossAx val="504111407"/>
        <c:crosses val="autoZero"/>
        <c:crossBetween val="between"/>
      </c:valAx>
      <c:spPr>
        <a:noFill/>
        <a:ln>
          <a:noFill/>
        </a:ln>
        <a:effectLst/>
      </c:spPr>
    </c:plotArea>
    <c:legend>
      <c:legendPos val="b"/>
      <c:layout>
        <c:manualLayout>
          <c:xMode val="edge"/>
          <c:yMode val="edge"/>
          <c:x val="0.34442869641294838"/>
          <c:y val="1.1558551607088253E-2"/>
          <c:w val="0.25962598425196848"/>
          <c:h val="4.2982437358925311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latin typeface="Roboto Light" panose="02000000000000000000" pitchFamily="2" charset="0"/>
          <a:ea typeface="Roboto Light" panose="02000000000000000000" pitchFamily="2" charset="0"/>
          <a:cs typeface="Roboto Light" panose="02000000000000000000" pitchFamily="2" charset="0"/>
        </a:defRPr>
      </a:pPr>
      <a:endParaRPr lang="pt-B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557852143482068E-2"/>
          <c:y val="8.5209525511409923E-2"/>
          <c:w val="0.92483103674540679"/>
          <c:h val="0.84756521860864209"/>
        </c:manualLayout>
      </c:layout>
      <c:scatterChart>
        <c:scatterStyle val="lineMarker"/>
        <c:varyColors val="0"/>
        <c:ser>
          <c:idx val="0"/>
          <c:order val="0"/>
          <c:tx>
            <c:strRef>
              <c:f>Sheet1!$B$1</c:f>
              <c:strCache>
                <c:ptCount val="1"/>
                <c:pt idx="0">
                  <c:v>Series 1</c:v>
                </c:pt>
              </c:strCache>
            </c:strRef>
          </c:tx>
          <c:spPr>
            <a:ln w="25400" cap="rnd">
              <a:noFill/>
              <a:round/>
            </a:ln>
            <a:effectLst/>
          </c:spPr>
          <c:marker>
            <c:symbol val="square"/>
            <c:size val="5"/>
            <c:spPr>
              <a:solidFill>
                <a:schemeClr val="accent1"/>
              </a:solidFill>
              <a:ln w="9525">
                <a:solidFill>
                  <a:schemeClr val="accent1"/>
                </a:solidFill>
              </a:ln>
              <a:effectLst/>
            </c:spPr>
          </c:marker>
          <c:xVal>
            <c:strRef>
              <c:f>Sheet1!$A$2:$A$10</c:f>
              <c:strCache>
                <c:ptCount val="9"/>
                <c:pt idx="0">
                  <c:v>Category 1</c:v>
                </c:pt>
                <c:pt idx="1">
                  <c:v>Category 2</c:v>
                </c:pt>
                <c:pt idx="2">
                  <c:v>Category 3</c:v>
                </c:pt>
                <c:pt idx="3">
                  <c:v>Category 4</c:v>
                </c:pt>
                <c:pt idx="4">
                  <c:v>Category 5</c:v>
                </c:pt>
                <c:pt idx="5">
                  <c:v>Category 6</c:v>
                </c:pt>
                <c:pt idx="6">
                  <c:v>Category 7</c:v>
                </c:pt>
                <c:pt idx="7">
                  <c:v>Category 8</c:v>
                </c:pt>
                <c:pt idx="8">
                  <c:v>Category 9</c:v>
                </c:pt>
              </c:strCache>
            </c:strRef>
          </c:xVal>
          <c:yVal>
            <c:numRef>
              <c:f>Sheet1!$B$2:$B$10</c:f>
              <c:numCache>
                <c:formatCode>General</c:formatCode>
                <c:ptCount val="9"/>
                <c:pt idx="0">
                  <c:v>4.3</c:v>
                </c:pt>
                <c:pt idx="1">
                  <c:v>2.5</c:v>
                </c:pt>
                <c:pt idx="2">
                  <c:v>3.5</c:v>
                </c:pt>
                <c:pt idx="3">
                  <c:v>4.5</c:v>
                </c:pt>
                <c:pt idx="4">
                  <c:v>4.3</c:v>
                </c:pt>
                <c:pt idx="5">
                  <c:v>2.5</c:v>
                </c:pt>
                <c:pt idx="6">
                  <c:v>3.5</c:v>
                </c:pt>
                <c:pt idx="7">
                  <c:v>4.5</c:v>
                </c:pt>
                <c:pt idx="8">
                  <c:v>4.5</c:v>
                </c:pt>
              </c:numCache>
            </c:numRef>
          </c:yVal>
          <c:smooth val="0"/>
          <c:extLst>
            <c:ext xmlns:c16="http://schemas.microsoft.com/office/drawing/2014/chart" uri="{C3380CC4-5D6E-409C-BE32-E72D297353CC}">
              <c16:uniqueId val="{00000000-75F5-6348-90E4-714303D8BE05}"/>
            </c:ext>
          </c:extLst>
        </c:ser>
        <c:ser>
          <c:idx val="1"/>
          <c:order val="1"/>
          <c:tx>
            <c:strRef>
              <c:f>Sheet1!$C$1</c:f>
              <c:strCache>
                <c:ptCount val="1"/>
                <c:pt idx="0">
                  <c:v>Series 2</c:v>
                </c:pt>
              </c:strCache>
            </c:strRef>
          </c:tx>
          <c:spPr>
            <a:ln w="25400" cap="rnd">
              <a:noFill/>
              <a:round/>
            </a:ln>
            <a:effectLst/>
          </c:spPr>
          <c:marker>
            <c:symbol val="square"/>
            <c:size val="5"/>
            <c:spPr>
              <a:solidFill>
                <a:schemeClr val="accent2"/>
              </a:solidFill>
              <a:ln w="9525">
                <a:solidFill>
                  <a:schemeClr val="accent2"/>
                </a:solidFill>
              </a:ln>
              <a:effectLst/>
            </c:spPr>
          </c:marker>
          <c:xVal>
            <c:strRef>
              <c:f>Sheet1!$A$2:$A$10</c:f>
              <c:strCache>
                <c:ptCount val="9"/>
                <c:pt idx="0">
                  <c:v>Category 1</c:v>
                </c:pt>
                <c:pt idx="1">
                  <c:v>Category 2</c:v>
                </c:pt>
                <c:pt idx="2">
                  <c:v>Category 3</c:v>
                </c:pt>
                <c:pt idx="3">
                  <c:v>Category 4</c:v>
                </c:pt>
                <c:pt idx="4">
                  <c:v>Category 5</c:v>
                </c:pt>
                <c:pt idx="5">
                  <c:v>Category 6</c:v>
                </c:pt>
                <c:pt idx="6">
                  <c:v>Category 7</c:v>
                </c:pt>
                <c:pt idx="7">
                  <c:v>Category 8</c:v>
                </c:pt>
                <c:pt idx="8">
                  <c:v>Category 9</c:v>
                </c:pt>
              </c:strCache>
            </c:strRef>
          </c:xVal>
          <c:yVal>
            <c:numRef>
              <c:f>Sheet1!$C$2:$C$10</c:f>
              <c:numCache>
                <c:formatCode>General</c:formatCode>
                <c:ptCount val="9"/>
                <c:pt idx="0">
                  <c:v>2.4</c:v>
                </c:pt>
                <c:pt idx="1">
                  <c:v>4.4000000000000004</c:v>
                </c:pt>
                <c:pt idx="2">
                  <c:v>1.8</c:v>
                </c:pt>
                <c:pt idx="3">
                  <c:v>2.8</c:v>
                </c:pt>
                <c:pt idx="4">
                  <c:v>2.4</c:v>
                </c:pt>
                <c:pt idx="5">
                  <c:v>4.4000000000000004</c:v>
                </c:pt>
                <c:pt idx="6">
                  <c:v>1.8</c:v>
                </c:pt>
                <c:pt idx="7">
                  <c:v>2.8</c:v>
                </c:pt>
                <c:pt idx="8">
                  <c:v>2.8</c:v>
                </c:pt>
              </c:numCache>
            </c:numRef>
          </c:yVal>
          <c:smooth val="0"/>
          <c:extLst>
            <c:ext xmlns:c16="http://schemas.microsoft.com/office/drawing/2014/chart" uri="{C3380CC4-5D6E-409C-BE32-E72D297353CC}">
              <c16:uniqueId val="{00000001-75F5-6348-90E4-714303D8BE05}"/>
            </c:ext>
          </c:extLst>
        </c:ser>
        <c:ser>
          <c:idx val="2"/>
          <c:order val="2"/>
          <c:tx>
            <c:strRef>
              <c:f>Sheet1!$D$1</c:f>
              <c:strCache>
                <c:ptCount val="1"/>
                <c:pt idx="0">
                  <c:v>Series 3</c:v>
                </c:pt>
              </c:strCache>
            </c:strRef>
          </c:tx>
          <c:spPr>
            <a:ln w="25400" cap="rnd">
              <a:noFill/>
              <a:round/>
            </a:ln>
            <a:effectLst/>
          </c:spPr>
          <c:marker>
            <c:symbol val="square"/>
            <c:size val="5"/>
            <c:spPr>
              <a:solidFill>
                <a:schemeClr val="accent3"/>
              </a:solidFill>
              <a:ln w="9525">
                <a:solidFill>
                  <a:schemeClr val="accent3"/>
                </a:solidFill>
              </a:ln>
              <a:effectLst/>
            </c:spPr>
          </c:marker>
          <c:xVal>
            <c:strRef>
              <c:f>Sheet1!$A$2:$A$10</c:f>
              <c:strCache>
                <c:ptCount val="9"/>
                <c:pt idx="0">
                  <c:v>Category 1</c:v>
                </c:pt>
                <c:pt idx="1">
                  <c:v>Category 2</c:v>
                </c:pt>
                <c:pt idx="2">
                  <c:v>Category 3</c:v>
                </c:pt>
                <c:pt idx="3">
                  <c:v>Category 4</c:v>
                </c:pt>
                <c:pt idx="4">
                  <c:v>Category 5</c:v>
                </c:pt>
                <c:pt idx="5">
                  <c:v>Category 6</c:v>
                </c:pt>
                <c:pt idx="6">
                  <c:v>Category 7</c:v>
                </c:pt>
                <c:pt idx="7">
                  <c:v>Category 8</c:v>
                </c:pt>
                <c:pt idx="8">
                  <c:v>Category 9</c:v>
                </c:pt>
              </c:strCache>
            </c:strRef>
          </c:xVal>
          <c:yVal>
            <c:numRef>
              <c:f>Sheet1!$D$2:$D$10</c:f>
              <c:numCache>
                <c:formatCode>General</c:formatCode>
                <c:ptCount val="9"/>
                <c:pt idx="0">
                  <c:v>2</c:v>
                </c:pt>
                <c:pt idx="1">
                  <c:v>2</c:v>
                </c:pt>
                <c:pt idx="2">
                  <c:v>3</c:v>
                </c:pt>
                <c:pt idx="3">
                  <c:v>5</c:v>
                </c:pt>
                <c:pt idx="4">
                  <c:v>2</c:v>
                </c:pt>
                <c:pt idx="5">
                  <c:v>2</c:v>
                </c:pt>
                <c:pt idx="6">
                  <c:v>3</c:v>
                </c:pt>
                <c:pt idx="7">
                  <c:v>5</c:v>
                </c:pt>
                <c:pt idx="8">
                  <c:v>5</c:v>
                </c:pt>
              </c:numCache>
            </c:numRef>
          </c:yVal>
          <c:smooth val="0"/>
          <c:extLst>
            <c:ext xmlns:c16="http://schemas.microsoft.com/office/drawing/2014/chart" uri="{C3380CC4-5D6E-409C-BE32-E72D297353CC}">
              <c16:uniqueId val="{00000002-75F5-6348-90E4-714303D8BE05}"/>
            </c:ext>
          </c:extLst>
        </c:ser>
        <c:dLbls>
          <c:showLegendKey val="0"/>
          <c:showVal val="0"/>
          <c:showCatName val="0"/>
          <c:showSerName val="0"/>
          <c:showPercent val="0"/>
          <c:showBubbleSize val="0"/>
        </c:dLbls>
        <c:axId val="504111407"/>
        <c:axId val="503585311"/>
      </c:scatterChart>
      <c:valAx>
        <c:axId val="504111407"/>
        <c:scaling>
          <c:orientation val="minMax"/>
        </c:scaling>
        <c:delete val="0"/>
        <c:axPos val="b"/>
        <c:numFmt formatCode="mmm\-yy"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crossAx val="503585311"/>
        <c:crosses val="autoZero"/>
        <c:crossBetween val="midCat"/>
      </c:valAx>
      <c:valAx>
        <c:axId val="503585311"/>
        <c:scaling>
          <c:orientation val="minMax"/>
        </c:scaling>
        <c:delete val="0"/>
        <c:axPos val="l"/>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r>
                  <a:rPr lang="en-US" dirty="0"/>
                  <a:t>Impact</a:t>
                </a:r>
              </a:p>
            </c:rich>
          </c:tx>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crossAx val="504111407"/>
        <c:crosses val="autoZero"/>
        <c:crossBetween val="midCat"/>
      </c:valAx>
      <c:spPr>
        <a:noFill/>
        <a:ln>
          <a:noFill/>
        </a:ln>
        <a:effectLst/>
      </c:spPr>
    </c:plotArea>
    <c:legend>
      <c:legendPos val="b"/>
      <c:layout>
        <c:manualLayout>
          <c:xMode val="edge"/>
          <c:yMode val="edge"/>
          <c:x val="0.40553980752405955"/>
          <c:y val="1.1558551607088302E-2"/>
          <c:w val="0.187078302712161"/>
          <c:h val="4.2982437358925311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latin typeface="Roboto Light" panose="02000000000000000000" pitchFamily="2" charset="0"/>
          <a:ea typeface="Roboto Light" panose="02000000000000000000" pitchFamily="2" charset="0"/>
          <a:cs typeface="Roboto Light" panose="02000000000000000000" pitchFamily="2" charset="0"/>
        </a:defRPr>
      </a:pPr>
      <a:endParaRPr lang="pt-B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026973061663899E-2"/>
          <c:y val="8.2958875260552928E-2"/>
          <c:w val="0.86328173697141219"/>
          <c:h val="0.84494681378040548"/>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D6B0-CE49-BAEB-4BCAE670F6CB}"/>
            </c:ext>
          </c:extLst>
        </c:ser>
        <c:ser>
          <c:idx val="1"/>
          <c:order val="1"/>
          <c:tx>
            <c:strRef>
              <c:f>Sheet1!$C$1</c:f>
              <c:strCache>
                <c:ptCount val="1"/>
                <c:pt idx="0">
                  <c:v>Series 2</c:v>
                </c:pt>
              </c:strCache>
            </c:strRef>
          </c:tx>
          <c:spPr>
            <a:ln w="19050" cap="rnd">
              <a:solidFill>
                <a:schemeClr val="accent4"/>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D6B0-CE49-BAEB-4BCAE670F6CB}"/>
            </c:ext>
          </c:extLst>
        </c:ser>
        <c:ser>
          <c:idx val="2"/>
          <c:order val="2"/>
          <c:tx>
            <c:strRef>
              <c:f>Sheet1!$D$1</c:f>
              <c:strCache>
                <c:ptCount val="1"/>
                <c:pt idx="0">
                  <c:v>Series 3</c:v>
                </c:pt>
              </c:strCache>
            </c:strRef>
          </c:tx>
          <c:spPr>
            <a:ln w="19050" cap="rnd">
              <a:solidFill>
                <a:schemeClr val="accent6"/>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D6B0-CE49-BAEB-4BCAE670F6CB}"/>
            </c:ext>
          </c:extLst>
        </c:ser>
        <c:dLbls>
          <c:showLegendKey val="0"/>
          <c:showVal val="0"/>
          <c:showCatName val="0"/>
          <c:showSerName val="0"/>
          <c:showPercent val="0"/>
          <c:showBubbleSize val="0"/>
        </c:dLbls>
        <c:smooth val="0"/>
        <c:axId val="1850430879"/>
        <c:axId val="1850432527"/>
      </c:lineChart>
      <c:catAx>
        <c:axId val="18504308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crossAx val="1850432527"/>
        <c:crosses val="autoZero"/>
        <c:auto val="1"/>
        <c:lblAlgn val="ctr"/>
        <c:lblOffset val="100"/>
        <c:noMultiLvlLbl val="0"/>
      </c:catAx>
      <c:valAx>
        <c:axId val="1850432527"/>
        <c:scaling>
          <c:orientation val="minMax"/>
        </c:scaling>
        <c:delete val="0"/>
        <c:axPos val="l"/>
        <c:majorGridlines>
          <c:spPr>
            <a:ln w="9525" cap="flat" cmpd="sng" algn="ctr">
              <a:solidFill>
                <a:schemeClr val="bg1">
                  <a:lumMod val="9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crossAx val="1850430879"/>
        <c:crosses val="autoZero"/>
        <c:crossBetween val="between"/>
      </c:valAx>
      <c:spPr>
        <a:noFill/>
        <a:ln>
          <a:noFill/>
        </a:ln>
        <a:effectLst/>
      </c:spPr>
    </c:plotArea>
    <c:legend>
      <c:legendPos val="b"/>
      <c:layout>
        <c:manualLayout>
          <c:xMode val="edge"/>
          <c:yMode val="edge"/>
          <c:x val="8.7804217416593611E-2"/>
          <c:y val="1.9870065933797931E-2"/>
          <c:w val="0.82439121791143255"/>
          <c:h val="4.5459939463972442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latin typeface="Roboto Light" panose="02000000000000000000" pitchFamily="2" charset="0"/>
          <a:ea typeface="Roboto Light" panose="02000000000000000000" pitchFamily="2" charset="0"/>
          <a:cs typeface="Roboto Light" panose="02000000000000000000" pitchFamily="2" charset="0"/>
        </a:defRPr>
      </a:pPr>
      <a:endParaRPr lang="pt-B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026973061663899E-2"/>
          <c:y val="8.2958875260552928E-2"/>
          <c:w val="0.86328173697141219"/>
          <c:h val="0.84494681378040548"/>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D6B0-CE49-BAEB-4BCAE670F6CB}"/>
            </c:ext>
          </c:extLst>
        </c:ser>
        <c:ser>
          <c:idx val="1"/>
          <c:order val="1"/>
          <c:tx>
            <c:strRef>
              <c:f>Sheet1!$C$1</c:f>
              <c:strCache>
                <c:ptCount val="1"/>
                <c:pt idx="0">
                  <c:v>Series 2</c:v>
                </c:pt>
              </c:strCache>
            </c:strRef>
          </c:tx>
          <c:spPr>
            <a:ln w="19050" cap="rnd">
              <a:solidFill>
                <a:schemeClr val="accent4"/>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D6B0-CE49-BAEB-4BCAE670F6CB}"/>
            </c:ext>
          </c:extLst>
        </c:ser>
        <c:ser>
          <c:idx val="2"/>
          <c:order val="2"/>
          <c:tx>
            <c:strRef>
              <c:f>Sheet1!$D$1</c:f>
              <c:strCache>
                <c:ptCount val="1"/>
                <c:pt idx="0">
                  <c:v>Series 3</c:v>
                </c:pt>
              </c:strCache>
            </c:strRef>
          </c:tx>
          <c:spPr>
            <a:ln w="19050" cap="rnd">
              <a:solidFill>
                <a:schemeClr val="accent6"/>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D6B0-CE49-BAEB-4BCAE670F6CB}"/>
            </c:ext>
          </c:extLst>
        </c:ser>
        <c:dLbls>
          <c:showLegendKey val="0"/>
          <c:showVal val="0"/>
          <c:showCatName val="0"/>
          <c:showSerName val="0"/>
          <c:showPercent val="0"/>
          <c:showBubbleSize val="0"/>
        </c:dLbls>
        <c:smooth val="0"/>
        <c:axId val="1850430879"/>
        <c:axId val="1850432527"/>
      </c:lineChart>
      <c:catAx>
        <c:axId val="18504308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crossAx val="1850432527"/>
        <c:crosses val="autoZero"/>
        <c:auto val="1"/>
        <c:lblAlgn val="ctr"/>
        <c:lblOffset val="100"/>
        <c:noMultiLvlLbl val="0"/>
      </c:catAx>
      <c:valAx>
        <c:axId val="1850432527"/>
        <c:scaling>
          <c:orientation val="minMax"/>
        </c:scaling>
        <c:delete val="0"/>
        <c:axPos val="l"/>
        <c:majorGridlines>
          <c:spPr>
            <a:ln w="9525" cap="flat" cmpd="sng" algn="ctr">
              <a:solidFill>
                <a:schemeClr val="bg1">
                  <a:lumMod val="9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crossAx val="1850430879"/>
        <c:crosses val="autoZero"/>
        <c:crossBetween val="between"/>
      </c:valAx>
      <c:spPr>
        <a:noFill/>
        <a:ln>
          <a:noFill/>
        </a:ln>
        <a:effectLst/>
      </c:spPr>
    </c:plotArea>
    <c:legend>
      <c:legendPos val="b"/>
      <c:layout>
        <c:manualLayout>
          <c:xMode val="edge"/>
          <c:yMode val="edge"/>
          <c:x val="8.7804217416593611E-2"/>
          <c:y val="1.9870065933797931E-2"/>
          <c:w val="0.82439121791143255"/>
          <c:h val="4.5459939463972442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latin typeface="Roboto Light" panose="02000000000000000000" pitchFamily="2" charset="0"/>
          <a:ea typeface="Roboto Light" panose="02000000000000000000" pitchFamily="2" charset="0"/>
          <a:cs typeface="Roboto Light" panose="02000000000000000000" pitchFamily="2" charset="0"/>
        </a:defRPr>
      </a:pPr>
      <a:endParaRPr lang="pt-B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026973061663899E-2"/>
          <c:y val="8.2958875260552928E-2"/>
          <c:w val="0.86328173697141219"/>
          <c:h val="0.84494681378040548"/>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D6B0-CE49-BAEB-4BCAE670F6CB}"/>
            </c:ext>
          </c:extLst>
        </c:ser>
        <c:ser>
          <c:idx val="1"/>
          <c:order val="1"/>
          <c:tx>
            <c:strRef>
              <c:f>Sheet1!$C$1</c:f>
              <c:strCache>
                <c:ptCount val="1"/>
                <c:pt idx="0">
                  <c:v>Series 2</c:v>
                </c:pt>
              </c:strCache>
            </c:strRef>
          </c:tx>
          <c:spPr>
            <a:ln w="19050" cap="rnd">
              <a:solidFill>
                <a:schemeClr val="accent4"/>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D6B0-CE49-BAEB-4BCAE670F6CB}"/>
            </c:ext>
          </c:extLst>
        </c:ser>
        <c:ser>
          <c:idx val="2"/>
          <c:order val="2"/>
          <c:tx>
            <c:strRef>
              <c:f>Sheet1!$D$1</c:f>
              <c:strCache>
                <c:ptCount val="1"/>
                <c:pt idx="0">
                  <c:v>Series 3</c:v>
                </c:pt>
              </c:strCache>
            </c:strRef>
          </c:tx>
          <c:spPr>
            <a:ln w="19050" cap="rnd">
              <a:solidFill>
                <a:schemeClr val="accent6"/>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D6B0-CE49-BAEB-4BCAE670F6CB}"/>
            </c:ext>
          </c:extLst>
        </c:ser>
        <c:dLbls>
          <c:showLegendKey val="0"/>
          <c:showVal val="0"/>
          <c:showCatName val="0"/>
          <c:showSerName val="0"/>
          <c:showPercent val="0"/>
          <c:showBubbleSize val="0"/>
        </c:dLbls>
        <c:smooth val="0"/>
        <c:axId val="1850430879"/>
        <c:axId val="1850432527"/>
      </c:lineChart>
      <c:catAx>
        <c:axId val="18504308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crossAx val="1850432527"/>
        <c:crosses val="autoZero"/>
        <c:auto val="1"/>
        <c:lblAlgn val="ctr"/>
        <c:lblOffset val="100"/>
        <c:noMultiLvlLbl val="0"/>
      </c:catAx>
      <c:valAx>
        <c:axId val="1850432527"/>
        <c:scaling>
          <c:orientation val="minMax"/>
        </c:scaling>
        <c:delete val="0"/>
        <c:axPos val="l"/>
        <c:majorGridlines>
          <c:spPr>
            <a:ln w="9525" cap="flat" cmpd="sng" algn="ctr">
              <a:solidFill>
                <a:schemeClr val="bg1">
                  <a:lumMod val="9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crossAx val="1850430879"/>
        <c:crosses val="autoZero"/>
        <c:crossBetween val="between"/>
      </c:valAx>
      <c:spPr>
        <a:noFill/>
        <a:ln>
          <a:noFill/>
        </a:ln>
        <a:effectLst/>
      </c:spPr>
    </c:plotArea>
    <c:legend>
      <c:legendPos val="b"/>
      <c:layout>
        <c:manualLayout>
          <c:xMode val="edge"/>
          <c:yMode val="edge"/>
          <c:x val="8.7804217416593611E-2"/>
          <c:y val="1.9870065933797931E-2"/>
          <c:w val="0.82439121791143255"/>
          <c:h val="4.5459939463972442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b="0" i="0">
          <a:latin typeface="Roboto Light" panose="02000000000000000000" pitchFamily="2" charset="0"/>
          <a:ea typeface="Roboto Light" panose="02000000000000000000" pitchFamily="2" charset="0"/>
          <a:cs typeface="Roboto Light" panose="02000000000000000000" pitchFamily="2" charset="0"/>
        </a:defRPr>
      </a:pPr>
      <a:endParaRPr lang="pt-B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1470559225847445E-2"/>
          <c:y val="9.2469968778285769E-2"/>
          <c:w val="0.87663382278000102"/>
          <c:h val="0.84494681378040548"/>
        </c:manualLayout>
      </c:layout>
      <c:barChart>
        <c:barDir val="col"/>
        <c:grouping val="clustered"/>
        <c:varyColors val="0"/>
        <c:ser>
          <c:idx val="0"/>
          <c:order val="0"/>
          <c:tx>
            <c:strRef>
              <c:f>Sheet1!$B$1</c:f>
              <c:strCache>
                <c:ptCount val="1"/>
                <c:pt idx="0">
                  <c:v>Series 1</c:v>
                </c:pt>
              </c:strCache>
            </c:strRef>
          </c:tx>
          <c:spPr>
            <a:solidFill>
              <a:srgbClr val="1D5735"/>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8C11-9C49-AE01-F3349F925AF6}"/>
            </c:ext>
          </c:extLst>
        </c:ser>
        <c:ser>
          <c:idx val="1"/>
          <c:order val="1"/>
          <c:tx>
            <c:strRef>
              <c:f>Sheet1!$C$1</c:f>
              <c:strCache>
                <c:ptCount val="1"/>
                <c:pt idx="0">
                  <c:v>Series 2</c:v>
                </c:pt>
              </c:strCache>
            </c:strRef>
          </c:tx>
          <c:spPr>
            <a:solidFill>
              <a:srgbClr val="9BBBA2"/>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8C11-9C49-AE01-F3349F925AF6}"/>
            </c:ext>
          </c:extLst>
        </c:ser>
        <c:ser>
          <c:idx val="2"/>
          <c:order val="2"/>
          <c:tx>
            <c:strRef>
              <c:f>Sheet1!$D$1</c:f>
              <c:strCache>
                <c:ptCount val="1"/>
                <c:pt idx="0">
                  <c:v>Series 3</c:v>
                </c:pt>
              </c:strCache>
            </c:strRef>
          </c:tx>
          <c:spPr>
            <a:solidFill>
              <a:srgbClr val="D5E3DC"/>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8C11-9C49-AE01-F3349F925AF6}"/>
            </c:ext>
          </c:extLst>
        </c:ser>
        <c:dLbls>
          <c:showLegendKey val="0"/>
          <c:showVal val="0"/>
          <c:showCatName val="0"/>
          <c:showSerName val="0"/>
          <c:showPercent val="0"/>
          <c:showBubbleSize val="0"/>
        </c:dLbls>
        <c:gapWidth val="50"/>
        <c:axId val="532332640"/>
        <c:axId val="532333032"/>
      </c:barChart>
      <c:catAx>
        <c:axId val="532332640"/>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crossAx val="532333032"/>
        <c:crosses val="autoZero"/>
        <c:auto val="1"/>
        <c:lblAlgn val="ctr"/>
        <c:lblOffset val="100"/>
        <c:noMultiLvlLbl val="0"/>
      </c:catAx>
      <c:valAx>
        <c:axId val="532333032"/>
        <c:scaling>
          <c:orientation val="minMax"/>
        </c:scaling>
        <c:delete val="0"/>
        <c:axPos val="l"/>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r>
                  <a:rPr lang="en-US"/>
                  <a:t>Title</a:t>
                </a:r>
              </a:p>
            </c:rich>
          </c:tx>
          <c:layout>
            <c:manualLayout>
              <c:xMode val="edge"/>
              <c:yMode val="edge"/>
              <c:x val="1.1598406543327812E-2"/>
              <c:y val="0.48581087510290927"/>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crossAx val="53233264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legend>
    <c:plotVisOnly val="1"/>
    <c:dispBlanksAs val="gap"/>
    <c:showDLblsOverMax val="0"/>
  </c:chart>
  <c:spPr>
    <a:noFill/>
    <a:ln>
      <a:noFill/>
    </a:ln>
    <a:effectLst/>
  </c:spPr>
  <c:txPr>
    <a:bodyPr/>
    <a:lstStyle/>
    <a:p>
      <a:pPr>
        <a:defRPr sz="800" b="0" i="0">
          <a:latin typeface="Roboto Light" panose="02000000000000000000" pitchFamily="2" charset="0"/>
          <a:ea typeface="Roboto Light" panose="02000000000000000000" pitchFamily="2" charset="0"/>
          <a:cs typeface="Roboto Light" panose="02000000000000000000" pitchFamily="2" charset="0"/>
        </a:defRPr>
      </a:pPr>
      <a:endParaRPr lang="pt-BR"/>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7026973061663899E-2"/>
          <c:y val="0.11351674681442148"/>
          <c:w val="0.86328173697141219"/>
          <c:h val="0.7532738829963086"/>
        </c:manualLayout>
      </c:layout>
      <c:lineChart>
        <c:grouping val="standard"/>
        <c:varyColors val="0"/>
        <c:ser>
          <c:idx val="0"/>
          <c:order val="0"/>
          <c:tx>
            <c:strRef>
              <c:f>Sheet1!$B$1</c:f>
              <c:strCache>
                <c:ptCount val="1"/>
                <c:pt idx="0">
                  <c:v>Series 1</c:v>
                </c:pt>
              </c:strCache>
            </c:strRef>
          </c:tx>
          <c:spPr>
            <a:ln w="28575" cap="rnd">
              <a:solidFill>
                <a:srgbClr val="1D5735"/>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D6B0-CE49-BAEB-4BCAE670F6CB}"/>
            </c:ext>
          </c:extLst>
        </c:ser>
        <c:ser>
          <c:idx val="1"/>
          <c:order val="1"/>
          <c:tx>
            <c:strRef>
              <c:f>Sheet1!$C$1</c:f>
              <c:strCache>
                <c:ptCount val="1"/>
                <c:pt idx="0">
                  <c:v>Series 2</c:v>
                </c:pt>
              </c:strCache>
            </c:strRef>
          </c:tx>
          <c:spPr>
            <a:ln w="19050" cap="rnd">
              <a:solidFill>
                <a:srgbClr val="9BBBA2"/>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D6B0-CE49-BAEB-4BCAE670F6CB}"/>
            </c:ext>
          </c:extLst>
        </c:ser>
        <c:ser>
          <c:idx val="2"/>
          <c:order val="2"/>
          <c:tx>
            <c:strRef>
              <c:f>Sheet1!$D$1</c:f>
              <c:strCache>
                <c:ptCount val="1"/>
                <c:pt idx="0">
                  <c:v>Series 3</c:v>
                </c:pt>
              </c:strCache>
            </c:strRef>
          </c:tx>
          <c:spPr>
            <a:ln w="19050" cap="rnd">
              <a:solidFill>
                <a:srgbClr val="A6871C"/>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D6B0-CE49-BAEB-4BCAE670F6CB}"/>
            </c:ext>
          </c:extLst>
        </c:ser>
        <c:dLbls>
          <c:showLegendKey val="0"/>
          <c:showVal val="0"/>
          <c:showCatName val="0"/>
          <c:showSerName val="0"/>
          <c:showPercent val="0"/>
          <c:showBubbleSize val="0"/>
        </c:dLbls>
        <c:smooth val="0"/>
        <c:axId val="1850430879"/>
        <c:axId val="1850432527"/>
      </c:lineChart>
      <c:catAx>
        <c:axId val="18504308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crossAx val="1850432527"/>
        <c:crosses val="autoZero"/>
        <c:auto val="1"/>
        <c:lblAlgn val="ctr"/>
        <c:lblOffset val="100"/>
        <c:noMultiLvlLbl val="0"/>
      </c:catAx>
      <c:valAx>
        <c:axId val="1850432527"/>
        <c:scaling>
          <c:orientation val="minMax"/>
        </c:scaling>
        <c:delete val="0"/>
        <c:axPos val="l"/>
        <c:majorGridlines>
          <c:spPr>
            <a:ln w="9525" cap="flat" cmpd="sng" algn="ctr">
              <a:solidFill>
                <a:srgbClr val="FFFFFF">
                  <a:lumMod val="95000"/>
                </a:srgbClr>
              </a:solidFill>
              <a:round/>
            </a:ln>
            <a:effectLst/>
          </c:spPr>
        </c:majorGridlines>
        <c:title>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crossAx val="1850430879"/>
        <c:crosses val="autoZero"/>
        <c:crossBetween val="between"/>
      </c:valAx>
      <c:spPr>
        <a:noFill/>
        <a:ln>
          <a:noFill/>
        </a:ln>
        <a:effectLst/>
      </c:spPr>
    </c:plotArea>
    <c:legend>
      <c:legendPos val="b"/>
      <c:layout>
        <c:manualLayout>
          <c:xMode val="edge"/>
          <c:yMode val="edge"/>
          <c:x val="0.25308156876211213"/>
          <c:y val="1.9870065933797931E-2"/>
          <c:w val="0.5170334472473419"/>
          <c:h val="5.7682803530447239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Roboto Light" panose="02000000000000000000" pitchFamily="2" charset="0"/>
              <a:ea typeface="Roboto Light" panose="02000000000000000000" pitchFamily="2" charset="0"/>
              <a:cs typeface="Roboto Light" panose="02000000000000000000" pitchFamily="2" charset="0"/>
            </a:defRPr>
          </a:pPr>
          <a:endParaRPr lang="pt-BR"/>
        </a:p>
      </c:txPr>
    </c:legend>
    <c:plotVisOnly val="1"/>
    <c:dispBlanksAs val="gap"/>
    <c:showDLblsOverMax val="0"/>
    <c:extLst/>
  </c:chart>
  <c:spPr>
    <a:noFill/>
    <a:ln>
      <a:noFill/>
    </a:ln>
    <a:effectLst/>
  </c:spPr>
  <c:txPr>
    <a:bodyPr/>
    <a:lstStyle/>
    <a:p>
      <a:pPr>
        <a:defRPr sz="800" b="0" i="0">
          <a:latin typeface="Roboto Light" panose="02000000000000000000" pitchFamily="2" charset="0"/>
          <a:ea typeface="Roboto Light" panose="02000000000000000000" pitchFamily="2" charset="0"/>
          <a:cs typeface="Roboto Light" panose="02000000000000000000" pitchFamily="2" charset="0"/>
        </a:defRPr>
      </a:pPr>
      <a:endParaRPr lang="pt-BR"/>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5"/>
            <a:ext cx="2918830" cy="493316"/>
          </a:xfrm>
          <a:prstGeom prst="rect">
            <a:avLst/>
          </a:prstGeom>
        </p:spPr>
        <p:txBody>
          <a:bodyPr vert="horz" lIns="90600" tIns="45299" rIns="90600" bIns="45299" rtlCol="0"/>
          <a:lstStyle>
            <a:lvl1pPr algn="l">
              <a:defRPr sz="1200"/>
            </a:lvl1pPr>
          </a:lstStyle>
          <a:p>
            <a:endParaRPr lang="en-AU" dirty="0">
              <a:latin typeface="Roboto Light" panose="02000000000000000000" pitchFamily="2" charset="0"/>
            </a:endParaRPr>
          </a:p>
        </p:txBody>
      </p:sp>
      <p:sp>
        <p:nvSpPr>
          <p:cNvPr id="3" name="Date Placeholder 2"/>
          <p:cNvSpPr>
            <a:spLocks noGrp="1"/>
          </p:cNvSpPr>
          <p:nvPr>
            <p:ph type="dt" sz="quarter" idx="1"/>
          </p:nvPr>
        </p:nvSpPr>
        <p:spPr>
          <a:xfrm>
            <a:off x="3815380" y="5"/>
            <a:ext cx="2918830" cy="493316"/>
          </a:xfrm>
          <a:prstGeom prst="rect">
            <a:avLst/>
          </a:prstGeom>
        </p:spPr>
        <p:txBody>
          <a:bodyPr vert="horz" lIns="90600" tIns="45299" rIns="90600" bIns="45299" rtlCol="0"/>
          <a:lstStyle>
            <a:lvl1pPr algn="r">
              <a:defRPr sz="1200"/>
            </a:lvl1pPr>
          </a:lstStyle>
          <a:p>
            <a:fld id="{452061EA-779E-44D5-A019-B41A5DD67143}" type="datetimeFigureOut">
              <a:rPr lang="en-AU" smtClean="0">
                <a:latin typeface="Roboto Light" panose="02000000000000000000" pitchFamily="2" charset="0"/>
              </a:rPr>
              <a:pPr/>
              <a:t>24/05/2024</a:t>
            </a:fld>
            <a:endParaRPr lang="en-AU" dirty="0">
              <a:latin typeface="Roboto Light" panose="02000000000000000000" pitchFamily="2" charset="0"/>
            </a:endParaRPr>
          </a:p>
        </p:txBody>
      </p:sp>
      <p:sp>
        <p:nvSpPr>
          <p:cNvPr id="4" name="Footer Placeholder 3"/>
          <p:cNvSpPr>
            <a:spLocks noGrp="1"/>
          </p:cNvSpPr>
          <p:nvPr>
            <p:ph type="ftr" sz="quarter" idx="2"/>
          </p:nvPr>
        </p:nvSpPr>
        <p:spPr>
          <a:xfrm>
            <a:off x="7" y="9371291"/>
            <a:ext cx="2918830" cy="493316"/>
          </a:xfrm>
          <a:prstGeom prst="rect">
            <a:avLst/>
          </a:prstGeom>
        </p:spPr>
        <p:txBody>
          <a:bodyPr vert="horz" lIns="90600" tIns="45299" rIns="90600" bIns="45299" rtlCol="0" anchor="b"/>
          <a:lstStyle>
            <a:lvl1pPr algn="l">
              <a:defRPr sz="1200"/>
            </a:lvl1pPr>
          </a:lstStyle>
          <a:p>
            <a:endParaRPr lang="en-AU" dirty="0">
              <a:latin typeface="Roboto Light" panose="02000000000000000000" pitchFamily="2" charset="0"/>
            </a:endParaRPr>
          </a:p>
        </p:txBody>
      </p:sp>
      <p:sp>
        <p:nvSpPr>
          <p:cNvPr id="5" name="Slide Number Placeholder 4"/>
          <p:cNvSpPr>
            <a:spLocks noGrp="1"/>
          </p:cNvSpPr>
          <p:nvPr>
            <p:ph type="sldNum" sz="quarter" idx="3"/>
          </p:nvPr>
        </p:nvSpPr>
        <p:spPr>
          <a:xfrm>
            <a:off x="3815380" y="9371291"/>
            <a:ext cx="2918830" cy="493316"/>
          </a:xfrm>
          <a:prstGeom prst="rect">
            <a:avLst/>
          </a:prstGeom>
        </p:spPr>
        <p:txBody>
          <a:bodyPr vert="horz" lIns="90600" tIns="45299" rIns="90600" bIns="45299" rtlCol="0" anchor="b"/>
          <a:lstStyle>
            <a:lvl1pPr algn="r">
              <a:defRPr sz="1200"/>
            </a:lvl1pPr>
          </a:lstStyle>
          <a:p>
            <a:fld id="{B459713B-C5EE-4D0C-A1C4-2672D106A437}" type="slidenum">
              <a:rPr lang="en-AU" smtClean="0">
                <a:latin typeface="Roboto Light" panose="02000000000000000000" pitchFamily="2" charset="0"/>
              </a:rPr>
              <a:pPr/>
              <a:t>‹#›</a:t>
            </a:fld>
            <a:endParaRPr lang="en-AU" dirty="0">
              <a:latin typeface="Roboto Light" panose="02000000000000000000" pitchFamily="2" charset="0"/>
            </a:endParaRPr>
          </a:p>
        </p:txBody>
      </p:sp>
    </p:spTree>
    <p:extLst>
      <p:ext uri="{BB962C8B-B14F-4D97-AF65-F5344CB8AC3E}">
        <p14:creationId xmlns:p14="http://schemas.microsoft.com/office/powerpoint/2010/main" val="16899376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idx="1"/>
          </p:nvPr>
        </p:nvSpPr>
        <p:spPr>
          <a:xfrm>
            <a:off x="3815380" y="5"/>
            <a:ext cx="2918830" cy="493316"/>
          </a:xfrm>
          <a:prstGeom prst="rect">
            <a:avLst/>
          </a:prstGeom>
        </p:spPr>
        <p:txBody>
          <a:bodyPr vert="horz" lIns="90600" tIns="45299" rIns="90600" bIns="45299" rtlCol="0"/>
          <a:lstStyle>
            <a:lvl1pPr algn="r">
              <a:defRPr sz="1200" b="0" i="0">
                <a:latin typeface="Roboto Light" panose="02000000000000000000" pitchFamily="2" charset="0"/>
              </a:defRPr>
            </a:lvl1pPr>
          </a:lstStyle>
          <a:p>
            <a:fld id="{E9DA1D8D-5F4D-4FC6-8F60-7994C2FF6A28}" type="datetimeFigureOut">
              <a:rPr lang="en-AU" smtClean="0"/>
              <a:pPr/>
              <a:t>24/05/2024</a:t>
            </a:fld>
            <a:endParaRPr lang="en-AU" dirty="0"/>
          </a:p>
        </p:txBody>
      </p:sp>
      <p:sp>
        <p:nvSpPr>
          <p:cNvPr id="4" name="Slide Image Placeholder 3"/>
          <p:cNvSpPr>
            <a:spLocks noGrp="1" noRot="1" noChangeAspect="1"/>
          </p:cNvSpPr>
          <p:nvPr>
            <p:ph type="sldImg" idx="2"/>
          </p:nvPr>
        </p:nvSpPr>
        <p:spPr>
          <a:xfrm>
            <a:off x="696913" y="739775"/>
            <a:ext cx="5341937" cy="3698875"/>
          </a:xfrm>
          <a:prstGeom prst="rect">
            <a:avLst/>
          </a:prstGeom>
          <a:noFill/>
          <a:ln w="12700">
            <a:solidFill>
              <a:schemeClr val="bg1"/>
            </a:solidFill>
          </a:ln>
        </p:spPr>
        <p:txBody>
          <a:bodyPr vert="horz" lIns="90600" tIns="45299" rIns="90600" bIns="45299" rtlCol="0" anchor="ctr"/>
          <a:lstStyle/>
          <a:p>
            <a:endParaRPr lang="en-AU" dirty="0"/>
          </a:p>
        </p:txBody>
      </p:sp>
      <p:sp>
        <p:nvSpPr>
          <p:cNvPr id="5" name="Notes Placeholder 4"/>
          <p:cNvSpPr>
            <a:spLocks noGrp="1"/>
          </p:cNvSpPr>
          <p:nvPr>
            <p:ph type="body" sz="quarter" idx="3"/>
          </p:nvPr>
        </p:nvSpPr>
        <p:spPr>
          <a:xfrm>
            <a:off x="673577" y="4686499"/>
            <a:ext cx="5388610" cy="4439841"/>
          </a:xfrm>
          <a:prstGeom prst="rect">
            <a:avLst/>
          </a:prstGeom>
        </p:spPr>
        <p:txBody>
          <a:bodyPr vert="horz" lIns="90600" tIns="45299" rIns="90600" bIns="45299"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6" name="Footer Placeholder 5"/>
          <p:cNvSpPr>
            <a:spLocks noGrp="1"/>
          </p:cNvSpPr>
          <p:nvPr>
            <p:ph type="ftr" sz="quarter" idx="4"/>
          </p:nvPr>
        </p:nvSpPr>
        <p:spPr>
          <a:xfrm>
            <a:off x="7" y="9371291"/>
            <a:ext cx="2918830" cy="493316"/>
          </a:xfrm>
          <a:prstGeom prst="rect">
            <a:avLst/>
          </a:prstGeom>
        </p:spPr>
        <p:txBody>
          <a:bodyPr vert="horz" lIns="90600" tIns="45299" rIns="90600" bIns="45299" rtlCol="0" anchor="b"/>
          <a:lstStyle>
            <a:lvl1pPr algn="l">
              <a:defRPr sz="1200" b="0" i="0">
                <a:latin typeface="Roboto Light" panose="02000000000000000000" pitchFamily="2" charset="0"/>
              </a:defRPr>
            </a:lvl1pPr>
          </a:lstStyle>
          <a:p>
            <a:endParaRPr lang="en-AU" dirty="0"/>
          </a:p>
        </p:txBody>
      </p:sp>
      <p:sp>
        <p:nvSpPr>
          <p:cNvPr id="7" name="Slide Number Placeholder 6"/>
          <p:cNvSpPr>
            <a:spLocks noGrp="1"/>
          </p:cNvSpPr>
          <p:nvPr>
            <p:ph type="sldNum" sz="quarter" idx="5"/>
          </p:nvPr>
        </p:nvSpPr>
        <p:spPr>
          <a:xfrm>
            <a:off x="3815380" y="9371291"/>
            <a:ext cx="2918830" cy="493316"/>
          </a:xfrm>
          <a:prstGeom prst="rect">
            <a:avLst/>
          </a:prstGeom>
        </p:spPr>
        <p:txBody>
          <a:bodyPr vert="horz" lIns="90600" tIns="45299" rIns="90600" bIns="45299" rtlCol="0" anchor="b"/>
          <a:lstStyle>
            <a:lvl1pPr algn="r">
              <a:defRPr sz="1200" b="0" i="0">
                <a:latin typeface="Roboto Light" panose="02000000000000000000" pitchFamily="2" charset="0"/>
              </a:defRPr>
            </a:lvl1pPr>
          </a:lstStyle>
          <a:p>
            <a:fld id="{5A88DDB8-DF70-44AF-B0E6-B94EA43F6CD0}" type="slidenum">
              <a:rPr lang="en-AU" smtClean="0"/>
              <a:pPr/>
              <a:t>‹#›</a:t>
            </a:fld>
            <a:endParaRPr lang="en-AU" dirty="0"/>
          </a:p>
        </p:txBody>
      </p:sp>
      <p:sp>
        <p:nvSpPr>
          <p:cNvPr id="8" name="Header Placeholder 7"/>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b="0" i="0">
                <a:latin typeface="Roboto Light" panose="02000000000000000000" pitchFamily="2" charset="0"/>
              </a:defRPr>
            </a:lvl1pPr>
          </a:lstStyle>
          <a:p>
            <a:endParaRPr lang="en-GB" dirty="0"/>
          </a:p>
        </p:txBody>
      </p:sp>
    </p:spTree>
    <p:extLst>
      <p:ext uri="{BB962C8B-B14F-4D97-AF65-F5344CB8AC3E}">
        <p14:creationId xmlns:p14="http://schemas.microsoft.com/office/powerpoint/2010/main" val="427259635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b="0" i="0" kern="1200">
        <a:solidFill>
          <a:schemeClr val="tx1"/>
        </a:solidFill>
        <a:latin typeface="Roboto Light" panose="02000000000000000000" pitchFamily="2" charset="0"/>
        <a:ea typeface="+mn-ea"/>
        <a:cs typeface="+mn-cs"/>
      </a:defRPr>
    </a:lvl1pPr>
    <a:lvl2pPr marL="457200" algn="l" defTabSz="914400" rtl="0" eaLnBrk="1" latinLnBrk="0" hangingPunct="1">
      <a:defRPr sz="1200" b="0" i="0" kern="1200">
        <a:solidFill>
          <a:schemeClr val="tx1"/>
        </a:solidFill>
        <a:latin typeface="Roboto Light" panose="02000000000000000000" pitchFamily="2" charset="0"/>
        <a:ea typeface="+mn-ea"/>
        <a:cs typeface="+mn-cs"/>
      </a:defRPr>
    </a:lvl2pPr>
    <a:lvl3pPr marL="914400" algn="l" defTabSz="914400" rtl="0" eaLnBrk="1" latinLnBrk="0" hangingPunct="1">
      <a:defRPr sz="1200" b="0" i="0" kern="1200">
        <a:solidFill>
          <a:schemeClr val="tx1"/>
        </a:solidFill>
        <a:latin typeface="Roboto Light" panose="02000000000000000000" pitchFamily="2" charset="0"/>
        <a:ea typeface="+mn-ea"/>
        <a:cs typeface="+mn-cs"/>
      </a:defRPr>
    </a:lvl3pPr>
    <a:lvl4pPr marL="1371600" algn="l" defTabSz="914400" rtl="0" eaLnBrk="1" latinLnBrk="0" hangingPunct="1">
      <a:defRPr sz="1200" b="0" i="0" kern="1200">
        <a:solidFill>
          <a:schemeClr val="tx1"/>
        </a:solidFill>
        <a:latin typeface="Roboto Light" panose="02000000000000000000" pitchFamily="2" charset="0"/>
        <a:ea typeface="+mn-ea"/>
        <a:cs typeface="+mn-cs"/>
      </a:defRPr>
    </a:lvl4pPr>
    <a:lvl5pPr marL="1828800" algn="l" defTabSz="914400" rtl="0" eaLnBrk="1" latinLnBrk="0" hangingPunct="1">
      <a:defRPr sz="1200" b="0" i="0" kern="1200">
        <a:solidFill>
          <a:schemeClr val="tx1"/>
        </a:solidFill>
        <a:latin typeface="Roboto Light" panose="020000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88DDB8-DF70-44AF-B0E6-B94EA43F6CD0}" type="slidenum">
              <a:rPr lang="en-AU" smtClean="0"/>
              <a:pPr/>
              <a:t>2</a:t>
            </a:fld>
            <a:endParaRPr lang="en-AU" dirty="0"/>
          </a:p>
        </p:txBody>
      </p:sp>
    </p:spTree>
    <p:extLst>
      <p:ext uri="{BB962C8B-B14F-4D97-AF65-F5344CB8AC3E}">
        <p14:creationId xmlns:p14="http://schemas.microsoft.com/office/powerpoint/2010/main" val="13761166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A88DDB8-DF70-44AF-B0E6-B94EA43F6CD0}" type="slidenum">
              <a:rPr lang="en-AU" smtClean="0"/>
              <a:pPr/>
              <a:t>4</a:t>
            </a:fld>
            <a:endParaRPr lang="en-AU" dirty="0"/>
          </a:p>
        </p:txBody>
      </p:sp>
    </p:spTree>
    <p:extLst>
      <p:ext uri="{BB962C8B-B14F-4D97-AF65-F5344CB8AC3E}">
        <p14:creationId xmlns:p14="http://schemas.microsoft.com/office/powerpoint/2010/main" val="9835090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A88DDB8-DF70-44AF-B0E6-B94EA43F6CD0}" type="slidenum">
              <a:rPr lang="en-AU" smtClean="0"/>
              <a:pPr/>
              <a:t>5</a:t>
            </a:fld>
            <a:endParaRPr lang="en-AU" dirty="0"/>
          </a:p>
        </p:txBody>
      </p:sp>
    </p:spTree>
    <p:extLst>
      <p:ext uri="{BB962C8B-B14F-4D97-AF65-F5344CB8AC3E}">
        <p14:creationId xmlns:p14="http://schemas.microsoft.com/office/powerpoint/2010/main" val="10389992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A88DDB8-DF70-44AF-B0E6-B94EA43F6CD0}" type="slidenum">
              <a:rPr lang="en-AU" smtClean="0"/>
              <a:pPr/>
              <a:t>7</a:t>
            </a:fld>
            <a:endParaRPr lang="en-AU" dirty="0"/>
          </a:p>
        </p:txBody>
      </p:sp>
    </p:spTree>
    <p:extLst>
      <p:ext uri="{BB962C8B-B14F-4D97-AF65-F5344CB8AC3E}">
        <p14:creationId xmlns:p14="http://schemas.microsoft.com/office/powerpoint/2010/main" val="11437560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A88DDB8-DF70-44AF-B0E6-B94EA43F6CD0}" type="slidenum">
              <a:rPr lang="en-AU" smtClean="0"/>
              <a:pPr/>
              <a:t>8</a:t>
            </a:fld>
            <a:endParaRPr lang="en-AU" dirty="0"/>
          </a:p>
        </p:txBody>
      </p:sp>
    </p:spTree>
    <p:extLst>
      <p:ext uri="{BB962C8B-B14F-4D97-AF65-F5344CB8AC3E}">
        <p14:creationId xmlns:p14="http://schemas.microsoft.com/office/powerpoint/2010/main" val="22995917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A88DDB8-DF70-44AF-B0E6-B94EA43F6CD0}" type="slidenum">
              <a:rPr lang="en-AU" smtClean="0"/>
              <a:pPr/>
              <a:t>20</a:t>
            </a:fld>
            <a:endParaRPr lang="en-AU" dirty="0"/>
          </a:p>
        </p:txBody>
      </p:sp>
    </p:spTree>
    <p:extLst>
      <p:ext uri="{BB962C8B-B14F-4D97-AF65-F5344CB8AC3E}">
        <p14:creationId xmlns:p14="http://schemas.microsoft.com/office/powerpoint/2010/main" val="23619391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A88DDB8-DF70-44AF-B0E6-B94EA43F6CD0}" type="slidenum">
              <a:rPr lang="en-AU" smtClean="0"/>
              <a:pPr/>
              <a:t>27</a:t>
            </a:fld>
            <a:endParaRPr lang="en-AU" dirty="0"/>
          </a:p>
        </p:txBody>
      </p:sp>
    </p:spTree>
    <p:extLst>
      <p:ext uri="{BB962C8B-B14F-4D97-AF65-F5344CB8AC3E}">
        <p14:creationId xmlns:p14="http://schemas.microsoft.com/office/powerpoint/2010/main" val="40188868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A88DDB8-DF70-44AF-B0E6-B94EA43F6CD0}" type="slidenum">
              <a:rPr lang="en-AU" smtClean="0"/>
              <a:pPr/>
              <a:t>47</a:t>
            </a:fld>
            <a:endParaRPr lang="en-AU" dirty="0"/>
          </a:p>
        </p:txBody>
      </p:sp>
    </p:spTree>
    <p:extLst>
      <p:ext uri="{BB962C8B-B14F-4D97-AF65-F5344CB8AC3E}">
        <p14:creationId xmlns:p14="http://schemas.microsoft.com/office/powerpoint/2010/main" val="25556051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9.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ront cover">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41C4990-A683-7A3E-EC59-1F24A00844FE}"/>
              </a:ext>
            </a:extLst>
          </p:cNvPr>
          <p:cNvGraphicFramePr>
            <a:graphicFrameLocks noChangeAspect="1"/>
          </p:cNvGraphicFramePr>
          <p:nvPr userDrawn="1">
            <p:custDataLst>
              <p:tags r:id="rId1"/>
            </p:custDataLst>
            <p:extLst>
              <p:ext uri="{D42A27DB-BD31-4B8C-83A1-F6EECF244321}">
                <p14:modId xmlns:p14="http://schemas.microsoft.com/office/powerpoint/2010/main" val="1295470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 name="think-cell data - do not delete" hidden="1">
                        <a:extLst>
                          <a:ext uri="{FF2B5EF4-FFF2-40B4-BE49-F238E27FC236}">
                            <a16:creationId xmlns:a16="http://schemas.microsoft.com/office/drawing/2014/main" id="{641C4990-A683-7A3E-EC59-1F24A00844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9158F06-C06B-209F-83F3-1E0A5E22685E}"/>
              </a:ext>
            </a:extLst>
          </p:cNvPr>
          <p:cNvSpPr/>
          <p:nvPr userDrawn="1"/>
        </p:nvSpPr>
        <p:spPr>
          <a:xfrm>
            <a:off x="0" y="0"/>
            <a:ext cx="9906000" cy="685800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lang="nl-NL" b="0" i="0" dirty="0" err="1">
              <a:latin typeface="Roboto" panose="02000000000000000000" pitchFamily="2" charset="0"/>
            </a:endParaRPr>
          </a:p>
        </p:txBody>
      </p:sp>
      <p:pic>
        <p:nvPicPr>
          <p:cNvPr id="7" name="Picture 6">
            <a:extLst>
              <a:ext uri="{FF2B5EF4-FFF2-40B4-BE49-F238E27FC236}">
                <a16:creationId xmlns:a16="http://schemas.microsoft.com/office/drawing/2014/main" id="{9C4F8594-B378-6FB8-2AFE-9FBB3CA6A474}"/>
              </a:ext>
            </a:extLst>
          </p:cNvPr>
          <p:cNvPicPr>
            <a:picLocks noChangeAspect="1"/>
          </p:cNvPicPr>
          <p:nvPr userDrawn="1"/>
        </p:nvPicPr>
        <p:blipFill>
          <a:blip r:embed="rId6">
            <a:alphaModFix amt="10000"/>
          </a:blip>
          <a:srcRect r="3635"/>
          <a:stretch>
            <a:fillRect/>
          </a:stretch>
        </p:blipFill>
        <p:spPr>
          <a:xfrm>
            <a:off x="0" y="0"/>
            <a:ext cx="9906000" cy="6857998"/>
          </a:xfrm>
          <a:custGeom>
            <a:avLst/>
            <a:gdLst>
              <a:gd name="connsiteX0" fmla="*/ 0 w 9906000"/>
              <a:gd name="connsiteY0" fmla="*/ 0 h 6857998"/>
              <a:gd name="connsiteX1" fmla="*/ 9906000 w 9906000"/>
              <a:gd name="connsiteY1" fmla="*/ 0 h 6857998"/>
              <a:gd name="connsiteX2" fmla="*/ 9906000 w 9906000"/>
              <a:gd name="connsiteY2" fmla="*/ 6857998 h 6857998"/>
              <a:gd name="connsiteX3" fmla="*/ 0 w 9906000"/>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9906000" h="6857998">
                <a:moveTo>
                  <a:pt x="0" y="0"/>
                </a:moveTo>
                <a:lnTo>
                  <a:pt x="9906000" y="0"/>
                </a:lnTo>
                <a:lnTo>
                  <a:pt x="9906000" y="6857998"/>
                </a:lnTo>
                <a:lnTo>
                  <a:pt x="0" y="6857998"/>
                </a:lnTo>
                <a:close/>
              </a:path>
            </a:pathLst>
          </a:custGeom>
        </p:spPr>
      </p:pic>
      <p:sp>
        <p:nvSpPr>
          <p:cNvPr id="10" name="Right Triangle 9">
            <a:extLst>
              <a:ext uri="{FF2B5EF4-FFF2-40B4-BE49-F238E27FC236}">
                <a16:creationId xmlns:a16="http://schemas.microsoft.com/office/drawing/2014/main" id="{B45ED5B0-E191-BB36-628A-EC16E3949701}"/>
              </a:ext>
            </a:extLst>
          </p:cNvPr>
          <p:cNvSpPr/>
          <p:nvPr userDrawn="1"/>
        </p:nvSpPr>
        <p:spPr>
          <a:xfrm flipH="1">
            <a:off x="0" y="1043940"/>
            <a:ext cx="9906000" cy="5814060"/>
          </a:xfrm>
          <a:custGeom>
            <a:avLst/>
            <a:gdLst>
              <a:gd name="connsiteX0" fmla="*/ 0 w 9906000"/>
              <a:gd name="connsiteY0" fmla="*/ 5814060 h 5814060"/>
              <a:gd name="connsiteX1" fmla="*/ 0 w 9906000"/>
              <a:gd name="connsiteY1" fmla="*/ 0 h 5814060"/>
              <a:gd name="connsiteX2" fmla="*/ 9906000 w 9906000"/>
              <a:gd name="connsiteY2" fmla="*/ 5814060 h 5814060"/>
              <a:gd name="connsiteX3" fmla="*/ 0 w 9906000"/>
              <a:gd name="connsiteY3" fmla="*/ 5814060 h 5814060"/>
              <a:gd name="connsiteX0" fmla="*/ 0 w 9906000"/>
              <a:gd name="connsiteY0" fmla="*/ 5814060 h 5814060"/>
              <a:gd name="connsiteX1" fmla="*/ 0 w 9906000"/>
              <a:gd name="connsiteY1" fmla="*/ 0 h 5814060"/>
              <a:gd name="connsiteX2" fmla="*/ 9906000 w 9906000"/>
              <a:gd name="connsiteY2" fmla="*/ 5814060 h 5814060"/>
              <a:gd name="connsiteX3" fmla="*/ 0 w 9906000"/>
              <a:gd name="connsiteY3" fmla="*/ 5814060 h 5814060"/>
              <a:gd name="connsiteX0" fmla="*/ 0 w 9906000"/>
              <a:gd name="connsiteY0" fmla="*/ 5814060 h 5814060"/>
              <a:gd name="connsiteX1" fmla="*/ 0 w 9906000"/>
              <a:gd name="connsiteY1" fmla="*/ 0 h 5814060"/>
              <a:gd name="connsiteX2" fmla="*/ 9906000 w 9906000"/>
              <a:gd name="connsiteY2" fmla="*/ 5814060 h 5814060"/>
              <a:gd name="connsiteX3" fmla="*/ 0 w 9906000"/>
              <a:gd name="connsiteY3" fmla="*/ 5814060 h 5814060"/>
              <a:gd name="connsiteX0" fmla="*/ 0 w 9906000"/>
              <a:gd name="connsiteY0" fmla="*/ 5814060 h 5814060"/>
              <a:gd name="connsiteX1" fmla="*/ 0 w 9906000"/>
              <a:gd name="connsiteY1" fmla="*/ 0 h 5814060"/>
              <a:gd name="connsiteX2" fmla="*/ 9906000 w 9906000"/>
              <a:gd name="connsiteY2" fmla="*/ 5814060 h 5814060"/>
              <a:gd name="connsiteX3" fmla="*/ 0 w 9906000"/>
              <a:gd name="connsiteY3" fmla="*/ 5814060 h 5814060"/>
            </a:gdLst>
            <a:ahLst/>
            <a:cxnLst>
              <a:cxn ang="0">
                <a:pos x="connsiteX0" y="connsiteY0"/>
              </a:cxn>
              <a:cxn ang="0">
                <a:pos x="connsiteX1" y="connsiteY1"/>
              </a:cxn>
              <a:cxn ang="0">
                <a:pos x="connsiteX2" y="connsiteY2"/>
              </a:cxn>
              <a:cxn ang="0">
                <a:pos x="connsiteX3" y="connsiteY3"/>
              </a:cxn>
            </a:cxnLst>
            <a:rect l="l" t="t" r="r" b="b"/>
            <a:pathLst>
              <a:path w="9906000" h="5814060">
                <a:moveTo>
                  <a:pt x="0" y="5814060"/>
                </a:moveTo>
                <a:lnTo>
                  <a:pt x="0" y="0"/>
                </a:lnTo>
                <a:cubicBezTo>
                  <a:pt x="3225800" y="1107440"/>
                  <a:pt x="6840220" y="2900680"/>
                  <a:pt x="9906000" y="5814060"/>
                </a:cubicBezTo>
                <a:lnTo>
                  <a:pt x="0" y="5814060"/>
                </a:lnTo>
                <a:close/>
              </a:path>
            </a:pathLst>
          </a:custGeom>
          <a:solidFill>
            <a:srgbClr val="FFFFFF">
              <a:alpha val="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nl-NL" sz="1000" dirty="0" err="1">
              <a:solidFill>
                <a:schemeClr val="bg1"/>
              </a:solidFill>
            </a:endParaRPr>
          </a:p>
        </p:txBody>
      </p:sp>
      <p:sp>
        <p:nvSpPr>
          <p:cNvPr id="69" name="Espace réservé du contenu 9"/>
          <p:cNvSpPr>
            <a:spLocks noGrp="1"/>
          </p:cNvSpPr>
          <p:nvPr>
            <p:ph sz="quarter" idx="13" hasCustomPrompt="1"/>
          </p:nvPr>
        </p:nvSpPr>
        <p:spPr>
          <a:xfrm>
            <a:off x="1393404" y="5400957"/>
            <a:ext cx="8151962" cy="366712"/>
          </a:xfrm>
          <a:prstGeom prst="rect">
            <a:avLst/>
          </a:prstGeom>
          <a:noFill/>
        </p:spPr>
        <p:txBody>
          <a:bodyPr lIns="0" tIns="0" rIns="0" bIns="0" anchor="ctr" anchorCtr="0">
            <a:noAutofit/>
          </a:bodyPr>
          <a:lstStyle>
            <a:lvl1pPr marL="0" algn="r" defTabSz="914400" rtl="0" eaLnBrk="1" latinLnBrk="0" hangingPunct="1">
              <a:lnSpc>
                <a:spcPts val="3200"/>
              </a:lnSpc>
              <a:spcAft>
                <a:spcPts val="800"/>
              </a:spcAft>
              <a:defRPr lang="en-GB" sz="2800" b="0" i="0" kern="1200" dirty="0">
                <a:solidFill>
                  <a:schemeClr val="bg1"/>
                </a:solidFill>
                <a:latin typeface="Roboto Light" panose="02000000000000000000" pitchFamily="2" charset="0"/>
                <a:ea typeface="Roboto Light" panose="02000000000000000000" pitchFamily="2" charset="0"/>
                <a:cs typeface="Roboto Light" panose="02000000000000000000"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Edit </a:t>
            </a:r>
            <a:r>
              <a:rPr lang="fr-FR" dirty="0" err="1"/>
              <a:t>Title</a:t>
            </a:r>
            <a:endParaRPr lang="en-GB" dirty="0"/>
          </a:p>
        </p:txBody>
      </p:sp>
      <p:sp>
        <p:nvSpPr>
          <p:cNvPr id="43" name="jpmDocTracker"/>
          <p:cNvSpPr>
            <a:spLocks noChangeArrowheads="1"/>
          </p:cNvSpPr>
          <p:nvPr userDrawn="1">
            <p:custDataLst>
              <p:tags r:id="rId2"/>
            </p:custDataLst>
          </p:nvPr>
        </p:nvSpPr>
        <p:spPr bwMode="auto">
          <a:xfrm>
            <a:off x="6158296" y="6453336"/>
            <a:ext cx="3387069" cy="125241"/>
          </a:xfrm>
          <a:prstGeom prst="rect">
            <a:avLst/>
          </a:prstGeom>
          <a:noFill/>
          <a:ln w="9525">
            <a:noFill/>
            <a:miter lim="800000"/>
            <a:headEnd/>
            <a:tailEnd/>
          </a:ln>
        </p:spPr>
        <p:txBody>
          <a:bodyPr wrap="none" lIns="0" tIns="0" rIns="0" bIns="0" anchor="b"/>
          <a:lstStyle/>
          <a:p>
            <a:pPr algn="r" defTabSz="912705" eaLnBrk="0" fontAlgn="base" hangingPunct="0">
              <a:lnSpc>
                <a:spcPts val="1052"/>
              </a:lnSpc>
              <a:spcBef>
                <a:spcPct val="0"/>
              </a:spcBef>
              <a:spcAft>
                <a:spcPct val="0"/>
              </a:spcAft>
            </a:pPr>
            <a:r>
              <a:rPr lang="pt-BR" sz="900" b="0" i="0" baseline="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STRICTLY PRIVATE AND CONFIDENTIAL</a:t>
            </a:r>
            <a:endParaRPr lang="en-US" sz="1100" b="0" i="0" kern="1200" baseline="0" dirty="0">
              <a:solidFill>
                <a:schemeClr val="bg1"/>
              </a:solidFill>
              <a:latin typeface="Roboto Medium" panose="02000000000000000000" pitchFamily="2" charset="0"/>
              <a:ea typeface="Roboto Medium" panose="02000000000000000000" pitchFamily="2" charset="0"/>
              <a:cs typeface="Roboto Medium" panose="02000000000000000000" pitchFamily="2" charset="0"/>
            </a:endParaRPr>
          </a:p>
        </p:txBody>
      </p:sp>
      <p:sp>
        <p:nvSpPr>
          <p:cNvPr id="4" name="Text Placeholder 3">
            <a:extLst>
              <a:ext uri="{FF2B5EF4-FFF2-40B4-BE49-F238E27FC236}">
                <a16:creationId xmlns:a16="http://schemas.microsoft.com/office/drawing/2014/main" id="{560F6FC3-C463-0843-AE87-A28C42ACC74B}"/>
              </a:ext>
            </a:extLst>
          </p:cNvPr>
          <p:cNvSpPr>
            <a:spLocks noGrp="1"/>
          </p:cNvSpPr>
          <p:nvPr>
            <p:ph type="body" sz="quarter" idx="14" hasCustomPrompt="1"/>
          </p:nvPr>
        </p:nvSpPr>
        <p:spPr>
          <a:xfrm>
            <a:off x="2340000" y="5870575"/>
            <a:ext cx="7205639" cy="582761"/>
          </a:xfrm>
          <a:prstGeom prst="rect">
            <a:avLst/>
          </a:prstGeom>
        </p:spPr>
        <p:txBody>
          <a:bodyPr lIns="0" rIns="0"/>
          <a:lstStyle>
            <a:lvl1pPr algn="r">
              <a:defRPr sz="1200" b="1" i="0">
                <a:solidFill>
                  <a:schemeClr val="accent6">
                    <a:lumMod val="60000"/>
                    <a:lumOff val="40000"/>
                  </a:schemeClr>
                </a:solidFill>
                <a:latin typeface="Roboto" panose="02000000000000000000" pitchFamily="2" charset="0"/>
                <a:ea typeface="Roboto" panose="02000000000000000000" pitchFamily="2" charset="0"/>
                <a:cs typeface="Roboto" panose="02000000000000000000" pitchFamily="2" charset="0"/>
              </a:defRPr>
            </a:lvl1pPr>
            <a:lvl2pPr marL="0" indent="0">
              <a:buNone/>
              <a:defRPr/>
            </a:lvl2pPr>
          </a:lstStyle>
          <a:p>
            <a:pPr lvl="0"/>
            <a:r>
              <a:rPr lang="en-GB" dirty="0"/>
              <a:t>CLICK TO EDIT MASTER TEXT STYLES</a:t>
            </a:r>
          </a:p>
        </p:txBody>
      </p:sp>
      <p:pic>
        <p:nvPicPr>
          <p:cNvPr id="5" name="Picture 4" descr="A black background with white text&#10;&#10;Description automatically generated">
            <a:extLst>
              <a:ext uri="{FF2B5EF4-FFF2-40B4-BE49-F238E27FC236}">
                <a16:creationId xmlns:a16="http://schemas.microsoft.com/office/drawing/2014/main" id="{D3229239-CD0D-2DC5-67BD-9B545C33C442}"/>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14869" y="546458"/>
            <a:ext cx="1779596" cy="684000"/>
          </a:xfrm>
          <a:prstGeom prst="rect">
            <a:avLst/>
          </a:prstGeom>
        </p:spPr>
      </p:pic>
    </p:spTree>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67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x2 Block">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941B9F2-DAE4-58A0-DD9F-3084D2B824A7}"/>
              </a:ext>
            </a:extLst>
          </p:cNvPr>
          <p:cNvGraphicFramePr>
            <a:graphicFrameLocks noChangeAspect="1"/>
          </p:cNvGraphicFramePr>
          <p:nvPr userDrawn="1">
            <p:custDataLst>
              <p:tags r:id="rId1"/>
            </p:custDataLst>
            <p:extLst>
              <p:ext uri="{D42A27DB-BD31-4B8C-83A1-F6EECF244321}">
                <p14:modId xmlns:p14="http://schemas.microsoft.com/office/powerpoint/2010/main" val="3771370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2941B9F2-DAE4-58A0-DD9F-3084D2B824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ext Placeholder 28"/>
          <p:cNvSpPr>
            <a:spLocks noGrp="1"/>
          </p:cNvSpPr>
          <p:nvPr>
            <p:ph type="body" sz="quarter" idx="10" hasCustomPrompt="1"/>
          </p:nvPr>
        </p:nvSpPr>
        <p:spPr>
          <a:xfrm>
            <a:off x="393245" y="881289"/>
            <a:ext cx="9126526" cy="396382"/>
          </a:xfrm>
          <a:prstGeom prst="rect">
            <a:avLst/>
          </a:prstGeom>
          <a:ln w="3175">
            <a:noFill/>
          </a:ln>
        </p:spPr>
        <p:txBody>
          <a:bodyPr vert="horz" lIns="0" tIns="36000" rIns="36000" bIns="36000" rtlCol="0">
            <a:noAutofit/>
          </a:bodyPr>
          <a:lstStyle>
            <a:lvl1pPr>
              <a:buClrTx/>
              <a:defRPr lang="en-AU" sz="1200" noProof="0" dirty="0">
                <a:cs typeface="Roboto Light" panose="02000000000000000000" pitchFamily="2" charset="0"/>
              </a:defRPr>
            </a:lvl1pPr>
          </a:lstStyle>
          <a:p>
            <a:pPr lvl="0">
              <a:lnSpc>
                <a:spcPct val="100000"/>
              </a:lnSpc>
            </a:pPr>
            <a:r>
              <a:rPr lang="en-AU" noProof="0" dirty="0"/>
              <a:t>Click to insert key message</a:t>
            </a:r>
          </a:p>
        </p:txBody>
      </p:sp>
      <p:sp>
        <p:nvSpPr>
          <p:cNvPr id="18" name="Text Placeholder 17"/>
          <p:cNvSpPr>
            <a:spLocks noGrp="1"/>
          </p:cNvSpPr>
          <p:nvPr>
            <p:ph type="body" sz="quarter" idx="24" hasCustomPrompt="1"/>
          </p:nvPr>
        </p:nvSpPr>
        <p:spPr>
          <a:xfrm>
            <a:off x="393246" y="3241160"/>
            <a:ext cx="4380368" cy="259199"/>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0" name="Title 19"/>
          <p:cNvSpPr>
            <a:spLocks noGrp="1"/>
          </p:cNvSpPr>
          <p:nvPr>
            <p:ph type="title" hasCustomPrompt="1"/>
          </p:nvPr>
        </p:nvSpPr>
        <p:spPr>
          <a:xfrm>
            <a:off x="392399" y="108000"/>
            <a:ext cx="7560000" cy="576000"/>
          </a:xfrm>
          <a:prstGeom prst="rect">
            <a:avLst/>
          </a:prstGeom>
        </p:spPr>
        <p:txBody>
          <a:bodyPr vert="horz"/>
          <a:lstStyle>
            <a:lvl1pPr>
              <a:buClrTx/>
              <a:defRPr b="0" i="0">
                <a:latin typeface="Roboto Light" panose="02000000000000000000" pitchFamily="2" charset="0"/>
                <a:ea typeface="Roboto Light" panose="02000000000000000000" pitchFamily="2" charset="0"/>
                <a:cs typeface="Roboto Light" panose="02000000000000000000" pitchFamily="2" charset="0"/>
              </a:defRPr>
            </a:lvl1pPr>
          </a:lstStyle>
          <a:p>
            <a:r>
              <a:rPr lang="en-AU" noProof="0" dirty="0"/>
              <a:t>Click to insert page title</a:t>
            </a:r>
          </a:p>
        </p:txBody>
      </p:sp>
      <p:sp>
        <p:nvSpPr>
          <p:cNvPr id="13" name="Text Placeholder 17"/>
          <p:cNvSpPr>
            <a:spLocks noGrp="1"/>
          </p:cNvSpPr>
          <p:nvPr>
            <p:ph type="body" sz="quarter" idx="29" hasCustomPrompt="1"/>
          </p:nvPr>
        </p:nvSpPr>
        <p:spPr>
          <a:xfrm>
            <a:off x="5140552" y="3241160"/>
            <a:ext cx="4380368" cy="259199"/>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14" name="Espace réservé du texte 4">
            <a:extLst>
              <a:ext uri="{FF2B5EF4-FFF2-40B4-BE49-F238E27FC236}">
                <a16:creationId xmlns:a16="http://schemas.microsoft.com/office/drawing/2014/main" id="{A2E814B3-9FB8-4C48-BED5-63F3F76DB1ED}"/>
              </a:ext>
            </a:extLst>
          </p:cNvPr>
          <p:cNvSpPr>
            <a:spLocks noGrp="1"/>
          </p:cNvSpPr>
          <p:nvPr>
            <p:ph type="body" sz="quarter" idx="27" hasCustomPrompt="1"/>
          </p:nvPr>
        </p:nvSpPr>
        <p:spPr>
          <a:xfrm>
            <a:off x="393245" y="6233719"/>
            <a:ext cx="4380368" cy="276340"/>
          </a:xfrm>
          <a:prstGeom prst="rect">
            <a:avLst/>
          </a:prstGeom>
        </p:spPr>
        <p:txBody>
          <a:bodyPr lIns="0" tIns="0" rIns="0" bIns="0" anchor="b" anchorCtr="0"/>
          <a:lstStyle>
            <a:lvl1pPr>
              <a:spcAft>
                <a:spcPts val="0"/>
              </a:spcAft>
              <a:buClrTx/>
              <a:defRPr sz="6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fr-FR" dirty="0"/>
              <a:t>Source:</a:t>
            </a:r>
            <a:endParaRPr lang="en-GB" dirty="0"/>
          </a:p>
        </p:txBody>
      </p:sp>
      <p:sp>
        <p:nvSpPr>
          <p:cNvPr id="19" name="Content Placeholder 6">
            <a:extLst>
              <a:ext uri="{FF2B5EF4-FFF2-40B4-BE49-F238E27FC236}">
                <a16:creationId xmlns:a16="http://schemas.microsoft.com/office/drawing/2014/main" id="{B360C1D2-F5AE-44CC-929E-37B535C60708}"/>
              </a:ext>
            </a:extLst>
          </p:cNvPr>
          <p:cNvSpPr>
            <a:spLocks noGrp="1"/>
          </p:cNvSpPr>
          <p:nvPr>
            <p:ph sz="quarter" idx="31"/>
          </p:nvPr>
        </p:nvSpPr>
        <p:spPr>
          <a:xfrm>
            <a:off x="392400" y="3585600"/>
            <a:ext cx="4381200" cy="2639952"/>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1" name="Content Placeholder 6">
            <a:extLst>
              <a:ext uri="{FF2B5EF4-FFF2-40B4-BE49-F238E27FC236}">
                <a16:creationId xmlns:a16="http://schemas.microsoft.com/office/drawing/2014/main" id="{9F561B40-C730-495F-A8EF-2D89A0049193}"/>
              </a:ext>
            </a:extLst>
          </p:cNvPr>
          <p:cNvSpPr>
            <a:spLocks noGrp="1"/>
          </p:cNvSpPr>
          <p:nvPr>
            <p:ph sz="quarter" idx="32"/>
          </p:nvPr>
        </p:nvSpPr>
        <p:spPr>
          <a:xfrm>
            <a:off x="5138571" y="3585600"/>
            <a:ext cx="4381200" cy="2639952"/>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 name="Picture Placeholder 2">
            <a:extLst>
              <a:ext uri="{FF2B5EF4-FFF2-40B4-BE49-F238E27FC236}">
                <a16:creationId xmlns:a16="http://schemas.microsoft.com/office/drawing/2014/main" id="{FD8BA375-D772-E145-B997-1A560BA693FA}"/>
              </a:ext>
            </a:extLst>
          </p:cNvPr>
          <p:cNvSpPr>
            <a:spLocks noGrp="1"/>
          </p:cNvSpPr>
          <p:nvPr>
            <p:ph type="pic" sz="quarter" idx="33"/>
          </p:nvPr>
        </p:nvSpPr>
        <p:spPr>
          <a:xfrm>
            <a:off x="392400" y="1620838"/>
            <a:ext cx="3660775" cy="1568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lvl1pPr>
              <a:buClrTx/>
              <a:defRPr lang="en-US">
                <a:solidFill>
                  <a:schemeClr val="bg1"/>
                </a:solidFill>
              </a:defRPr>
            </a:lvl1pPr>
          </a:lstStyle>
          <a:p>
            <a:pPr lvl="0" algn="ctr"/>
            <a:endParaRPr lang="en-US"/>
          </a:p>
        </p:txBody>
      </p:sp>
      <p:sp>
        <p:nvSpPr>
          <p:cNvPr id="34" name="Picture Placeholder 2">
            <a:extLst>
              <a:ext uri="{FF2B5EF4-FFF2-40B4-BE49-F238E27FC236}">
                <a16:creationId xmlns:a16="http://schemas.microsoft.com/office/drawing/2014/main" id="{BE01B07A-FD42-3248-94D1-51B05489F46F}"/>
              </a:ext>
            </a:extLst>
          </p:cNvPr>
          <p:cNvSpPr>
            <a:spLocks noGrp="1"/>
          </p:cNvSpPr>
          <p:nvPr>
            <p:ph type="pic" sz="quarter" idx="34"/>
          </p:nvPr>
        </p:nvSpPr>
        <p:spPr>
          <a:xfrm>
            <a:off x="5138571" y="1620838"/>
            <a:ext cx="3660775" cy="15684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lvl1pPr>
              <a:buClrTx/>
              <a:defRPr lang="en-US">
                <a:solidFill>
                  <a:schemeClr val="bg1"/>
                </a:solidFill>
              </a:defRPr>
            </a:lvl1pPr>
          </a:lstStyle>
          <a:p>
            <a:pPr lvl="0" algn="ctr"/>
            <a:endParaRPr lang="en-US"/>
          </a:p>
        </p:txBody>
      </p:sp>
      <p:sp>
        <p:nvSpPr>
          <p:cNvPr id="5" name="Espace réservé du numéro de diapositive 3">
            <a:extLst>
              <a:ext uri="{FF2B5EF4-FFF2-40B4-BE49-F238E27FC236}">
                <a16:creationId xmlns:a16="http://schemas.microsoft.com/office/drawing/2014/main" id="{2BEC0AEB-6B23-621A-F517-F58DBED30891}"/>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Tx/>
            </a:pPr>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buClrTx/>
              </a:pPr>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375970869"/>
      </p:ext>
    </p:extLst>
  </p:cSld>
  <p:clrMapOvr>
    <a:masterClrMapping/>
  </p:clrMapOvr>
  <p:extLst>
    <p:ext uri="{DCECCB84-F9BA-43D5-87BE-67443E8EF086}">
      <p15:sldGuideLst xmlns:p15="http://schemas.microsoft.com/office/powerpoint/2012/main">
        <p15:guide id="0" pos="3007" userDrawn="1">
          <p15:clr>
            <a:srgbClr val="FBAE40"/>
          </p15:clr>
        </p15:guide>
        <p15:guide id="1" orient="horz" pos="867">
          <p15:clr>
            <a:srgbClr val="FBAE40"/>
          </p15:clr>
        </p15:guide>
        <p15:guide id="2" pos="240">
          <p15:clr>
            <a:srgbClr val="FBAE40"/>
          </p15:clr>
        </p15:guide>
        <p15:guide id="3" pos="6000">
          <p15:clr>
            <a:srgbClr val="FBAE40"/>
          </p15:clr>
        </p15:guide>
        <p15:guide id="4" pos="3233" userDrawn="1">
          <p15:clr>
            <a:srgbClr val="FBAE40"/>
          </p15:clr>
        </p15:guide>
        <p15:guide id="5" orient="horz" pos="1026"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x2 Center">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5927D97-BF6D-60F5-BC26-653BCE0014BC}"/>
              </a:ext>
            </a:extLst>
          </p:cNvPr>
          <p:cNvGraphicFramePr>
            <a:graphicFrameLocks noChangeAspect="1"/>
          </p:cNvGraphicFramePr>
          <p:nvPr userDrawn="1">
            <p:custDataLst>
              <p:tags r:id="rId1"/>
            </p:custDataLst>
            <p:extLst>
              <p:ext uri="{D42A27DB-BD31-4B8C-83A1-F6EECF244321}">
                <p14:modId xmlns:p14="http://schemas.microsoft.com/office/powerpoint/2010/main" val="933926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75927D97-BF6D-60F5-BC26-653BCE0014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ext Placeholder 28"/>
          <p:cNvSpPr>
            <a:spLocks noGrp="1"/>
          </p:cNvSpPr>
          <p:nvPr>
            <p:ph type="body" sz="quarter" idx="10" hasCustomPrompt="1"/>
          </p:nvPr>
        </p:nvSpPr>
        <p:spPr>
          <a:xfrm>
            <a:off x="393245" y="881289"/>
            <a:ext cx="9125694" cy="396382"/>
          </a:xfrm>
          <a:prstGeom prst="rect">
            <a:avLst/>
          </a:prstGeom>
          <a:ln w="3175">
            <a:noFill/>
          </a:ln>
        </p:spPr>
        <p:txBody>
          <a:bodyPr vert="horz" lIns="0" tIns="36000" rIns="36000" bIns="36000" rtlCol="0">
            <a:noAutofit/>
          </a:bodyPr>
          <a:lstStyle>
            <a:lvl1pPr>
              <a:buClrTx/>
              <a:defRPr lang="en-AU" sz="1200" noProof="0" dirty="0">
                <a:cs typeface="Roboto Light" panose="02000000000000000000" pitchFamily="2" charset="0"/>
              </a:defRPr>
            </a:lvl1pPr>
          </a:lstStyle>
          <a:p>
            <a:pPr lvl="0">
              <a:lnSpc>
                <a:spcPct val="100000"/>
              </a:lnSpc>
            </a:pPr>
            <a:r>
              <a:rPr lang="en-AU" noProof="0" dirty="0"/>
              <a:t>Click to insert key message</a:t>
            </a:r>
          </a:p>
        </p:txBody>
      </p:sp>
      <p:sp>
        <p:nvSpPr>
          <p:cNvPr id="18" name="Text Placeholder 17"/>
          <p:cNvSpPr>
            <a:spLocks noGrp="1"/>
          </p:cNvSpPr>
          <p:nvPr>
            <p:ph type="body" sz="quarter" idx="24" hasCustomPrompt="1"/>
          </p:nvPr>
        </p:nvSpPr>
        <p:spPr>
          <a:xfrm>
            <a:off x="393246" y="1383643"/>
            <a:ext cx="4380368"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0" name="Title 19"/>
          <p:cNvSpPr>
            <a:spLocks noGrp="1"/>
          </p:cNvSpPr>
          <p:nvPr>
            <p:ph type="title" hasCustomPrompt="1"/>
          </p:nvPr>
        </p:nvSpPr>
        <p:spPr>
          <a:xfrm>
            <a:off x="392399" y="108000"/>
            <a:ext cx="7560000" cy="576000"/>
          </a:xfrm>
          <a:prstGeom prst="rect">
            <a:avLst/>
          </a:prstGeom>
        </p:spPr>
        <p:txBody>
          <a:bodyPr vert="horz"/>
          <a:lstStyle>
            <a:lvl1pPr>
              <a:buClrTx/>
              <a:defRPr b="0" i="0">
                <a:latin typeface="Roboto Light" panose="02000000000000000000" pitchFamily="2" charset="0"/>
                <a:ea typeface="Roboto Light" panose="02000000000000000000" pitchFamily="2" charset="0"/>
                <a:cs typeface="Roboto Light" panose="02000000000000000000" pitchFamily="2" charset="0"/>
              </a:defRPr>
            </a:lvl1pPr>
          </a:lstStyle>
          <a:p>
            <a:r>
              <a:rPr lang="en-AU" noProof="0" dirty="0"/>
              <a:t>Click to insert page title</a:t>
            </a:r>
          </a:p>
        </p:txBody>
      </p:sp>
      <p:sp>
        <p:nvSpPr>
          <p:cNvPr id="13" name="Text Placeholder 17"/>
          <p:cNvSpPr>
            <a:spLocks noGrp="1"/>
          </p:cNvSpPr>
          <p:nvPr>
            <p:ph type="body" sz="quarter" idx="29" hasCustomPrompt="1"/>
          </p:nvPr>
        </p:nvSpPr>
        <p:spPr>
          <a:xfrm>
            <a:off x="5140552" y="1383643"/>
            <a:ext cx="4380368"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15" name="Text Placeholder 17"/>
          <p:cNvSpPr>
            <a:spLocks noGrp="1"/>
          </p:cNvSpPr>
          <p:nvPr>
            <p:ph type="body" sz="quarter" idx="31" hasCustomPrompt="1"/>
          </p:nvPr>
        </p:nvSpPr>
        <p:spPr>
          <a:xfrm>
            <a:off x="393246" y="3817891"/>
            <a:ext cx="4380368"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1" name="Text Placeholder 17"/>
          <p:cNvSpPr>
            <a:spLocks noGrp="1"/>
          </p:cNvSpPr>
          <p:nvPr>
            <p:ph type="body" sz="quarter" idx="33" hasCustomPrompt="1"/>
          </p:nvPr>
        </p:nvSpPr>
        <p:spPr>
          <a:xfrm>
            <a:off x="5140552" y="3817891"/>
            <a:ext cx="4380368"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2" name="Espace réservé du texte 4">
            <a:extLst>
              <a:ext uri="{FF2B5EF4-FFF2-40B4-BE49-F238E27FC236}">
                <a16:creationId xmlns:a16="http://schemas.microsoft.com/office/drawing/2014/main" id="{72CE1EDB-73FB-4BF5-91FC-600381DEE25D}"/>
              </a:ext>
            </a:extLst>
          </p:cNvPr>
          <p:cNvSpPr>
            <a:spLocks noGrp="1"/>
          </p:cNvSpPr>
          <p:nvPr>
            <p:ph type="body" sz="quarter" idx="27" hasCustomPrompt="1"/>
          </p:nvPr>
        </p:nvSpPr>
        <p:spPr>
          <a:xfrm>
            <a:off x="393245" y="6233719"/>
            <a:ext cx="4380368" cy="276340"/>
          </a:xfrm>
          <a:prstGeom prst="rect">
            <a:avLst/>
          </a:prstGeom>
        </p:spPr>
        <p:txBody>
          <a:bodyPr lIns="0" tIns="0" rIns="0" bIns="0" anchor="b" anchorCtr="0"/>
          <a:lstStyle>
            <a:lvl1pPr>
              <a:spcAft>
                <a:spcPts val="0"/>
              </a:spcAft>
              <a:buClrTx/>
              <a:defRPr sz="6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fr-FR" dirty="0"/>
              <a:t>Source:</a:t>
            </a:r>
            <a:endParaRPr lang="en-GB" dirty="0"/>
          </a:p>
        </p:txBody>
      </p:sp>
      <p:sp>
        <p:nvSpPr>
          <p:cNvPr id="30" name="Content Placeholder 6">
            <a:extLst>
              <a:ext uri="{FF2B5EF4-FFF2-40B4-BE49-F238E27FC236}">
                <a16:creationId xmlns:a16="http://schemas.microsoft.com/office/drawing/2014/main" id="{1DB07414-1023-478A-B2EF-679F3B5B3498}"/>
              </a:ext>
            </a:extLst>
          </p:cNvPr>
          <p:cNvSpPr>
            <a:spLocks noGrp="1"/>
          </p:cNvSpPr>
          <p:nvPr>
            <p:ph sz="quarter" idx="35"/>
          </p:nvPr>
        </p:nvSpPr>
        <p:spPr>
          <a:xfrm>
            <a:off x="5138571" y="1633397"/>
            <a:ext cx="4380368" cy="2158449"/>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1" name="Content Placeholder 6">
            <a:extLst>
              <a:ext uri="{FF2B5EF4-FFF2-40B4-BE49-F238E27FC236}">
                <a16:creationId xmlns:a16="http://schemas.microsoft.com/office/drawing/2014/main" id="{276AE61B-9899-46DA-A7C5-506674DF0E1E}"/>
              </a:ext>
            </a:extLst>
          </p:cNvPr>
          <p:cNvSpPr>
            <a:spLocks noGrp="1"/>
          </p:cNvSpPr>
          <p:nvPr>
            <p:ph sz="quarter" idx="36"/>
          </p:nvPr>
        </p:nvSpPr>
        <p:spPr>
          <a:xfrm>
            <a:off x="392400" y="4071797"/>
            <a:ext cx="4380368" cy="2158449"/>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2" name="Content Placeholder 6">
            <a:extLst>
              <a:ext uri="{FF2B5EF4-FFF2-40B4-BE49-F238E27FC236}">
                <a16:creationId xmlns:a16="http://schemas.microsoft.com/office/drawing/2014/main" id="{2CBDC230-5755-4209-BFB7-18905EA6C0AB}"/>
              </a:ext>
            </a:extLst>
          </p:cNvPr>
          <p:cNvSpPr>
            <a:spLocks noGrp="1"/>
          </p:cNvSpPr>
          <p:nvPr>
            <p:ph sz="quarter" idx="37"/>
          </p:nvPr>
        </p:nvSpPr>
        <p:spPr>
          <a:xfrm>
            <a:off x="5138571" y="4071797"/>
            <a:ext cx="4380368" cy="2158449"/>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6" name="Content Placeholder 6">
            <a:extLst>
              <a:ext uri="{FF2B5EF4-FFF2-40B4-BE49-F238E27FC236}">
                <a16:creationId xmlns:a16="http://schemas.microsoft.com/office/drawing/2014/main" id="{DA80797C-559D-E347-9A6B-35E59FE6920F}"/>
              </a:ext>
            </a:extLst>
          </p:cNvPr>
          <p:cNvSpPr>
            <a:spLocks noGrp="1"/>
          </p:cNvSpPr>
          <p:nvPr>
            <p:ph sz="quarter" idx="38"/>
          </p:nvPr>
        </p:nvSpPr>
        <p:spPr>
          <a:xfrm>
            <a:off x="392399" y="1633397"/>
            <a:ext cx="4380368" cy="2158449"/>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Espace réservé du numéro de diapositive 3">
            <a:extLst>
              <a:ext uri="{FF2B5EF4-FFF2-40B4-BE49-F238E27FC236}">
                <a16:creationId xmlns:a16="http://schemas.microsoft.com/office/drawing/2014/main" id="{8903FC2A-F63F-1790-B2A5-5D34F57765F2}"/>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Tx/>
            </a:pPr>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buClrTx/>
              </a:pPr>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3192167377"/>
      </p:ext>
    </p:extLst>
  </p:cSld>
  <p:clrMapOvr>
    <a:masterClrMapping/>
  </p:clrMapOvr>
  <p:extLst>
    <p:ext uri="{DCECCB84-F9BA-43D5-87BE-67443E8EF086}">
      <p15:sldGuideLst xmlns:p15="http://schemas.microsoft.com/office/powerpoint/2012/main">
        <p15:guide id="0" orient="horz" pos="2568" userDrawn="1">
          <p15:clr>
            <a:srgbClr val="FBAE40"/>
          </p15:clr>
        </p15:guide>
        <p15:guide id="1" orient="horz" pos="867">
          <p15:clr>
            <a:srgbClr val="FBAE40"/>
          </p15:clr>
        </p15:guide>
        <p15:guide id="2" pos="240">
          <p15:clr>
            <a:srgbClr val="FBAE40"/>
          </p15:clr>
        </p15:guide>
        <p15:guide id="3" pos="6000">
          <p15:clr>
            <a:srgbClr val="FBAE40"/>
          </p15:clr>
        </p15:guide>
        <p15:guide id="4" pos="3007">
          <p15:clr>
            <a:srgbClr val="FBAE40"/>
          </p15:clr>
        </p15:guide>
        <p15:guide id="5" pos="3233">
          <p15:clr>
            <a:srgbClr val="FBAE40"/>
          </p15:clr>
        </p15:guide>
        <p15:guide id="6" orient="horz" pos="102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x3 Even spli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CDD9390-8B62-7EAB-9B87-433A697D8151}"/>
              </a:ext>
            </a:extLst>
          </p:cNvPr>
          <p:cNvGraphicFramePr>
            <a:graphicFrameLocks noChangeAspect="1"/>
          </p:cNvGraphicFramePr>
          <p:nvPr userDrawn="1">
            <p:custDataLst>
              <p:tags r:id="rId1"/>
            </p:custDataLst>
            <p:extLst>
              <p:ext uri="{D42A27DB-BD31-4B8C-83A1-F6EECF244321}">
                <p14:modId xmlns:p14="http://schemas.microsoft.com/office/powerpoint/2010/main" val="1162979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ACDD9390-8B62-7EAB-9B87-433A697D81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ext Placeholder 28"/>
          <p:cNvSpPr>
            <a:spLocks noGrp="1"/>
          </p:cNvSpPr>
          <p:nvPr>
            <p:ph type="body" sz="quarter" idx="10" hasCustomPrompt="1"/>
          </p:nvPr>
        </p:nvSpPr>
        <p:spPr>
          <a:xfrm>
            <a:off x="393244" y="881289"/>
            <a:ext cx="9131907" cy="396382"/>
          </a:xfrm>
          <a:prstGeom prst="rect">
            <a:avLst/>
          </a:prstGeom>
          <a:ln w="3175">
            <a:noFill/>
          </a:ln>
        </p:spPr>
        <p:txBody>
          <a:bodyPr vert="horz" lIns="0" tIns="36000" rIns="36000" bIns="36000" rtlCol="0">
            <a:noAutofit/>
          </a:bodyPr>
          <a:lstStyle>
            <a:lvl1pPr>
              <a:buClrTx/>
              <a:defRPr lang="en-AU" sz="1200" noProof="0" dirty="0">
                <a:cs typeface="Roboto Light" panose="02000000000000000000" pitchFamily="2" charset="0"/>
              </a:defRPr>
            </a:lvl1pPr>
          </a:lstStyle>
          <a:p>
            <a:pPr lvl="0">
              <a:lnSpc>
                <a:spcPct val="100000"/>
              </a:lnSpc>
            </a:pPr>
            <a:r>
              <a:rPr lang="en-AU" noProof="0" dirty="0"/>
              <a:t>Click to insert key message</a:t>
            </a:r>
          </a:p>
        </p:txBody>
      </p:sp>
      <p:sp>
        <p:nvSpPr>
          <p:cNvPr id="18" name="Text Placeholder 17"/>
          <p:cNvSpPr>
            <a:spLocks noGrp="1"/>
          </p:cNvSpPr>
          <p:nvPr>
            <p:ph type="body" sz="quarter" idx="24" hasCustomPrompt="1"/>
          </p:nvPr>
        </p:nvSpPr>
        <p:spPr>
          <a:xfrm>
            <a:off x="393245" y="1383643"/>
            <a:ext cx="2880000"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0" name="Title 19"/>
          <p:cNvSpPr>
            <a:spLocks noGrp="1"/>
          </p:cNvSpPr>
          <p:nvPr>
            <p:ph type="title" hasCustomPrompt="1"/>
          </p:nvPr>
        </p:nvSpPr>
        <p:spPr>
          <a:xfrm>
            <a:off x="392400" y="108000"/>
            <a:ext cx="7560000" cy="576000"/>
          </a:xfrm>
          <a:prstGeom prst="rect">
            <a:avLst/>
          </a:prstGeom>
        </p:spPr>
        <p:txBody>
          <a:bodyPr vert="horz"/>
          <a:lstStyle>
            <a:lvl1pPr>
              <a:buClrTx/>
              <a:defRPr b="0" i="0">
                <a:latin typeface="Roboto Light" panose="02000000000000000000" pitchFamily="2" charset="0"/>
                <a:ea typeface="Roboto Light" panose="02000000000000000000" pitchFamily="2" charset="0"/>
                <a:cs typeface="Roboto Light" panose="02000000000000000000" pitchFamily="2" charset="0"/>
              </a:defRPr>
            </a:lvl1pPr>
          </a:lstStyle>
          <a:p>
            <a:r>
              <a:rPr lang="en-AU" noProof="0" dirty="0"/>
              <a:t>Click to insert page title</a:t>
            </a:r>
          </a:p>
        </p:txBody>
      </p:sp>
      <p:sp>
        <p:nvSpPr>
          <p:cNvPr id="11" name="Text Placeholder 17"/>
          <p:cNvSpPr>
            <a:spLocks noGrp="1"/>
          </p:cNvSpPr>
          <p:nvPr>
            <p:ph type="body" sz="quarter" idx="29" hasCustomPrompt="1"/>
          </p:nvPr>
        </p:nvSpPr>
        <p:spPr>
          <a:xfrm>
            <a:off x="6645389" y="1383643"/>
            <a:ext cx="2880000"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14" name="Text Placeholder 17"/>
          <p:cNvSpPr>
            <a:spLocks noGrp="1"/>
          </p:cNvSpPr>
          <p:nvPr>
            <p:ph type="body" sz="quarter" idx="31" hasCustomPrompt="1"/>
          </p:nvPr>
        </p:nvSpPr>
        <p:spPr>
          <a:xfrm>
            <a:off x="3519317" y="1383643"/>
            <a:ext cx="2880000"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16" name="Espace réservé du texte 4">
            <a:extLst>
              <a:ext uri="{FF2B5EF4-FFF2-40B4-BE49-F238E27FC236}">
                <a16:creationId xmlns:a16="http://schemas.microsoft.com/office/drawing/2014/main" id="{AEB08E1D-6E42-422B-B75D-88F191569A84}"/>
              </a:ext>
            </a:extLst>
          </p:cNvPr>
          <p:cNvSpPr>
            <a:spLocks noGrp="1"/>
          </p:cNvSpPr>
          <p:nvPr>
            <p:ph type="body" sz="quarter" idx="27" hasCustomPrompt="1"/>
          </p:nvPr>
        </p:nvSpPr>
        <p:spPr>
          <a:xfrm>
            <a:off x="393245" y="6233719"/>
            <a:ext cx="4380368" cy="276340"/>
          </a:xfrm>
          <a:prstGeom prst="rect">
            <a:avLst/>
          </a:prstGeom>
        </p:spPr>
        <p:txBody>
          <a:bodyPr lIns="0" tIns="0" rIns="0" bIns="0" anchor="b" anchorCtr="0"/>
          <a:lstStyle>
            <a:lvl1pPr>
              <a:spcAft>
                <a:spcPts val="0"/>
              </a:spcAft>
              <a:buClrTx/>
              <a:defRPr sz="6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fr-FR" dirty="0"/>
              <a:t>Source:</a:t>
            </a:r>
            <a:endParaRPr lang="en-GB" dirty="0"/>
          </a:p>
        </p:txBody>
      </p:sp>
      <p:sp>
        <p:nvSpPr>
          <p:cNvPr id="23" name="Content Placeholder 6">
            <a:extLst>
              <a:ext uri="{FF2B5EF4-FFF2-40B4-BE49-F238E27FC236}">
                <a16:creationId xmlns:a16="http://schemas.microsoft.com/office/drawing/2014/main" id="{F90A3B40-6AA5-4C7C-8856-67FE74B67681}"/>
              </a:ext>
            </a:extLst>
          </p:cNvPr>
          <p:cNvSpPr>
            <a:spLocks noGrp="1"/>
          </p:cNvSpPr>
          <p:nvPr>
            <p:ph sz="quarter" idx="34"/>
          </p:nvPr>
        </p:nvSpPr>
        <p:spPr>
          <a:xfrm>
            <a:off x="392399" y="1633397"/>
            <a:ext cx="2879999" cy="4592151"/>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4" name="Content Placeholder 6">
            <a:extLst>
              <a:ext uri="{FF2B5EF4-FFF2-40B4-BE49-F238E27FC236}">
                <a16:creationId xmlns:a16="http://schemas.microsoft.com/office/drawing/2014/main" id="{3C6F70AA-E67C-471F-9E3B-78226FEBE7DE}"/>
              </a:ext>
            </a:extLst>
          </p:cNvPr>
          <p:cNvSpPr>
            <a:spLocks noGrp="1"/>
          </p:cNvSpPr>
          <p:nvPr>
            <p:ph sz="quarter" idx="35" hasCustomPrompt="1"/>
          </p:nvPr>
        </p:nvSpPr>
        <p:spPr>
          <a:xfrm>
            <a:off x="3518776" y="1633397"/>
            <a:ext cx="2879999" cy="4592151"/>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6" name="Content Placeholder 6">
            <a:extLst>
              <a:ext uri="{FF2B5EF4-FFF2-40B4-BE49-F238E27FC236}">
                <a16:creationId xmlns:a16="http://schemas.microsoft.com/office/drawing/2014/main" id="{653EBA6C-19B8-4E5D-8F58-997FBFD67ABD}"/>
              </a:ext>
            </a:extLst>
          </p:cNvPr>
          <p:cNvSpPr>
            <a:spLocks noGrp="1"/>
          </p:cNvSpPr>
          <p:nvPr>
            <p:ph sz="quarter" idx="36"/>
          </p:nvPr>
        </p:nvSpPr>
        <p:spPr>
          <a:xfrm>
            <a:off x="6645153" y="1633397"/>
            <a:ext cx="2879999" cy="4592151"/>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Espace réservé du numéro de diapositive 3">
            <a:extLst>
              <a:ext uri="{FF2B5EF4-FFF2-40B4-BE49-F238E27FC236}">
                <a16:creationId xmlns:a16="http://schemas.microsoft.com/office/drawing/2014/main" id="{B7AD4770-AA92-825E-761D-BA0FA3ED48E7}"/>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Tx/>
            </a:pPr>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buClrTx/>
              </a:pPr>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968388804"/>
      </p:ext>
    </p:extLst>
  </p:cSld>
  <p:clrMapOvr>
    <a:masterClrMapping/>
  </p:clrMapOvr>
  <p:extLst>
    <p:ext uri="{DCECCB84-F9BA-43D5-87BE-67443E8EF086}">
      <p15:sldGuideLst xmlns:p15="http://schemas.microsoft.com/office/powerpoint/2012/main">
        <p15:guide id="0" orient="horz" pos="1026" userDrawn="1">
          <p15:clr>
            <a:srgbClr val="FBAE40"/>
          </p15:clr>
        </p15:guide>
        <p15:guide id="1" orient="horz" pos="867">
          <p15:clr>
            <a:srgbClr val="FBAE40"/>
          </p15:clr>
        </p15:guide>
        <p15:guide id="2" pos="240">
          <p15:clr>
            <a:srgbClr val="FBAE40"/>
          </p15:clr>
        </p15:guide>
        <p15:guide id="3" pos="6000">
          <p15:clr>
            <a:srgbClr val="FBAE40"/>
          </p15:clr>
        </p15:guide>
        <p15:guide id="4" orient="horz" pos="256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x3 Even spli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65BF33A-1657-0A9E-8B76-9B2A9C5ED214}"/>
              </a:ext>
            </a:extLst>
          </p:cNvPr>
          <p:cNvGraphicFramePr>
            <a:graphicFrameLocks noChangeAspect="1"/>
          </p:cNvGraphicFramePr>
          <p:nvPr userDrawn="1">
            <p:custDataLst>
              <p:tags r:id="rId1"/>
            </p:custDataLst>
            <p:extLst>
              <p:ext uri="{D42A27DB-BD31-4B8C-83A1-F6EECF244321}">
                <p14:modId xmlns:p14="http://schemas.microsoft.com/office/powerpoint/2010/main" val="3752757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965BF33A-1657-0A9E-8B76-9B2A9C5ED2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ext Placeholder 28"/>
          <p:cNvSpPr>
            <a:spLocks noGrp="1"/>
          </p:cNvSpPr>
          <p:nvPr>
            <p:ph type="body" sz="quarter" idx="10" hasCustomPrompt="1"/>
          </p:nvPr>
        </p:nvSpPr>
        <p:spPr>
          <a:xfrm>
            <a:off x="393244" y="881289"/>
            <a:ext cx="9131909" cy="396382"/>
          </a:xfrm>
          <a:prstGeom prst="rect">
            <a:avLst/>
          </a:prstGeom>
          <a:ln w="3175">
            <a:noFill/>
          </a:ln>
        </p:spPr>
        <p:txBody>
          <a:bodyPr vert="horz" lIns="0" tIns="36000" rIns="36000" bIns="36000" rtlCol="0">
            <a:noAutofit/>
          </a:bodyPr>
          <a:lstStyle>
            <a:lvl1pPr>
              <a:buClrTx/>
              <a:defRPr lang="en-AU" sz="1200" noProof="0" dirty="0">
                <a:cs typeface="Roboto Light" panose="02000000000000000000" pitchFamily="2" charset="0"/>
              </a:defRPr>
            </a:lvl1pPr>
          </a:lstStyle>
          <a:p>
            <a:pPr lvl="0">
              <a:lnSpc>
                <a:spcPct val="100000"/>
              </a:lnSpc>
            </a:pPr>
            <a:r>
              <a:rPr lang="en-AU" noProof="0" dirty="0"/>
              <a:t>Click to insert key message</a:t>
            </a:r>
          </a:p>
        </p:txBody>
      </p:sp>
      <p:sp>
        <p:nvSpPr>
          <p:cNvPr id="18" name="Text Placeholder 17"/>
          <p:cNvSpPr>
            <a:spLocks noGrp="1"/>
          </p:cNvSpPr>
          <p:nvPr>
            <p:ph type="body" sz="quarter" idx="24" hasCustomPrompt="1"/>
          </p:nvPr>
        </p:nvSpPr>
        <p:spPr>
          <a:xfrm>
            <a:off x="393245" y="1383643"/>
            <a:ext cx="2880000"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0" name="Title 19"/>
          <p:cNvSpPr>
            <a:spLocks noGrp="1"/>
          </p:cNvSpPr>
          <p:nvPr>
            <p:ph type="title" hasCustomPrompt="1"/>
          </p:nvPr>
        </p:nvSpPr>
        <p:spPr>
          <a:xfrm>
            <a:off x="392399" y="108000"/>
            <a:ext cx="7560000" cy="576000"/>
          </a:xfrm>
          <a:prstGeom prst="rect">
            <a:avLst/>
          </a:prstGeom>
        </p:spPr>
        <p:txBody>
          <a:bodyPr vert="horz"/>
          <a:lstStyle>
            <a:lvl1pPr>
              <a:buClrTx/>
              <a:defRPr b="0" i="0">
                <a:latin typeface="Roboto Light" panose="02000000000000000000" pitchFamily="2" charset="0"/>
                <a:ea typeface="Roboto Light" panose="02000000000000000000" pitchFamily="2" charset="0"/>
                <a:cs typeface="Roboto Light" panose="02000000000000000000" pitchFamily="2" charset="0"/>
              </a:defRPr>
            </a:lvl1pPr>
          </a:lstStyle>
          <a:p>
            <a:r>
              <a:rPr lang="en-AU" noProof="0" dirty="0"/>
              <a:t>Click to insert page title</a:t>
            </a:r>
          </a:p>
        </p:txBody>
      </p:sp>
      <p:sp>
        <p:nvSpPr>
          <p:cNvPr id="11" name="Text Placeholder 17"/>
          <p:cNvSpPr>
            <a:spLocks noGrp="1"/>
          </p:cNvSpPr>
          <p:nvPr>
            <p:ph type="body" sz="quarter" idx="29" hasCustomPrompt="1"/>
          </p:nvPr>
        </p:nvSpPr>
        <p:spPr>
          <a:xfrm>
            <a:off x="6645389" y="1383643"/>
            <a:ext cx="2880000"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14" name="Text Placeholder 17"/>
          <p:cNvSpPr>
            <a:spLocks noGrp="1"/>
          </p:cNvSpPr>
          <p:nvPr>
            <p:ph type="body" sz="quarter" idx="31" hasCustomPrompt="1"/>
          </p:nvPr>
        </p:nvSpPr>
        <p:spPr>
          <a:xfrm>
            <a:off x="3519317" y="1383643"/>
            <a:ext cx="2880000"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17" name="Text Placeholder 17"/>
          <p:cNvSpPr>
            <a:spLocks noGrp="1"/>
          </p:cNvSpPr>
          <p:nvPr>
            <p:ph type="body" sz="quarter" idx="33" hasCustomPrompt="1"/>
          </p:nvPr>
        </p:nvSpPr>
        <p:spPr>
          <a:xfrm>
            <a:off x="393245" y="3818780"/>
            <a:ext cx="2880000"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2" name="Text Placeholder 17"/>
          <p:cNvSpPr>
            <a:spLocks noGrp="1"/>
          </p:cNvSpPr>
          <p:nvPr>
            <p:ph type="body" sz="quarter" idx="35" hasCustomPrompt="1"/>
          </p:nvPr>
        </p:nvSpPr>
        <p:spPr>
          <a:xfrm>
            <a:off x="6645389" y="3818780"/>
            <a:ext cx="2880000"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5" name="Text Placeholder 17"/>
          <p:cNvSpPr>
            <a:spLocks noGrp="1"/>
          </p:cNvSpPr>
          <p:nvPr>
            <p:ph type="body" sz="quarter" idx="37" hasCustomPrompt="1"/>
          </p:nvPr>
        </p:nvSpPr>
        <p:spPr>
          <a:xfrm>
            <a:off x="3519317" y="3818780"/>
            <a:ext cx="2880000"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7" name="Espace réservé du texte 4">
            <a:extLst>
              <a:ext uri="{FF2B5EF4-FFF2-40B4-BE49-F238E27FC236}">
                <a16:creationId xmlns:a16="http://schemas.microsoft.com/office/drawing/2014/main" id="{335F1980-F9D0-4F90-8833-472CF8AF939C}"/>
              </a:ext>
            </a:extLst>
          </p:cNvPr>
          <p:cNvSpPr>
            <a:spLocks noGrp="1"/>
          </p:cNvSpPr>
          <p:nvPr>
            <p:ph type="body" sz="quarter" idx="27" hasCustomPrompt="1"/>
          </p:nvPr>
        </p:nvSpPr>
        <p:spPr>
          <a:xfrm>
            <a:off x="393245" y="6233719"/>
            <a:ext cx="4380368" cy="276340"/>
          </a:xfrm>
          <a:prstGeom prst="rect">
            <a:avLst/>
          </a:prstGeom>
        </p:spPr>
        <p:txBody>
          <a:bodyPr lIns="0" tIns="0" rIns="0" bIns="0" anchor="b" anchorCtr="0"/>
          <a:lstStyle>
            <a:lvl1pPr>
              <a:spcAft>
                <a:spcPts val="0"/>
              </a:spcAft>
              <a:buClrTx/>
              <a:defRPr sz="6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fr-FR" dirty="0"/>
              <a:t>Source:</a:t>
            </a:r>
            <a:endParaRPr lang="en-GB" dirty="0"/>
          </a:p>
        </p:txBody>
      </p:sp>
      <p:sp>
        <p:nvSpPr>
          <p:cNvPr id="30" name="Content Placeholder 6">
            <a:extLst>
              <a:ext uri="{FF2B5EF4-FFF2-40B4-BE49-F238E27FC236}">
                <a16:creationId xmlns:a16="http://schemas.microsoft.com/office/drawing/2014/main" id="{C8F0D092-0BEB-4967-918E-EF474453B1AF}"/>
              </a:ext>
            </a:extLst>
          </p:cNvPr>
          <p:cNvSpPr>
            <a:spLocks noGrp="1"/>
          </p:cNvSpPr>
          <p:nvPr>
            <p:ph sz="quarter" idx="38"/>
          </p:nvPr>
        </p:nvSpPr>
        <p:spPr>
          <a:xfrm>
            <a:off x="392400" y="1633398"/>
            <a:ext cx="2880000" cy="2148856"/>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1" name="Content Placeholder 6">
            <a:extLst>
              <a:ext uri="{FF2B5EF4-FFF2-40B4-BE49-F238E27FC236}">
                <a16:creationId xmlns:a16="http://schemas.microsoft.com/office/drawing/2014/main" id="{42CD5210-AEB6-47DB-9172-DA2A1387FDBD}"/>
              </a:ext>
            </a:extLst>
          </p:cNvPr>
          <p:cNvSpPr>
            <a:spLocks noGrp="1"/>
          </p:cNvSpPr>
          <p:nvPr>
            <p:ph sz="quarter" idx="39"/>
          </p:nvPr>
        </p:nvSpPr>
        <p:spPr>
          <a:xfrm>
            <a:off x="3518777" y="1633398"/>
            <a:ext cx="2880000" cy="2148856"/>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2" name="Content Placeholder 6">
            <a:extLst>
              <a:ext uri="{FF2B5EF4-FFF2-40B4-BE49-F238E27FC236}">
                <a16:creationId xmlns:a16="http://schemas.microsoft.com/office/drawing/2014/main" id="{80B15E7C-7492-4C45-8F02-167E257EC126}"/>
              </a:ext>
            </a:extLst>
          </p:cNvPr>
          <p:cNvSpPr>
            <a:spLocks noGrp="1"/>
          </p:cNvSpPr>
          <p:nvPr>
            <p:ph sz="quarter" idx="40"/>
          </p:nvPr>
        </p:nvSpPr>
        <p:spPr>
          <a:xfrm>
            <a:off x="6645154" y="1633398"/>
            <a:ext cx="2880000" cy="2148856"/>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3" name="Content Placeholder 6">
            <a:extLst>
              <a:ext uri="{FF2B5EF4-FFF2-40B4-BE49-F238E27FC236}">
                <a16:creationId xmlns:a16="http://schemas.microsoft.com/office/drawing/2014/main" id="{AA489037-374B-44C0-9751-449A70C86AD9}"/>
              </a:ext>
            </a:extLst>
          </p:cNvPr>
          <p:cNvSpPr>
            <a:spLocks noGrp="1"/>
          </p:cNvSpPr>
          <p:nvPr>
            <p:ph sz="quarter" idx="41"/>
          </p:nvPr>
        </p:nvSpPr>
        <p:spPr>
          <a:xfrm>
            <a:off x="392400" y="4071798"/>
            <a:ext cx="2880000" cy="2148856"/>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4" name="Content Placeholder 6">
            <a:extLst>
              <a:ext uri="{FF2B5EF4-FFF2-40B4-BE49-F238E27FC236}">
                <a16:creationId xmlns:a16="http://schemas.microsoft.com/office/drawing/2014/main" id="{43FA990E-0B61-49A0-AB69-F936C7F3DE82}"/>
              </a:ext>
            </a:extLst>
          </p:cNvPr>
          <p:cNvSpPr>
            <a:spLocks noGrp="1"/>
          </p:cNvSpPr>
          <p:nvPr>
            <p:ph sz="quarter" idx="42"/>
          </p:nvPr>
        </p:nvSpPr>
        <p:spPr>
          <a:xfrm>
            <a:off x="3518777" y="4071798"/>
            <a:ext cx="2880000" cy="2148856"/>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6" name="Content Placeholder 6">
            <a:extLst>
              <a:ext uri="{FF2B5EF4-FFF2-40B4-BE49-F238E27FC236}">
                <a16:creationId xmlns:a16="http://schemas.microsoft.com/office/drawing/2014/main" id="{051E46B5-C8A8-4D56-94E5-A0413F7619E2}"/>
              </a:ext>
            </a:extLst>
          </p:cNvPr>
          <p:cNvSpPr>
            <a:spLocks noGrp="1"/>
          </p:cNvSpPr>
          <p:nvPr>
            <p:ph sz="quarter" idx="43"/>
          </p:nvPr>
        </p:nvSpPr>
        <p:spPr>
          <a:xfrm>
            <a:off x="6645154" y="4071798"/>
            <a:ext cx="2880000" cy="2148856"/>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Espace réservé du numéro de diapositive 3">
            <a:extLst>
              <a:ext uri="{FF2B5EF4-FFF2-40B4-BE49-F238E27FC236}">
                <a16:creationId xmlns:a16="http://schemas.microsoft.com/office/drawing/2014/main" id="{C0D417DE-FBF7-2467-54A8-34B3EDC751C4}"/>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Tx/>
            </a:pPr>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buClrTx/>
              </a:pPr>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3830878987"/>
      </p:ext>
    </p:extLst>
  </p:cSld>
  <p:clrMapOvr>
    <a:masterClrMapping/>
  </p:clrMapOvr>
  <p:extLst>
    <p:ext uri="{DCECCB84-F9BA-43D5-87BE-67443E8EF086}">
      <p15:sldGuideLst xmlns:p15="http://schemas.microsoft.com/office/powerpoint/2012/main">
        <p15:guide id="1" orient="horz" pos="867">
          <p15:clr>
            <a:srgbClr val="FBAE40"/>
          </p15:clr>
        </p15:guide>
        <p15:guide id="2" pos="240">
          <p15:clr>
            <a:srgbClr val="FBAE40"/>
          </p15:clr>
        </p15:guide>
        <p15:guide id="3" pos="6000">
          <p15:clr>
            <a:srgbClr val="FBAE40"/>
          </p15:clr>
        </p15:guide>
        <p15:guide id="4" orient="horz" pos="1026">
          <p15:clr>
            <a:srgbClr val="FBAE40"/>
          </p15:clr>
        </p15:guide>
        <p15:guide id="5" orient="horz" pos="256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x2 Right offse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BCD7C78-D6F4-CDBD-A6D8-CECE2D820183}"/>
              </a:ext>
            </a:extLst>
          </p:cNvPr>
          <p:cNvGraphicFramePr>
            <a:graphicFrameLocks noChangeAspect="1"/>
          </p:cNvGraphicFramePr>
          <p:nvPr userDrawn="1">
            <p:custDataLst>
              <p:tags r:id="rId1"/>
            </p:custDataLst>
            <p:extLst>
              <p:ext uri="{D42A27DB-BD31-4B8C-83A1-F6EECF244321}">
                <p14:modId xmlns:p14="http://schemas.microsoft.com/office/powerpoint/2010/main" val="3661116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4BCD7C78-D6F4-CDBD-A6D8-CECE2D8201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ext Placeholder 28"/>
          <p:cNvSpPr>
            <a:spLocks noGrp="1"/>
          </p:cNvSpPr>
          <p:nvPr>
            <p:ph type="body" sz="quarter" idx="10" hasCustomPrompt="1"/>
          </p:nvPr>
        </p:nvSpPr>
        <p:spPr>
          <a:xfrm>
            <a:off x="393244" y="881289"/>
            <a:ext cx="9131299" cy="396382"/>
          </a:xfrm>
          <a:prstGeom prst="rect">
            <a:avLst/>
          </a:prstGeom>
          <a:ln w="3175">
            <a:noFill/>
          </a:ln>
        </p:spPr>
        <p:txBody>
          <a:bodyPr vert="horz" lIns="0" tIns="36000" rIns="36000" bIns="36000" rtlCol="0">
            <a:noAutofit/>
          </a:bodyPr>
          <a:lstStyle>
            <a:lvl1pPr>
              <a:buClrTx/>
              <a:defRPr lang="en-AU" sz="1200" noProof="0" dirty="0">
                <a:cs typeface="Roboto Light" panose="02000000000000000000" pitchFamily="2" charset="0"/>
              </a:defRPr>
            </a:lvl1pPr>
          </a:lstStyle>
          <a:p>
            <a:pPr lvl="0">
              <a:lnSpc>
                <a:spcPct val="100000"/>
              </a:lnSpc>
            </a:pPr>
            <a:r>
              <a:rPr lang="en-AU" noProof="0" dirty="0"/>
              <a:t>Click to insert key message</a:t>
            </a:r>
          </a:p>
        </p:txBody>
      </p:sp>
      <p:sp>
        <p:nvSpPr>
          <p:cNvPr id="18" name="Text Placeholder 17"/>
          <p:cNvSpPr>
            <a:spLocks noGrp="1"/>
          </p:cNvSpPr>
          <p:nvPr>
            <p:ph type="body" sz="quarter" idx="24" hasCustomPrompt="1"/>
          </p:nvPr>
        </p:nvSpPr>
        <p:spPr>
          <a:xfrm>
            <a:off x="393245" y="1383643"/>
            <a:ext cx="6006072"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0" name="Title 19"/>
          <p:cNvSpPr>
            <a:spLocks noGrp="1"/>
          </p:cNvSpPr>
          <p:nvPr>
            <p:ph type="title" hasCustomPrompt="1"/>
          </p:nvPr>
        </p:nvSpPr>
        <p:spPr>
          <a:xfrm>
            <a:off x="392400" y="108000"/>
            <a:ext cx="7560000" cy="576000"/>
          </a:xfrm>
          <a:prstGeom prst="rect">
            <a:avLst/>
          </a:prstGeom>
        </p:spPr>
        <p:txBody>
          <a:bodyPr vert="horz"/>
          <a:lstStyle>
            <a:lvl1pPr>
              <a:buClrTx/>
              <a:defRPr b="0" i="0">
                <a:latin typeface="Roboto Light" panose="02000000000000000000" pitchFamily="2" charset="0"/>
                <a:ea typeface="Roboto Light" panose="02000000000000000000" pitchFamily="2" charset="0"/>
                <a:cs typeface="Roboto Light" panose="02000000000000000000" pitchFamily="2" charset="0"/>
              </a:defRPr>
            </a:lvl1pPr>
          </a:lstStyle>
          <a:p>
            <a:r>
              <a:rPr lang="en-AU" noProof="0" dirty="0"/>
              <a:t>Click to insert page title</a:t>
            </a:r>
          </a:p>
        </p:txBody>
      </p:sp>
      <p:sp>
        <p:nvSpPr>
          <p:cNvPr id="11" name="Text Placeholder 17"/>
          <p:cNvSpPr>
            <a:spLocks noGrp="1"/>
          </p:cNvSpPr>
          <p:nvPr>
            <p:ph type="body" sz="quarter" idx="29" hasCustomPrompt="1"/>
          </p:nvPr>
        </p:nvSpPr>
        <p:spPr>
          <a:xfrm>
            <a:off x="6645389" y="1383643"/>
            <a:ext cx="2880000"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13" name="Espace réservé du texte 4">
            <a:extLst>
              <a:ext uri="{FF2B5EF4-FFF2-40B4-BE49-F238E27FC236}">
                <a16:creationId xmlns:a16="http://schemas.microsoft.com/office/drawing/2014/main" id="{BF3D642A-740D-41C7-ADD2-AF4B783A79BE}"/>
              </a:ext>
            </a:extLst>
          </p:cNvPr>
          <p:cNvSpPr>
            <a:spLocks noGrp="1"/>
          </p:cNvSpPr>
          <p:nvPr>
            <p:ph type="body" sz="quarter" idx="27" hasCustomPrompt="1"/>
          </p:nvPr>
        </p:nvSpPr>
        <p:spPr>
          <a:xfrm>
            <a:off x="393245" y="6233719"/>
            <a:ext cx="4380368" cy="276340"/>
          </a:xfrm>
          <a:prstGeom prst="rect">
            <a:avLst/>
          </a:prstGeom>
        </p:spPr>
        <p:txBody>
          <a:bodyPr lIns="0" tIns="0" rIns="0" bIns="0" anchor="b" anchorCtr="0"/>
          <a:lstStyle>
            <a:lvl1pPr>
              <a:spcAft>
                <a:spcPts val="0"/>
              </a:spcAft>
              <a:buClrTx/>
              <a:defRPr sz="6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fr-FR" dirty="0"/>
              <a:t>Source:</a:t>
            </a:r>
            <a:endParaRPr lang="en-GB" dirty="0"/>
          </a:p>
        </p:txBody>
      </p:sp>
      <p:sp>
        <p:nvSpPr>
          <p:cNvPr id="16" name="Content Placeholder 6">
            <a:extLst>
              <a:ext uri="{FF2B5EF4-FFF2-40B4-BE49-F238E27FC236}">
                <a16:creationId xmlns:a16="http://schemas.microsoft.com/office/drawing/2014/main" id="{2571362A-96F8-4C78-8338-66AA2FE17B9B}"/>
              </a:ext>
            </a:extLst>
          </p:cNvPr>
          <p:cNvSpPr>
            <a:spLocks noGrp="1"/>
          </p:cNvSpPr>
          <p:nvPr>
            <p:ph sz="quarter" idx="31"/>
          </p:nvPr>
        </p:nvSpPr>
        <p:spPr>
          <a:xfrm>
            <a:off x="392400" y="1633397"/>
            <a:ext cx="6006072" cy="4592151"/>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7" name="Content Placeholder 6">
            <a:extLst>
              <a:ext uri="{FF2B5EF4-FFF2-40B4-BE49-F238E27FC236}">
                <a16:creationId xmlns:a16="http://schemas.microsoft.com/office/drawing/2014/main" id="{0150F6FE-4B35-482F-AB19-5C7931A77A5C}"/>
              </a:ext>
            </a:extLst>
          </p:cNvPr>
          <p:cNvSpPr>
            <a:spLocks noGrp="1"/>
          </p:cNvSpPr>
          <p:nvPr>
            <p:ph sz="quarter" idx="32"/>
          </p:nvPr>
        </p:nvSpPr>
        <p:spPr>
          <a:xfrm>
            <a:off x="6644544" y="1625235"/>
            <a:ext cx="2880000" cy="4592151"/>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Espace réservé du numéro de diapositive 3">
            <a:extLst>
              <a:ext uri="{FF2B5EF4-FFF2-40B4-BE49-F238E27FC236}">
                <a16:creationId xmlns:a16="http://schemas.microsoft.com/office/drawing/2014/main" id="{392B8FE8-266B-EF52-4731-BFC25F4D0631}"/>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Tx/>
            </a:pPr>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buClrTx/>
              </a:pPr>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4211974423"/>
      </p:ext>
    </p:extLst>
  </p:cSld>
  <p:clrMapOvr>
    <a:masterClrMapping/>
  </p:clrMapOvr>
  <p:extLst>
    <p:ext uri="{DCECCB84-F9BA-43D5-87BE-67443E8EF086}">
      <p15:sldGuideLst xmlns:p15="http://schemas.microsoft.com/office/powerpoint/2012/main">
        <p15:guide id="1" orient="horz" pos="867">
          <p15:clr>
            <a:srgbClr val="FBAE40"/>
          </p15:clr>
        </p15:guide>
        <p15:guide id="2" pos="240">
          <p15:clr>
            <a:srgbClr val="FBAE40"/>
          </p15:clr>
        </p15:guide>
        <p15:guide id="3" pos="6000">
          <p15:clr>
            <a:srgbClr val="FBAE40"/>
          </p15:clr>
        </p15:guide>
        <p15:guide id="4" orient="horz" pos="1026">
          <p15:clr>
            <a:srgbClr val="FBAE40"/>
          </p15:clr>
        </p15:guide>
        <p15:guide id="5" orient="horz" pos="256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x2 Left offse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C884C9A-D5C9-B57D-C89B-5837A5BCAE3B}"/>
              </a:ext>
            </a:extLst>
          </p:cNvPr>
          <p:cNvGraphicFramePr>
            <a:graphicFrameLocks noChangeAspect="1"/>
          </p:cNvGraphicFramePr>
          <p:nvPr userDrawn="1">
            <p:custDataLst>
              <p:tags r:id="rId1"/>
            </p:custDataLst>
            <p:extLst>
              <p:ext uri="{D42A27DB-BD31-4B8C-83A1-F6EECF244321}">
                <p14:modId xmlns:p14="http://schemas.microsoft.com/office/powerpoint/2010/main" val="1337645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7C884C9A-D5C9-B57D-C89B-5837A5BCAE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ext Placeholder 28"/>
          <p:cNvSpPr>
            <a:spLocks noGrp="1"/>
          </p:cNvSpPr>
          <p:nvPr>
            <p:ph type="body" sz="quarter" idx="10" hasCustomPrompt="1"/>
          </p:nvPr>
        </p:nvSpPr>
        <p:spPr>
          <a:xfrm>
            <a:off x="393245" y="881289"/>
            <a:ext cx="9131722" cy="396382"/>
          </a:xfrm>
          <a:prstGeom prst="rect">
            <a:avLst/>
          </a:prstGeom>
          <a:ln w="3175">
            <a:noFill/>
          </a:ln>
        </p:spPr>
        <p:txBody>
          <a:bodyPr vert="horz" lIns="0" tIns="36000" rIns="36000" bIns="36000" rtlCol="0">
            <a:noAutofit/>
          </a:bodyPr>
          <a:lstStyle>
            <a:lvl1pPr>
              <a:buClrTx/>
              <a:defRPr lang="en-AU" sz="1200" noProof="0" dirty="0">
                <a:cs typeface="Roboto Light" panose="02000000000000000000" pitchFamily="2" charset="0"/>
              </a:defRPr>
            </a:lvl1pPr>
          </a:lstStyle>
          <a:p>
            <a:pPr lvl="0">
              <a:lnSpc>
                <a:spcPct val="100000"/>
              </a:lnSpc>
            </a:pPr>
            <a:r>
              <a:rPr lang="en-AU" noProof="0" dirty="0"/>
              <a:t>Click to insert key message</a:t>
            </a:r>
          </a:p>
        </p:txBody>
      </p:sp>
      <p:sp>
        <p:nvSpPr>
          <p:cNvPr id="18" name="Text Placeholder 17"/>
          <p:cNvSpPr>
            <a:spLocks noGrp="1"/>
          </p:cNvSpPr>
          <p:nvPr>
            <p:ph type="body" sz="quarter" idx="24" hasCustomPrompt="1"/>
          </p:nvPr>
        </p:nvSpPr>
        <p:spPr>
          <a:xfrm>
            <a:off x="393245" y="1383643"/>
            <a:ext cx="2880000"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0" name="Title 19"/>
          <p:cNvSpPr>
            <a:spLocks noGrp="1"/>
          </p:cNvSpPr>
          <p:nvPr>
            <p:ph type="title" hasCustomPrompt="1"/>
          </p:nvPr>
        </p:nvSpPr>
        <p:spPr>
          <a:xfrm>
            <a:off x="392400" y="108000"/>
            <a:ext cx="7560000" cy="576000"/>
          </a:xfrm>
          <a:prstGeom prst="rect">
            <a:avLst/>
          </a:prstGeom>
        </p:spPr>
        <p:txBody>
          <a:bodyPr vert="horz"/>
          <a:lstStyle>
            <a:lvl1pPr>
              <a:buClrTx/>
              <a:defRPr b="0" i="0">
                <a:latin typeface="Roboto Light" panose="02000000000000000000" pitchFamily="2" charset="0"/>
                <a:ea typeface="Roboto Light" panose="02000000000000000000" pitchFamily="2" charset="0"/>
                <a:cs typeface="Roboto Light" panose="02000000000000000000" pitchFamily="2" charset="0"/>
              </a:defRPr>
            </a:lvl1pPr>
          </a:lstStyle>
          <a:p>
            <a:r>
              <a:rPr lang="en-AU" noProof="0" dirty="0"/>
              <a:t>Click to insert page title</a:t>
            </a:r>
          </a:p>
        </p:txBody>
      </p:sp>
      <p:sp>
        <p:nvSpPr>
          <p:cNvPr id="11" name="Text Placeholder 17"/>
          <p:cNvSpPr>
            <a:spLocks noGrp="1"/>
          </p:cNvSpPr>
          <p:nvPr>
            <p:ph type="body" sz="quarter" idx="29" hasCustomPrompt="1"/>
          </p:nvPr>
        </p:nvSpPr>
        <p:spPr>
          <a:xfrm>
            <a:off x="3519317" y="1383643"/>
            <a:ext cx="6006072"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13" name="Espace réservé du texte 4">
            <a:extLst>
              <a:ext uri="{FF2B5EF4-FFF2-40B4-BE49-F238E27FC236}">
                <a16:creationId xmlns:a16="http://schemas.microsoft.com/office/drawing/2014/main" id="{06783952-989C-4FC7-9FC7-06685AE0B0F9}"/>
              </a:ext>
            </a:extLst>
          </p:cNvPr>
          <p:cNvSpPr>
            <a:spLocks noGrp="1"/>
          </p:cNvSpPr>
          <p:nvPr>
            <p:ph type="body" sz="quarter" idx="27" hasCustomPrompt="1"/>
          </p:nvPr>
        </p:nvSpPr>
        <p:spPr>
          <a:xfrm>
            <a:off x="393245" y="6233719"/>
            <a:ext cx="4380368" cy="276340"/>
          </a:xfrm>
          <a:prstGeom prst="rect">
            <a:avLst/>
          </a:prstGeom>
        </p:spPr>
        <p:txBody>
          <a:bodyPr lIns="0" tIns="0" rIns="0" bIns="0" anchor="b" anchorCtr="0"/>
          <a:lstStyle>
            <a:lvl1pPr>
              <a:spcAft>
                <a:spcPts val="0"/>
              </a:spcAft>
              <a:buClrTx/>
              <a:defRPr sz="6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fr-FR" dirty="0"/>
              <a:t>Source:</a:t>
            </a:r>
            <a:endParaRPr lang="en-GB" dirty="0"/>
          </a:p>
        </p:txBody>
      </p:sp>
      <p:sp>
        <p:nvSpPr>
          <p:cNvPr id="16" name="Content Placeholder 6">
            <a:extLst>
              <a:ext uri="{FF2B5EF4-FFF2-40B4-BE49-F238E27FC236}">
                <a16:creationId xmlns:a16="http://schemas.microsoft.com/office/drawing/2014/main" id="{DA278E37-679E-4BBF-B101-B07511585B31}"/>
              </a:ext>
            </a:extLst>
          </p:cNvPr>
          <p:cNvSpPr>
            <a:spLocks noGrp="1"/>
          </p:cNvSpPr>
          <p:nvPr>
            <p:ph sz="quarter" idx="31"/>
          </p:nvPr>
        </p:nvSpPr>
        <p:spPr>
          <a:xfrm>
            <a:off x="3518895" y="1633397"/>
            <a:ext cx="6006072" cy="4592151"/>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7" name="Content Placeholder 6">
            <a:extLst>
              <a:ext uri="{FF2B5EF4-FFF2-40B4-BE49-F238E27FC236}">
                <a16:creationId xmlns:a16="http://schemas.microsoft.com/office/drawing/2014/main" id="{56A5C88E-695E-4265-BB06-8A790651F156}"/>
              </a:ext>
            </a:extLst>
          </p:cNvPr>
          <p:cNvSpPr>
            <a:spLocks noGrp="1"/>
          </p:cNvSpPr>
          <p:nvPr>
            <p:ph sz="quarter" idx="32"/>
          </p:nvPr>
        </p:nvSpPr>
        <p:spPr>
          <a:xfrm>
            <a:off x="393245" y="1633398"/>
            <a:ext cx="2880000" cy="4600321"/>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Espace réservé du numéro de diapositive 3">
            <a:extLst>
              <a:ext uri="{FF2B5EF4-FFF2-40B4-BE49-F238E27FC236}">
                <a16:creationId xmlns:a16="http://schemas.microsoft.com/office/drawing/2014/main" id="{B72B1CAE-213A-9EDB-7491-BE62CB5934D0}"/>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Tx/>
            </a:pPr>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buClrTx/>
              </a:pPr>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3529707065"/>
      </p:ext>
    </p:extLst>
  </p:cSld>
  <p:clrMapOvr>
    <a:masterClrMapping/>
  </p:clrMapOvr>
  <p:extLst>
    <p:ext uri="{DCECCB84-F9BA-43D5-87BE-67443E8EF086}">
      <p15:sldGuideLst xmlns:p15="http://schemas.microsoft.com/office/powerpoint/2012/main">
        <p15:guide id="1" orient="horz" pos="867">
          <p15:clr>
            <a:srgbClr val="FBAE40"/>
          </p15:clr>
        </p15:guide>
        <p15:guide id="2" pos="240">
          <p15:clr>
            <a:srgbClr val="FBAE40"/>
          </p15:clr>
        </p15:guide>
        <p15:guide id="3" pos="6000">
          <p15:clr>
            <a:srgbClr val="FBAE40"/>
          </p15:clr>
        </p15:guide>
        <p15:guide id="4" orient="horz" pos="1026">
          <p15:clr>
            <a:srgbClr val="FBAE40"/>
          </p15:clr>
        </p15:guide>
        <p15:guide id="5" orient="horz" pos="2568">
          <p15:clr>
            <a:srgbClr val="FBAE40"/>
          </p15:clr>
        </p15:guide>
        <p15:guide id="6" pos="648"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x2 Right offet with spli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645A4C4-A852-FDF1-11D0-180F5C012F3E}"/>
              </a:ext>
            </a:extLst>
          </p:cNvPr>
          <p:cNvGraphicFramePr>
            <a:graphicFrameLocks noChangeAspect="1"/>
          </p:cNvGraphicFramePr>
          <p:nvPr userDrawn="1">
            <p:custDataLst>
              <p:tags r:id="rId1"/>
            </p:custDataLst>
            <p:extLst>
              <p:ext uri="{D42A27DB-BD31-4B8C-83A1-F6EECF244321}">
                <p14:modId xmlns:p14="http://schemas.microsoft.com/office/powerpoint/2010/main" val="3358404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D645A4C4-A852-FDF1-11D0-180F5C012F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ext Placeholder 28"/>
          <p:cNvSpPr>
            <a:spLocks noGrp="1"/>
          </p:cNvSpPr>
          <p:nvPr>
            <p:ph type="body" sz="quarter" idx="10" hasCustomPrompt="1"/>
          </p:nvPr>
        </p:nvSpPr>
        <p:spPr>
          <a:xfrm>
            <a:off x="393245" y="881289"/>
            <a:ext cx="9131298" cy="396382"/>
          </a:xfrm>
          <a:prstGeom prst="rect">
            <a:avLst/>
          </a:prstGeom>
          <a:ln w="3175">
            <a:noFill/>
          </a:ln>
        </p:spPr>
        <p:txBody>
          <a:bodyPr vert="horz" lIns="0" tIns="36000" rIns="36000" bIns="36000" rtlCol="0">
            <a:noAutofit/>
          </a:bodyPr>
          <a:lstStyle>
            <a:lvl1pPr>
              <a:buClrTx/>
              <a:defRPr lang="en-AU" sz="1200" noProof="0" dirty="0">
                <a:cs typeface="Roboto Light" panose="02000000000000000000" pitchFamily="2" charset="0"/>
              </a:defRPr>
            </a:lvl1pPr>
          </a:lstStyle>
          <a:p>
            <a:pPr lvl="0">
              <a:lnSpc>
                <a:spcPct val="100000"/>
              </a:lnSpc>
            </a:pPr>
            <a:r>
              <a:rPr lang="en-AU" noProof="0" dirty="0"/>
              <a:t>Click to insert key message</a:t>
            </a:r>
          </a:p>
        </p:txBody>
      </p:sp>
      <p:sp>
        <p:nvSpPr>
          <p:cNvPr id="18" name="Text Placeholder 17"/>
          <p:cNvSpPr>
            <a:spLocks noGrp="1"/>
          </p:cNvSpPr>
          <p:nvPr>
            <p:ph type="body" sz="quarter" idx="24" hasCustomPrompt="1"/>
          </p:nvPr>
        </p:nvSpPr>
        <p:spPr>
          <a:xfrm>
            <a:off x="393245" y="1383643"/>
            <a:ext cx="6006072"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0" name="Title 19"/>
          <p:cNvSpPr>
            <a:spLocks noGrp="1"/>
          </p:cNvSpPr>
          <p:nvPr>
            <p:ph type="title" hasCustomPrompt="1"/>
          </p:nvPr>
        </p:nvSpPr>
        <p:spPr>
          <a:xfrm>
            <a:off x="392399" y="108000"/>
            <a:ext cx="7560000" cy="576000"/>
          </a:xfrm>
          <a:prstGeom prst="rect">
            <a:avLst/>
          </a:prstGeom>
        </p:spPr>
        <p:txBody>
          <a:bodyPr vert="horz"/>
          <a:lstStyle>
            <a:lvl1pPr>
              <a:buClrTx/>
              <a:defRPr b="0" i="0">
                <a:latin typeface="Roboto Light" panose="02000000000000000000" pitchFamily="2" charset="0"/>
                <a:ea typeface="Roboto Light" panose="02000000000000000000" pitchFamily="2" charset="0"/>
                <a:cs typeface="Roboto Light" panose="02000000000000000000" pitchFamily="2" charset="0"/>
              </a:defRPr>
            </a:lvl1pPr>
          </a:lstStyle>
          <a:p>
            <a:r>
              <a:rPr lang="en-AU" noProof="0" dirty="0"/>
              <a:t>Click to insert page title</a:t>
            </a:r>
          </a:p>
        </p:txBody>
      </p:sp>
      <p:sp>
        <p:nvSpPr>
          <p:cNvPr id="11" name="Text Placeholder 17"/>
          <p:cNvSpPr>
            <a:spLocks noGrp="1"/>
          </p:cNvSpPr>
          <p:nvPr>
            <p:ph type="body" sz="quarter" idx="29" hasCustomPrompt="1"/>
          </p:nvPr>
        </p:nvSpPr>
        <p:spPr>
          <a:xfrm>
            <a:off x="6645389" y="1383643"/>
            <a:ext cx="2880000"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2" name="Text Placeholder 17"/>
          <p:cNvSpPr>
            <a:spLocks noGrp="1"/>
          </p:cNvSpPr>
          <p:nvPr>
            <p:ph type="body" sz="quarter" idx="35" hasCustomPrompt="1"/>
          </p:nvPr>
        </p:nvSpPr>
        <p:spPr>
          <a:xfrm>
            <a:off x="6645389" y="3818780"/>
            <a:ext cx="2880000"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16" name="Espace réservé du texte 4">
            <a:extLst>
              <a:ext uri="{FF2B5EF4-FFF2-40B4-BE49-F238E27FC236}">
                <a16:creationId xmlns:a16="http://schemas.microsoft.com/office/drawing/2014/main" id="{EFABB8EF-DD53-41BD-9104-2DE7D3793CCE}"/>
              </a:ext>
            </a:extLst>
          </p:cNvPr>
          <p:cNvSpPr>
            <a:spLocks noGrp="1"/>
          </p:cNvSpPr>
          <p:nvPr>
            <p:ph type="body" sz="quarter" idx="27" hasCustomPrompt="1"/>
          </p:nvPr>
        </p:nvSpPr>
        <p:spPr>
          <a:xfrm>
            <a:off x="393245" y="6233719"/>
            <a:ext cx="4380368" cy="276340"/>
          </a:xfrm>
          <a:prstGeom prst="rect">
            <a:avLst/>
          </a:prstGeom>
        </p:spPr>
        <p:txBody>
          <a:bodyPr lIns="0" tIns="0" rIns="0" bIns="0" anchor="b" anchorCtr="0"/>
          <a:lstStyle>
            <a:lvl1pPr>
              <a:spcAft>
                <a:spcPts val="0"/>
              </a:spcAft>
              <a:buClrTx/>
              <a:defRPr sz="6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fr-FR" dirty="0"/>
              <a:t>Source:</a:t>
            </a:r>
            <a:endParaRPr lang="en-GB" dirty="0"/>
          </a:p>
        </p:txBody>
      </p:sp>
      <p:sp>
        <p:nvSpPr>
          <p:cNvPr id="19" name="Content Placeholder 6">
            <a:extLst>
              <a:ext uri="{FF2B5EF4-FFF2-40B4-BE49-F238E27FC236}">
                <a16:creationId xmlns:a16="http://schemas.microsoft.com/office/drawing/2014/main" id="{495446AC-1B9A-4D25-9D5E-32C669F47FC8}"/>
              </a:ext>
            </a:extLst>
          </p:cNvPr>
          <p:cNvSpPr>
            <a:spLocks noGrp="1"/>
          </p:cNvSpPr>
          <p:nvPr>
            <p:ph sz="quarter" idx="31"/>
          </p:nvPr>
        </p:nvSpPr>
        <p:spPr>
          <a:xfrm>
            <a:off x="392400" y="1633397"/>
            <a:ext cx="6006072" cy="4592151"/>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4" name="Content Placeholder 6">
            <a:extLst>
              <a:ext uri="{FF2B5EF4-FFF2-40B4-BE49-F238E27FC236}">
                <a16:creationId xmlns:a16="http://schemas.microsoft.com/office/drawing/2014/main" id="{093D714D-2356-424D-98F7-EA88DF3FF367}"/>
              </a:ext>
            </a:extLst>
          </p:cNvPr>
          <p:cNvSpPr>
            <a:spLocks noGrp="1"/>
          </p:cNvSpPr>
          <p:nvPr>
            <p:ph sz="quarter" idx="36"/>
          </p:nvPr>
        </p:nvSpPr>
        <p:spPr>
          <a:xfrm>
            <a:off x="6644542" y="1633398"/>
            <a:ext cx="2880001" cy="2160000"/>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5" name="Content Placeholder 6">
            <a:extLst>
              <a:ext uri="{FF2B5EF4-FFF2-40B4-BE49-F238E27FC236}">
                <a16:creationId xmlns:a16="http://schemas.microsoft.com/office/drawing/2014/main" id="{FC2571CA-20AE-4CB2-8372-D5762B3B10AC}"/>
              </a:ext>
            </a:extLst>
          </p:cNvPr>
          <p:cNvSpPr>
            <a:spLocks noGrp="1"/>
          </p:cNvSpPr>
          <p:nvPr>
            <p:ph sz="quarter" idx="37"/>
          </p:nvPr>
        </p:nvSpPr>
        <p:spPr>
          <a:xfrm>
            <a:off x="6644542" y="4076153"/>
            <a:ext cx="2880001" cy="2160000"/>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Espace réservé du numéro de diapositive 3">
            <a:extLst>
              <a:ext uri="{FF2B5EF4-FFF2-40B4-BE49-F238E27FC236}">
                <a16:creationId xmlns:a16="http://schemas.microsoft.com/office/drawing/2014/main" id="{5C269ADF-D75D-263E-4FAC-B34127A93977}"/>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Tx/>
            </a:pPr>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buClrTx/>
              </a:pPr>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159503465"/>
      </p:ext>
    </p:extLst>
  </p:cSld>
  <p:clrMapOvr>
    <a:masterClrMapping/>
  </p:clrMapOvr>
  <p:extLst>
    <p:ext uri="{DCECCB84-F9BA-43D5-87BE-67443E8EF086}">
      <p15:sldGuideLst xmlns:p15="http://schemas.microsoft.com/office/powerpoint/2012/main">
        <p15:guide id="1" orient="horz" pos="867">
          <p15:clr>
            <a:srgbClr val="FBAE40"/>
          </p15:clr>
        </p15:guide>
        <p15:guide id="2" pos="240">
          <p15:clr>
            <a:srgbClr val="FBAE40"/>
          </p15:clr>
        </p15:guide>
        <p15:guide id="3" pos="6000">
          <p15:clr>
            <a:srgbClr val="FBAE40"/>
          </p15:clr>
        </p15:guide>
        <p15:guide id="4" orient="horz" pos="1026">
          <p15:clr>
            <a:srgbClr val="FBAE40"/>
          </p15:clr>
        </p15:guide>
        <p15:guide id="5" orient="horz" pos="256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x2 Left offset with spli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FEA5B48-DD93-139B-D4C1-2BFFA4AB6C34}"/>
              </a:ext>
            </a:extLst>
          </p:cNvPr>
          <p:cNvGraphicFramePr>
            <a:graphicFrameLocks noChangeAspect="1"/>
          </p:cNvGraphicFramePr>
          <p:nvPr userDrawn="1">
            <p:custDataLst>
              <p:tags r:id="rId1"/>
            </p:custDataLst>
            <p:extLst>
              <p:ext uri="{D42A27DB-BD31-4B8C-83A1-F6EECF244321}">
                <p14:modId xmlns:p14="http://schemas.microsoft.com/office/powerpoint/2010/main" val="3866752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BFEA5B48-DD93-139B-D4C1-2BFFA4AB6C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ext Placeholder 28"/>
          <p:cNvSpPr>
            <a:spLocks noGrp="1"/>
          </p:cNvSpPr>
          <p:nvPr>
            <p:ph type="body" sz="quarter" idx="10" hasCustomPrompt="1"/>
          </p:nvPr>
        </p:nvSpPr>
        <p:spPr>
          <a:xfrm>
            <a:off x="393244" y="881289"/>
            <a:ext cx="9131603" cy="396382"/>
          </a:xfrm>
          <a:prstGeom prst="rect">
            <a:avLst/>
          </a:prstGeom>
          <a:ln w="3175">
            <a:noFill/>
          </a:ln>
        </p:spPr>
        <p:txBody>
          <a:bodyPr vert="horz" lIns="0" tIns="36000" rIns="36000" bIns="36000" rtlCol="0">
            <a:noAutofit/>
          </a:bodyPr>
          <a:lstStyle>
            <a:lvl1pPr>
              <a:buClrTx/>
              <a:defRPr lang="en-AU" sz="1200" noProof="0" dirty="0">
                <a:cs typeface="Roboto Light" panose="02000000000000000000" pitchFamily="2" charset="0"/>
              </a:defRPr>
            </a:lvl1pPr>
          </a:lstStyle>
          <a:p>
            <a:pPr lvl="0">
              <a:lnSpc>
                <a:spcPct val="100000"/>
              </a:lnSpc>
            </a:pPr>
            <a:r>
              <a:rPr lang="en-AU" noProof="0" dirty="0"/>
              <a:t>Click to insert key message</a:t>
            </a:r>
          </a:p>
        </p:txBody>
      </p:sp>
      <p:sp>
        <p:nvSpPr>
          <p:cNvPr id="18" name="Text Placeholder 17"/>
          <p:cNvSpPr>
            <a:spLocks noGrp="1"/>
          </p:cNvSpPr>
          <p:nvPr>
            <p:ph type="body" sz="quarter" idx="24" hasCustomPrompt="1"/>
          </p:nvPr>
        </p:nvSpPr>
        <p:spPr>
          <a:xfrm>
            <a:off x="393245" y="1383643"/>
            <a:ext cx="2880000"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0" name="Title 19"/>
          <p:cNvSpPr>
            <a:spLocks noGrp="1"/>
          </p:cNvSpPr>
          <p:nvPr>
            <p:ph type="title" hasCustomPrompt="1"/>
          </p:nvPr>
        </p:nvSpPr>
        <p:spPr>
          <a:xfrm>
            <a:off x="392400" y="108000"/>
            <a:ext cx="7560000" cy="576000"/>
          </a:xfrm>
          <a:prstGeom prst="rect">
            <a:avLst/>
          </a:prstGeom>
        </p:spPr>
        <p:txBody>
          <a:bodyPr vert="horz"/>
          <a:lstStyle>
            <a:lvl1pPr>
              <a:buClrTx/>
              <a:defRPr b="0" i="0">
                <a:latin typeface="Roboto Light" panose="02000000000000000000" pitchFamily="2" charset="0"/>
                <a:ea typeface="Roboto Light" panose="02000000000000000000" pitchFamily="2" charset="0"/>
                <a:cs typeface="Roboto Light" panose="02000000000000000000" pitchFamily="2" charset="0"/>
              </a:defRPr>
            </a:lvl1pPr>
          </a:lstStyle>
          <a:p>
            <a:r>
              <a:rPr lang="en-AU" noProof="0" dirty="0"/>
              <a:t>Click to insert page title</a:t>
            </a:r>
          </a:p>
        </p:txBody>
      </p:sp>
      <p:sp>
        <p:nvSpPr>
          <p:cNvPr id="11" name="Text Placeholder 17"/>
          <p:cNvSpPr>
            <a:spLocks noGrp="1"/>
          </p:cNvSpPr>
          <p:nvPr>
            <p:ph type="body" sz="quarter" idx="29" hasCustomPrompt="1"/>
          </p:nvPr>
        </p:nvSpPr>
        <p:spPr>
          <a:xfrm>
            <a:off x="3519317" y="1383643"/>
            <a:ext cx="6006072"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17" name="Text Placeholder 17"/>
          <p:cNvSpPr>
            <a:spLocks noGrp="1"/>
          </p:cNvSpPr>
          <p:nvPr>
            <p:ph type="body" sz="quarter" idx="33" hasCustomPrompt="1"/>
          </p:nvPr>
        </p:nvSpPr>
        <p:spPr>
          <a:xfrm>
            <a:off x="393245" y="3818780"/>
            <a:ext cx="2880000"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1" name="Espace réservé du texte 4">
            <a:extLst>
              <a:ext uri="{FF2B5EF4-FFF2-40B4-BE49-F238E27FC236}">
                <a16:creationId xmlns:a16="http://schemas.microsoft.com/office/drawing/2014/main" id="{B6212790-78CA-405F-8B77-5D18FB00F6DD}"/>
              </a:ext>
            </a:extLst>
          </p:cNvPr>
          <p:cNvSpPr>
            <a:spLocks noGrp="1"/>
          </p:cNvSpPr>
          <p:nvPr>
            <p:ph type="body" sz="quarter" idx="27" hasCustomPrompt="1"/>
          </p:nvPr>
        </p:nvSpPr>
        <p:spPr>
          <a:xfrm>
            <a:off x="393245" y="6233719"/>
            <a:ext cx="4380368" cy="276340"/>
          </a:xfrm>
          <a:prstGeom prst="rect">
            <a:avLst/>
          </a:prstGeom>
        </p:spPr>
        <p:txBody>
          <a:bodyPr lIns="0" tIns="0" rIns="0" bIns="0" anchor="b" anchorCtr="0"/>
          <a:lstStyle>
            <a:lvl1pPr>
              <a:spcAft>
                <a:spcPts val="0"/>
              </a:spcAft>
              <a:buClrTx/>
              <a:defRPr sz="6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fr-FR" dirty="0"/>
              <a:t>Source:</a:t>
            </a:r>
            <a:endParaRPr lang="en-GB" dirty="0"/>
          </a:p>
        </p:txBody>
      </p:sp>
      <p:sp>
        <p:nvSpPr>
          <p:cNvPr id="23" name="Content Placeholder 6">
            <a:extLst>
              <a:ext uri="{FF2B5EF4-FFF2-40B4-BE49-F238E27FC236}">
                <a16:creationId xmlns:a16="http://schemas.microsoft.com/office/drawing/2014/main" id="{DD3DDF9B-60D7-48D5-8103-A6A8A92AF3FC}"/>
              </a:ext>
            </a:extLst>
          </p:cNvPr>
          <p:cNvSpPr>
            <a:spLocks noGrp="1"/>
          </p:cNvSpPr>
          <p:nvPr>
            <p:ph sz="quarter" idx="31"/>
          </p:nvPr>
        </p:nvSpPr>
        <p:spPr>
          <a:xfrm>
            <a:off x="392400" y="1633397"/>
            <a:ext cx="2880000" cy="2165185"/>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4" name="Content Placeholder 6">
            <a:extLst>
              <a:ext uri="{FF2B5EF4-FFF2-40B4-BE49-F238E27FC236}">
                <a16:creationId xmlns:a16="http://schemas.microsoft.com/office/drawing/2014/main" id="{2606B990-3D0D-4A06-8200-E9098ADD4E5D}"/>
              </a:ext>
            </a:extLst>
          </p:cNvPr>
          <p:cNvSpPr>
            <a:spLocks noGrp="1"/>
          </p:cNvSpPr>
          <p:nvPr>
            <p:ph sz="quarter" idx="34"/>
          </p:nvPr>
        </p:nvSpPr>
        <p:spPr>
          <a:xfrm>
            <a:off x="3518777" y="1633397"/>
            <a:ext cx="6006071" cy="4592151"/>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5" name="Content Placeholder 6">
            <a:extLst>
              <a:ext uri="{FF2B5EF4-FFF2-40B4-BE49-F238E27FC236}">
                <a16:creationId xmlns:a16="http://schemas.microsoft.com/office/drawing/2014/main" id="{87DE3AE1-5509-4220-B2B4-0302413D1255}"/>
              </a:ext>
            </a:extLst>
          </p:cNvPr>
          <p:cNvSpPr>
            <a:spLocks noGrp="1"/>
          </p:cNvSpPr>
          <p:nvPr>
            <p:ph sz="quarter" idx="35"/>
          </p:nvPr>
        </p:nvSpPr>
        <p:spPr>
          <a:xfrm>
            <a:off x="392400" y="4080505"/>
            <a:ext cx="2880000" cy="2165185"/>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Espace réservé du numéro de diapositive 3">
            <a:extLst>
              <a:ext uri="{FF2B5EF4-FFF2-40B4-BE49-F238E27FC236}">
                <a16:creationId xmlns:a16="http://schemas.microsoft.com/office/drawing/2014/main" id="{58F1708B-B1AE-3A18-5EE7-D82D4C898CBB}"/>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Tx/>
            </a:pPr>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buClrTx/>
              </a:pPr>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925827769"/>
      </p:ext>
    </p:extLst>
  </p:cSld>
  <p:clrMapOvr>
    <a:masterClrMapping/>
  </p:clrMapOvr>
  <p:extLst>
    <p:ext uri="{DCECCB84-F9BA-43D5-87BE-67443E8EF086}">
      <p15:sldGuideLst xmlns:p15="http://schemas.microsoft.com/office/powerpoint/2012/main">
        <p15:guide id="1" orient="horz" pos="867">
          <p15:clr>
            <a:srgbClr val="FBAE40"/>
          </p15:clr>
        </p15:guide>
        <p15:guide id="2" pos="240">
          <p15:clr>
            <a:srgbClr val="FBAE40"/>
          </p15:clr>
        </p15:guide>
        <p15:guide id="3" pos="6000">
          <p15:clr>
            <a:srgbClr val="FBAE40"/>
          </p15:clr>
        </p15:guide>
        <p15:guide id="4" orient="horz" pos="1026">
          <p15:clr>
            <a:srgbClr val="FBAE40"/>
          </p15:clr>
        </p15:guide>
        <p15:guide id="5" orient="horz" pos="256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x2 Center with right spli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1045D5F-9BF7-7D8C-18FC-0F0C4EC43E95}"/>
              </a:ext>
            </a:extLst>
          </p:cNvPr>
          <p:cNvGraphicFramePr>
            <a:graphicFrameLocks noChangeAspect="1"/>
          </p:cNvGraphicFramePr>
          <p:nvPr userDrawn="1">
            <p:custDataLst>
              <p:tags r:id="rId1"/>
            </p:custDataLst>
            <p:extLst>
              <p:ext uri="{D42A27DB-BD31-4B8C-83A1-F6EECF244321}">
                <p14:modId xmlns:p14="http://schemas.microsoft.com/office/powerpoint/2010/main" val="1013645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91045D5F-9BF7-7D8C-18FC-0F0C4EC43E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ext Placeholder 28"/>
          <p:cNvSpPr>
            <a:spLocks noGrp="1"/>
          </p:cNvSpPr>
          <p:nvPr>
            <p:ph type="body" sz="quarter" idx="10" hasCustomPrompt="1"/>
          </p:nvPr>
        </p:nvSpPr>
        <p:spPr>
          <a:xfrm>
            <a:off x="393244" y="881289"/>
            <a:ext cx="9125695" cy="396382"/>
          </a:xfrm>
          <a:prstGeom prst="rect">
            <a:avLst/>
          </a:prstGeom>
          <a:ln w="3175">
            <a:noFill/>
          </a:ln>
        </p:spPr>
        <p:txBody>
          <a:bodyPr vert="horz" lIns="0" tIns="36000" rIns="36000" bIns="36000" rtlCol="0">
            <a:noAutofit/>
          </a:bodyPr>
          <a:lstStyle>
            <a:lvl1pPr>
              <a:buClrTx/>
              <a:defRPr lang="en-AU" sz="1200" noProof="0" dirty="0">
                <a:cs typeface="Roboto Light" panose="02000000000000000000" pitchFamily="2" charset="0"/>
              </a:defRPr>
            </a:lvl1pPr>
          </a:lstStyle>
          <a:p>
            <a:pPr lvl="0">
              <a:lnSpc>
                <a:spcPct val="100000"/>
              </a:lnSpc>
            </a:pPr>
            <a:r>
              <a:rPr lang="en-AU" noProof="0" dirty="0"/>
              <a:t>Click to insert key message</a:t>
            </a:r>
          </a:p>
        </p:txBody>
      </p:sp>
      <p:sp>
        <p:nvSpPr>
          <p:cNvPr id="18" name="Text Placeholder 17"/>
          <p:cNvSpPr>
            <a:spLocks noGrp="1"/>
          </p:cNvSpPr>
          <p:nvPr>
            <p:ph type="body" sz="quarter" idx="24" hasCustomPrompt="1"/>
          </p:nvPr>
        </p:nvSpPr>
        <p:spPr>
          <a:xfrm>
            <a:off x="393246" y="1383643"/>
            <a:ext cx="4380368"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0" name="Title 19"/>
          <p:cNvSpPr>
            <a:spLocks noGrp="1"/>
          </p:cNvSpPr>
          <p:nvPr>
            <p:ph type="title" hasCustomPrompt="1"/>
          </p:nvPr>
        </p:nvSpPr>
        <p:spPr>
          <a:xfrm>
            <a:off x="392400" y="108000"/>
            <a:ext cx="7560000" cy="576000"/>
          </a:xfrm>
          <a:prstGeom prst="rect">
            <a:avLst/>
          </a:prstGeom>
        </p:spPr>
        <p:txBody>
          <a:bodyPr vert="horz"/>
          <a:lstStyle>
            <a:lvl1pPr>
              <a:buClrTx/>
              <a:defRPr b="0" i="0">
                <a:latin typeface="Roboto Light" panose="02000000000000000000" pitchFamily="2" charset="0"/>
                <a:ea typeface="Roboto Light" panose="02000000000000000000" pitchFamily="2" charset="0"/>
                <a:cs typeface="Roboto Light" panose="02000000000000000000" pitchFamily="2" charset="0"/>
              </a:defRPr>
            </a:lvl1pPr>
          </a:lstStyle>
          <a:p>
            <a:r>
              <a:rPr lang="en-AU" noProof="0" dirty="0"/>
              <a:t>Click to insert page title</a:t>
            </a:r>
          </a:p>
        </p:txBody>
      </p:sp>
      <p:sp>
        <p:nvSpPr>
          <p:cNvPr id="13" name="Text Placeholder 17"/>
          <p:cNvSpPr>
            <a:spLocks noGrp="1"/>
          </p:cNvSpPr>
          <p:nvPr>
            <p:ph type="body" sz="quarter" idx="29" hasCustomPrompt="1"/>
          </p:nvPr>
        </p:nvSpPr>
        <p:spPr>
          <a:xfrm>
            <a:off x="5140552" y="1383643"/>
            <a:ext cx="4380368"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1" name="Text Placeholder 17"/>
          <p:cNvSpPr>
            <a:spLocks noGrp="1"/>
          </p:cNvSpPr>
          <p:nvPr>
            <p:ph type="body" sz="quarter" idx="33" hasCustomPrompt="1"/>
          </p:nvPr>
        </p:nvSpPr>
        <p:spPr>
          <a:xfrm>
            <a:off x="5140552" y="3817891"/>
            <a:ext cx="4380368"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15" name="Espace réservé du texte 4">
            <a:extLst>
              <a:ext uri="{FF2B5EF4-FFF2-40B4-BE49-F238E27FC236}">
                <a16:creationId xmlns:a16="http://schemas.microsoft.com/office/drawing/2014/main" id="{C50E46EA-419E-43A7-9A3A-A89848935A9F}"/>
              </a:ext>
            </a:extLst>
          </p:cNvPr>
          <p:cNvSpPr>
            <a:spLocks noGrp="1"/>
          </p:cNvSpPr>
          <p:nvPr>
            <p:ph type="body" sz="quarter" idx="27" hasCustomPrompt="1"/>
          </p:nvPr>
        </p:nvSpPr>
        <p:spPr>
          <a:xfrm>
            <a:off x="393245" y="6233719"/>
            <a:ext cx="4380368" cy="276340"/>
          </a:xfrm>
          <a:prstGeom prst="rect">
            <a:avLst/>
          </a:prstGeom>
        </p:spPr>
        <p:txBody>
          <a:bodyPr lIns="0" tIns="0" rIns="0" bIns="0" anchor="b" anchorCtr="0"/>
          <a:lstStyle>
            <a:lvl1pPr>
              <a:spcAft>
                <a:spcPts val="0"/>
              </a:spcAft>
              <a:buClrTx/>
              <a:defRPr sz="6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fr-FR" dirty="0"/>
              <a:t>Source:</a:t>
            </a:r>
            <a:endParaRPr lang="en-GB" dirty="0"/>
          </a:p>
        </p:txBody>
      </p:sp>
      <p:sp>
        <p:nvSpPr>
          <p:cNvPr id="22" name="Content Placeholder 6">
            <a:extLst>
              <a:ext uri="{FF2B5EF4-FFF2-40B4-BE49-F238E27FC236}">
                <a16:creationId xmlns:a16="http://schemas.microsoft.com/office/drawing/2014/main" id="{F7A527A7-21BF-4A0F-B809-6F6F8C074E1C}"/>
              </a:ext>
            </a:extLst>
          </p:cNvPr>
          <p:cNvSpPr>
            <a:spLocks noGrp="1"/>
          </p:cNvSpPr>
          <p:nvPr>
            <p:ph sz="quarter" idx="31"/>
          </p:nvPr>
        </p:nvSpPr>
        <p:spPr>
          <a:xfrm>
            <a:off x="392400" y="1633397"/>
            <a:ext cx="4380368" cy="4592151"/>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3" name="Content Placeholder 6">
            <a:extLst>
              <a:ext uri="{FF2B5EF4-FFF2-40B4-BE49-F238E27FC236}">
                <a16:creationId xmlns:a16="http://schemas.microsoft.com/office/drawing/2014/main" id="{888AD895-B63C-4657-A849-4F9EA50A95AA}"/>
              </a:ext>
            </a:extLst>
          </p:cNvPr>
          <p:cNvSpPr>
            <a:spLocks noGrp="1"/>
          </p:cNvSpPr>
          <p:nvPr>
            <p:ph sz="quarter" idx="34"/>
          </p:nvPr>
        </p:nvSpPr>
        <p:spPr>
          <a:xfrm>
            <a:off x="5138572" y="1633398"/>
            <a:ext cx="4380368" cy="2078520"/>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4" name="Content Placeholder 6">
            <a:extLst>
              <a:ext uri="{FF2B5EF4-FFF2-40B4-BE49-F238E27FC236}">
                <a16:creationId xmlns:a16="http://schemas.microsoft.com/office/drawing/2014/main" id="{9BB0D739-126B-4E99-84AC-68C7DC78AED3}"/>
              </a:ext>
            </a:extLst>
          </p:cNvPr>
          <p:cNvSpPr>
            <a:spLocks noGrp="1"/>
          </p:cNvSpPr>
          <p:nvPr>
            <p:ph sz="quarter" idx="35"/>
          </p:nvPr>
        </p:nvSpPr>
        <p:spPr>
          <a:xfrm>
            <a:off x="5138572" y="4071798"/>
            <a:ext cx="4380368" cy="2153750"/>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Espace réservé du numéro de diapositive 3">
            <a:extLst>
              <a:ext uri="{FF2B5EF4-FFF2-40B4-BE49-F238E27FC236}">
                <a16:creationId xmlns:a16="http://schemas.microsoft.com/office/drawing/2014/main" id="{E9281A32-AF5C-BB66-0FD3-9392E098A504}"/>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Tx/>
            </a:pPr>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buClrTx/>
              </a:pPr>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379634310"/>
      </p:ext>
    </p:extLst>
  </p:cSld>
  <p:clrMapOvr>
    <a:masterClrMapping/>
  </p:clrMapOvr>
  <p:extLst>
    <p:ext uri="{DCECCB84-F9BA-43D5-87BE-67443E8EF086}">
      <p15:sldGuideLst xmlns:p15="http://schemas.microsoft.com/office/powerpoint/2012/main">
        <p15:guide id="1" orient="horz" pos="867">
          <p15:clr>
            <a:srgbClr val="FBAE40"/>
          </p15:clr>
        </p15:guide>
        <p15:guide id="2" pos="240">
          <p15:clr>
            <a:srgbClr val="FBAE40"/>
          </p15:clr>
        </p15:guide>
        <p15:guide id="3" pos="6000">
          <p15:clr>
            <a:srgbClr val="FBAE40"/>
          </p15:clr>
        </p15:guide>
        <p15:guide id="4" pos="3007">
          <p15:clr>
            <a:srgbClr val="FBAE40"/>
          </p15:clr>
        </p15:guide>
        <p15:guide id="5" pos="3233">
          <p15:clr>
            <a:srgbClr val="FBAE40"/>
          </p15:clr>
        </p15:guide>
        <p15:guide id="6" orient="horz" pos="1026">
          <p15:clr>
            <a:srgbClr val="FBAE40"/>
          </p15:clr>
        </p15:guide>
        <p15:guide id="7" orient="horz" pos="256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x2 Center with left spli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9DC5A1E-7CB7-E7B9-4418-F42846F7BCE4}"/>
              </a:ext>
            </a:extLst>
          </p:cNvPr>
          <p:cNvGraphicFramePr>
            <a:graphicFrameLocks noChangeAspect="1"/>
          </p:cNvGraphicFramePr>
          <p:nvPr userDrawn="1">
            <p:custDataLst>
              <p:tags r:id="rId1"/>
            </p:custDataLst>
            <p:extLst>
              <p:ext uri="{D42A27DB-BD31-4B8C-83A1-F6EECF244321}">
                <p14:modId xmlns:p14="http://schemas.microsoft.com/office/powerpoint/2010/main" val="1081338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59DC5A1E-7CB7-E7B9-4418-F42846F7BC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ext Placeholder 28"/>
          <p:cNvSpPr>
            <a:spLocks noGrp="1"/>
          </p:cNvSpPr>
          <p:nvPr>
            <p:ph type="body" sz="quarter" idx="10" hasCustomPrompt="1"/>
          </p:nvPr>
        </p:nvSpPr>
        <p:spPr>
          <a:xfrm>
            <a:off x="393244" y="881289"/>
            <a:ext cx="9125695" cy="396382"/>
          </a:xfrm>
          <a:prstGeom prst="rect">
            <a:avLst/>
          </a:prstGeom>
          <a:ln w="3175">
            <a:noFill/>
          </a:ln>
        </p:spPr>
        <p:txBody>
          <a:bodyPr vert="horz" lIns="0" tIns="36000" rIns="36000" bIns="36000" rtlCol="0">
            <a:noAutofit/>
          </a:bodyPr>
          <a:lstStyle>
            <a:lvl1pPr>
              <a:buClrTx/>
              <a:defRPr lang="en-AU" sz="1200" noProof="0" dirty="0">
                <a:cs typeface="Roboto Light" panose="02000000000000000000" pitchFamily="2" charset="0"/>
              </a:defRPr>
            </a:lvl1pPr>
          </a:lstStyle>
          <a:p>
            <a:pPr lvl="0">
              <a:lnSpc>
                <a:spcPct val="100000"/>
              </a:lnSpc>
            </a:pPr>
            <a:r>
              <a:rPr lang="en-AU" noProof="0" dirty="0"/>
              <a:t>Click to insert key message</a:t>
            </a:r>
          </a:p>
        </p:txBody>
      </p:sp>
      <p:sp>
        <p:nvSpPr>
          <p:cNvPr id="18" name="Text Placeholder 17"/>
          <p:cNvSpPr>
            <a:spLocks noGrp="1"/>
          </p:cNvSpPr>
          <p:nvPr>
            <p:ph type="body" sz="quarter" idx="24" hasCustomPrompt="1"/>
          </p:nvPr>
        </p:nvSpPr>
        <p:spPr>
          <a:xfrm>
            <a:off x="393246" y="1383643"/>
            <a:ext cx="4380368"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0" name="Title 19"/>
          <p:cNvSpPr>
            <a:spLocks noGrp="1"/>
          </p:cNvSpPr>
          <p:nvPr>
            <p:ph type="title" hasCustomPrompt="1"/>
          </p:nvPr>
        </p:nvSpPr>
        <p:spPr>
          <a:xfrm>
            <a:off x="392399" y="108000"/>
            <a:ext cx="7560000" cy="576000"/>
          </a:xfrm>
          <a:prstGeom prst="rect">
            <a:avLst/>
          </a:prstGeom>
        </p:spPr>
        <p:txBody>
          <a:bodyPr vert="horz"/>
          <a:lstStyle>
            <a:lvl1pPr>
              <a:buClrTx/>
              <a:defRPr b="0" i="0">
                <a:latin typeface="Roboto Light" panose="02000000000000000000" pitchFamily="2" charset="0"/>
                <a:ea typeface="Roboto Light" panose="02000000000000000000" pitchFamily="2" charset="0"/>
                <a:cs typeface="Roboto Light" panose="02000000000000000000" pitchFamily="2" charset="0"/>
              </a:defRPr>
            </a:lvl1pPr>
          </a:lstStyle>
          <a:p>
            <a:r>
              <a:rPr lang="en-AU" noProof="0" dirty="0"/>
              <a:t>Click to insert page title</a:t>
            </a:r>
          </a:p>
        </p:txBody>
      </p:sp>
      <p:sp>
        <p:nvSpPr>
          <p:cNvPr id="13" name="Text Placeholder 17"/>
          <p:cNvSpPr>
            <a:spLocks noGrp="1"/>
          </p:cNvSpPr>
          <p:nvPr>
            <p:ph type="body" sz="quarter" idx="29" hasCustomPrompt="1"/>
          </p:nvPr>
        </p:nvSpPr>
        <p:spPr>
          <a:xfrm>
            <a:off x="5140552" y="1383643"/>
            <a:ext cx="4380368"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15" name="Text Placeholder 17"/>
          <p:cNvSpPr>
            <a:spLocks noGrp="1"/>
          </p:cNvSpPr>
          <p:nvPr>
            <p:ph type="body" sz="quarter" idx="31" hasCustomPrompt="1"/>
          </p:nvPr>
        </p:nvSpPr>
        <p:spPr>
          <a:xfrm>
            <a:off x="393246" y="3817891"/>
            <a:ext cx="4380368"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17" name="Espace réservé du texte 4">
            <a:extLst>
              <a:ext uri="{FF2B5EF4-FFF2-40B4-BE49-F238E27FC236}">
                <a16:creationId xmlns:a16="http://schemas.microsoft.com/office/drawing/2014/main" id="{EB51660B-48EE-48DA-934D-A90404FD50F9}"/>
              </a:ext>
            </a:extLst>
          </p:cNvPr>
          <p:cNvSpPr>
            <a:spLocks noGrp="1"/>
          </p:cNvSpPr>
          <p:nvPr>
            <p:ph type="body" sz="quarter" idx="27" hasCustomPrompt="1"/>
          </p:nvPr>
        </p:nvSpPr>
        <p:spPr>
          <a:xfrm>
            <a:off x="393245" y="6233719"/>
            <a:ext cx="4380368" cy="276340"/>
          </a:xfrm>
          <a:prstGeom prst="rect">
            <a:avLst/>
          </a:prstGeom>
        </p:spPr>
        <p:txBody>
          <a:bodyPr lIns="0" tIns="0" rIns="0" bIns="0" anchor="b" anchorCtr="0"/>
          <a:lstStyle>
            <a:lvl1pPr>
              <a:spcAft>
                <a:spcPts val="0"/>
              </a:spcAft>
              <a:buClrTx/>
              <a:defRPr sz="6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fr-FR" dirty="0"/>
              <a:t>Source:</a:t>
            </a:r>
            <a:endParaRPr lang="en-GB" dirty="0"/>
          </a:p>
        </p:txBody>
      </p:sp>
      <p:sp>
        <p:nvSpPr>
          <p:cNvPr id="21" name="Content Placeholder 6">
            <a:extLst>
              <a:ext uri="{FF2B5EF4-FFF2-40B4-BE49-F238E27FC236}">
                <a16:creationId xmlns:a16="http://schemas.microsoft.com/office/drawing/2014/main" id="{21D00ED4-A806-4DC5-84D8-68F03901E805}"/>
              </a:ext>
            </a:extLst>
          </p:cNvPr>
          <p:cNvSpPr>
            <a:spLocks noGrp="1"/>
          </p:cNvSpPr>
          <p:nvPr>
            <p:ph sz="quarter" idx="32"/>
          </p:nvPr>
        </p:nvSpPr>
        <p:spPr>
          <a:xfrm>
            <a:off x="392400" y="1633397"/>
            <a:ext cx="4380368" cy="2149745"/>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2" name="Content Placeholder 6">
            <a:extLst>
              <a:ext uri="{FF2B5EF4-FFF2-40B4-BE49-F238E27FC236}">
                <a16:creationId xmlns:a16="http://schemas.microsoft.com/office/drawing/2014/main" id="{787105FE-BD28-4FEE-9666-8D5BFCA212EE}"/>
              </a:ext>
            </a:extLst>
          </p:cNvPr>
          <p:cNvSpPr>
            <a:spLocks noGrp="1"/>
          </p:cNvSpPr>
          <p:nvPr>
            <p:ph sz="quarter" idx="33"/>
          </p:nvPr>
        </p:nvSpPr>
        <p:spPr>
          <a:xfrm>
            <a:off x="5138572" y="1633397"/>
            <a:ext cx="4380368" cy="4592151"/>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3" name="Content Placeholder 6">
            <a:extLst>
              <a:ext uri="{FF2B5EF4-FFF2-40B4-BE49-F238E27FC236}">
                <a16:creationId xmlns:a16="http://schemas.microsoft.com/office/drawing/2014/main" id="{82CB3220-5DA3-40AC-A8EB-9050D978223B}"/>
              </a:ext>
            </a:extLst>
          </p:cNvPr>
          <p:cNvSpPr>
            <a:spLocks noGrp="1"/>
          </p:cNvSpPr>
          <p:nvPr>
            <p:ph sz="quarter" idx="34"/>
          </p:nvPr>
        </p:nvSpPr>
        <p:spPr>
          <a:xfrm>
            <a:off x="392400" y="4080506"/>
            <a:ext cx="4380368" cy="2149745"/>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Espace réservé du numéro de diapositive 3">
            <a:extLst>
              <a:ext uri="{FF2B5EF4-FFF2-40B4-BE49-F238E27FC236}">
                <a16:creationId xmlns:a16="http://schemas.microsoft.com/office/drawing/2014/main" id="{38909304-23AB-5F46-C5B0-11D8666F9616}"/>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Tx/>
            </a:pPr>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buClrTx/>
              </a:pPr>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1983530104"/>
      </p:ext>
    </p:extLst>
  </p:cSld>
  <p:clrMapOvr>
    <a:masterClrMapping/>
  </p:clrMapOvr>
  <p:extLst>
    <p:ext uri="{DCECCB84-F9BA-43D5-87BE-67443E8EF086}">
      <p15:sldGuideLst xmlns:p15="http://schemas.microsoft.com/office/powerpoint/2012/main">
        <p15:guide id="1" orient="horz" pos="867">
          <p15:clr>
            <a:srgbClr val="FBAE40"/>
          </p15:clr>
        </p15:guide>
        <p15:guide id="2" pos="240">
          <p15:clr>
            <a:srgbClr val="FBAE40"/>
          </p15:clr>
        </p15:guide>
        <p15:guide id="3" pos="6000">
          <p15:clr>
            <a:srgbClr val="FBAE40"/>
          </p15:clr>
        </p15:guide>
        <p15:guide id="4" pos="3007">
          <p15:clr>
            <a:srgbClr val="FBAE40"/>
          </p15:clr>
        </p15:guide>
        <p15:guide id="5" pos="3233">
          <p15:clr>
            <a:srgbClr val="FBAE40"/>
          </p15:clr>
        </p15:guide>
        <p15:guide id="6" orient="horz" pos="1026">
          <p15:clr>
            <a:srgbClr val="FBAE40"/>
          </p15:clr>
        </p15:guide>
        <p15:guide id="7" orient="horz" pos="256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cxnSp>
        <p:nvCxnSpPr>
          <p:cNvPr id="45" name="Straight Connector 24"/>
          <p:cNvCxnSpPr>
            <a:cxnSpLocks noChangeShapeType="1"/>
          </p:cNvCxnSpPr>
          <p:nvPr userDrawn="1">
            <p:custDataLst>
              <p:tags r:id="rId1"/>
            </p:custDataLst>
          </p:nvPr>
        </p:nvCxnSpPr>
        <p:spPr bwMode="gray">
          <a:xfrm flipH="1">
            <a:off x="632521" y="2286383"/>
            <a:ext cx="8676579" cy="0"/>
          </a:xfrm>
          <a:prstGeom prst="line">
            <a:avLst/>
          </a:prstGeom>
          <a:noFill/>
          <a:ln w="9525" algn="ctr">
            <a:solidFill>
              <a:schemeClr val="accent6"/>
            </a:solidFill>
            <a:round/>
            <a:headEnd/>
            <a:tailEnd/>
          </a:ln>
        </p:spPr>
      </p:cxnSp>
      <p:sp>
        <p:nvSpPr>
          <p:cNvPr id="2" name="ZoneTexte 1"/>
          <p:cNvSpPr txBox="1"/>
          <p:nvPr userDrawn="1"/>
        </p:nvSpPr>
        <p:spPr>
          <a:xfrm>
            <a:off x="632521" y="1834851"/>
            <a:ext cx="3600399" cy="6480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Autofit/>
          </a:bodyPr>
          <a:lstStyle/>
          <a:p>
            <a:pPr algn="l"/>
            <a:r>
              <a:rPr lang="en-GB" sz="24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rPr>
              <a:t>Agenda</a:t>
            </a:r>
          </a:p>
        </p:txBody>
      </p:sp>
      <p:sp>
        <p:nvSpPr>
          <p:cNvPr id="5" name="Espace réservé du contenu 4"/>
          <p:cNvSpPr>
            <a:spLocks noGrp="1"/>
          </p:cNvSpPr>
          <p:nvPr>
            <p:ph sz="quarter" idx="10" hasCustomPrompt="1"/>
          </p:nvPr>
        </p:nvSpPr>
        <p:spPr>
          <a:xfrm>
            <a:off x="632521" y="2679461"/>
            <a:ext cx="8317235" cy="2592387"/>
          </a:xfrm>
          <a:prstGeom prst="rect">
            <a:avLst/>
          </a:prstGeom>
        </p:spPr>
        <p:txBody>
          <a:bodyPr/>
          <a:lstStyle>
            <a:lvl1pPr marL="0" indent="0" algn="l">
              <a:buClr>
                <a:schemeClr val="tx1"/>
              </a:buClr>
              <a:buFontTx/>
              <a:buNone/>
              <a:defRPr sz="1200" b="0" i="0" baseline="0">
                <a:latin typeface="Roboto Light" panose="02000000000000000000" pitchFamily="2" charset="0"/>
                <a:ea typeface="Roboto Light" panose="02000000000000000000" pitchFamily="2" charset="0"/>
                <a:cs typeface="Roboto Light" panose="02000000000000000000" pitchFamily="2" charset="0"/>
              </a:defRPr>
            </a:lvl1pPr>
          </a:lstStyle>
          <a:p>
            <a:pPr lvl="0"/>
            <a:r>
              <a:rPr lang="fr-FR" dirty="0"/>
              <a:t>Part 1 [pp. x-x]</a:t>
            </a:r>
          </a:p>
          <a:p>
            <a:pPr lvl="0"/>
            <a:endParaRPr lang="fr-FR" dirty="0"/>
          </a:p>
          <a:p>
            <a:pPr lvl="0"/>
            <a:r>
              <a:rPr lang="fr-FR" dirty="0"/>
              <a:t>Part 2 [pp. x-x]</a:t>
            </a:r>
          </a:p>
          <a:p>
            <a:pPr lvl="0"/>
            <a:endParaRPr lang="fr-FR" dirty="0"/>
          </a:p>
          <a:p>
            <a:pPr lvl="0"/>
            <a:r>
              <a:rPr lang="fr-FR" dirty="0"/>
              <a:t>Part 3 [pp. x-x]</a:t>
            </a:r>
          </a:p>
          <a:p>
            <a:pPr lvl="0"/>
            <a:endParaRPr lang="fr-FR" dirty="0"/>
          </a:p>
          <a:p>
            <a:pPr lvl="0"/>
            <a:r>
              <a:rPr lang="fr-FR" dirty="0"/>
              <a:t>Part 4 [pp. x-x]</a:t>
            </a:r>
          </a:p>
          <a:p>
            <a:pPr lvl="0"/>
            <a:endParaRPr lang="en-GB" dirty="0"/>
          </a:p>
        </p:txBody>
      </p:sp>
      <p:sp>
        <p:nvSpPr>
          <p:cNvPr id="6" name="jpmDocTracker">
            <a:extLst>
              <a:ext uri="{FF2B5EF4-FFF2-40B4-BE49-F238E27FC236}">
                <a16:creationId xmlns:a16="http://schemas.microsoft.com/office/drawing/2014/main" id="{F5C0C60C-C54A-4D5F-919F-DB27EE90C5D0}"/>
              </a:ext>
            </a:extLst>
          </p:cNvPr>
          <p:cNvSpPr>
            <a:spLocks noChangeArrowheads="1"/>
          </p:cNvSpPr>
          <p:nvPr userDrawn="1">
            <p:custDataLst>
              <p:tags r:id="rId2"/>
            </p:custDataLst>
          </p:nvPr>
        </p:nvSpPr>
        <p:spPr bwMode="auto">
          <a:xfrm>
            <a:off x="6131808" y="6579257"/>
            <a:ext cx="3387069" cy="241873"/>
          </a:xfrm>
          <a:prstGeom prst="rect">
            <a:avLst/>
          </a:prstGeom>
          <a:noFill/>
          <a:ln w="9525">
            <a:noFill/>
            <a:miter lim="800000"/>
            <a:headEnd/>
            <a:tailEnd/>
          </a:ln>
        </p:spPr>
        <p:txBody>
          <a:bodyPr wrap="none" lIns="0" tIns="0" rIns="0" bIns="0" anchor="ctr" anchorCtr="0"/>
          <a:lstStyle/>
          <a:p>
            <a:pPr algn="r" defTabSz="912705" eaLnBrk="0" fontAlgn="base" hangingPunct="0">
              <a:lnSpc>
                <a:spcPts val="1052"/>
              </a:lnSpc>
              <a:spcBef>
                <a:spcPct val="0"/>
              </a:spcBef>
              <a:spcAft>
                <a:spcPct val="0"/>
              </a:spcAft>
            </a:pPr>
            <a:r>
              <a:rPr lang="pt-BR" sz="600" b="0" i="0" dirty="0">
                <a:solidFill>
                  <a:srgbClr val="6D6E71"/>
                </a:solidFill>
                <a:latin typeface="Roboto" panose="02000000000000000000" pitchFamily="2" charset="0"/>
                <a:ea typeface="Roboto" panose="02000000000000000000" pitchFamily="2" charset="0"/>
                <a:cs typeface="Roboto" panose="02000000000000000000" pitchFamily="2" charset="0"/>
              </a:rPr>
              <a:t>STRICTLY PRIVATE AND CONFIDENTIAL</a:t>
            </a:r>
            <a:endParaRPr lang="en-US" sz="600" b="0" i="0" dirty="0">
              <a:solidFill>
                <a:srgbClr val="6D6E71"/>
              </a:solidFill>
              <a:latin typeface="Roboto" panose="02000000000000000000" pitchFamily="2" charset="0"/>
              <a:ea typeface="Roboto" panose="02000000000000000000" pitchFamily="2" charset="0"/>
              <a:cs typeface="Roboto" panose="02000000000000000000" pitchFamily="2" charset="0"/>
            </a:endParaRPr>
          </a:p>
        </p:txBody>
      </p:sp>
      <p:pic>
        <p:nvPicPr>
          <p:cNvPr id="3" name="Picture 2" descr="A black background with brown text&#10;&#10;Description automatically generated">
            <a:extLst>
              <a:ext uri="{FF2B5EF4-FFF2-40B4-BE49-F238E27FC236}">
                <a16:creationId xmlns:a16="http://schemas.microsoft.com/office/drawing/2014/main" id="{B13FAC93-C879-71C1-9576-F713BE58186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431363" y="212455"/>
            <a:ext cx="1124571" cy="432000"/>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x2 Left offset with split v2">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BD785ED-8673-C914-72F7-371DB8422A61}"/>
              </a:ext>
            </a:extLst>
          </p:cNvPr>
          <p:cNvGraphicFramePr>
            <a:graphicFrameLocks noChangeAspect="1"/>
          </p:cNvGraphicFramePr>
          <p:nvPr userDrawn="1">
            <p:custDataLst>
              <p:tags r:id="rId1"/>
            </p:custDataLst>
            <p:extLst>
              <p:ext uri="{D42A27DB-BD31-4B8C-83A1-F6EECF244321}">
                <p14:modId xmlns:p14="http://schemas.microsoft.com/office/powerpoint/2010/main" val="3564394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CBD785ED-8673-C914-72F7-371DB8422A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ext Placeholder 28"/>
          <p:cNvSpPr>
            <a:spLocks noGrp="1"/>
          </p:cNvSpPr>
          <p:nvPr>
            <p:ph type="body" sz="quarter" idx="10" hasCustomPrompt="1"/>
          </p:nvPr>
        </p:nvSpPr>
        <p:spPr>
          <a:xfrm>
            <a:off x="393245" y="881289"/>
            <a:ext cx="9131604" cy="396382"/>
          </a:xfrm>
          <a:prstGeom prst="rect">
            <a:avLst/>
          </a:prstGeom>
          <a:ln w="3175">
            <a:noFill/>
          </a:ln>
        </p:spPr>
        <p:txBody>
          <a:bodyPr vert="horz" lIns="0" tIns="36000" rIns="36000" bIns="36000" rtlCol="0">
            <a:noAutofit/>
          </a:bodyPr>
          <a:lstStyle>
            <a:lvl1pPr>
              <a:buClrTx/>
              <a:defRPr lang="en-AU" sz="1200" noProof="0" dirty="0">
                <a:cs typeface="Roboto Light" panose="02000000000000000000" pitchFamily="2" charset="0"/>
              </a:defRPr>
            </a:lvl1pPr>
          </a:lstStyle>
          <a:p>
            <a:pPr lvl="0">
              <a:lnSpc>
                <a:spcPct val="100000"/>
              </a:lnSpc>
            </a:pPr>
            <a:r>
              <a:rPr lang="en-AU" noProof="0" dirty="0"/>
              <a:t>Click to insert key message</a:t>
            </a:r>
          </a:p>
        </p:txBody>
      </p:sp>
      <p:sp>
        <p:nvSpPr>
          <p:cNvPr id="18" name="Text Placeholder 17"/>
          <p:cNvSpPr>
            <a:spLocks noGrp="1"/>
          </p:cNvSpPr>
          <p:nvPr>
            <p:ph type="body" sz="quarter" idx="24" hasCustomPrompt="1"/>
          </p:nvPr>
        </p:nvSpPr>
        <p:spPr>
          <a:xfrm>
            <a:off x="393245" y="1383643"/>
            <a:ext cx="2880000"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0" name="Title 19"/>
          <p:cNvSpPr>
            <a:spLocks noGrp="1"/>
          </p:cNvSpPr>
          <p:nvPr>
            <p:ph type="title" hasCustomPrompt="1"/>
          </p:nvPr>
        </p:nvSpPr>
        <p:spPr>
          <a:xfrm>
            <a:off x="392399" y="108000"/>
            <a:ext cx="7560000" cy="576000"/>
          </a:xfrm>
          <a:prstGeom prst="rect">
            <a:avLst/>
          </a:prstGeom>
        </p:spPr>
        <p:txBody>
          <a:bodyPr vert="horz"/>
          <a:lstStyle>
            <a:lvl1pPr>
              <a:buClrTx/>
              <a:defRPr b="0" i="0">
                <a:latin typeface="Roboto Light" panose="02000000000000000000" pitchFamily="2" charset="0"/>
                <a:ea typeface="Roboto Light" panose="02000000000000000000" pitchFamily="2" charset="0"/>
                <a:cs typeface="Roboto Light" panose="02000000000000000000" pitchFamily="2" charset="0"/>
              </a:defRPr>
            </a:lvl1pPr>
          </a:lstStyle>
          <a:p>
            <a:r>
              <a:rPr lang="en-AU" noProof="0" dirty="0"/>
              <a:t>Click to insert page title</a:t>
            </a:r>
          </a:p>
        </p:txBody>
      </p:sp>
      <p:sp>
        <p:nvSpPr>
          <p:cNvPr id="11" name="Text Placeholder 17"/>
          <p:cNvSpPr>
            <a:spLocks noGrp="1"/>
          </p:cNvSpPr>
          <p:nvPr>
            <p:ph type="body" sz="quarter" idx="29" hasCustomPrompt="1"/>
          </p:nvPr>
        </p:nvSpPr>
        <p:spPr>
          <a:xfrm>
            <a:off x="3519317" y="1383643"/>
            <a:ext cx="6006072"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14" name="Text Placeholder 17"/>
          <p:cNvSpPr>
            <a:spLocks noGrp="1"/>
          </p:cNvSpPr>
          <p:nvPr>
            <p:ph type="body" sz="quarter" idx="31" hasCustomPrompt="1"/>
          </p:nvPr>
        </p:nvSpPr>
        <p:spPr>
          <a:xfrm>
            <a:off x="3519317" y="3818780"/>
            <a:ext cx="6006072"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Light" panose="02000000000000000000" pitchFamily="2" charset="0"/>
                <a:ea typeface="Roboto Light" panose="02000000000000000000" pitchFamily="2" charset="0"/>
                <a:cs typeface="Roboto Light"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17" name="Espace réservé du texte 4">
            <a:extLst>
              <a:ext uri="{FF2B5EF4-FFF2-40B4-BE49-F238E27FC236}">
                <a16:creationId xmlns:a16="http://schemas.microsoft.com/office/drawing/2014/main" id="{D3BC5F7E-BBB9-4518-A65D-F7A7D8103D8B}"/>
              </a:ext>
            </a:extLst>
          </p:cNvPr>
          <p:cNvSpPr>
            <a:spLocks noGrp="1"/>
          </p:cNvSpPr>
          <p:nvPr>
            <p:ph type="body" sz="quarter" idx="27" hasCustomPrompt="1"/>
          </p:nvPr>
        </p:nvSpPr>
        <p:spPr>
          <a:xfrm>
            <a:off x="393245" y="6233719"/>
            <a:ext cx="4380368" cy="276340"/>
          </a:xfrm>
          <a:prstGeom prst="rect">
            <a:avLst/>
          </a:prstGeom>
        </p:spPr>
        <p:txBody>
          <a:bodyPr lIns="0" tIns="0" rIns="0" bIns="0" anchor="b" anchorCtr="0"/>
          <a:lstStyle>
            <a:lvl1pPr>
              <a:spcAft>
                <a:spcPts val="0"/>
              </a:spcAft>
              <a:buClrTx/>
              <a:defRPr sz="6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fr-FR" dirty="0"/>
              <a:t>Source:</a:t>
            </a:r>
            <a:endParaRPr lang="en-GB" dirty="0"/>
          </a:p>
        </p:txBody>
      </p:sp>
      <p:sp>
        <p:nvSpPr>
          <p:cNvPr id="21" name="Content Placeholder 6">
            <a:extLst>
              <a:ext uri="{FF2B5EF4-FFF2-40B4-BE49-F238E27FC236}">
                <a16:creationId xmlns:a16="http://schemas.microsoft.com/office/drawing/2014/main" id="{576728DE-35AC-440E-B2A6-6E5CC569080D}"/>
              </a:ext>
            </a:extLst>
          </p:cNvPr>
          <p:cNvSpPr>
            <a:spLocks noGrp="1"/>
          </p:cNvSpPr>
          <p:nvPr>
            <p:ph sz="quarter" idx="32"/>
          </p:nvPr>
        </p:nvSpPr>
        <p:spPr>
          <a:xfrm>
            <a:off x="392400" y="1633397"/>
            <a:ext cx="2880000" cy="4592151"/>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2" name="Content Placeholder 6">
            <a:extLst>
              <a:ext uri="{FF2B5EF4-FFF2-40B4-BE49-F238E27FC236}">
                <a16:creationId xmlns:a16="http://schemas.microsoft.com/office/drawing/2014/main" id="{8FA60C01-B4E8-4D19-B7C8-72DAD676D1A1}"/>
              </a:ext>
            </a:extLst>
          </p:cNvPr>
          <p:cNvSpPr>
            <a:spLocks noGrp="1"/>
          </p:cNvSpPr>
          <p:nvPr>
            <p:ph sz="quarter" idx="33"/>
          </p:nvPr>
        </p:nvSpPr>
        <p:spPr>
          <a:xfrm>
            <a:off x="3518777" y="1633397"/>
            <a:ext cx="6006072" cy="2157021"/>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3" name="Content Placeholder 6">
            <a:extLst>
              <a:ext uri="{FF2B5EF4-FFF2-40B4-BE49-F238E27FC236}">
                <a16:creationId xmlns:a16="http://schemas.microsoft.com/office/drawing/2014/main" id="{E685F241-3CF7-4AAA-B315-4E82D43659B9}"/>
              </a:ext>
            </a:extLst>
          </p:cNvPr>
          <p:cNvSpPr>
            <a:spLocks noGrp="1"/>
          </p:cNvSpPr>
          <p:nvPr>
            <p:ph sz="quarter" idx="34"/>
          </p:nvPr>
        </p:nvSpPr>
        <p:spPr>
          <a:xfrm>
            <a:off x="3518777" y="4071797"/>
            <a:ext cx="6006072" cy="2157021"/>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Espace réservé du numéro de diapositive 3">
            <a:extLst>
              <a:ext uri="{FF2B5EF4-FFF2-40B4-BE49-F238E27FC236}">
                <a16:creationId xmlns:a16="http://schemas.microsoft.com/office/drawing/2014/main" id="{4A350E70-8064-6EFA-AB78-D05E925AC319}"/>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Tx/>
            </a:pPr>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buClrTx/>
              </a:pPr>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1782198046"/>
      </p:ext>
    </p:extLst>
  </p:cSld>
  <p:clrMapOvr>
    <a:masterClrMapping/>
  </p:clrMapOvr>
  <p:extLst>
    <p:ext uri="{DCECCB84-F9BA-43D5-87BE-67443E8EF086}">
      <p15:sldGuideLst xmlns:p15="http://schemas.microsoft.com/office/powerpoint/2012/main">
        <p15:guide id="1" orient="horz" pos="867">
          <p15:clr>
            <a:srgbClr val="FBAE40"/>
          </p15:clr>
        </p15:guide>
        <p15:guide id="2" pos="240">
          <p15:clr>
            <a:srgbClr val="FBAE40"/>
          </p15:clr>
        </p15:guide>
        <p15:guide id="3" pos="6000">
          <p15:clr>
            <a:srgbClr val="FBAE40"/>
          </p15:clr>
        </p15:guide>
        <p15:guide id="4" orient="horz" pos="1026">
          <p15:clr>
            <a:srgbClr val="FBAE40"/>
          </p15:clr>
        </p15:guide>
        <p15:guide id="5" orient="horz" pos="256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x2 Right offset with split v2">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B96CE2E-D447-7BDD-A590-7197D3AFD594}"/>
              </a:ext>
            </a:extLst>
          </p:cNvPr>
          <p:cNvGraphicFramePr>
            <a:graphicFrameLocks noChangeAspect="1"/>
          </p:cNvGraphicFramePr>
          <p:nvPr userDrawn="1">
            <p:custDataLst>
              <p:tags r:id="rId1"/>
            </p:custDataLst>
            <p:extLst>
              <p:ext uri="{D42A27DB-BD31-4B8C-83A1-F6EECF244321}">
                <p14:modId xmlns:p14="http://schemas.microsoft.com/office/powerpoint/2010/main" val="1054550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AB96CE2E-D447-7BDD-A590-7197D3AFD5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ext Placeholder 28"/>
          <p:cNvSpPr>
            <a:spLocks noGrp="1"/>
          </p:cNvSpPr>
          <p:nvPr>
            <p:ph type="body" sz="quarter" idx="10" hasCustomPrompt="1"/>
          </p:nvPr>
        </p:nvSpPr>
        <p:spPr>
          <a:xfrm>
            <a:off x="393245" y="881289"/>
            <a:ext cx="9132144" cy="396382"/>
          </a:xfrm>
          <a:prstGeom prst="rect">
            <a:avLst/>
          </a:prstGeom>
          <a:ln w="3175">
            <a:noFill/>
          </a:ln>
        </p:spPr>
        <p:txBody>
          <a:bodyPr vert="horz" lIns="0" tIns="36000" rIns="36000" bIns="36000" rtlCol="0">
            <a:noAutofit/>
          </a:bodyPr>
          <a:lstStyle>
            <a:lvl1pPr>
              <a:buClrTx/>
              <a:defRPr lang="en-AU" sz="1200" noProof="0" dirty="0">
                <a:cs typeface="Roboto Light" panose="02000000000000000000" pitchFamily="2" charset="0"/>
              </a:defRPr>
            </a:lvl1pPr>
          </a:lstStyle>
          <a:p>
            <a:pPr lvl="0">
              <a:lnSpc>
                <a:spcPct val="100000"/>
              </a:lnSpc>
            </a:pPr>
            <a:r>
              <a:rPr lang="en-AU" noProof="0" dirty="0"/>
              <a:t>Click to insert key message</a:t>
            </a:r>
          </a:p>
        </p:txBody>
      </p:sp>
      <p:sp>
        <p:nvSpPr>
          <p:cNvPr id="18" name="Text Placeholder 17"/>
          <p:cNvSpPr>
            <a:spLocks noGrp="1"/>
          </p:cNvSpPr>
          <p:nvPr>
            <p:ph type="body" sz="quarter" idx="24" hasCustomPrompt="1"/>
          </p:nvPr>
        </p:nvSpPr>
        <p:spPr>
          <a:xfrm>
            <a:off x="393245" y="1383643"/>
            <a:ext cx="6006072"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0" name="Title 19"/>
          <p:cNvSpPr>
            <a:spLocks noGrp="1"/>
          </p:cNvSpPr>
          <p:nvPr>
            <p:ph type="title" hasCustomPrompt="1"/>
          </p:nvPr>
        </p:nvSpPr>
        <p:spPr>
          <a:xfrm>
            <a:off x="392400" y="108000"/>
            <a:ext cx="7560000" cy="576000"/>
          </a:xfrm>
          <a:prstGeom prst="rect">
            <a:avLst/>
          </a:prstGeom>
        </p:spPr>
        <p:txBody>
          <a:bodyPr vert="horz"/>
          <a:lstStyle>
            <a:lvl1pPr>
              <a:buClrTx/>
              <a:defRPr b="0" i="0">
                <a:latin typeface="Roboto Light" panose="02000000000000000000" pitchFamily="2" charset="0"/>
                <a:ea typeface="Roboto Light" panose="02000000000000000000" pitchFamily="2" charset="0"/>
                <a:cs typeface="Roboto Light" panose="02000000000000000000" pitchFamily="2" charset="0"/>
              </a:defRPr>
            </a:lvl1pPr>
          </a:lstStyle>
          <a:p>
            <a:r>
              <a:rPr lang="en-AU" noProof="0" dirty="0"/>
              <a:t>Click to insert page title</a:t>
            </a:r>
          </a:p>
        </p:txBody>
      </p:sp>
      <p:sp>
        <p:nvSpPr>
          <p:cNvPr id="11" name="Text Placeholder 17"/>
          <p:cNvSpPr>
            <a:spLocks noGrp="1"/>
          </p:cNvSpPr>
          <p:nvPr>
            <p:ph type="body" sz="quarter" idx="29" hasCustomPrompt="1"/>
          </p:nvPr>
        </p:nvSpPr>
        <p:spPr>
          <a:xfrm>
            <a:off x="6645389" y="1383643"/>
            <a:ext cx="2880000"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14" name="Text Placeholder 17"/>
          <p:cNvSpPr>
            <a:spLocks noGrp="1"/>
          </p:cNvSpPr>
          <p:nvPr>
            <p:ph type="body" sz="quarter" idx="31" hasCustomPrompt="1"/>
          </p:nvPr>
        </p:nvSpPr>
        <p:spPr>
          <a:xfrm>
            <a:off x="393245" y="3817890"/>
            <a:ext cx="6006072"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17" name="Espace réservé du texte 4">
            <a:extLst>
              <a:ext uri="{FF2B5EF4-FFF2-40B4-BE49-F238E27FC236}">
                <a16:creationId xmlns:a16="http://schemas.microsoft.com/office/drawing/2014/main" id="{2510BDB9-5E80-43E2-A2E8-7F82843CEA53}"/>
              </a:ext>
            </a:extLst>
          </p:cNvPr>
          <p:cNvSpPr>
            <a:spLocks noGrp="1"/>
          </p:cNvSpPr>
          <p:nvPr>
            <p:ph type="body" sz="quarter" idx="27" hasCustomPrompt="1"/>
          </p:nvPr>
        </p:nvSpPr>
        <p:spPr>
          <a:xfrm>
            <a:off x="393245" y="6233719"/>
            <a:ext cx="4380368" cy="276340"/>
          </a:xfrm>
          <a:prstGeom prst="rect">
            <a:avLst/>
          </a:prstGeom>
        </p:spPr>
        <p:txBody>
          <a:bodyPr lIns="0" tIns="0" rIns="0" bIns="0" anchor="b" anchorCtr="0"/>
          <a:lstStyle>
            <a:lvl1pPr>
              <a:spcAft>
                <a:spcPts val="0"/>
              </a:spcAft>
              <a:buClrTx/>
              <a:defRPr sz="6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fr-FR" dirty="0"/>
              <a:t>Source:</a:t>
            </a:r>
            <a:endParaRPr lang="en-GB" dirty="0"/>
          </a:p>
        </p:txBody>
      </p:sp>
      <p:sp>
        <p:nvSpPr>
          <p:cNvPr id="21" name="Content Placeholder 6">
            <a:extLst>
              <a:ext uri="{FF2B5EF4-FFF2-40B4-BE49-F238E27FC236}">
                <a16:creationId xmlns:a16="http://schemas.microsoft.com/office/drawing/2014/main" id="{1A49EB2C-6818-4E1E-B1ED-40372F428F22}"/>
              </a:ext>
            </a:extLst>
          </p:cNvPr>
          <p:cNvSpPr>
            <a:spLocks noGrp="1"/>
          </p:cNvSpPr>
          <p:nvPr>
            <p:ph sz="quarter" idx="32"/>
          </p:nvPr>
        </p:nvSpPr>
        <p:spPr>
          <a:xfrm>
            <a:off x="392400" y="1633397"/>
            <a:ext cx="6006072" cy="2168165"/>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2" name="Content Placeholder 6">
            <a:extLst>
              <a:ext uri="{FF2B5EF4-FFF2-40B4-BE49-F238E27FC236}">
                <a16:creationId xmlns:a16="http://schemas.microsoft.com/office/drawing/2014/main" id="{9D096F37-E242-4641-99D7-2907AA3D65D7}"/>
              </a:ext>
            </a:extLst>
          </p:cNvPr>
          <p:cNvSpPr>
            <a:spLocks noGrp="1"/>
          </p:cNvSpPr>
          <p:nvPr>
            <p:ph sz="quarter" idx="33"/>
          </p:nvPr>
        </p:nvSpPr>
        <p:spPr>
          <a:xfrm>
            <a:off x="392400" y="4080506"/>
            <a:ext cx="6006072" cy="2168165"/>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3" name="Content Placeholder 6">
            <a:extLst>
              <a:ext uri="{FF2B5EF4-FFF2-40B4-BE49-F238E27FC236}">
                <a16:creationId xmlns:a16="http://schemas.microsoft.com/office/drawing/2014/main" id="{88C6734D-F723-4530-AAC9-CBF01EE71661}"/>
              </a:ext>
            </a:extLst>
          </p:cNvPr>
          <p:cNvSpPr>
            <a:spLocks noGrp="1"/>
          </p:cNvSpPr>
          <p:nvPr>
            <p:ph sz="quarter" idx="34"/>
          </p:nvPr>
        </p:nvSpPr>
        <p:spPr>
          <a:xfrm>
            <a:off x="6644544" y="1633397"/>
            <a:ext cx="2889014" cy="4615272"/>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Espace réservé du numéro de diapositive 3">
            <a:extLst>
              <a:ext uri="{FF2B5EF4-FFF2-40B4-BE49-F238E27FC236}">
                <a16:creationId xmlns:a16="http://schemas.microsoft.com/office/drawing/2014/main" id="{BE478BEF-9B39-4D2B-A0DB-B14D180256B2}"/>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Tx/>
            </a:pPr>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buClrTx/>
              </a:pPr>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1906496419"/>
      </p:ext>
    </p:extLst>
  </p:cSld>
  <p:clrMapOvr>
    <a:masterClrMapping/>
  </p:clrMapOvr>
  <p:extLst>
    <p:ext uri="{DCECCB84-F9BA-43D5-87BE-67443E8EF086}">
      <p15:sldGuideLst xmlns:p15="http://schemas.microsoft.com/office/powerpoint/2012/main">
        <p15:guide id="1" orient="horz" pos="867">
          <p15:clr>
            <a:srgbClr val="FBAE40"/>
          </p15:clr>
        </p15:guide>
        <p15:guide id="2" pos="240">
          <p15:clr>
            <a:srgbClr val="FBAE40"/>
          </p15:clr>
        </p15:guide>
        <p15:guide id="3" pos="6000">
          <p15:clr>
            <a:srgbClr val="FBAE40"/>
          </p15:clr>
        </p15:guide>
        <p15:guide id="4" orient="horz" pos="1026">
          <p15:clr>
            <a:srgbClr val="FBAE40"/>
          </p15:clr>
        </p15:guide>
        <p15:guide id="5" orient="horz" pos="256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x1 Center with top spli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FB98AC6-4A97-69FF-8863-73C265A5B611}"/>
              </a:ext>
            </a:extLst>
          </p:cNvPr>
          <p:cNvGraphicFramePr>
            <a:graphicFrameLocks noChangeAspect="1"/>
          </p:cNvGraphicFramePr>
          <p:nvPr userDrawn="1">
            <p:custDataLst>
              <p:tags r:id="rId1"/>
            </p:custDataLst>
            <p:extLst>
              <p:ext uri="{D42A27DB-BD31-4B8C-83A1-F6EECF244321}">
                <p14:modId xmlns:p14="http://schemas.microsoft.com/office/powerpoint/2010/main" val="1696393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FFB98AC6-4A97-69FF-8863-73C265A5B6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ext Placeholder 28"/>
          <p:cNvSpPr>
            <a:spLocks noGrp="1"/>
          </p:cNvSpPr>
          <p:nvPr>
            <p:ph type="body" sz="quarter" idx="10" hasCustomPrompt="1"/>
          </p:nvPr>
        </p:nvSpPr>
        <p:spPr>
          <a:xfrm>
            <a:off x="393245" y="881289"/>
            <a:ext cx="9125694" cy="396382"/>
          </a:xfrm>
          <a:prstGeom prst="rect">
            <a:avLst/>
          </a:prstGeom>
          <a:ln w="3175">
            <a:noFill/>
          </a:ln>
        </p:spPr>
        <p:txBody>
          <a:bodyPr vert="horz" lIns="0" tIns="36000" rIns="36000" bIns="36000" rtlCol="0">
            <a:noAutofit/>
          </a:bodyPr>
          <a:lstStyle>
            <a:lvl1pPr>
              <a:buClrTx/>
              <a:defRPr lang="en-AU" sz="1200" noProof="0" dirty="0">
                <a:cs typeface="Roboto Light" panose="02000000000000000000" pitchFamily="2" charset="0"/>
              </a:defRPr>
            </a:lvl1pPr>
          </a:lstStyle>
          <a:p>
            <a:pPr lvl="0">
              <a:lnSpc>
                <a:spcPct val="100000"/>
              </a:lnSpc>
            </a:pPr>
            <a:r>
              <a:rPr lang="en-AU" noProof="0" dirty="0"/>
              <a:t>Click to insert key message</a:t>
            </a:r>
          </a:p>
        </p:txBody>
      </p:sp>
      <p:sp>
        <p:nvSpPr>
          <p:cNvPr id="18" name="Text Placeholder 17"/>
          <p:cNvSpPr>
            <a:spLocks noGrp="1"/>
          </p:cNvSpPr>
          <p:nvPr>
            <p:ph type="body" sz="quarter" idx="24" hasCustomPrompt="1"/>
          </p:nvPr>
        </p:nvSpPr>
        <p:spPr>
          <a:xfrm>
            <a:off x="393246" y="1383643"/>
            <a:ext cx="4380368"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0" name="Title 19"/>
          <p:cNvSpPr>
            <a:spLocks noGrp="1"/>
          </p:cNvSpPr>
          <p:nvPr>
            <p:ph type="title" hasCustomPrompt="1"/>
          </p:nvPr>
        </p:nvSpPr>
        <p:spPr>
          <a:xfrm>
            <a:off x="392399" y="108000"/>
            <a:ext cx="7560000" cy="576000"/>
          </a:xfrm>
          <a:prstGeom prst="rect">
            <a:avLst/>
          </a:prstGeom>
        </p:spPr>
        <p:txBody>
          <a:bodyPr vert="horz"/>
          <a:lstStyle>
            <a:lvl1pPr>
              <a:buClrTx/>
              <a:defRPr b="0" i="0">
                <a:latin typeface="Roboto Light" panose="02000000000000000000" pitchFamily="2" charset="0"/>
                <a:ea typeface="Roboto Light" panose="02000000000000000000" pitchFamily="2" charset="0"/>
                <a:cs typeface="Roboto Light" panose="02000000000000000000" pitchFamily="2" charset="0"/>
              </a:defRPr>
            </a:lvl1pPr>
          </a:lstStyle>
          <a:p>
            <a:r>
              <a:rPr lang="en-AU" noProof="0" dirty="0"/>
              <a:t>Click to insert page title</a:t>
            </a:r>
          </a:p>
        </p:txBody>
      </p:sp>
      <p:sp>
        <p:nvSpPr>
          <p:cNvPr id="13" name="Text Placeholder 17"/>
          <p:cNvSpPr>
            <a:spLocks noGrp="1"/>
          </p:cNvSpPr>
          <p:nvPr>
            <p:ph type="body" sz="quarter" idx="29" hasCustomPrompt="1"/>
          </p:nvPr>
        </p:nvSpPr>
        <p:spPr>
          <a:xfrm>
            <a:off x="5140552" y="1383643"/>
            <a:ext cx="4380368"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15" name="Text Placeholder 17"/>
          <p:cNvSpPr>
            <a:spLocks noGrp="1"/>
          </p:cNvSpPr>
          <p:nvPr>
            <p:ph type="body" sz="quarter" idx="31" hasCustomPrompt="1"/>
          </p:nvPr>
        </p:nvSpPr>
        <p:spPr>
          <a:xfrm>
            <a:off x="393246" y="3817891"/>
            <a:ext cx="9131754"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17" name="Espace réservé du texte 4">
            <a:extLst>
              <a:ext uri="{FF2B5EF4-FFF2-40B4-BE49-F238E27FC236}">
                <a16:creationId xmlns:a16="http://schemas.microsoft.com/office/drawing/2014/main" id="{AA0AB5C9-B845-46F8-AA4F-D0DD09D514DC}"/>
              </a:ext>
            </a:extLst>
          </p:cNvPr>
          <p:cNvSpPr>
            <a:spLocks noGrp="1"/>
          </p:cNvSpPr>
          <p:nvPr>
            <p:ph type="body" sz="quarter" idx="27" hasCustomPrompt="1"/>
          </p:nvPr>
        </p:nvSpPr>
        <p:spPr>
          <a:xfrm>
            <a:off x="393245" y="6233719"/>
            <a:ext cx="4380368" cy="276340"/>
          </a:xfrm>
          <a:prstGeom prst="rect">
            <a:avLst/>
          </a:prstGeom>
        </p:spPr>
        <p:txBody>
          <a:bodyPr lIns="0" tIns="0" rIns="0" bIns="0" anchor="b" anchorCtr="0"/>
          <a:lstStyle>
            <a:lvl1pPr>
              <a:spcAft>
                <a:spcPts val="0"/>
              </a:spcAft>
              <a:buClrTx/>
              <a:defRPr sz="6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fr-FR" dirty="0"/>
              <a:t>Source:</a:t>
            </a:r>
            <a:endParaRPr lang="en-GB" dirty="0"/>
          </a:p>
        </p:txBody>
      </p:sp>
      <p:sp>
        <p:nvSpPr>
          <p:cNvPr id="23" name="Content Placeholder 6">
            <a:extLst>
              <a:ext uri="{FF2B5EF4-FFF2-40B4-BE49-F238E27FC236}">
                <a16:creationId xmlns:a16="http://schemas.microsoft.com/office/drawing/2014/main" id="{C2187E5E-431E-45A2-83F2-ABC25D4C193B}"/>
              </a:ext>
            </a:extLst>
          </p:cNvPr>
          <p:cNvSpPr>
            <a:spLocks noGrp="1"/>
          </p:cNvSpPr>
          <p:nvPr>
            <p:ph sz="quarter" idx="32"/>
          </p:nvPr>
        </p:nvSpPr>
        <p:spPr>
          <a:xfrm>
            <a:off x="392400" y="1633397"/>
            <a:ext cx="4380368" cy="2149741"/>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4" name="Content Placeholder 6">
            <a:extLst>
              <a:ext uri="{FF2B5EF4-FFF2-40B4-BE49-F238E27FC236}">
                <a16:creationId xmlns:a16="http://schemas.microsoft.com/office/drawing/2014/main" id="{58BB769B-E07C-4BDA-8FF1-4BDF3A4824C7}"/>
              </a:ext>
            </a:extLst>
          </p:cNvPr>
          <p:cNvSpPr>
            <a:spLocks noGrp="1"/>
          </p:cNvSpPr>
          <p:nvPr>
            <p:ph sz="quarter" idx="33"/>
          </p:nvPr>
        </p:nvSpPr>
        <p:spPr>
          <a:xfrm>
            <a:off x="5138571" y="1633397"/>
            <a:ext cx="4380368" cy="2149741"/>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5" name="Content Placeholder 6">
            <a:extLst>
              <a:ext uri="{FF2B5EF4-FFF2-40B4-BE49-F238E27FC236}">
                <a16:creationId xmlns:a16="http://schemas.microsoft.com/office/drawing/2014/main" id="{6A4AF570-27A5-451E-80D7-93C907332541}"/>
              </a:ext>
            </a:extLst>
          </p:cNvPr>
          <p:cNvSpPr>
            <a:spLocks noGrp="1"/>
          </p:cNvSpPr>
          <p:nvPr>
            <p:ph sz="quarter" idx="34"/>
          </p:nvPr>
        </p:nvSpPr>
        <p:spPr>
          <a:xfrm>
            <a:off x="392400" y="4071797"/>
            <a:ext cx="9128520" cy="2149741"/>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Espace réservé du numéro de diapositive 3">
            <a:extLst>
              <a:ext uri="{FF2B5EF4-FFF2-40B4-BE49-F238E27FC236}">
                <a16:creationId xmlns:a16="http://schemas.microsoft.com/office/drawing/2014/main" id="{A7755113-433A-E6A6-D307-C3F3F2CFB9C3}"/>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Tx/>
            </a:pPr>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buClrTx/>
              </a:pPr>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619778402"/>
      </p:ext>
    </p:extLst>
  </p:cSld>
  <p:clrMapOvr>
    <a:masterClrMapping/>
  </p:clrMapOvr>
  <p:extLst>
    <p:ext uri="{DCECCB84-F9BA-43D5-87BE-67443E8EF086}">
      <p15:sldGuideLst xmlns:p15="http://schemas.microsoft.com/office/powerpoint/2012/main">
        <p15:guide id="1" orient="horz" pos="867">
          <p15:clr>
            <a:srgbClr val="FBAE40"/>
          </p15:clr>
        </p15:guide>
        <p15:guide id="2" pos="240">
          <p15:clr>
            <a:srgbClr val="FBAE40"/>
          </p15:clr>
        </p15:guide>
        <p15:guide id="3" pos="6000">
          <p15:clr>
            <a:srgbClr val="FBAE40"/>
          </p15:clr>
        </p15:guide>
        <p15:guide id="4" pos="3007">
          <p15:clr>
            <a:srgbClr val="FBAE40"/>
          </p15:clr>
        </p15:guide>
        <p15:guide id="5" pos="3233">
          <p15:clr>
            <a:srgbClr val="FBAE40"/>
          </p15:clr>
        </p15:guide>
        <p15:guide id="6" orient="horz" pos="1026">
          <p15:clr>
            <a:srgbClr val="FBAE40"/>
          </p15:clr>
        </p15:guide>
        <p15:guide id="7" orient="horz" pos="256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x1 Center with bottom spli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74C8DA1-BFB8-6D6B-9401-F0AE37111B94}"/>
              </a:ext>
            </a:extLst>
          </p:cNvPr>
          <p:cNvGraphicFramePr>
            <a:graphicFrameLocks noChangeAspect="1"/>
          </p:cNvGraphicFramePr>
          <p:nvPr userDrawn="1">
            <p:custDataLst>
              <p:tags r:id="rId1"/>
            </p:custDataLst>
            <p:extLst>
              <p:ext uri="{D42A27DB-BD31-4B8C-83A1-F6EECF244321}">
                <p14:modId xmlns:p14="http://schemas.microsoft.com/office/powerpoint/2010/main" val="4205213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374C8DA1-BFB8-6D6B-9401-F0AE37111B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ext Placeholder 28"/>
          <p:cNvSpPr>
            <a:spLocks noGrp="1"/>
          </p:cNvSpPr>
          <p:nvPr>
            <p:ph type="body" sz="quarter" idx="10" hasCustomPrompt="1"/>
          </p:nvPr>
        </p:nvSpPr>
        <p:spPr>
          <a:xfrm>
            <a:off x="393245" y="881289"/>
            <a:ext cx="9125694" cy="396382"/>
          </a:xfrm>
          <a:prstGeom prst="rect">
            <a:avLst/>
          </a:prstGeom>
          <a:ln w="3175">
            <a:noFill/>
          </a:ln>
        </p:spPr>
        <p:txBody>
          <a:bodyPr vert="horz" lIns="0" tIns="36000" rIns="36000" bIns="36000" rtlCol="0">
            <a:noAutofit/>
          </a:bodyPr>
          <a:lstStyle>
            <a:lvl1pPr>
              <a:buClrTx/>
              <a:defRPr lang="en-AU" sz="1200" noProof="0" dirty="0">
                <a:cs typeface="Roboto Light" panose="02000000000000000000" pitchFamily="2" charset="0"/>
              </a:defRPr>
            </a:lvl1pPr>
          </a:lstStyle>
          <a:p>
            <a:pPr lvl="0">
              <a:lnSpc>
                <a:spcPct val="100000"/>
              </a:lnSpc>
            </a:pPr>
            <a:r>
              <a:rPr lang="en-AU" noProof="0" dirty="0"/>
              <a:t>Click to insert key message</a:t>
            </a:r>
          </a:p>
        </p:txBody>
      </p:sp>
      <p:sp>
        <p:nvSpPr>
          <p:cNvPr id="18" name="Text Placeholder 17"/>
          <p:cNvSpPr>
            <a:spLocks noGrp="1"/>
          </p:cNvSpPr>
          <p:nvPr>
            <p:ph type="body" sz="quarter" idx="24" hasCustomPrompt="1"/>
          </p:nvPr>
        </p:nvSpPr>
        <p:spPr>
          <a:xfrm>
            <a:off x="393246" y="1383643"/>
            <a:ext cx="9131754"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0" name="Title 19"/>
          <p:cNvSpPr>
            <a:spLocks noGrp="1"/>
          </p:cNvSpPr>
          <p:nvPr>
            <p:ph type="title" hasCustomPrompt="1"/>
          </p:nvPr>
        </p:nvSpPr>
        <p:spPr>
          <a:xfrm>
            <a:off x="392400" y="108000"/>
            <a:ext cx="7560000" cy="576000"/>
          </a:xfrm>
          <a:prstGeom prst="rect">
            <a:avLst/>
          </a:prstGeom>
        </p:spPr>
        <p:txBody>
          <a:bodyPr vert="horz"/>
          <a:lstStyle>
            <a:lvl1pPr>
              <a:buClrTx/>
              <a:defRPr b="0" i="0">
                <a:latin typeface="Roboto Light" panose="02000000000000000000" pitchFamily="2" charset="0"/>
                <a:ea typeface="Roboto Light" panose="02000000000000000000" pitchFamily="2" charset="0"/>
                <a:cs typeface="Roboto Light" panose="02000000000000000000" pitchFamily="2" charset="0"/>
              </a:defRPr>
            </a:lvl1pPr>
          </a:lstStyle>
          <a:p>
            <a:r>
              <a:rPr lang="en-AU" noProof="0" dirty="0"/>
              <a:t>Click to insert page title</a:t>
            </a:r>
          </a:p>
        </p:txBody>
      </p:sp>
      <p:sp>
        <p:nvSpPr>
          <p:cNvPr id="15" name="Text Placeholder 17"/>
          <p:cNvSpPr>
            <a:spLocks noGrp="1"/>
          </p:cNvSpPr>
          <p:nvPr>
            <p:ph type="body" sz="quarter" idx="31" hasCustomPrompt="1"/>
          </p:nvPr>
        </p:nvSpPr>
        <p:spPr>
          <a:xfrm>
            <a:off x="393246" y="3817891"/>
            <a:ext cx="4380368"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1" name="Text Placeholder 17"/>
          <p:cNvSpPr>
            <a:spLocks noGrp="1"/>
          </p:cNvSpPr>
          <p:nvPr>
            <p:ph type="body" sz="quarter" idx="33" hasCustomPrompt="1"/>
          </p:nvPr>
        </p:nvSpPr>
        <p:spPr>
          <a:xfrm>
            <a:off x="5140552" y="3817891"/>
            <a:ext cx="4380368"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2" name="Espace réservé du texte 4">
            <a:extLst>
              <a:ext uri="{FF2B5EF4-FFF2-40B4-BE49-F238E27FC236}">
                <a16:creationId xmlns:a16="http://schemas.microsoft.com/office/drawing/2014/main" id="{F12E1E9C-5ACE-41F2-A914-A4518C9B7F77}"/>
              </a:ext>
            </a:extLst>
          </p:cNvPr>
          <p:cNvSpPr>
            <a:spLocks noGrp="1"/>
          </p:cNvSpPr>
          <p:nvPr>
            <p:ph type="body" sz="quarter" idx="27" hasCustomPrompt="1"/>
          </p:nvPr>
        </p:nvSpPr>
        <p:spPr>
          <a:xfrm>
            <a:off x="393245" y="6233719"/>
            <a:ext cx="4380368" cy="276340"/>
          </a:xfrm>
          <a:prstGeom prst="rect">
            <a:avLst/>
          </a:prstGeom>
        </p:spPr>
        <p:txBody>
          <a:bodyPr lIns="0" tIns="0" rIns="0" bIns="0" anchor="b" anchorCtr="0"/>
          <a:lstStyle>
            <a:lvl1pPr>
              <a:spcAft>
                <a:spcPts val="0"/>
              </a:spcAft>
              <a:buClrTx/>
              <a:defRPr sz="6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fr-FR" dirty="0"/>
              <a:t>Source:</a:t>
            </a:r>
            <a:endParaRPr lang="en-GB" dirty="0"/>
          </a:p>
        </p:txBody>
      </p:sp>
      <p:sp>
        <p:nvSpPr>
          <p:cNvPr id="24" name="Content Placeholder 6">
            <a:extLst>
              <a:ext uri="{FF2B5EF4-FFF2-40B4-BE49-F238E27FC236}">
                <a16:creationId xmlns:a16="http://schemas.microsoft.com/office/drawing/2014/main" id="{08D4A781-4B3D-4A40-8B45-B53B434852E3}"/>
              </a:ext>
            </a:extLst>
          </p:cNvPr>
          <p:cNvSpPr>
            <a:spLocks noGrp="1"/>
          </p:cNvSpPr>
          <p:nvPr>
            <p:ph sz="quarter" idx="34"/>
          </p:nvPr>
        </p:nvSpPr>
        <p:spPr>
          <a:xfrm>
            <a:off x="392400" y="1633397"/>
            <a:ext cx="9131300" cy="2149745"/>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5" name="Content Placeholder 6">
            <a:extLst>
              <a:ext uri="{FF2B5EF4-FFF2-40B4-BE49-F238E27FC236}">
                <a16:creationId xmlns:a16="http://schemas.microsoft.com/office/drawing/2014/main" id="{93F75E13-7220-47EA-896C-50F058CFB0F1}"/>
              </a:ext>
            </a:extLst>
          </p:cNvPr>
          <p:cNvSpPr>
            <a:spLocks noGrp="1"/>
          </p:cNvSpPr>
          <p:nvPr>
            <p:ph sz="quarter" idx="35"/>
          </p:nvPr>
        </p:nvSpPr>
        <p:spPr>
          <a:xfrm>
            <a:off x="392400" y="4071797"/>
            <a:ext cx="4380368" cy="2149745"/>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6" name="Content Placeholder 6">
            <a:extLst>
              <a:ext uri="{FF2B5EF4-FFF2-40B4-BE49-F238E27FC236}">
                <a16:creationId xmlns:a16="http://schemas.microsoft.com/office/drawing/2014/main" id="{83CB9D3F-21F2-4EC8-99C7-3986F4225340}"/>
              </a:ext>
            </a:extLst>
          </p:cNvPr>
          <p:cNvSpPr>
            <a:spLocks noGrp="1"/>
          </p:cNvSpPr>
          <p:nvPr>
            <p:ph sz="quarter" idx="36"/>
          </p:nvPr>
        </p:nvSpPr>
        <p:spPr>
          <a:xfrm>
            <a:off x="5138571" y="4071797"/>
            <a:ext cx="4380368" cy="2149745"/>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Espace réservé du numéro de diapositive 3">
            <a:extLst>
              <a:ext uri="{FF2B5EF4-FFF2-40B4-BE49-F238E27FC236}">
                <a16:creationId xmlns:a16="http://schemas.microsoft.com/office/drawing/2014/main" id="{B0FC6748-B938-C9D1-9D4C-F3AA7468CDD1}"/>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Tx/>
            </a:pPr>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buClrTx/>
              </a:pPr>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3461132866"/>
      </p:ext>
    </p:extLst>
  </p:cSld>
  <p:clrMapOvr>
    <a:masterClrMapping/>
  </p:clrMapOvr>
  <p:extLst>
    <p:ext uri="{DCECCB84-F9BA-43D5-87BE-67443E8EF086}">
      <p15:sldGuideLst xmlns:p15="http://schemas.microsoft.com/office/powerpoint/2012/main">
        <p15:guide id="1" orient="horz" pos="867">
          <p15:clr>
            <a:srgbClr val="FBAE40"/>
          </p15:clr>
        </p15:guide>
        <p15:guide id="2" pos="240">
          <p15:clr>
            <a:srgbClr val="FBAE40"/>
          </p15:clr>
        </p15:guide>
        <p15:guide id="3" pos="6000">
          <p15:clr>
            <a:srgbClr val="FBAE40"/>
          </p15:clr>
        </p15:guide>
        <p15:guide id="4" pos="3007">
          <p15:clr>
            <a:srgbClr val="FBAE40"/>
          </p15:clr>
        </p15:guide>
        <p15:guide id="5" pos="3233">
          <p15:clr>
            <a:srgbClr val="FBAE40"/>
          </p15:clr>
        </p15:guide>
        <p15:guide id="6" orient="horz" pos="1026">
          <p15:clr>
            <a:srgbClr val="FBAE40"/>
          </p15:clr>
        </p15:guide>
        <p15:guide id="7" orient="horz" pos="256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x1 Even spli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4F1213-EB76-29A8-0835-639B9276999A}"/>
              </a:ext>
            </a:extLst>
          </p:cNvPr>
          <p:cNvGraphicFramePr>
            <a:graphicFrameLocks noChangeAspect="1"/>
          </p:cNvGraphicFramePr>
          <p:nvPr userDrawn="1">
            <p:custDataLst>
              <p:tags r:id="rId1"/>
            </p:custDataLst>
            <p:extLst>
              <p:ext uri="{D42A27DB-BD31-4B8C-83A1-F6EECF244321}">
                <p14:modId xmlns:p14="http://schemas.microsoft.com/office/powerpoint/2010/main" val="1176359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C14F1213-EB76-29A8-0835-639B92769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ext Placeholder 28"/>
          <p:cNvSpPr>
            <a:spLocks noGrp="1"/>
          </p:cNvSpPr>
          <p:nvPr>
            <p:ph type="body" sz="quarter" idx="10" hasCustomPrompt="1"/>
          </p:nvPr>
        </p:nvSpPr>
        <p:spPr>
          <a:xfrm>
            <a:off x="393244" y="881289"/>
            <a:ext cx="9130455" cy="396382"/>
          </a:xfrm>
          <a:prstGeom prst="rect">
            <a:avLst/>
          </a:prstGeom>
          <a:ln w="3175">
            <a:noFill/>
          </a:ln>
        </p:spPr>
        <p:txBody>
          <a:bodyPr vert="horz" lIns="0" tIns="36000" rIns="36000" bIns="36000" rtlCol="0">
            <a:noAutofit/>
          </a:bodyPr>
          <a:lstStyle>
            <a:lvl1pPr>
              <a:buClrTx/>
              <a:defRPr lang="en-AU" sz="1200" noProof="0" dirty="0">
                <a:cs typeface="Roboto Light" panose="02000000000000000000" pitchFamily="2" charset="0"/>
              </a:defRPr>
            </a:lvl1pPr>
          </a:lstStyle>
          <a:p>
            <a:pPr lvl="0">
              <a:lnSpc>
                <a:spcPct val="100000"/>
              </a:lnSpc>
            </a:pPr>
            <a:r>
              <a:rPr lang="en-AU" noProof="0" dirty="0"/>
              <a:t>Click to insert key message</a:t>
            </a:r>
          </a:p>
        </p:txBody>
      </p:sp>
      <p:sp>
        <p:nvSpPr>
          <p:cNvPr id="18" name="Text Placeholder 17"/>
          <p:cNvSpPr>
            <a:spLocks noGrp="1"/>
          </p:cNvSpPr>
          <p:nvPr>
            <p:ph type="body" sz="quarter" idx="24" hasCustomPrompt="1"/>
          </p:nvPr>
        </p:nvSpPr>
        <p:spPr>
          <a:xfrm>
            <a:off x="393245" y="1383643"/>
            <a:ext cx="9131755"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0" name="Title 19"/>
          <p:cNvSpPr>
            <a:spLocks noGrp="1"/>
          </p:cNvSpPr>
          <p:nvPr>
            <p:ph type="title" hasCustomPrompt="1"/>
          </p:nvPr>
        </p:nvSpPr>
        <p:spPr>
          <a:xfrm>
            <a:off x="392400" y="108000"/>
            <a:ext cx="7560000" cy="576000"/>
          </a:xfrm>
          <a:prstGeom prst="rect">
            <a:avLst/>
          </a:prstGeom>
        </p:spPr>
        <p:txBody>
          <a:bodyPr vert="horz"/>
          <a:lstStyle>
            <a:lvl1pPr>
              <a:buClrTx/>
              <a:defRPr b="0" i="0">
                <a:latin typeface="Roboto Light" panose="02000000000000000000" pitchFamily="2" charset="0"/>
                <a:ea typeface="Roboto Light" panose="02000000000000000000" pitchFamily="2" charset="0"/>
                <a:cs typeface="Roboto Light" panose="02000000000000000000" pitchFamily="2" charset="0"/>
              </a:defRPr>
            </a:lvl1pPr>
          </a:lstStyle>
          <a:p>
            <a:r>
              <a:rPr lang="en-AU" noProof="0" dirty="0"/>
              <a:t>Click to insert page title</a:t>
            </a:r>
          </a:p>
        </p:txBody>
      </p:sp>
      <p:sp>
        <p:nvSpPr>
          <p:cNvPr id="11" name="Text Placeholder 17"/>
          <p:cNvSpPr>
            <a:spLocks noGrp="1"/>
          </p:cNvSpPr>
          <p:nvPr>
            <p:ph type="body" sz="quarter" idx="29" hasCustomPrompt="1"/>
          </p:nvPr>
        </p:nvSpPr>
        <p:spPr>
          <a:xfrm>
            <a:off x="393245" y="3010795"/>
            <a:ext cx="9131755"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14" name="Text Placeholder 17"/>
          <p:cNvSpPr>
            <a:spLocks noGrp="1"/>
          </p:cNvSpPr>
          <p:nvPr>
            <p:ph type="body" sz="quarter" idx="31" hasCustomPrompt="1"/>
          </p:nvPr>
        </p:nvSpPr>
        <p:spPr>
          <a:xfrm>
            <a:off x="393245" y="4633697"/>
            <a:ext cx="9131755"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16" name="Espace réservé du texte 4">
            <a:extLst>
              <a:ext uri="{FF2B5EF4-FFF2-40B4-BE49-F238E27FC236}">
                <a16:creationId xmlns:a16="http://schemas.microsoft.com/office/drawing/2014/main" id="{A5A00F4B-91CE-49B5-AFB4-9D8B2005B73F}"/>
              </a:ext>
            </a:extLst>
          </p:cNvPr>
          <p:cNvSpPr>
            <a:spLocks noGrp="1"/>
          </p:cNvSpPr>
          <p:nvPr>
            <p:ph type="body" sz="quarter" idx="27" hasCustomPrompt="1"/>
          </p:nvPr>
        </p:nvSpPr>
        <p:spPr>
          <a:xfrm>
            <a:off x="393245" y="6233719"/>
            <a:ext cx="4380368" cy="276340"/>
          </a:xfrm>
          <a:prstGeom prst="rect">
            <a:avLst/>
          </a:prstGeom>
        </p:spPr>
        <p:txBody>
          <a:bodyPr lIns="0" tIns="0" rIns="0" bIns="0" anchor="b" anchorCtr="0"/>
          <a:lstStyle>
            <a:lvl1pPr>
              <a:spcAft>
                <a:spcPts val="0"/>
              </a:spcAft>
              <a:buClrTx/>
              <a:defRPr sz="6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fr-FR" dirty="0"/>
              <a:t>Source:</a:t>
            </a:r>
            <a:endParaRPr lang="en-GB" dirty="0"/>
          </a:p>
        </p:txBody>
      </p:sp>
      <p:sp>
        <p:nvSpPr>
          <p:cNvPr id="19" name="Content Placeholder 6">
            <a:extLst>
              <a:ext uri="{FF2B5EF4-FFF2-40B4-BE49-F238E27FC236}">
                <a16:creationId xmlns:a16="http://schemas.microsoft.com/office/drawing/2014/main" id="{AC459E1E-6DCA-4C73-8D64-0789EB67BFA0}"/>
              </a:ext>
            </a:extLst>
          </p:cNvPr>
          <p:cNvSpPr>
            <a:spLocks noGrp="1"/>
          </p:cNvSpPr>
          <p:nvPr>
            <p:ph sz="quarter" idx="32"/>
          </p:nvPr>
        </p:nvSpPr>
        <p:spPr>
          <a:xfrm>
            <a:off x="392400" y="1633398"/>
            <a:ext cx="9131300" cy="1344282"/>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1" name="Content Placeholder 6">
            <a:extLst>
              <a:ext uri="{FF2B5EF4-FFF2-40B4-BE49-F238E27FC236}">
                <a16:creationId xmlns:a16="http://schemas.microsoft.com/office/drawing/2014/main" id="{192A2A45-48F6-4834-AA92-35CBB2D4DA7A}"/>
              </a:ext>
            </a:extLst>
          </p:cNvPr>
          <p:cNvSpPr>
            <a:spLocks noGrp="1"/>
          </p:cNvSpPr>
          <p:nvPr>
            <p:ph sz="quarter" idx="33"/>
          </p:nvPr>
        </p:nvSpPr>
        <p:spPr>
          <a:xfrm>
            <a:off x="392400" y="3261900"/>
            <a:ext cx="9131300" cy="1344282"/>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2" name="Content Placeholder 6">
            <a:extLst>
              <a:ext uri="{FF2B5EF4-FFF2-40B4-BE49-F238E27FC236}">
                <a16:creationId xmlns:a16="http://schemas.microsoft.com/office/drawing/2014/main" id="{29B69B91-8750-4FC5-AF37-9B155A89D5E9}"/>
              </a:ext>
            </a:extLst>
          </p:cNvPr>
          <p:cNvSpPr>
            <a:spLocks noGrp="1"/>
          </p:cNvSpPr>
          <p:nvPr>
            <p:ph sz="quarter" idx="34"/>
          </p:nvPr>
        </p:nvSpPr>
        <p:spPr>
          <a:xfrm>
            <a:off x="392400" y="4890403"/>
            <a:ext cx="9131300" cy="1344282"/>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Espace réservé du numéro de diapositive 3">
            <a:extLst>
              <a:ext uri="{FF2B5EF4-FFF2-40B4-BE49-F238E27FC236}">
                <a16:creationId xmlns:a16="http://schemas.microsoft.com/office/drawing/2014/main" id="{AB199B99-8286-120A-A94F-EF2F6152E88B}"/>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Tx/>
            </a:pPr>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buClrTx/>
              </a:pPr>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1474199136"/>
      </p:ext>
    </p:extLst>
  </p:cSld>
  <p:clrMapOvr>
    <a:masterClrMapping/>
  </p:clrMapOvr>
  <p:extLst>
    <p:ext uri="{DCECCB84-F9BA-43D5-87BE-67443E8EF086}">
      <p15:sldGuideLst xmlns:p15="http://schemas.microsoft.com/office/powerpoint/2012/main">
        <p15:guide id="1" orient="horz" pos="867">
          <p15:clr>
            <a:srgbClr val="FBAE40"/>
          </p15:clr>
        </p15:guide>
        <p15:guide id="2" pos="240">
          <p15:clr>
            <a:srgbClr val="FBAE40"/>
          </p15:clr>
        </p15:guide>
        <p15:guide id="3" pos="6000">
          <p15:clr>
            <a:srgbClr val="FBAE40"/>
          </p15:clr>
        </p15:guide>
        <p15:guide id="4" orient="horz" pos="256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6DD873A-B218-5AA5-3694-11F34442311C}"/>
              </a:ext>
            </a:extLst>
          </p:cNvPr>
          <p:cNvGraphicFramePr>
            <a:graphicFrameLocks noChangeAspect="1"/>
          </p:cNvGraphicFramePr>
          <p:nvPr userDrawn="1">
            <p:custDataLst>
              <p:tags r:id="rId1"/>
            </p:custDataLst>
            <p:extLst>
              <p:ext uri="{D42A27DB-BD31-4B8C-83A1-F6EECF244321}">
                <p14:modId xmlns:p14="http://schemas.microsoft.com/office/powerpoint/2010/main" val="3008179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B6DD873A-B218-5AA5-3694-11F3444231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75EBB523-8995-3D4F-A480-0395B056AA69}"/>
              </a:ext>
            </a:extLst>
          </p:cNvPr>
          <p:cNvSpPr>
            <a:spLocks noGrp="1"/>
          </p:cNvSpPr>
          <p:nvPr>
            <p:ph type="pic" sz="quarter" idx="28"/>
          </p:nvPr>
        </p:nvSpPr>
        <p:spPr>
          <a:xfrm>
            <a:off x="394073" y="1592263"/>
            <a:ext cx="1804521" cy="1985962"/>
          </a:xfrm>
          <a:prstGeom prst="rect">
            <a:avLst/>
          </a:prstGeom>
        </p:spPr>
        <p:txBody>
          <a:bodyPr/>
          <a:lstStyle>
            <a:lvl1pPr>
              <a:buClrTx/>
              <a:defRPr b="0" i="0">
                <a:latin typeface="Roboto Light" panose="02000000000000000000" pitchFamily="2" charset="0"/>
                <a:ea typeface="Roboto Light" panose="02000000000000000000" pitchFamily="2" charset="0"/>
              </a:defRPr>
            </a:lvl1pPr>
          </a:lstStyle>
          <a:p>
            <a:endParaRPr lang="en-US"/>
          </a:p>
        </p:txBody>
      </p:sp>
      <p:sp>
        <p:nvSpPr>
          <p:cNvPr id="29" name="Text Placeholder 28"/>
          <p:cNvSpPr>
            <a:spLocks noGrp="1"/>
          </p:cNvSpPr>
          <p:nvPr>
            <p:ph type="body" sz="quarter" idx="10" hasCustomPrompt="1"/>
          </p:nvPr>
        </p:nvSpPr>
        <p:spPr>
          <a:xfrm>
            <a:off x="392400" y="887820"/>
            <a:ext cx="9163080" cy="396382"/>
          </a:xfrm>
          <a:prstGeom prst="rect">
            <a:avLst/>
          </a:prstGeom>
          <a:ln w="3175">
            <a:noFill/>
          </a:ln>
        </p:spPr>
        <p:txBody>
          <a:bodyPr vert="horz" lIns="0" tIns="36000" rIns="36000" bIns="36000" rtlCol="0">
            <a:noAutofit/>
          </a:bodyPr>
          <a:lstStyle>
            <a:lvl1pPr>
              <a:buClrTx/>
              <a:defRPr lang="en-AU" sz="1200" noProof="0" dirty="0">
                <a:cs typeface="Roboto Light" panose="02000000000000000000" pitchFamily="2" charset="0"/>
              </a:defRPr>
            </a:lvl1pPr>
          </a:lstStyle>
          <a:p>
            <a:pPr lvl="0">
              <a:lnSpc>
                <a:spcPct val="100000"/>
              </a:lnSpc>
            </a:pPr>
            <a:r>
              <a:rPr lang="en-AU" noProof="0" dirty="0"/>
              <a:t>Click to insert key message</a:t>
            </a:r>
          </a:p>
        </p:txBody>
      </p:sp>
      <p:sp>
        <p:nvSpPr>
          <p:cNvPr id="20" name="Title 19"/>
          <p:cNvSpPr>
            <a:spLocks noGrp="1"/>
          </p:cNvSpPr>
          <p:nvPr>
            <p:ph type="title" hasCustomPrompt="1"/>
          </p:nvPr>
        </p:nvSpPr>
        <p:spPr>
          <a:xfrm>
            <a:off x="392400" y="108000"/>
            <a:ext cx="7560000" cy="576000"/>
          </a:xfrm>
          <a:prstGeom prst="rect">
            <a:avLst/>
          </a:prstGeom>
        </p:spPr>
        <p:txBody>
          <a:bodyPr vert="horz"/>
          <a:lstStyle>
            <a:lvl1pPr>
              <a:buClrTx/>
              <a:defRPr b="0" i="0">
                <a:latin typeface="Roboto Light" panose="02000000000000000000" pitchFamily="2" charset="0"/>
                <a:ea typeface="Roboto Light" panose="02000000000000000000" pitchFamily="2" charset="0"/>
                <a:cs typeface="Roboto Light" panose="02000000000000000000" pitchFamily="2" charset="0"/>
              </a:defRPr>
            </a:lvl1pPr>
          </a:lstStyle>
          <a:p>
            <a:r>
              <a:rPr lang="en-AU" noProof="0" dirty="0"/>
              <a:t>Click to insert page title</a:t>
            </a:r>
          </a:p>
        </p:txBody>
      </p:sp>
      <p:sp>
        <p:nvSpPr>
          <p:cNvPr id="6" name="Espace réservé du texte 4">
            <a:extLst>
              <a:ext uri="{FF2B5EF4-FFF2-40B4-BE49-F238E27FC236}">
                <a16:creationId xmlns:a16="http://schemas.microsoft.com/office/drawing/2014/main" id="{2BAED5F8-5514-44E2-A5E3-60EBFA99357A}"/>
              </a:ext>
            </a:extLst>
          </p:cNvPr>
          <p:cNvSpPr>
            <a:spLocks noGrp="1"/>
          </p:cNvSpPr>
          <p:nvPr>
            <p:ph type="body" sz="quarter" idx="27" hasCustomPrompt="1"/>
          </p:nvPr>
        </p:nvSpPr>
        <p:spPr>
          <a:xfrm>
            <a:off x="393245" y="6233719"/>
            <a:ext cx="4380368" cy="276340"/>
          </a:xfrm>
          <a:prstGeom prst="rect">
            <a:avLst/>
          </a:prstGeom>
        </p:spPr>
        <p:txBody>
          <a:bodyPr lIns="0" tIns="0" rIns="0" bIns="0" anchor="b" anchorCtr="0"/>
          <a:lstStyle>
            <a:lvl1pPr>
              <a:spcAft>
                <a:spcPts val="0"/>
              </a:spcAft>
              <a:buClrTx/>
              <a:defRPr sz="6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fr-FR" dirty="0"/>
              <a:t>Source:</a:t>
            </a:r>
            <a:endParaRPr lang="en-GB" dirty="0"/>
          </a:p>
        </p:txBody>
      </p:sp>
      <p:sp>
        <p:nvSpPr>
          <p:cNvPr id="17" name="Rectangle 16">
            <a:extLst>
              <a:ext uri="{FF2B5EF4-FFF2-40B4-BE49-F238E27FC236}">
                <a16:creationId xmlns:a16="http://schemas.microsoft.com/office/drawing/2014/main" id="{B072BD7F-C568-B34A-832D-1C44320BBA5D}"/>
              </a:ext>
            </a:extLst>
          </p:cNvPr>
          <p:cNvSpPr/>
          <p:nvPr userDrawn="1"/>
        </p:nvSpPr>
        <p:spPr>
          <a:xfrm>
            <a:off x="2593439" y="1595203"/>
            <a:ext cx="6916783" cy="456777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Content Placeholder 6">
            <a:extLst>
              <a:ext uri="{FF2B5EF4-FFF2-40B4-BE49-F238E27FC236}">
                <a16:creationId xmlns:a16="http://schemas.microsoft.com/office/drawing/2014/main" id="{DB69A315-DFC1-8243-9F88-AB659AE3E5FD}"/>
              </a:ext>
            </a:extLst>
          </p:cNvPr>
          <p:cNvSpPr>
            <a:spLocks noGrp="1"/>
          </p:cNvSpPr>
          <p:nvPr>
            <p:ph sz="quarter" idx="31"/>
          </p:nvPr>
        </p:nvSpPr>
        <p:spPr>
          <a:xfrm>
            <a:off x="2810435" y="1684524"/>
            <a:ext cx="6529508" cy="1868060"/>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Espace réservé du numéro de diapositive 3">
            <a:extLst>
              <a:ext uri="{FF2B5EF4-FFF2-40B4-BE49-F238E27FC236}">
                <a16:creationId xmlns:a16="http://schemas.microsoft.com/office/drawing/2014/main" id="{4082D733-7914-583B-8D14-C3419DBA0D0C}"/>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Tx/>
            </a:pPr>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buClrTx/>
              </a:pPr>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
        <p:nvSpPr>
          <p:cNvPr id="5" name="Text Placeholder 2">
            <a:extLst>
              <a:ext uri="{FF2B5EF4-FFF2-40B4-BE49-F238E27FC236}">
                <a16:creationId xmlns:a16="http://schemas.microsoft.com/office/drawing/2014/main" id="{84D58899-B691-CF1A-1275-1E424435AD3B}"/>
              </a:ext>
            </a:extLst>
          </p:cNvPr>
          <p:cNvSpPr txBox="1">
            <a:spLocks/>
          </p:cNvSpPr>
          <p:nvPr userDrawn="1"/>
        </p:nvSpPr>
        <p:spPr>
          <a:xfrm>
            <a:off x="389026" y="1376363"/>
            <a:ext cx="9121196" cy="216000"/>
          </a:xfrm>
          <a:prstGeom prst="rect">
            <a:avLst/>
          </a:prstGeom>
          <a:solidFill>
            <a:schemeClr val="accent1"/>
          </a:solidFill>
          <a:ln w="3175">
            <a:noFill/>
          </a:ln>
        </p:spPr>
        <p:txBody>
          <a:bodyPr vert="horz" lIns="72000" tIns="36000" rIns="0" bIns="36000" rtlCol="0" anchor="ctr" anchorCtr="0">
            <a:noAutofit/>
          </a:bodyPr>
          <a:lstStyle>
            <a:lvl1pPr marL="0" indent="0" algn="l" defTabSz="914400" rtl="0" eaLnBrk="1" latinLnBrk="0" hangingPunct="1">
              <a:lnSpc>
                <a:spcPct val="100000"/>
              </a:lnSpc>
              <a:spcBef>
                <a:spcPts val="3000"/>
              </a:spcBef>
              <a:spcAft>
                <a:spcPts val="4200"/>
              </a:spcAft>
              <a:buClr>
                <a:schemeClr val="accent3"/>
              </a:buClr>
              <a:buSzPct val="80000"/>
              <a:buFont typeface="Wingdings" pitchFamily="2" charset="2"/>
              <a:buNone/>
              <a:defRPr lang="en-AU" sz="1200" b="0" kern="1200" noProof="0" dirty="0" smtClean="0">
                <a:solidFill>
                  <a:schemeClr val="tx1"/>
                </a:solidFill>
                <a:latin typeface="+mn-lt"/>
                <a:ea typeface="+mn-ea"/>
                <a:cs typeface="+mn-cs"/>
              </a:defRPr>
            </a:lvl1pPr>
            <a:lvl2pPr marL="180975" indent="-180975" algn="l" defTabSz="914400" rtl="0" eaLnBrk="1" latinLnBrk="0" hangingPunct="1">
              <a:spcBef>
                <a:spcPts val="0"/>
              </a:spcBef>
              <a:spcAft>
                <a:spcPts val="600"/>
              </a:spcAft>
              <a:buClr>
                <a:schemeClr val="accent2"/>
              </a:buClr>
              <a:buSzPct val="85000"/>
              <a:buFont typeface="Wingdings" pitchFamily="2" charset="2"/>
              <a:buChar char=""/>
              <a:defRPr sz="1000" kern="1200">
                <a:solidFill>
                  <a:schemeClr val="tx1"/>
                </a:solidFill>
                <a:latin typeface="+mn-lt"/>
                <a:ea typeface="+mn-ea"/>
                <a:cs typeface="+mn-cs"/>
              </a:defRPr>
            </a:lvl2pPr>
            <a:lvl3pPr marL="361950" indent="-180975" algn="l" defTabSz="914400" rtl="0" eaLnBrk="1" latinLnBrk="0" hangingPunct="1">
              <a:spcBef>
                <a:spcPts val="0"/>
              </a:spcBef>
              <a:spcAft>
                <a:spcPts val="600"/>
              </a:spcAft>
              <a:buClr>
                <a:schemeClr val="tx1"/>
              </a:buClr>
              <a:buSzPct val="120000"/>
              <a:buFont typeface="HelveticaNeue LT 45 Lt" pitchFamily="34" charset="0"/>
              <a:buChar char="—"/>
              <a:defRPr sz="1000" kern="1200">
                <a:solidFill>
                  <a:schemeClr val="tx1"/>
                </a:solidFill>
                <a:latin typeface="+mn-lt"/>
                <a:ea typeface="+mn-ea"/>
                <a:cs typeface="+mn-cs"/>
              </a:defRPr>
            </a:lvl3pPr>
            <a:lvl4pPr marL="542925" indent="-180975" algn="l" defTabSz="914400" rtl="0" eaLnBrk="1" latinLnBrk="0" hangingPunct="1">
              <a:spcBef>
                <a:spcPts val="0"/>
              </a:spcBef>
              <a:spcAft>
                <a:spcPts val="600"/>
              </a:spcAft>
              <a:buClr>
                <a:schemeClr val="tx1"/>
              </a:buClr>
              <a:buSzPct val="120000"/>
              <a:buFont typeface="HelveticaNeue LT 45 Lt" pitchFamily="34" charset="0"/>
              <a:buChar char="—"/>
              <a:defRPr sz="1000" kern="1200" baseline="0">
                <a:solidFill>
                  <a:schemeClr val="tx1"/>
                </a:solidFill>
                <a:latin typeface="+mn-lt"/>
                <a:ea typeface="+mn-ea"/>
                <a:cs typeface="+mn-cs"/>
              </a:defRPr>
            </a:lvl4pPr>
            <a:lvl5pPr marL="2057400" indent="-228600" algn="l" defTabSz="914400" rtl="0" eaLnBrk="1" latinLnBrk="0" hangingPunct="1">
              <a:spcBef>
                <a:spcPts val="0"/>
              </a:spcBef>
              <a:spcAft>
                <a:spcPts val="360"/>
              </a:spcAft>
              <a:buFont typeface="Calibri" pitchFamily="34" charset="0"/>
              <a:buChar char="—"/>
              <a:defRPr sz="1000" kern="1200">
                <a:solidFill>
                  <a:srgbClr val="4D4F53"/>
                </a:solidFill>
                <a:latin typeface="HelveticaNeue LT 45 Lt"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1000"/>
              </a:lnSpc>
              <a:spcAft>
                <a:spcPts val="0"/>
              </a:spcAft>
              <a:buClrTx/>
            </a:pPr>
            <a:endParaRPr lang="en-US" sz="970" dirty="0">
              <a:solidFill>
                <a:schemeClr val="bg1"/>
              </a:solidFill>
              <a:latin typeface="Roboto Light" panose="02000000000000000000" pitchFamily="2" charset="0"/>
              <a:ea typeface="Roboto Light" panose="02000000000000000000" pitchFamily="2" charset="0"/>
            </a:endParaRPr>
          </a:p>
        </p:txBody>
      </p:sp>
      <p:cxnSp>
        <p:nvCxnSpPr>
          <p:cNvPr id="7" name="Straight Connector 6">
            <a:extLst>
              <a:ext uri="{FF2B5EF4-FFF2-40B4-BE49-F238E27FC236}">
                <a16:creationId xmlns:a16="http://schemas.microsoft.com/office/drawing/2014/main" id="{1C5FF3A6-F33A-3CE2-6E81-B5E7BDCA8968}"/>
              </a:ext>
            </a:extLst>
          </p:cNvPr>
          <p:cNvCxnSpPr/>
          <p:nvPr userDrawn="1"/>
        </p:nvCxnSpPr>
        <p:spPr>
          <a:xfrm>
            <a:off x="393241" y="1595202"/>
            <a:ext cx="9119518"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Content Placeholder 31">
            <a:extLst>
              <a:ext uri="{FF2B5EF4-FFF2-40B4-BE49-F238E27FC236}">
                <a16:creationId xmlns:a16="http://schemas.microsoft.com/office/drawing/2014/main" id="{E8074E6E-1645-54F3-D93F-40E7B0634348}"/>
              </a:ext>
            </a:extLst>
          </p:cNvPr>
          <p:cNvSpPr>
            <a:spLocks noGrp="1"/>
          </p:cNvSpPr>
          <p:nvPr>
            <p:ph sz="quarter" idx="33"/>
          </p:nvPr>
        </p:nvSpPr>
        <p:spPr>
          <a:xfrm>
            <a:off x="392400" y="1378211"/>
            <a:ext cx="6061076" cy="222250"/>
          </a:xfrm>
          <a:prstGeom prst="rect">
            <a:avLst/>
          </a:prstGeom>
        </p:spPr>
        <p:txBody>
          <a:bodyPr/>
          <a:lstStyle>
            <a:lvl1pPr>
              <a:buClrTx/>
              <a:defRPr>
                <a:solidFill>
                  <a:schemeClr val="bg1"/>
                </a:solidFill>
              </a:defRPr>
            </a:lvl1pPr>
          </a:lstStyle>
          <a:p>
            <a:pPr lvl="0"/>
            <a:r>
              <a:rPr lang="en-GB" dirty="0"/>
              <a:t>Click to edit Master text styles</a:t>
            </a:r>
          </a:p>
        </p:txBody>
      </p:sp>
    </p:spTree>
    <p:extLst>
      <p:ext uri="{BB962C8B-B14F-4D97-AF65-F5344CB8AC3E}">
        <p14:creationId xmlns:p14="http://schemas.microsoft.com/office/powerpoint/2010/main" val="1319706073"/>
      </p:ext>
    </p:extLst>
  </p:cSld>
  <p:clrMapOvr>
    <a:masterClrMapping/>
  </p:clrMapOvr>
  <p:extLst>
    <p:ext uri="{DCECCB84-F9BA-43D5-87BE-67443E8EF086}">
      <p15:sldGuideLst xmlns:p15="http://schemas.microsoft.com/office/powerpoint/2012/main">
        <p15:guide id="1" orient="horz" pos="867">
          <p15:clr>
            <a:srgbClr val="FBAE40"/>
          </p15:clr>
        </p15:guide>
        <p15:guide id="2" pos="240">
          <p15:clr>
            <a:srgbClr val="FBAE40"/>
          </p15:clr>
        </p15:guide>
        <p15:guide id="3" pos="6000">
          <p15:clr>
            <a:srgbClr val="FBAE40"/>
          </p15:clr>
        </p15:guide>
        <p15:guide id="4" pos="3007">
          <p15:clr>
            <a:srgbClr val="FBAE40"/>
          </p15:clr>
        </p15:guide>
        <p15:guide id="5" pos="3233">
          <p15:clr>
            <a:srgbClr val="FBAE40"/>
          </p15:clr>
        </p15:guide>
        <p15:guide id="6" orient="horz" pos="1026">
          <p15:clr>
            <a:srgbClr val="FBAE40"/>
          </p15:clr>
        </p15:guide>
        <p15:guide id="7" orient="horz" pos="256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262BD13-5E20-5629-5727-524FC5E41CD5}"/>
              </a:ext>
            </a:extLst>
          </p:cNvPr>
          <p:cNvGraphicFramePr>
            <a:graphicFrameLocks noChangeAspect="1"/>
          </p:cNvGraphicFramePr>
          <p:nvPr userDrawn="1">
            <p:custDataLst>
              <p:tags r:id="rId1"/>
            </p:custDataLst>
            <p:extLst>
              <p:ext uri="{D42A27DB-BD31-4B8C-83A1-F6EECF244321}">
                <p14:modId xmlns:p14="http://schemas.microsoft.com/office/powerpoint/2010/main" val="943494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C262BD13-5E20-5629-5727-524FC5E41C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75EBB523-8995-3D4F-A480-0395B056AA69}"/>
              </a:ext>
            </a:extLst>
          </p:cNvPr>
          <p:cNvSpPr>
            <a:spLocks noGrp="1"/>
          </p:cNvSpPr>
          <p:nvPr>
            <p:ph type="pic" sz="quarter" idx="28"/>
          </p:nvPr>
        </p:nvSpPr>
        <p:spPr>
          <a:xfrm>
            <a:off x="387350" y="1592263"/>
            <a:ext cx="1538288" cy="1985962"/>
          </a:xfrm>
          <a:prstGeom prst="rect">
            <a:avLst/>
          </a:prstGeom>
        </p:spPr>
        <p:txBody>
          <a:bodyPr/>
          <a:lstStyle>
            <a:lvl1pPr>
              <a:buClrTx/>
              <a:defRPr b="0" i="0">
                <a:latin typeface="Roboto Light" panose="02000000000000000000" pitchFamily="2" charset="0"/>
                <a:ea typeface="Roboto Light" panose="02000000000000000000" pitchFamily="2" charset="0"/>
              </a:defRPr>
            </a:lvl1pPr>
          </a:lstStyle>
          <a:p>
            <a:endParaRPr lang="en-US"/>
          </a:p>
        </p:txBody>
      </p:sp>
      <p:sp>
        <p:nvSpPr>
          <p:cNvPr id="26" name="Picture Placeholder 12">
            <a:extLst>
              <a:ext uri="{FF2B5EF4-FFF2-40B4-BE49-F238E27FC236}">
                <a16:creationId xmlns:a16="http://schemas.microsoft.com/office/drawing/2014/main" id="{98C9784F-3F0A-D04C-A0F8-DFE74C106F31}"/>
              </a:ext>
            </a:extLst>
          </p:cNvPr>
          <p:cNvSpPr>
            <a:spLocks noGrp="1"/>
          </p:cNvSpPr>
          <p:nvPr>
            <p:ph type="pic" sz="quarter" idx="29"/>
          </p:nvPr>
        </p:nvSpPr>
        <p:spPr>
          <a:xfrm>
            <a:off x="387350" y="3976234"/>
            <a:ext cx="1538288" cy="1985962"/>
          </a:xfrm>
          <a:prstGeom prst="rect">
            <a:avLst/>
          </a:prstGeom>
        </p:spPr>
        <p:txBody>
          <a:bodyPr/>
          <a:lstStyle>
            <a:lvl1pPr>
              <a:buClrTx/>
              <a:defRPr b="0" i="0">
                <a:latin typeface="Roboto Light" panose="02000000000000000000" pitchFamily="2" charset="0"/>
                <a:ea typeface="Roboto Light" panose="02000000000000000000" pitchFamily="2" charset="0"/>
              </a:defRPr>
            </a:lvl1pPr>
          </a:lstStyle>
          <a:p>
            <a:endParaRPr lang="en-US"/>
          </a:p>
        </p:txBody>
      </p:sp>
      <p:sp>
        <p:nvSpPr>
          <p:cNvPr id="29" name="Text Placeholder 28"/>
          <p:cNvSpPr>
            <a:spLocks noGrp="1"/>
          </p:cNvSpPr>
          <p:nvPr>
            <p:ph type="body" sz="quarter" idx="10" hasCustomPrompt="1"/>
          </p:nvPr>
        </p:nvSpPr>
        <p:spPr>
          <a:xfrm>
            <a:off x="392400" y="887820"/>
            <a:ext cx="9163080" cy="396382"/>
          </a:xfrm>
          <a:prstGeom prst="rect">
            <a:avLst/>
          </a:prstGeom>
          <a:ln w="3175">
            <a:noFill/>
          </a:ln>
        </p:spPr>
        <p:txBody>
          <a:bodyPr vert="horz" lIns="0" tIns="36000" rIns="36000" bIns="36000" rtlCol="0">
            <a:noAutofit/>
          </a:bodyPr>
          <a:lstStyle>
            <a:lvl1pPr>
              <a:buClrTx/>
              <a:defRPr lang="en-AU" sz="1200" noProof="0" dirty="0">
                <a:cs typeface="Roboto Light" panose="02000000000000000000" pitchFamily="2" charset="0"/>
              </a:defRPr>
            </a:lvl1pPr>
          </a:lstStyle>
          <a:p>
            <a:pPr lvl="0">
              <a:lnSpc>
                <a:spcPct val="100000"/>
              </a:lnSpc>
            </a:pPr>
            <a:r>
              <a:rPr lang="en-AU" noProof="0" dirty="0"/>
              <a:t>Click to insert key message</a:t>
            </a:r>
          </a:p>
        </p:txBody>
      </p:sp>
      <p:sp>
        <p:nvSpPr>
          <p:cNvPr id="20" name="Title 19"/>
          <p:cNvSpPr>
            <a:spLocks noGrp="1"/>
          </p:cNvSpPr>
          <p:nvPr>
            <p:ph type="title" hasCustomPrompt="1"/>
          </p:nvPr>
        </p:nvSpPr>
        <p:spPr>
          <a:xfrm>
            <a:off x="392400" y="108000"/>
            <a:ext cx="7560000" cy="576000"/>
          </a:xfrm>
          <a:prstGeom prst="rect">
            <a:avLst/>
          </a:prstGeom>
        </p:spPr>
        <p:txBody>
          <a:bodyPr vert="horz"/>
          <a:lstStyle>
            <a:lvl1pPr>
              <a:buClrTx/>
              <a:defRPr b="0" i="0">
                <a:latin typeface="Roboto Light" panose="02000000000000000000" pitchFamily="2" charset="0"/>
                <a:ea typeface="Roboto Light" panose="02000000000000000000" pitchFamily="2" charset="0"/>
                <a:cs typeface="Roboto Light" panose="02000000000000000000" pitchFamily="2" charset="0"/>
              </a:defRPr>
            </a:lvl1pPr>
          </a:lstStyle>
          <a:p>
            <a:r>
              <a:rPr lang="en-AU" noProof="0" dirty="0"/>
              <a:t>Click to insert page title</a:t>
            </a:r>
          </a:p>
        </p:txBody>
      </p:sp>
      <p:sp>
        <p:nvSpPr>
          <p:cNvPr id="6" name="Espace réservé du texte 4">
            <a:extLst>
              <a:ext uri="{FF2B5EF4-FFF2-40B4-BE49-F238E27FC236}">
                <a16:creationId xmlns:a16="http://schemas.microsoft.com/office/drawing/2014/main" id="{2BAED5F8-5514-44E2-A5E3-60EBFA99357A}"/>
              </a:ext>
            </a:extLst>
          </p:cNvPr>
          <p:cNvSpPr>
            <a:spLocks noGrp="1"/>
          </p:cNvSpPr>
          <p:nvPr>
            <p:ph type="body" sz="quarter" idx="27" hasCustomPrompt="1"/>
          </p:nvPr>
        </p:nvSpPr>
        <p:spPr>
          <a:xfrm>
            <a:off x="393245" y="6233719"/>
            <a:ext cx="4380368" cy="276340"/>
          </a:xfrm>
          <a:prstGeom prst="rect">
            <a:avLst/>
          </a:prstGeom>
        </p:spPr>
        <p:txBody>
          <a:bodyPr lIns="0" tIns="0" rIns="0" bIns="0" anchor="b" anchorCtr="0"/>
          <a:lstStyle>
            <a:lvl1pPr>
              <a:spcAft>
                <a:spcPts val="0"/>
              </a:spcAft>
              <a:buClrTx/>
              <a:defRPr sz="6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fr-FR" dirty="0"/>
              <a:t>Source:</a:t>
            </a:r>
            <a:endParaRPr lang="en-GB" dirty="0"/>
          </a:p>
        </p:txBody>
      </p:sp>
      <p:sp>
        <p:nvSpPr>
          <p:cNvPr id="16" name="Rectangle 15">
            <a:extLst>
              <a:ext uri="{FF2B5EF4-FFF2-40B4-BE49-F238E27FC236}">
                <a16:creationId xmlns:a16="http://schemas.microsoft.com/office/drawing/2014/main" id="{79764C6F-2FBA-AD44-BBE3-01AC0C7ECB15}"/>
              </a:ext>
            </a:extLst>
          </p:cNvPr>
          <p:cNvSpPr/>
          <p:nvPr userDrawn="1"/>
        </p:nvSpPr>
        <p:spPr>
          <a:xfrm>
            <a:off x="2301497" y="3965336"/>
            <a:ext cx="7208725" cy="1949748"/>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B072BD7F-C568-B34A-832D-1C44320BBA5D}"/>
              </a:ext>
            </a:extLst>
          </p:cNvPr>
          <p:cNvSpPr/>
          <p:nvPr userDrawn="1"/>
        </p:nvSpPr>
        <p:spPr>
          <a:xfrm>
            <a:off x="2301497" y="1595203"/>
            <a:ext cx="7208725" cy="1982687"/>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8" name="Text Placeholder 2">
            <a:extLst>
              <a:ext uri="{FF2B5EF4-FFF2-40B4-BE49-F238E27FC236}">
                <a16:creationId xmlns:a16="http://schemas.microsoft.com/office/drawing/2014/main" id="{7FA82365-1B08-214F-8BF5-6ED165B6755F}"/>
              </a:ext>
            </a:extLst>
          </p:cNvPr>
          <p:cNvSpPr txBox="1">
            <a:spLocks/>
          </p:cNvSpPr>
          <p:nvPr userDrawn="1"/>
        </p:nvSpPr>
        <p:spPr>
          <a:xfrm>
            <a:off x="389026" y="3746211"/>
            <a:ext cx="9121196" cy="216000"/>
          </a:xfrm>
          <a:prstGeom prst="rect">
            <a:avLst/>
          </a:prstGeom>
          <a:solidFill>
            <a:schemeClr val="accent1"/>
          </a:solidFill>
          <a:ln w="3175">
            <a:noFill/>
          </a:ln>
        </p:spPr>
        <p:txBody>
          <a:bodyPr vert="horz" lIns="72000" tIns="36000" rIns="0" bIns="36000" rtlCol="0" anchor="ctr" anchorCtr="0">
            <a:noAutofit/>
          </a:bodyPr>
          <a:lstStyle>
            <a:lvl1pPr marL="0" indent="0" algn="l" defTabSz="914400" rtl="0" eaLnBrk="1" latinLnBrk="0" hangingPunct="1">
              <a:lnSpc>
                <a:spcPct val="100000"/>
              </a:lnSpc>
              <a:spcBef>
                <a:spcPts val="3000"/>
              </a:spcBef>
              <a:spcAft>
                <a:spcPts val="4200"/>
              </a:spcAft>
              <a:buClr>
                <a:schemeClr val="accent3"/>
              </a:buClr>
              <a:buSzPct val="80000"/>
              <a:buFont typeface="Wingdings" pitchFamily="2" charset="2"/>
              <a:buNone/>
              <a:defRPr lang="en-AU" sz="1200" b="0" kern="1200" noProof="0" dirty="0" smtClean="0">
                <a:solidFill>
                  <a:schemeClr val="tx1"/>
                </a:solidFill>
                <a:latin typeface="+mn-lt"/>
                <a:ea typeface="+mn-ea"/>
                <a:cs typeface="+mn-cs"/>
              </a:defRPr>
            </a:lvl1pPr>
            <a:lvl2pPr marL="180975" indent="-180975" algn="l" defTabSz="914400" rtl="0" eaLnBrk="1" latinLnBrk="0" hangingPunct="1">
              <a:spcBef>
                <a:spcPts val="0"/>
              </a:spcBef>
              <a:spcAft>
                <a:spcPts val="600"/>
              </a:spcAft>
              <a:buClr>
                <a:schemeClr val="accent2"/>
              </a:buClr>
              <a:buSzPct val="85000"/>
              <a:buFont typeface="Wingdings" pitchFamily="2" charset="2"/>
              <a:buChar char=""/>
              <a:defRPr sz="1000" kern="1200">
                <a:solidFill>
                  <a:schemeClr val="tx1"/>
                </a:solidFill>
                <a:latin typeface="+mn-lt"/>
                <a:ea typeface="+mn-ea"/>
                <a:cs typeface="+mn-cs"/>
              </a:defRPr>
            </a:lvl2pPr>
            <a:lvl3pPr marL="361950" indent="-180975" algn="l" defTabSz="914400" rtl="0" eaLnBrk="1" latinLnBrk="0" hangingPunct="1">
              <a:spcBef>
                <a:spcPts val="0"/>
              </a:spcBef>
              <a:spcAft>
                <a:spcPts val="600"/>
              </a:spcAft>
              <a:buClr>
                <a:schemeClr val="tx1"/>
              </a:buClr>
              <a:buSzPct val="120000"/>
              <a:buFont typeface="HelveticaNeue LT 45 Lt" pitchFamily="34" charset="0"/>
              <a:buChar char="—"/>
              <a:defRPr sz="1000" kern="1200">
                <a:solidFill>
                  <a:schemeClr val="tx1"/>
                </a:solidFill>
                <a:latin typeface="+mn-lt"/>
                <a:ea typeface="+mn-ea"/>
                <a:cs typeface="+mn-cs"/>
              </a:defRPr>
            </a:lvl3pPr>
            <a:lvl4pPr marL="542925" indent="-180975" algn="l" defTabSz="914400" rtl="0" eaLnBrk="1" latinLnBrk="0" hangingPunct="1">
              <a:spcBef>
                <a:spcPts val="0"/>
              </a:spcBef>
              <a:spcAft>
                <a:spcPts val="600"/>
              </a:spcAft>
              <a:buClr>
                <a:schemeClr val="tx1"/>
              </a:buClr>
              <a:buSzPct val="120000"/>
              <a:buFont typeface="HelveticaNeue LT 45 Lt" pitchFamily="34" charset="0"/>
              <a:buChar char="—"/>
              <a:defRPr sz="1000" kern="1200" baseline="0">
                <a:solidFill>
                  <a:schemeClr val="tx1"/>
                </a:solidFill>
                <a:latin typeface="+mn-lt"/>
                <a:ea typeface="+mn-ea"/>
                <a:cs typeface="+mn-cs"/>
              </a:defRPr>
            </a:lvl4pPr>
            <a:lvl5pPr marL="2057400" indent="-228600" algn="l" defTabSz="914400" rtl="0" eaLnBrk="1" latinLnBrk="0" hangingPunct="1">
              <a:spcBef>
                <a:spcPts val="0"/>
              </a:spcBef>
              <a:spcAft>
                <a:spcPts val="360"/>
              </a:spcAft>
              <a:buFont typeface="Calibri" pitchFamily="34" charset="0"/>
              <a:buChar char="—"/>
              <a:defRPr sz="1000" kern="1200">
                <a:solidFill>
                  <a:srgbClr val="4D4F53"/>
                </a:solidFill>
                <a:latin typeface="HelveticaNeue LT 45 Lt"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1000"/>
              </a:lnSpc>
              <a:spcAft>
                <a:spcPts val="0"/>
              </a:spcAft>
              <a:buClrTx/>
            </a:pPr>
            <a:endParaRPr lang="en-US" sz="970" dirty="0">
              <a:solidFill>
                <a:schemeClr val="bg1"/>
              </a:solidFill>
              <a:latin typeface="Roboto Light" panose="02000000000000000000" pitchFamily="2" charset="0"/>
              <a:ea typeface="Roboto Light" panose="02000000000000000000" pitchFamily="2" charset="0"/>
            </a:endParaRPr>
          </a:p>
        </p:txBody>
      </p:sp>
      <p:cxnSp>
        <p:nvCxnSpPr>
          <p:cNvPr id="19" name="Straight Connector 18">
            <a:extLst>
              <a:ext uri="{FF2B5EF4-FFF2-40B4-BE49-F238E27FC236}">
                <a16:creationId xmlns:a16="http://schemas.microsoft.com/office/drawing/2014/main" id="{6EF8686A-E3DD-164C-A6A8-901DA20A1698}"/>
              </a:ext>
            </a:extLst>
          </p:cNvPr>
          <p:cNvCxnSpPr/>
          <p:nvPr userDrawn="1"/>
        </p:nvCxnSpPr>
        <p:spPr>
          <a:xfrm>
            <a:off x="387225" y="3965335"/>
            <a:ext cx="9119518"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Text Placeholder 2">
            <a:extLst>
              <a:ext uri="{FF2B5EF4-FFF2-40B4-BE49-F238E27FC236}">
                <a16:creationId xmlns:a16="http://schemas.microsoft.com/office/drawing/2014/main" id="{11E846AE-C0A3-8D4E-9026-1B9FC8948510}"/>
              </a:ext>
            </a:extLst>
          </p:cNvPr>
          <p:cNvSpPr txBox="1">
            <a:spLocks/>
          </p:cNvSpPr>
          <p:nvPr userDrawn="1"/>
        </p:nvSpPr>
        <p:spPr>
          <a:xfrm>
            <a:off x="389026" y="1376363"/>
            <a:ext cx="9121196" cy="216000"/>
          </a:xfrm>
          <a:prstGeom prst="rect">
            <a:avLst/>
          </a:prstGeom>
          <a:solidFill>
            <a:schemeClr val="accent1"/>
          </a:solidFill>
          <a:ln w="3175">
            <a:noFill/>
          </a:ln>
        </p:spPr>
        <p:txBody>
          <a:bodyPr vert="horz" lIns="72000" tIns="36000" rIns="0" bIns="36000" rtlCol="0" anchor="ctr" anchorCtr="0">
            <a:noAutofit/>
          </a:bodyPr>
          <a:lstStyle>
            <a:lvl1pPr marL="0" indent="0" algn="l" defTabSz="914400" rtl="0" eaLnBrk="1" latinLnBrk="0" hangingPunct="1">
              <a:lnSpc>
                <a:spcPct val="100000"/>
              </a:lnSpc>
              <a:spcBef>
                <a:spcPts val="3000"/>
              </a:spcBef>
              <a:spcAft>
                <a:spcPts val="4200"/>
              </a:spcAft>
              <a:buClr>
                <a:schemeClr val="accent3"/>
              </a:buClr>
              <a:buSzPct val="80000"/>
              <a:buFont typeface="Wingdings" pitchFamily="2" charset="2"/>
              <a:buNone/>
              <a:defRPr lang="en-AU" sz="1200" b="0" kern="1200" noProof="0" dirty="0" smtClean="0">
                <a:solidFill>
                  <a:schemeClr val="tx1"/>
                </a:solidFill>
                <a:latin typeface="+mn-lt"/>
                <a:ea typeface="+mn-ea"/>
                <a:cs typeface="+mn-cs"/>
              </a:defRPr>
            </a:lvl1pPr>
            <a:lvl2pPr marL="180975" indent="-180975" algn="l" defTabSz="914400" rtl="0" eaLnBrk="1" latinLnBrk="0" hangingPunct="1">
              <a:spcBef>
                <a:spcPts val="0"/>
              </a:spcBef>
              <a:spcAft>
                <a:spcPts val="600"/>
              </a:spcAft>
              <a:buClr>
                <a:schemeClr val="accent2"/>
              </a:buClr>
              <a:buSzPct val="85000"/>
              <a:buFont typeface="Wingdings" pitchFamily="2" charset="2"/>
              <a:buChar char=""/>
              <a:defRPr sz="1000" kern="1200">
                <a:solidFill>
                  <a:schemeClr val="tx1"/>
                </a:solidFill>
                <a:latin typeface="+mn-lt"/>
                <a:ea typeface="+mn-ea"/>
                <a:cs typeface="+mn-cs"/>
              </a:defRPr>
            </a:lvl2pPr>
            <a:lvl3pPr marL="361950" indent="-180975" algn="l" defTabSz="914400" rtl="0" eaLnBrk="1" latinLnBrk="0" hangingPunct="1">
              <a:spcBef>
                <a:spcPts val="0"/>
              </a:spcBef>
              <a:spcAft>
                <a:spcPts val="600"/>
              </a:spcAft>
              <a:buClr>
                <a:schemeClr val="tx1"/>
              </a:buClr>
              <a:buSzPct val="120000"/>
              <a:buFont typeface="HelveticaNeue LT 45 Lt" pitchFamily="34" charset="0"/>
              <a:buChar char="—"/>
              <a:defRPr sz="1000" kern="1200">
                <a:solidFill>
                  <a:schemeClr val="tx1"/>
                </a:solidFill>
                <a:latin typeface="+mn-lt"/>
                <a:ea typeface="+mn-ea"/>
                <a:cs typeface="+mn-cs"/>
              </a:defRPr>
            </a:lvl3pPr>
            <a:lvl4pPr marL="542925" indent="-180975" algn="l" defTabSz="914400" rtl="0" eaLnBrk="1" latinLnBrk="0" hangingPunct="1">
              <a:spcBef>
                <a:spcPts val="0"/>
              </a:spcBef>
              <a:spcAft>
                <a:spcPts val="600"/>
              </a:spcAft>
              <a:buClr>
                <a:schemeClr val="tx1"/>
              </a:buClr>
              <a:buSzPct val="120000"/>
              <a:buFont typeface="HelveticaNeue LT 45 Lt" pitchFamily="34" charset="0"/>
              <a:buChar char="—"/>
              <a:defRPr sz="1000" kern="1200" baseline="0">
                <a:solidFill>
                  <a:schemeClr val="tx1"/>
                </a:solidFill>
                <a:latin typeface="+mn-lt"/>
                <a:ea typeface="+mn-ea"/>
                <a:cs typeface="+mn-cs"/>
              </a:defRPr>
            </a:lvl4pPr>
            <a:lvl5pPr marL="2057400" indent="-228600" algn="l" defTabSz="914400" rtl="0" eaLnBrk="1" latinLnBrk="0" hangingPunct="1">
              <a:spcBef>
                <a:spcPts val="0"/>
              </a:spcBef>
              <a:spcAft>
                <a:spcPts val="360"/>
              </a:spcAft>
              <a:buFont typeface="Calibri" pitchFamily="34" charset="0"/>
              <a:buChar char="—"/>
              <a:defRPr sz="1000" kern="1200">
                <a:solidFill>
                  <a:srgbClr val="4D4F53"/>
                </a:solidFill>
                <a:latin typeface="HelveticaNeue LT 45 Lt"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1000"/>
              </a:lnSpc>
              <a:spcAft>
                <a:spcPts val="0"/>
              </a:spcAft>
              <a:buClrTx/>
            </a:pPr>
            <a:endParaRPr lang="en-US" sz="970" dirty="0">
              <a:solidFill>
                <a:schemeClr val="bg1"/>
              </a:solidFill>
              <a:latin typeface="Roboto Light" panose="02000000000000000000" pitchFamily="2" charset="0"/>
              <a:ea typeface="Roboto Light" panose="02000000000000000000" pitchFamily="2" charset="0"/>
            </a:endParaRPr>
          </a:p>
        </p:txBody>
      </p:sp>
      <p:cxnSp>
        <p:nvCxnSpPr>
          <p:cNvPr id="22" name="Straight Connector 21">
            <a:extLst>
              <a:ext uri="{FF2B5EF4-FFF2-40B4-BE49-F238E27FC236}">
                <a16:creationId xmlns:a16="http://schemas.microsoft.com/office/drawing/2014/main" id="{BE2742AA-8037-774A-AA6B-12E433B614B4}"/>
              </a:ext>
            </a:extLst>
          </p:cNvPr>
          <p:cNvCxnSpPr/>
          <p:nvPr userDrawn="1"/>
        </p:nvCxnSpPr>
        <p:spPr>
          <a:xfrm>
            <a:off x="393241" y="1595202"/>
            <a:ext cx="9119518"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Content Placeholder 6">
            <a:extLst>
              <a:ext uri="{FF2B5EF4-FFF2-40B4-BE49-F238E27FC236}">
                <a16:creationId xmlns:a16="http://schemas.microsoft.com/office/drawing/2014/main" id="{DB69A315-DFC1-8243-9F88-AB659AE3E5FD}"/>
              </a:ext>
            </a:extLst>
          </p:cNvPr>
          <p:cNvSpPr>
            <a:spLocks noGrp="1"/>
          </p:cNvSpPr>
          <p:nvPr>
            <p:ph sz="quarter" idx="31"/>
          </p:nvPr>
        </p:nvSpPr>
        <p:spPr>
          <a:xfrm>
            <a:off x="2423160" y="1684524"/>
            <a:ext cx="6916783" cy="1868060"/>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1" name="Content Placeholder 6">
            <a:extLst>
              <a:ext uri="{FF2B5EF4-FFF2-40B4-BE49-F238E27FC236}">
                <a16:creationId xmlns:a16="http://schemas.microsoft.com/office/drawing/2014/main" id="{991A1211-17C7-4B4F-9015-2D77F88FAEB4}"/>
              </a:ext>
            </a:extLst>
          </p:cNvPr>
          <p:cNvSpPr>
            <a:spLocks noGrp="1"/>
          </p:cNvSpPr>
          <p:nvPr>
            <p:ph sz="quarter" idx="32"/>
          </p:nvPr>
        </p:nvSpPr>
        <p:spPr>
          <a:xfrm>
            <a:off x="2423160" y="4082395"/>
            <a:ext cx="6916783" cy="1868060"/>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2" name="Content Placeholder 31">
            <a:extLst>
              <a:ext uri="{FF2B5EF4-FFF2-40B4-BE49-F238E27FC236}">
                <a16:creationId xmlns:a16="http://schemas.microsoft.com/office/drawing/2014/main" id="{02900851-7CB1-C046-97BC-22846EAAAB96}"/>
              </a:ext>
            </a:extLst>
          </p:cNvPr>
          <p:cNvSpPr>
            <a:spLocks noGrp="1"/>
          </p:cNvSpPr>
          <p:nvPr>
            <p:ph sz="quarter" idx="33"/>
          </p:nvPr>
        </p:nvSpPr>
        <p:spPr>
          <a:xfrm>
            <a:off x="392400" y="1378211"/>
            <a:ext cx="6061076" cy="222250"/>
          </a:xfrm>
          <a:prstGeom prst="rect">
            <a:avLst/>
          </a:prstGeom>
        </p:spPr>
        <p:txBody>
          <a:bodyPr/>
          <a:lstStyle>
            <a:lvl1pPr>
              <a:buClrTx/>
              <a:defRPr>
                <a:solidFill>
                  <a:schemeClr val="bg1"/>
                </a:solidFill>
              </a:defRPr>
            </a:lvl1pPr>
          </a:lstStyle>
          <a:p>
            <a:pPr lvl="0"/>
            <a:r>
              <a:rPr lang="en-GB" dirty="0"/>
              <a:t>Click to edit Master text styles</a:t>
            </a:r>
          </a:p>
        </p:txBody>
      </p:sp>
      <p:sp>
        <p:nvSpPr>
          <p:cNvPr id="4" name="Espace réservé du numéro de diapositive 3">
            <a:extLst>
              <a:ext uri="{FF2B5EF4-FFF2-40B4-BE49-F238E27FC236}">
                <a16:creationId xmlns:a16="http://schemas.microsoft.com/office/drawing/2014/main" id="{3FE72DD3-AF0D-4131-88D2-D008CDE886F4}"/>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Tx/>
            </a:pPr>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buClrTx/>
              </a:pPr>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
        <p:nvSpPr>
          <p:cNvPr id="5" name="Content Placeholder 31">
            <a:extLst>
              <a:ext uri="{FF2B5EF4-FFF2-40B4-BE49-F238E27FC236}">
                <a16:creationId xmlns:a16="http://schemas.microsoft.com/office/drawing/2014/main" id="{9696ED97-3E96-E0FD-50E6-461169E9375E}"/>
              </a:ext>
            </a:extLst>
          </p:cNvPr>
          <p:cNvSpPr>
            <a:spLocks noGrp="1"/>
          </p:cNvSpPr>
          <p:nvPr>
            <p:ph sz="quarter" idx="36"/>
          </p:nvPr>
        </p:nvSpPr>
        <p:spPr>
          <a:xfrm>
            <a:off x="392400" y="3743086"/>
            <a:ext cx="6061076" cy="222250"/>
          </a:xfrm>
          <a:prstGeom prst="rect">
            <a:avLst/>
          </a:prstGeom>
        </p:spPr>
        <p:txBody>
          <a:bodyPr/>
          <a:lstStyle>
            <a:lvl1pPr>
              <a:buClrTx/>
              <a:defRPr>
                <a:solidFill>
                  <a:schemeClr val="bg1"/>
                </a:solidFill>
              </a:defRPr>
            </a:lvl1pPr>
          </a:lstStyle>
          <a:p>
            <a:pPr lvl="0"/>
            <a:r>
              <a:rPr lang="en-GB" dirty="0"/>
              <a:t>Click to edit Master text styles</a:t>
            </a:r>
          </a:p>
        </p:txBody>
      </p:sp>
    </p:spTree>
    <p:extLst>
      <p:ext uri="{BB962C8B-B14F-4D97-AF65-F5344CB8AC3E}">
        <p14:creationId xmlns:p14="http://schemas.microsoft.com/office/powerpoint/2010/main" val="1311286659"/>
      </p:ext>
    </p:extLst>
  </p:cSld>
  <p:clrMapOvr>
    <a:masterClrMapping/>
  </p:clrMapOvr>
  <p:extLst>
    <p:ext uri="{DCECCB84-F9BA-43D5-87BE-67443E8EF086}">
      <p15:sldGuideLst xmlns:p15="http://schemas.microsoft.com/office/powerpoint/2012/main">
        <p15:guide id="1" orient="horz" pos="867">
          <p15:clr>
            <a:srgbClr val="FBAE40"/>
          </p15:clr>
        </p15:guide>
        <p15:guide id="2" pos="240">
          <p15:clr>
            <a:srgbClr val="FBAE40"/>
          </p15:clr>
        </p15:guide>
        <p15:guide id="3" pos="6000">
          <p15:clr>
            <a:srgbClr val="FBAE40"/>
          </p15:clr>
        </p15:guide>
        <p15:guide id="4" pos="3007">
          <p15:clr>
            <a:srgbClr val="FBAE40"/>
          </p15:clr>
        </p15:guide>
        <p15:guide id="5" pos="3233">
          <p15:clr>
            <a:srgbClr val="FBAE40"/>
          </p15:clr>
        </p15:guide>
        <p15:guide id="6" orient="horz" pos="1026">
          <p15:clr>
            <a:srgbClr val="FBAE40"/>
          </p15:clr>
        </p15:guide>
        <p15:guide id="7" orient="horz" pos="256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06F67FB-1FAA-8BB9-FA40-E53103336422}"/>
              </a:ext>
            </a:extLst>
          </p:cNvPr>
          <p:cNvGraphicFramePr>
            <a:graphicFrameLocks noChangeAspect="1"/>
          </p:cNvGraphicFramePr>
          <p:nvPr userDrawn="1">
            <p:custDataLst>
              <p:tags r:id="rId1"/>
            </p:custDataLst>
            <p:extLst>
              <p:ext uri="{D42A27DB-BD31-4B8C-83A1-F6EECF244321}">
                <p14:modId xmlns:p14="http://schemas.microsoft.com/office/powerpoint/2010/main" val="2016526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B06F67FB-1FAA-8BB9-FA40-E531033364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75EBB523-8995-3D4F-A480-0395B056AA69}"/>
              </a:ext>
            </a:extLst>
          </p:cNvPr>
          <p:cNvSpPr>
            <a:spLocks noGrp="1"/>
          </p:cNvSpPr>
          <p:nvPr>
            <p:ph type="pic" sz="quarter" idx="28"/>
          </p:nvPr>
        </p:nvSpPr>
        <p:spPr>
          <a:xfrm>
            <a:off x="387350" y="1592263"/>
            <a:ext cx="1111997" cy="1435611"/>
          </a:xfrm>
          <a:prstGeom prst="rect">
            <a:avLst/>
          </a:prstGeom>
        </p:spPr>
        <p:txBody>
          <a:bodyPr/>
          <a:lstStyle>
            <a:lvl1pPr>
              <a:buClrTx/>
              <a:defRPr b="0" i="0">
                <a:latin typeface="Roboto Light" panose="02000000000000000000" pitchFamily="2" charset="0"/>
                <a:ea typeface="Roboto Light" panose="02000000000000000000" pitchFamily="2" charset="0"/>
              </a:defRPr>
            </a:lvl1pPr>
          </a:lstStyle>
          <a:p>
            <a:endParaRPr lang="en-US"/>
          </a:p>
        </p:txBody>
      </p:sp>
      <p:sp>
        <p:nvSpPr>
          <p:cNvPr id="20" name="Title 19"/>
          <p:cNvSpPr>
            <a:spLocks noGrp="1"/>
          </p:cNvSpPr>
          <p:nvPr>
            <p:ph type="title" hasCustomPrompt="1"/>
          </p:nvPr>
        </p:nvSpPr>
        <p:spPr>
          <a:xfrm>
            <a:off x="392400" y="108000"/>
            <a:ext cx="7560000" cy="576000"/>
          </a:xfrm>
          <a:prstGeom prst="rect">
            <a:avLst/>
          </a:prstGeom>
        </p:spPr>
        <p:txBody>
          <a:bodyPr vert="horz"/>
          <a:lstStyle>
            <a:lvl1pPr>
              <a:buClrTx/>
              <a:defRPr b="0" i="0">
                <a:latin typeface="Roboto Light" panose="02000000000000000000" pitchFamily="2" charset="0"/>
                <a:ea typeface="Roboto Light" panose="02000000000000000000" pitchFamily="2" charset="0"/>
                <a:cs typeface="Roboto Light" panose="02000000000000000000" pitchFamily="2" charset="0"/>
              </a:defRPr>
            </a:lvl1pPr>
          </a:lstStyle>
          <a:p>
            <a:r>
              <a:rPr lang="en-AU" noProof="0" dirty="0"/>
              <a:t>Click to insert page title</a:t>
            </a:r>
          </a:p>
        </p:txBody>
      </p:sp>
      <p:sp>
        <p:nvSpPr>
          <p:cNvPr id="17" name="Rectangle 16">
            <a:extLst>
              <a:ext uri="{FF2B5EF4-FFF2-40B4-BE49-F238E27FC236}">
                <a16:creationId xmlns:a16="http://schemas.microsoft.com/office/drawing/2014/main" id="{B072BD7F-C568-B34A-832D-1C44320BBA5D}"/>
              </a:ext>
            </a:extLst>
          </p:cNvPr>
          <p:cNvSpPr/>
          <p:nvPr userDrawn="1"/>
        </p:nvSpPr>
        <p:spPr>
          <a:xfrm>
            <a:off x="1707777" y="1595204"/>
            <a:ext cx="7802446" cy="1422144"/>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Text Placeholder 2">
            <a:extLst>
              <a:ext uri="{FF2B5EF4-FFF2-40B4-BE49-F238E27FC236}">
                <a16:creationId xmlns:a16="http://schemas.microsoft.com/office/drawing/2014/main" id="{11E846AE-C0A3-8D4E-9026-1B9FC8948510}"/>
              </a:ext>
            </a:extLst>
          </p:cNvPr>
          <p:cNvSpPr txBox="1">
            <a:spLocks/>
          </p:cNvSpPr>
          <p:nvPr userDrawn="1"/>
        </p:nvSpPr>
        <p:spPr>
          <a:xfrm>
            <a:off x="389026" y="1376363"/>
            <a:ext cx="9121196" cy="216000"/>
          </a:xfrm>
          <a:prstGeom prst="rect">
            <a:avLst/>
          </a:prstGeom>
          <a:solidFill>
            <a:schemeClr val="accent1"/>
          </a:solidFill>
          <a:ln w="3175">
            <a:noFill/>
          </a:ln>
        </p:spPr>
        <p:txBody>
          <a:bodyPr vert="horz" lIns="72000" tIns="36000" rIns="0" bIns="36000" rtlCol="0" anchor="ctr" anchorCtr="0">
            <a:noAutofit/>
          </a:bodyPr>
          <a:lstStyle>
            <a:lvl1pPr marL="0" indent="0" algn="l" defTabSz="914400" rtl="0" eaLnBrk="1" latinLnBrk="0" hangingPunct="1">
              <a:lnSpc>
                <a:spcPct val="100000"/>
              </a:lnSpc>
              <a:spcBef>
                <a:spcPts val="3000"/>
              </a:spcBef>
              <a:spcAft>
                <a:spcPts val="4200"/>
              </a:spcAft>
              <a:buClr>
                <a:schemeClr val="accent3"/>
              </a:buClr>
              <a:buSzPct val="80000"/>
              <a:buFont typeface="Wingdings" pitchFamily="2" charset="2"/>
              <a:buNone/>
              <a:defRPr lang="en-AU" sz="1200" b="0" kern="1200" noProof="0" dirty="0" smtClean="0">
                <a:solidFill>
                  <a:schemeClr val="tx1"/>
                </a:solidFill>
                <a:latin typeface="+mn-lt"/>
                <a:ea typeface="+mn-ea"/>
                <a:cs typeface="+mn-cs"/>
              </a:defRPr>
            </a:lvl1pPr>
            <a:lvl2pPr marL="180975" indent="-180975" algn="l" defTabSz="914400" rtl="0" eaLnBrk="1" latinLnBrk="0" hangingPunct="1">
              <a:spcBef>
                <a:spcPts val="0"/>
              </a:spcBef>
              <a:spcAft>
                <a:spcPts val="600"/>
              </a:spcAft>
              <a:buClr>
                <a:schemeClr val="accent2"/>
              </a:buClr>
              <a:buSzPct val="85000"/>
              <a:buFont typeface="Wingdings" pitchFamily="2" charset="2"/>
              <a:buChar char=""/>
              <a:defRPr sz="1000" kern="1200">
                <a:solidFill>
                  <a:schemeClr val="tx1"/>
                </a:solidFill>
                <a:latin typeface="+mn-lt"/>
                <a:ea typeface="+mn-ea"/>
                <a:cs typeface="+mn-cs"/>
              </a:defRPr>
            </a:lvl2pPr>
            <a:lvl3pPr marL="361950" indent="-180975" algn="l" defTabSz="914400" rtl="0" eaLnBrk="1" latinLnBrk="0" hangingPunct="1">
              <a:spcBef>
                <a:spcPts val="0"/>
              </a:spcBef>
              <a:spcAft>
                <a:spcPts val="600"/>
              </a:spcAft>
              <a:buClr>
                <a:schemeClr val="tx1"/>
              </a:buClr>
              <a:buSzPct val="120000"/>
              <a:buFont typeface="HelveticaNeue LT 45 Lt" pitchFamily="34" charset="0"/>
              <a:buChar char="—"/>
              <a:defRPr sz="1000" kern="1200">
                <a:solidFill>
                  <a:schemeClr val="tx1"/>
                </a:solidFill>
                <a:latin typeface="+mn-lt"/>
                <a:ea typeface="+mn-ea"/>
                <a:cs typeface="+mn-cs"/>
              </a:defRPr>
            </a:lvl3pPr>
            <a:lvl4pPr marL="542925" indent="-180975" algn="l" defTabSz="914400" rtl="0" eaLnBrk="1" latinLnBrk="0" hangingPunct="1">
              <a:spcBef>
                <a:spcPts val="0"/>
              </a:spcBef>
              <a:spcAft>
                <a:spcPts val="600"/>
              </a:spcAft>
              <a:buClr>
                <a:schemeClr val="tx1"/>
              </a:buClr>
              <a:buSzPct val="120000"/>
              <a:buFont typeface="HelveticaNeue LT 45 Lt" pitchFamily="34" charset="0"/>
              <a:buChar char="—"/>
              <a:defRPr sz="1000" kern="1200" baseline="0">
                <a:solidFill>
                  <a:schemeClr val="tx1"/>
                </a:solidFill>
                <a:latin typeface="+mn-lt"/>
                <a:ea typeface="+mn-ea"/>
                <a:cs typeface="+mn-cs"/>
              </a:defRPr>
            </a:lvl4pPr>
            <a:lvl5pPr marL="2057400" indent="-228600" algn="l" defTabSz="914400" rtl="0" eaLnBrk="1" latinLnBrk="0" hangingPunct="1">
              <a:spcBef>
                <a:spcPts val="0"/>
              </a:spcBef>
              <a:spcAft>
                <a:spcPts val="360"/>
              </a:spcAft>
              <a:buFont typeface="Calibri" pitchFamily="34" charset="0"/>
              <a:buChar char="—"/>
              <a:defRPr sz="1000" kern="1200">
                <a:solidFill>
                  <a:srgbClr val="4D4F53"/>
                </a:solidFill>
                <a:latin typeface="HelveticaNeue LT 45 Lt"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1000"/>
              </a:lnSpc>
              <a:spcAft>
                <a:spcPts val="0"/>
              </a:spcAft>
              <a:buClrTx/>
            </a:pPr>
            <a:endParaRPr lang="en-US" sz="970" dirty="0">
              <a:solidFill>
                <a:schemeClr val="bg1"/>
              </a:solidFill>
              <a:latin typeface="Roboto Light" panose="02000000000000000000" pitchFamily="2" charset="0"/>
              <a:ea typeface="Roboto Light" panose="02000000000000000000" pitchFamily="2" charset="0"/>
            </a:endParaRPr>
          </a:p>
        </p:txBody>
      </p:sp>
      <p:cxnSp>
        <p:nvCxnSpPr>
          <p:cNvPr id="22" name="Straight Connector 21">
            <a:extLst>
              <a:ext uri="{FF2B5EF4-FFF2-40B4-BE49-F238E27FC236}">
                <a16:creationId xmlns:a16="http://schemas.microsoft.com/office/drawing/2014/main" id="{BE2742AA-8037-774A-AA6B-12E433B614B4}"/>
              </a:ext>
            </a:extLst>
          </p:cNvPr>
          <p:cNvCxnSpPr/>
          <p:nvPr userDrawn="1"/>
        </p:nvCxnSpPr>
        <p:spPr>
          <a:xfrm>
            <a:off x="393241" y="1595202"/>
            <a:ext cx="9119518"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Content Placeholder 6">
            <a:extLst>
              <a:ext uri="{FF2B5EF4-FFF2-40B4-BE49-F238E27FC236}">
                <a16:creationId xmlns:a16="http://schemas.microsoft.com/office/drawing/2014/main" id="{DB69A315-DFC1-8243-9F88-AB659AE3E5FD}"/>
              </a:ext>
            </a:extLst>
          </p:cNvPr>
          <p:cNvSpPr>
            <a:spLocks noGrp="1"/>
          </p:cNvSpPr>
          <p:nvPr>
            <p:ph sz="quarter" idx="31"/>
          </p:nvPr>
        </p:nvSpPr>
        <p:spPr>
          <a:xfrm>
            <a:off x="1882588" y="1684524"/>
            <a:ext cx="7457355" cy="1343340"/>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2" name="Content Placeholder 31">
            <a:extLst>
              <a:ext uri="{FF2B5EF4-FFF2-40B4-BE49-F238E27FC236}">
                <a16:creationId xmlns:a16="http://schemas.microsoft.com/office/drawing/2014/main" id="{02900851-7CB1-C046-97BC-22846EAAAB96}"/>
              </a:ext>
            </a:extLst>
          </p:cNvPr>
          <p:cNvSpPr>
            <a:spLocks noGrp="1"/>
          </p:cNvSpPr>
          <p:nvPr>
            <p:ph sz="quarter" idx="33"/>
          </p:nvPr>
        </p:nvSpPr>
        <p:spPr>
          <a:xfrm>
            <a:off x="392400" y="1378211"/>
            <a:ext cx="6061076" cy="222250"/>
          </a:xfrm>
          <a:prstGeom prst="rect">
            <a:avLst/>
          </a:prstGeom>
        </p:spPr>
        <p:txBody>
          <a:bodyPr/>
          <a:lstStyle>
            <a:lvl1pPr>
              <a:buClrTx/>
              <a:defRPr>
                <a:solidFill>
                  <a:schemeClr val="bg1"/>
                </a:solidFill>
              </a:defRPr>
            </a:lvl1pPr>
          </a:lstStyle>
          <a:p>
            <a:pPr lvl="0"/>
            <a:r>
              <a:rPr lang="en-GB" dirty="0"/>
              <a:t>Click to edit Master text styles</a:t>
            </a:r>
          </a:p>
        </p:txBody>
      </p:sp>
      <p:sp>
        <p:nvSpPr>
          <p:cNvPr id="40" name="Text Placeholder 28">
            <a:extLst>
              <a:ext uri="{FF2B5EF4-FFF2-40B4-BE49-F238E27FC236}">
                <a16:creationId xmlns:a16="http://schemas.microsoft.com/office/drawing/2014/main" id="{EBC828F6-3FCD-A648-81C0-C211ABDC500C}"/>
              </a:ext>
            </a:extLst>
          </p:cNvPr>
          <p:cNvSpPr>
            <a:spLocks noGrp="1"/>
          </p:cNvSpPr>
          <p:nvPr>
            <p:ph type="body" sz="quarter" idx="10" hasCustomPrompt="1"/>
          </p:nvPr>
        </p:nvSpPr>
        <p:spPr>
          <a:xfrm>
            <a:off x="392400" y="887820"/>
            <a:ext cx="9163080" cy="396382"/>
          </a:xfrm>
          <a:prstGeom prst="rect">
            <a:avLst/>
          </a:prstGeom>
          <a:ln w="3175">
            <a:noFill/>
          </a:ln>
        </p:spPr>
        <p:txBody>
          <a:bodyPr vert="horz" lIns="0" tIns="36000" rIns="36000" bIns="36000" rtlCol="0">
            <a:noAutofit/>
          </a:bodyPr>
          <a:lstStyle>
            <a:lvl1pPr>
              <a:buClrTx/>
              <a:defRPr lang="en-AU" sz="1200" noProof="0" dirty="0">
                <a:cs typeface="Roboto Light" panose="02000000000000000000" pitchFamily="2" charset="0"/>
              </a:defRPr>
            </a:lvl1pPr>
          </a:lstStyle>
          <a:p>
            <a:pPr lvl="0">
              <a:lnSpc>
                <a:spcPct val="100000"/>
              </a:lnSpc>
            </a:pPr>
            <a:r>
              <a:rPr lang="en-AU" noProof="0" dirty="0"/>
              <a:t>Click to insert key message</a:t>
            </a:r>
          </a:p>
        </p:txBody>
      </p:sp>
      <p:sp>
        <p:nvSpPr>
          <p:cNvPr id="41" name="Picture Placeholder 12">
            <a:extLst>
              <a:ext uri="{FF2B5EF4-FFF2-40B4-BE49-F238E27FC236}">
                <a16:creationId xmlns:a16="http://schemas.microsoft.com/office/drawing/2014/main" id="{8DA01423-AAF2-B148-ADB0-90D4BEB19D01}"/>
              </a:ext>
            </a:extLst>
          </p:cNvPr>
          <p:cNvSpPr>
            <a:spLocks noGrp="1"/>
          </p:cNvSpPr>
          <p:nvPr>
            <p:ph type="pic" sz="quarter" idx="34"/>
          </p:nvPr>
        </p:nvSpPr>
        <p:spPr>
          <a:xfrm>
            <a:off x="387350" y="3310562"/>
            <a:ext cx="1111997" cy="1435611"/>
          </a:xfrm>
          <a:prstGeom prst="rect">
            <a:avLst/>
          </a:prstGeom>
        </p:spPr>
        <p:txBody>
          <a:bodyPr/>
          <a:lstStyle>
            <a:lvl1pPr>
              <a:buClrTx/>
              <a:defRPr b="0" i="0">
                <a:latin typeface="Roboto Light" panose="02000000000000000000" pitchFamily="2" charset="0"/>
                <a:ea typeface="Roboto Light" panose="02000000000000000000" pitchFamily="2" charset="0"/>
              </a:defRPr>
            </a:lvl1pPr>
          </a:lstStyle>
          <a:p>
            <a:endParaRPr lang="en-US"/>
          </a:p>
        </p:txBody>
      </p:sp>
      <p:sp>
        <p:nvSpPr>
          <p:cNvPr id="42" name="Rectangle 41">
            <a:extLst>
              <a:ext uri="{FF2B5EF4-FFF2-40B4-BE49-F238E27FC236}">
                <a16:creationId xmlns:a16="http://schemas.microsoft.com/office/drawing/2014/main" id="{E9EA2920-DA29-5044-8844-7A36F139CAE9}"/>
              </a:ext>
            </a:extLst>
          </p:cNvPr>
          <p:cNvSpPr/>
          <p:nvPr userDrawn="1"/>
        </p:nvSpPr>
        <p:spPr>
          <a:xfrm>
            <a:off x="1707777" y="3313503"/>
            <a:ext cx="7802446" cy="1422144"/>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43" name="Text Placeholder 2">
            <a:extLst>
              <a:ext uri="{FF2B5EF4-FFF2-40B4-BE49-F238E27FC236}">
                <a16:creationId xmlns:a16="http://schemas.microsoft.com/office/drawing/2014/main" id="{47814F4B-AB37-6C46-9DD8-4B631B066DDE}"/>
              </a:ext>
            </a:extLst>
          </p:cNvPr>
          <p:cNvSpPr txBox="1">
            <a:spLocks/>
          </p:cNvSpPr>
          <p:nvPr userDrawn="1"/>
        </p:nvSpPr>
        <p:spPr>
          <a:xfrm>
            <a:off x="389026" y="3094662"/>
            <a:ext cx="9121196" cy="216000"/>
          </a:xfrm>
          <a:prstGeom prst="rect">
            <a:avLst/>
          </a:prstGeom>
          <a:solidFill>
            <a:schemeClr val="accent1"/>
          </a:solidFill>
          <a:ln w="3175">
            <a:noFill/>
          </a:ln>
        </p:spPr>
        <p:txBody>
          <a:bodyPr vert="horz" lIns="72000" tIns="36000" rIns="0" bIns="36000" rtlCol="0" anchor="ctr" anchorCtr="0">
            <a:noAutofit/>
          </a:bodyPr>
          <a:lstStyle>
            <a:lvl1pPr marL="0" indent="0" algn="l" defTabSz="914400" rtl="0" eaLnBrk="1" latinLnBrk="0" hangingPunct="1">
              <a:lnSpc>
                <a:spcPct val="100000"/>
              </a:lnSpc>
              <a:spcBef>
                <a:spcPts val="3000"/>
              </a:spcBef>
              <a:spcAft>
                <a:spcPts val="4200"/>
              </a:spcAft>
              <a:buClr>
                <a:schemeClr val="accent3"/>
              </a:buClr>
              <a:buSzPct val="80000"/>
              <a:buFont typeface="Wingdings" pitchFamily="2" charset="2"/>
              <a:buNone/>
              <a:defRPr lang="en-AU" sz="1200" b="0" kern="1200" noProof="0" dirty="0" smtClean="0">
                <a:solidFill>
                  <a:schemeClr val="tx1"/>
                </a:solidFill>
                <a:latin typeface="+mn-lt"/>
                <a:ea typeface="+mn-ea"/>
                <a:cs typeface="+mn-cs"/>
              </a:defRPr>
            </a:lvl1pPr>
            <a:lvl2pPr marL="180975" indent="-180975" algn="l" defTabSz="914400" rtl="0" eaLnBrk="1" latinLnBrk="0" hangingPunct="1">
              <a:spcBef>
                <a:spcPts val="0"/>
              </a:spcBef>
              <a:spcAft>
                <a:spcPts val="600"/>
              </a:spcAft>
              <a:buClr>
                <a:schemeClr val="accent2"/>
              </a:buClr>
              <a:buSzPct val="85000"/>
              <a:buFont typeface="Wingdings" pitchFamily="2" charset="2"/>
              <a:buChar char=""/>
              <a:defRPr sz="1000" kern="1200">
                <a:solidFill>
                  <a:schemeClr val="tx1"/>
                </a:solidFill>
                <a:latin typeface="+mn-lt"/>
                <a:ea typeface="+mn-ea"/>
                <a:cs typeface="+mn-cs"/>
              </a:defRPr>
            </a:lvl2pPr>
            <a:lvl3pPr marL="361950" indent="-180975" algn="l" defTabSz="914400" rtl="0" eaLnBrk="1" latinLnBrk="0" hangingPunct="1">
              <a:spcBef>
                <a:spcPts val="0"/>
              </a:spcBef>
              <a:spcAft>
                <a:spcPts val="600"/>
              </a:spcAft>
              <a:buClr>
                <a:schemeClr val="tx1"/>
              </a:buClr>
              <a:buSzPct val="120000"/>
              <a:buFont typeface="HelveticaNeue LT 45 Lt" pitchFamily="34" charset="0"/>
              <a:buChar char="—"/>
              <a:defRPr sz="1000" kern="1200">
                <a:solidFill>
                  <a:schemeClr val="tx1"/>
                </a:solidFill>
                <a:latin typeface="+mn-lt"/>
                <a:ea typeface="+mn-ea"/>
                <a:cs typeface="+mn-cs"/>
              </a:defRPr>
            </a:lvl3pPr>
            <a:lvl4pPr marL="542925" indent="-180975" algn="l" defTabSz="914400" rtl="0" eaLnBrk="1" latinLnBrk="0" hangingPunct="1">
              <a:spcBef>
                <a:spcPts val="0"/>
              </a:spcBef>
              <a:spcAft>
                <a:spcPts val="600"/>
              </a:spcAft>
              <a:buClr>
                <a:schemeClr val="tx1"/>
              </a:buClr>
              <a:buSzPct val="120000"/>
              <a:buFont typeface="HelveticaNeue LT 45 Lt" pitchFamily="34" charset="0"/>
              <a:buChar char="—"/>
              <a:defRPr sz="1000" kern="1200" baseline="0">
                <a:solidFill>
                  <a:schemeClr val="tx1"/>
                </a:solidFill>
                <a:latin typeface="+mn-lt"/>
                <a:ea typeface="+mn-ea"/>
                <a:cs typeface="+mn-cs"/>
              </a:defRPr>
            </a:lvl4pPr>
            <a:lvl5pPr marL="2057400" indent="-228600" algn="l" defTabSz="914400" rtl="0" eaLnBrk="1" latinLnBrk="0" hangingPunct="1">
              <a:spcBef>
                <a:spcPts val="0"/>
              </a:spcBef>
              <a:spcAft>
                <a:spcPts val="360"/>
              </a:spcAft>
              <a:buFont typeface="Calibri" pitchFamily="34" charset="0"/>
              <a:buChar char="—"/>
              <a:defRPr sz="1000" kern="1200">
                <a:solidFill>
                  <a:srgbClr val="4D4F53"/>
                </a:solidFill>
                <a:latin typeface="HelveticaNeue LT 45 Lt"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1000"/>
              </a:lnSpc>
              <a:spcAft>
                <a:spcPts val="0"/>
              </a:spcAft>
              <a:buClrTx/>
            </a:pPr>
            <a:endParaRPr lang="en-US" sz="970" dirty="0">
              <a:solidFill>
                <a:schemeClr val="bg1"/>
              </a:solidFill>
              <a:latin typeface="Roboto Light" panose="02000000000000000000" pitchFamily="2" charset="0"/>
              <a:ea typeface="Roboto Light" panose="02000000000000000000" pitchFamily="2" charset="0"/>
            </a:endParaRPr>
          </a:p>
        </p:txBody>
      </p:sp>
      <p:cxnSp>
        <p:nvCxnSpPr>
          <p:cNvPr id="44" name="Straight Connector 43">
            <a:extLst>
              <a:ext uri="{FF2B5EF4-FFF2-40B4-BE49-F238E27FC236}">
                <a16:creationId xmlns:a16="http://schemas.microsoft.com/office/drawing/2014/main" id="{9E80BA9F-1DF1-AF46-B464-5D600C23BB72}"/>
              </a:ext>
            </a:extLst>
          </p:cNvPr>
          <p:cNvCxnSpPr/>
          <p:nvPr userDrawn="1"/>
        </p:nvCxnSpPr>
        <p:spPr>
          <a:xfrm>
            <a:off x="393241" y="3313501"/>
            <a:ext cx="9119518"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5" name="Content Placeholder 6">
            <a:extLst>
              <a:ext uri="{FF2B5EF4-FFF2-40B4-BE49-F238E27FC236}">
                <a16:creationId xmlns:a16="http://schemas.microsoft.com/office/drawing/2014/main" id="{AA6885C7-EBED-7D4B-AB05-7B00FB9BBEA7}"/>
              </a:ext>
            </a:extLst>
          </p:cNvPr>
          <p:cNvSpPr>
            <a:spLocks noGrp="1"/>
          </p:cNvSpPr>
          <p:nvPr>
            <p:ph sz="quarter" idx="35"/>
          </p:nvPr>
        </p:nvSpPr>
        <p:spPr>
          <a:xfrm>
            <a:off x="1882588" y="3402823"/>
            <a:ext cx="7457355" cy="1343340"/>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6" name="Content Placeholder 31">
            <a:extLst>
              <a:ext uri="{FF2B5EF4-FFF2-40B4-BE49-F238E27FC236}">
                <a16:creationId xmlns:a16="http://schemas.microsoft.com/office/drawing/2014/main" id="{029E2491-A93B-114E-83BE-48B1A3E0410E}"/>
              </a:ext>
            </a:extLst>
          </p:cNvPr>
          <p:cNvSpPr>
            <a:spLocks noGrp="1"/>
          </p:cNvSpPr>
          <p:nvPr>
            <p:ph sz="quarter" idx="36"/>
          </p:nvPr>
        </p:nvSpPr>
        <p:spPr>
          <a:xfrm>
            <a:off x="392400" y="3096510"/>
            <a:ext cx="6061076" cy="222250"/>
          </a:xfrm>
          <a:prstGeom prst="rect">
            <a:avLst/>
          </a:prstGeom>
        </p:spPr>
        <p:txBody>
          <a:bodyPr/>
          <a:lstStyle>
            <a:lvl1pPr>
              <a:buClrTx/>
              <a:defRPr>
                <a:solidFill>
                  <a:schemeClr val="bg1"/>
                </a:solidFill>
              </a:defRPr>
            </a:lvl1pPr>
          </a:lstStyle>
          <a:p>
            <a:pPr lvl="0"/>
            <a:r>
              <a:rPr lang="en-GB" dirty="0"/>
              <a:t>Click to edit Master text styles</a:t>
            </a:r>
          </a:p>
        </p:txBody>
      </p:sp>
      <p:sp>
        <p:nvSpPr>
          <p:cNvPr id="47" name="Picture Placeholder 12">
            <a:extLst>
              <a:ext uri="{FF2B5EF4-FFF2-40B4-BE49-F238E27FC236}">
                <a16:creationId xmlns:a16="http://schemas.microsoft.com/office/drawing/2014/main" id="{332F0ECA-A609-6045-B2F7-7B31621EF1A5}"/>
              </a:ext>
            </a:extLst>
          </p:cNvPr>
          <p:cNvSpPr>
            <a:spLocks noGrp="1"/>
          </p:cNvSpPr>
          <p:nvPr>
            <p:ph type="pic" sz="quarter" idx="37"/>
          </p:nvPr>
        </p:nvSpPr>
        <p:spPr>
          <a:xfrm>
            <a:off x="387350" y="5029359"/>
            <a:ext cx="1111997" cy="1435611"/>
          </a:xfrm>
          <a:prstGeom prst="rect">
            <a:avLst/>
          </a:prstGeom>
        </p:spPr>
        <p:txBody>
          <a:bodyPr/>
          <a:lstStyle>
            <a:lvl1pPr>
              <a:buClrTx/>
              <a:defRPr b="0" i="0">
                <a:latin typeface="Roboto Light" panose="02000000000000000000" pitchFamily="2" charset="0"/>
                <a:ea typeface="Roboto Light" panose="02000000000000000000" pitchFamily="2" charset="0"/>
              </a:defRPr>
            </a:lvl1pPr>
          </a:lstStyle>
          <a:p>
            <a:endParaRPr lang="en-US"/>
          </a:p>
        </p:txBody>
      </p:sp>
      <p:sp>
        <p:nvSpPr>
          <p:cNvPr id="48" name="Rectangle 47">
            <a:extLst>
              <a:ext uri="{FF2B5EF4-FFF2-40B4-BE49-F238E27FC236}">
                <a16:creationId xmlns:a16="http://schemas.microsoft.com/office/drawing/2014/main" id="{666339A8-0621-7E49-B0ED-F5DBD10D64F5}"/>
              </a:ext>
            </a:extLst>
          </p:cNvPr>
          <p:cNvSpPr/>
          <p:nvPr userDrawn="1"/>
        </p:nvSpPr>
        <p:spPr>
          <a:xfrm>
            <a:off x="1707777" y="5032300"/>
            <a:ext cx="7802446" cy="1422144"/>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49" name="Text Placeholder 2">
            <a:extLst>
              <a:ext uri="{FF2B5EF4-FFF2-40B4-BE49-F238E27FC236}">
                <a16:creationId xmlns:a16="http://schemas.microsoft.com/office/drawing/2014/main" id="{1D547C5A-48B9-434B-9AF9-3E12AE78471D}"/>
              </a:ext>
            </a:extLst>
          </p:cNvPr>
          <p:cNvSpPr txBox="1">
            <a:spLocks/>
          </p:cNvSpPr>
          <p:nvPr userDrawn="1"/>
        </p:nvSpPr>
        <p:spPr>
          <a:xfrm>
            <a:off x="389026" y="4813459"/>
            <a:ext cx="9121196" cy="216000"/>
          </a:xfrm>
          <a:prstGeom prst="rect">
            <a:avLst/>
          </a:prstGeom>
          <a:solidFill>
            <a:schemeClr val="accent1"/>
          </a:solidFill>
          <a:ln w="3175">
            <a:noFill/>
          </a:ln>
        </p:spPr>
        <p:txBody>
          <a:bodyPr vert="horz" lIns="72000" tIns="36000" rIns="0" bIns="36000" rtlCol="0" anchor="ctr" anchorCtr="0">
            <a:noAutofit/>
          </a:bodyPr>
          <a:lstStyle>
            <a:lvl1pPr marL="0" indent="0" algn="l" defTabSz="914400" rtl="0" eaLnBrk="1" latinLnBrk="0" hangingPunct="1">
              <a:lnSpc>
                <a:spcPct val="100000"/>
              </a:lnSpc>
              <a:spcBef>
                <a:spcPts val="3000"/>
              </a:spcBef>
              <a:spcAft>
                <a:spcPts val="4200"/>
              </a:spcAft>
              <a:buClr>
                <a:schemeClr val="accent3"/>
              </a:buClr>
              <a:buSzPct val="80000"/>
              <a:buFont typeface="Wingdings" pitchFamily="2" charset="2"/>
              <a:buNone/>
              <a:defRPr lang="en-AU" sz="1200" b="0" kern="1200" noProof="0" dirty="0" smtClean="0">
                <a:solidFill>
                  <a:schemeClr val="tx1"/>
                </a:solidFill>
                <a:latin typeface="+mn-lt"/>
                <a:ea typeface="+mn-ea"/>
                <a:cs typeface="+mn-cs"/>
              </a:defRPr>
            </a:lvl1pPr>
            <a:lvl2pPr marL="180975" indent="-180975" algn="l" defTabSz="914400" rtl="0" eaLnBrk="1" latinLnBrk="0" hangingPunct="1">
              <a:spcBef>
                <a:spcPts val="0"/>
              </a:spcBef>
              <a:spcAft>
                <a:spcPts val="600"/>
              </a:spcAft>
              <a:buClr>
                <a:schemeClr val="accent2"/>
              </a:buClr>
              <a:buSzPct val="85000"/>
              <a:buFont typeface="Wingdings" pitchFamily="2" charset="2"/>
              <a:buChar char=""/>
              <a:defRPr sz="1000" kern="1200">
                <a:solidFill>
                  <a:schemeClr val="tx1"/>
                </a:solidFill>
                <a:latin typeface="+mn-lt"/>
                <a:ea typeface="+mn-ea"/>
                <a:cs typeface="+mn-cs"/>
              </a:defRPr>
            </a:lvl2pPr>
            <a:lvl3pPr marL="361950" indent="-180975" algn="l" defTabSz="914400" rtl="0" eaLnBrk="1" latinLnBrk="0" hangingPunct="1">
              <a:spcBef>
                <a:spcPts val="0"/>
              </a:spcBef>
              <a:spcAft>
                <a:spcPts val="600"/>
              </a:spcAft>
              <a:buClr>
                <a:schemeClr val="tx1"/>
              </a:buClr>
              <a:buSzPct val="120000"/>
              <a:buFont typeface="HelveticaNeue LT 45 Lt" pitchFamily="34" charset="0"/>
              <a:buChar char="—"/>
              <a:defRPr sz="1000" kern="1200">
                <a:solidFill>
                  <a:schemeClr val="tx1"/>
                </a:solidFill>
                <a:latin typeface="+mn-lt"/>
                <a:ea typeface="+mn-ea"/>
                <a:cs typeface="+mn-cs"/>
              </a:defRPr>
            </a:lvl3pPr>
            <a:lvl4pPr marL="542925" indent="-180975" algn="l" defTabSz="914400" rtl="0" eaLnBrk="1" latinLnBrk="0" hangingPunct="1">
              <a:spcBef>
                <a:spcPts val="0"/>
              </a:spcBef>
              <a:spcAft>
                <a:spcPts val="600"/>
              </a:spcAft>
              <a:buClr>
                <a:schemeClr val="tx1"/>
              </a:buClr>
              <a:buSzPct val="120000"/>
              <a:buFont typeface="HelveticaNeue LT 45 Lt" pitchFamily="34" charset="0"/>
              <a:buChar char="—"/>
              <a:defRPr sz="1000" kern="1200" baseline="0">
                <a:solidFill>
                  <a:schemeClr val="tx1"/>
                </a:solidFill>
                <a:latin typeface="+mn-lt"/>
                <a:ea typeface="+mn-ea"/>
                <a:cs typeface="+mn-cs"/>
              </a:defRPr>
            </a:lvl4pPr>
            <a:lvl5pPr marL="2057400" indent="-228600" algn="l" defTabSz="914400" rtl="0" eaLnBrk="1" latinLnBrk="0" hangingPunct="1">
              <a:spcBef>
                <a:spcPts val="0"/>
              </a:spcBef>
              <a:spcAft>
                <a:spcPts val="360"/>
              </a:spcAft>
              <a:buFont typeface="Calibri" pitchFamily="34" charset="0"/>
              <a:buChar char="—"/>
              <a:defRPr sz="1000" kern="1200">
                <a:solidFill>
                  <a:srgbClr val="4D4F53"/>
                </a:solidFill>
                <a:latin typeface="HelveticaNeue LT 45 Lt"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1000"/>
              </a:lnSpc>
              <a:spcAft>
                <a:spcPts val="0"/>
              </a:spcAft>
              <a:buClrTx/>
            </a:pPr>
            <a:endParaRPr lang="en-US" sz="970" dirty="0">
              <a:solidFill>
                <a:schemeClr val="bg1"/>
              </a:solidFill>
              <a:latin typeface="Roboto Light" panose="02000000000000000000" pitchFamily="2" charset="0"/>
              <a:ea typeface="Roboto Light" panose="02000000000000000000" pitchFamily="2" charset="0"/>
            </a:endParaRPr>
          </a:p>
        </p:txBody>
      </p:sp>
      <p:cxnSp>
        <p:nvCxnSpPr>
          <p:cNvPr id="50" name="Straight Connector 49">
            <a:extLst>
              <a:ext uri="{FF2B5EF4-FFF2-40B4-BE49-F238E27FC236}">
                <a16:creationId xmlns:a16="http://schemas.microsoft.com/office/drawing/2014/main" id="{AA3F167E-398A-4E47-A822-551F8D0BE4DD}"/>
              </a:ext>
            </a:extLst>
          </p:cNvPr>
          <p:cNvCxnSpPr/>
          <p:nvPr userDrawn="1"/>
        </p:nvCxnSpPr>
        <p:spPr>
          <a:xfrm>
            <a:off x="393241" y="5032298"/>
            <a:ext cx="9119518"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1" name="Content Placeholder 6">
            <a:extLst>
              <a:ext uri="{FF2B5EF4-FFF2-40B4-BE49-F238E27FC236}">
                <a16:creationId xmlns:a16="http://schemas.microsoft.com/office/drawing/2014/main" id="{B67D75CD-3C76-A54C-8299-029CF0483C4F}"/>
              </a:ext>
            </a:extLst>
          </p:cNvPr>
          <p:cNvSpPr>
            <a:spLocks noGrp="1"/>
          </p:cNvSpPr>
          <p:nvPr>
            <p:ph sz="quarter" idx="38"/>
          </p:nvPr>
        </p:nvSpPr>
        <p:spPr>
          <a:xfrm>
            <a:off x="1882588" y="5121620"/>
            <a:ext cx="7457355" cy="1343340"/>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2" name="Content Placeholder 31">
            <a:extLst>
              <a:ext uri="{FF2B5EF4-FFF2-40B4-BE49-F238E27FC236}">
                <a16:creationId xmlns:a16="http://schemas.microsoft.com/office/drawing/2014/main" id="{54DDD6B1-5B25-0244-B571-0E32B784CA45}"/>
              </a:ext>
            </a:extLst>
          </p:cNvPr>
          <p:cNvSpPr>
            <a:spLocks noGrp="1"/>
          </p:cNvSpPr>
          <p:nvPr>
            <p:ph sz="quarter" idx="39"/>
          </p:nvPr>
        </p:nvSpPr>
        <p:spPr>
          <a:xfrm>
            <a:off x="392400" y="4815307"/>
            <a:ext cx="6061076" cy="222250"/>
          </a:xfrm>
          <a:prstGeom prst="rect">
            <a:avLst/>
          </a:prstGeom>
        </p:spPr>
        <p:txBody>
          <a:bodyPr/>
          <a:lstStyle>
            <a:lvl1pPr>
              <a:buClrTx/>
              <a:defRPr>
                <a:solidFill>
                  <a:schemeClr val="bg1"/>
                </a:solidFill>
              </a:defRPr>
            </a:lvl1pPr>
          </a:lstStyle>
          <a:p>
            <a:pPr lvl="0"/>
            <a:r>
              <a:rPr lang="en-GB" dirty="0"/>
              <a:t>Click to edit Master text styles</a:t>
            </a:r>
          </a:p>
        </p:txBody>
      </p:sp>
      <p:sp>
        <p:nvSpPr>
          <p:cNvPr id="4" name="Espace réservé du numéro de diapositive 3">
            <a:extLst>
              <a:ext uri="{FF2B5EF4-FFF2-40B4-BE49-F238E27FC236}">
                <a16:creationId xmlns:a16="http://schemas.microsoft.com/office/drawing/2014/main" id="{887CFB3C-F6D4-4B2C-C86F-73C488955794}"/>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Tx/>
            </a:pPr>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buClrTx/>
              </a:pPr>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3131196613"/>
      </p:ext>
    </p:extLst>
  </p:cSld>
  <p:clrMapOvr>
    <a:masterClrMapping/>
  </p:clrMapOvr>
  <p:extLst>
    <p:ext uri="{DCECCB84-F9BA-43D5-87BE-67443E8EF086}">
      <p15:sldGuideLst xmlns:p15="http://schemas.microsoft.com/office/powerpoint/2012/main">
        <p15:guide id="1" orient="horz" pos="867">
          <p15:clr>
            <a:srgbClr val="FBAE40"/>
          </p15:clr>
        </p15:guide>
        <p15:guide id="2" pos="240">
          <p15:clr>
            <a:srgbClr val="FBAE40"/>
          </p15:clr>
        </p15:guide>
        <p15:guide id="3" pos="6000">
          <p15:clr>
            <a:srgbClr val="FBAE40"/>
          </p15:clr>
        </p15:guide>
        <p15:guide id="4" pos="3007">
          <p15:clr>
            <a:srgbClr val="FBAE40"/>
          </p15:clr>
        </p15:guide>
        <p15:guide id="5" pos="3233">
          <p15:clr>
            <a:srgbClr val="FBAE40"/>
          </p15:clr>
        </p15:guide>
        <p15:guide id="6" orient="horz" pos="1026">
          <p15:clr>
            <a:srgbClr val="FBAE40"/>
          </p15:clr>
        </p15:guide>
        <p15:guide id="7" orient="horz" pos="256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8_1 ACROS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00F89AF-5D38-8318-94B3-383650F0140F}"/>
              </a:ext>
            </a:extLst>
          </p:cNvPr>
          <p:cNvGraphicFramePr>
            <a:graphicFrameLocks noChangeAspect="1"/>
          </p:cNvGraphicFramePr>
          <p:nvPr userDrawn="1">
            <p:custDataLst>
              <p:tags r:id="rId1"/>
            </p:custDataLst>
            <p:extLst>
              <p:ext uri="{D42A27DB-BD31-4B8C-83A1-F6EECF244321}">
                <p14:modId xmlns:p14="http://schemas.microsoft.com/office/powerpoint/2010/main" val="1386638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100F89AF-5D38-8318-94B3-383650F014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Title 19"/>
          <p:cNvSpPr>
            <a:spLocks noGrp="1"/>
          </p:cNvSpPr>
          <p:nvPr>
            <p:ph type="title" hasCustomPrompt="1"/>
          </p:nvPr>
        </p:nvSpPr>
        <p:spPr>
          <a:xfrm>
            <a:off x="392400" y="108000"/>
            <a:ext cx="7038000" cy="576000"/>
          </a:xfrm>
          <a:prstGeom prst="rect">
            <a:avLst/>
          </a:prstGeom>
        </p:spPr>
        <p:txBody>
          <a:bodyPr vert="horz"/>
          <a:lstStyle>
            <a:lvl1pPr>
              <a:buClrTx/>
              <a:defRPr b="0" i="0">
                <a:latin typeface="Roboto Light" panose="02000000000000000000" pitchFamily="2" charset="0"/>
                <a:ea typeface="Roboto Light" panose="02000000000000000000" pitchFamily="2" charset="0"/>
                <a:cs typeface="Roboto Light" panose="02000000000000000000" pitchFamily="2" charset="0"/>
              </a:defRPr>
            </a:lvl1pPr>
          </a:lstStyle>
          <a:p>
            <a:r>
              <a:rPr lang="en-AU" noProof="0" dirty="0"/>
              <a:t>Important information</a:t>
            </a:r>
          </a:p>
        </p:txBody>
      </p:sp>
      <p:sp>
        <p:nvSpPr>
          <p:cNvPr id="4" name="Espace réservé du numéro de diapositive 3">
            <a:extLst>
              <a:ext uri="{FF2B5EF4-FFF2-40B4-BE49-F238E27FC236}">
                <a16:creationId xmlns:a16="http://schemas.microsoft.com/office/drawing/2014/main" id="{AAFCFFC9-01C3-6437-13A4-531B9F34A638}"/>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Tx/>
            </a:pPr>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buClrTx/>
              </a:pPr>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
        <p:nvSpPr>
          <p:cNvPr id="5" name="ZoneTexte 3">
            <a:extLst>
              <a:ext uri="{FF2B5EF4-FFF2-40B4-BE49-F238E27FC236}">
                <a16:creationId xmlns:a16="http://schemas.microsoft.com/office/drawing/2014/main" id="{B1440A25-8C70-E1E4-8890-F3019E9C6A6F}"/>
              </a:ext>
            </a:extLst>
          </p:cNvPr>
          <p:cNvSpPr txBox="1"/>
          <p:nvPr userDrawn="1"/>
        </p:nvSpPr>
        <p:spPr>
          <a:xfrm>
            <a:off x="394450" y="1136824"/>
            <a:ext cx="9144966" cy="53117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THIS DOCUMENT IS CONFIDENTIAL AND IS BEING PROVIDED TO YOU SOLELY FOR YOUR INFORMATION. THE DOCUMENT IS NOT FOR RELEASE, PUBLICATION OR DISTRIBUTION, IN WHOLE OR IN PART, DIRECTLY OR INDIRECTLY, IN OR INTO ANY JURISDICTION WHERE TO DO SO WOULD CONSTITUTE A VIOLATION OF THE RELEVANT LAWS OF SUCH JURISDICTION</a:t>
            </a:r>
          </a:p>
          <a:p>
            <a:pPr algn="just">
              <a:buClrTx/>
            </a:pPr>
            <a:endPar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endParaRP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This document is personal to the recipient and has been issued by Appian Capital Advisory LLP (“Appian Capital”), which is authorised and regulated by the FCA. It has been prepared to provide general information, solely for the reader’s general knowledge. </a:t>
            </a:r>
          </a:p>
          <a:p>
            <a:pPr algn="just">
              <a:buClrTx/>
            </a:pPr>
            <a:endPar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endParaRP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This document, its contents and any information provided in connection with this document are the property of Appian Capital, are confidential and must not be released, published, distributed, reproduced or redistributed (in whole or in part) by any medium, in any form by the recipient in or into any jurisdiction (including but not limited to the United States), or be disclosed or made available by the recipient or any other person who comes into possession of this document, without the prior written consent from Appian Capital. If you have received this document and you are not the intended recipient or are not otherwise permitted by law to receive it, you must return it immediately to Appian Capital. </a:t>
            </a:r>
          </a:p>
          <a:p>
            <a:pPr algn="just">
              <a:buClrTx/>
            </a:pPr>
            <a:endPar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endParaRP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The information and opinions expressed herein are provided as at the date of this document and does not contain all information that you may require or need. It should be noted that certain financial information and certain prospective information herein has not been finalised, audited or independently verified. Additionally, this document is not intended to provide, and should not be relied upon for accounting, legal, or tax advice or investment recommendations and any recipient should conduct their own independent analysis of the data referred to herein.</a:t>
            </a:r>
          </a:p>
          <a:p>
            <a:pPr algn="just">
              <a:buClrTx/>
            </a:pPr>
            <a:endPar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endParaRP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The information contained in this document has not been independently verified by Appian Capital or any other person and some of the information is still in draft form. No representation, warranty or undertaking, express or implied, is made by Appian Capital or any of their respective advisers or representatives or their respective affiliates, officers, employees and agents as to, and no reliance should be placed on, the fairness, accuracy, completeness, correctness or reasonableness of the information or the opinions contained herein. Appian Capital, their respective advisers and representatives and their representatives affiliates, officers, employees and agents expressly disclaim any and all liability which may be based on this document and any errors therein or omissions therefrom and is not responsible for any specialist advise, including but not limited to, legal, regulatory, accounting, model accounting and tax. </a:t>
            </a:r>
          </a:p>
          <a:p>
            <a:pPr algn="just">
              <a:buClrTx/>
            </a:pPr>
            <a:endPar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endParaRP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No reliance may be placed for any purpose whatsoever on the information contained in this document or on its completeness, accuracy or fairness. No representation or warranty, express or implied, is given by or on behalf of Appian Capital or any of its directors, officers, advisers, agents or employees or any other person as to the accuracy or completeness of the information or opinions contained in this document and, to the extent permitted by law, no liability whatsoever (in negligence or otherwise) is assumed by Appian Capital or its members, directors, officers, advisers, agents or employees nor any other person for any loss howsoever arising, directly or indirectly, from any use of such information or opinions or otherwise arising in connection therewith. Appian Capital is not under any obligation to update or keep current the information in this document. </a:t>
            </a:r>
          </a:p>
          <a:p>
            <a:pPr algn="just">
              <a:buClrTx/>
            </a:pPr>
            <a:endPar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endParaRP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This document includes forward-looking statements that reflect Appian Capital’s current view with respect to future events and financial and operational performance. These statements contain the words “aim”, "plans", "expects" or "does not expect", "is expected", "budget", "scheduled", "estimates", "forecasts", "intends", “continues”, "anticipates" or "does not anticipate", or "believes", or variations of such words and phrases or state that certain actions, events or results "may", "could", "would", "should",  "might" or "will be taken", "occur" or "be achieved" and words of a similar meaning. </a:t>
            </a:r>
          </a:p>
          <a:p>
            <a:pPr algn="just">
              <a:buClrTx/>
            </a:pPr>
            <a:endPar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endParaRP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All statements other than statements of historical facts included in this document, including, without limitation, those regarding operating results, financial position, business strategy, plans and objectives of management for future operations are forward looking statements. Forward looking statements involve known and unknown risks and uncertainties and other important factors that could cause the actual results, performances and achievements to materially differ from the future results, performance or achievements expressed and implied by such forward looking statements. </a:t>
            </a:r>
          </a:p>
          <a:p>
            <a:pPr algn="just">
              <a:buClrTx/>
            </a:pPr>
            <a:endPar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endParaRP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The forward looking statements are based on numerous assumptions regarding current and future business strategies and environments. They speak only as at the date of this document, and the actual results, performance or achievements may differ materially from those expressed or implied from the forward looking statements. </a:t>
            </a:r>
          </a:p>
          <a:p>
            <a:pPr algn="just">
              <a:buClrTx/>
            </a:pPr>
            <a:endPar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endParaRP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Additionally, the forward looking statements are not intended to give any assurances as to future results and the statements regarding past trends and should not be taken as a representation that it will continue in the future. Neither Appian Capital, nor any of its members, directors, officers, advisers, agents, employees and any other person accepts any responsibility for any loss howsoever arising, directly or indirectly from reliance on the forward looking statements. </a:t>
            </a:r>
          </a:p>
          <a:p>
            <a:pPr algn="just">
              <a:buClrTx/>
            </a:pPr>
            <a:endPar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endParaRP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Appian Capital, its members, directors, officers, advisers, agents and employees and any other person each expressly disclaim any obligation or undertaking to disseminate any update or revisions to any information contained herein to reflect any changes in circumstances, expectations or any change in the event, condition or circumstance on which any such statement is based. Appian Capital, its members, directors, officers, advisers, agents and employees and any other person does not undertake to review, confirm or release </a:t>
            </a:r>
            <a:r>
              <a:rPr lang="en-GB" sz="700" b="0" i="0" kern="1200" dirty="0" err="1">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publically</a:t>
            </a: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 or otherwise to any investor or any other person any revision to any statements to reflect events occurring or circumstances arising after the date of this document. </a:t>
            </a:r>
          </a:p>
          <a:p>
            <a:pPr algn="just">
              <a:buClrTx/>
            </a:pPr>
            <a:endPar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endParaRP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This document is provided to you for information purposes and no information in this document constitutes a solicitation, offer or recommendation to engage in any investment activity, to effect any transactions, or to conclude any legal act of any kind whatsoever. </a:t>
            </a:r>
          </a:p>
          <a:p>
            <a:pPr algn="just">
              <a:buClrTx/>
            </a:pPr>
            <a:endPar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endParaRP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Use of this document shall be governed in accordance with the laws of England and the courts of England shall have exclusive jurisdiction over any dispute arising out of your use of this document.</a:t>
            </a:r>
          </a:p>
        </p:txBody>
      </p:sp>
    </p:spTree>
    <p:extLst>
      <p:ext uri="{BB962C8B-B14F-4D97-AF65-F5344CB8AC3E}">
        <p14:creationId xmlns:p14="http://schemas.microsoft.com/office/powerpoint/2010/main" val="470005944"/>
      </p:ext>
    </p:extLst>
  </p:cSld>
  <p:clrMapOvr>
    <a:masterClrMapping/>
  </p:clrMapOvr>
  <p:extLst>
    <p:ext uri="{DCECCB84-F9BA-43D5-87BE-67443E8EF086}">
      <p15:sldGuideLst xmlns:p15="http://schemas.microsoft.com/office/powerpoint/2012/main">
        <p15:guide id="1" orient="horz" pos="867">
          <p15:clr>
            <a:srgbClr val="FBAE40"/>
          </p15:clr>
        </p15:guide>
        <p15:guide id="2" pos="240">
          <p15:clr>
            <a:srgbClr val="FBAE40"/>
          </p15:clr>
        </p15:guide>
        <p15:guide id="3" pos="600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9_1 ACROS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59EAC49-33F7-F4E0-DD57-AF8BE8821DF3}"/>
              </a:ext>
            </a:extLst>
          </p:cNvPr>
          <p:cNvGraphicFramePr>
            <a:graphicFrameLocks noChangeAspect="1"/>
          </p:cNvGraphicFramePr>
          <p:nvPr userDrawn="1">
            <p:custDataLst>
              <p:tags r:id="rId1"/>
            </p:custDataLst>
            <p:extLst>
              <p:ext uri="{D42A27DB-BD31-4B8C-83A1-F6EECF244321}">
                <p14:modId xmlns:p14="http://schemas.microsoft.com/office/powerpoint/2010/main" val="2010094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D59EAC49-33F7-F4E0-DD57-AF8BE8821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Title 19"/>
          <p:cNvSpPr>
            <a:spLocks noGrp="1"/>
          </p:cNvSpPr>
          <p:nvPr>
            <p:ph type="title" hasCustomPrompt="1"/>
          </p:nvPr>
        </p:nvSpPr>
        <p:spPr>
          <a:xfrm>
            <a:off x="392400" y="108000"/>
            <a:ext cx="7038000" cy="576000"/>
          </a:xfrm>
          <a:prstGeom prst="rect">
            <a:avLst/>
          </a:prstGeom>
        </p:spPr>
        <p:txBody>
          <a:bodyPr vert="horz"/>
          <a:lstStyle>
            <a:lvl1pPr>
              <a:buClrTx/>
              <a:defRPr b="0" i="0">
                <a:latin typeface="Roboto Light" panose="02000000000000000000" pitchFamily="2" charset="0"/>
                <a:ea typeface="Roboto Light" panose="02000000000000000000" pitchFamily="2" charset="0"/>
                <a:cs typeface="Roboto Light" panose="02000000000000000000" pitchFamily="2" charset="0"/>
              </a:defRPr>
            </a:lvl1pPr>
          </a:lstStyle>
          <a:p>
            <a:r>
              <a:rPr lang="en-AU" noProof="0" dirty="0"/>
              <a:t>Important information</a:t>
            </a:r>
          </a:p>
        </p:txBody>
      </p:sp>
      <p:sp>
        <p:nvSpPr>
          <p:cNvPr id="7" name="ZoneTexte 3"/>
          <p:cNvSpPr txBox="1"/>
          <p:nvPr userDrawn="1"/>
        </p:nvSpPr>
        <p:spPr>
          <a:xfrm>
            <a:off x="394450" y="1136824"/>
            <a:ext cx="9144966" cy="53117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NOT FOR RELEASE, PUBLICATION OR DISTRIBUTION, IN WHOLE OR IN PART, DIRECTLY OR INDIRECTLY, IN ANY JURISDICTION WHERE TO DO SO WOULD CONSTITUTE A VIOLATION OF THE RELEVANT LAWS OF SUCH JURISDICTION</a:t>
            </a:r>
          </a:p>
          <a:p>
            <a:pPr algn="just">
              <a:buClrTx/>
            </a:pPr>
            <a:endPar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endParaRP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This presentation has been prepared by and is the sole responsibility of Appian Capital Advisory LLP (“Appian Capital”), which is authorised and regulated, in the United Kingdom, by the FCA.</a:t>
            </a:r>
          </a:p>
          <a:p>
            <a:pPr algn="just">
              <a:buClrTx/>
            </a:pPr>
            <a:endPar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endParaRP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For the purposes of this notice, the presentation shall mean to include the slides, the oral presentation of the slides by Appian Capital, the question-and-answer session that follows the oral presentation, hard and soft copies of this presentation and any material distributed at, or in connection with, the presentation including but not limited to materials distributed before, during and at the presentation. </a:t>
            </a:r>
          </a:p>
          <a:p>
            <a:pPr algn="just">
              <a:buClrTx/>
            </a:pPr>
            <a:endPar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endParaRP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This presentation is personal to the recipient and has been prepared solely for the use of the recipient.</a:t>
            </a:r>
          </a:p>
          <a:p>
            <a:pPr algn="just">
              <a:buClrTx/>
            </a:pPr>
            <a:endPar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endParaRP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This presentation, its contents and any information provided in connection with this presentation are the property of Appian Capital, are confidential and must not be released, published, distributed, reproduced or redistributed (in whole or in part) by any medium, in any form by the recipient in or into any, or be disclosed or made available by the recipient or any other person who comes into possession of this presentation, without the prior written consent from Appian Capital.</a:t>
            </a:r>
          </a:p>
          <a:p>
            <a:pPr algn="just">
              <a:buClrTx/>
            </a:pPr>
            <a:endPar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endParaRP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The distribution of this presentation in certain jurisdictions may be restricted by law and any persons into whose possession the presentation comes should inform themselves about and observe the relevant restrictions. This presentation does not constitute an offer to sell or a solicitation of an offer to purchase any securities in any jurisdiction in which such offer or sale would be unlawful. Any recipient of this presentation who is not the intended recipient should return it immediately to Appian Capital, and take no further action with regards to the presentation or its contents. </a:t>
            </a: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 </a:t>
            </a: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No reliance may be placed for any purpose whatsoever on the information contained in this presentation or on its completeness, accuracy or fairness. No representation or warranty, express or implied, is given by or on behalf of Appian Capital or any of its directors, officers, advisers, agents or employees or any other person as to the accuracy or completeness of the information or opinions contained in this presentation and, to the extent permitted by law, no liability whatsoever is assumed by Appian Capital or its members, directors, officers, advisers, agents or employees nor any other person for any loss howsoever arising, directly or indirectly, from any use of such information or opinions or otherwise arising in connection therewith. Appian Capital is not under any obligation to update or keep current the information in this presentation.</a:t>
            </a: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 </a:t>
            </a: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The information advice and opinions expressed in this presentation are provided as at the date of this presentation and do not contain all information that you may require or need. It should be noted that certain financial information and certain prospective information herein has not been finalised, audited or independently verified. Additionally, this document is not intended to provide, and should not be relied upon for accounting, legal, or tax advice or investment recommendations and any recipient should conduct their own independent analysis of the data referred to herein.</a:t>
            </a: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 </a:t>
            </a: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This document includes forward-looking statements that reflect Appian Capital’s current view with respect to future events and financial and operational performance. These statements contain the words “aim”, "plans", "expects" or "does not expect", "is expected", "budget", "scheduled", "estimates", "forecasts", "intends", “continues”, "anticipates" or "does not anticipate", or "believes", or variations of such words and phrases or state that certain actions, events or results "may", "could", "would", "should",  "might" or "will be taken", "occur" or "be achieved" and words of a similar meaning.</a:t>
            </a: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 </a:t>
            </a: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All statements other than statements of historical facts included in this document, including, without limitation, those regarding operating results, financial position, business strategy, plans and objectives of management for future operations are forward looking statements. Forward looking statements involve known and unknown risks and uncertainties and other important factors that could cause the actual results, performances and achievements to materially differ from the future results, performance or achievements expressed and implied by such forward looking statements. </a:t>
            </a: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 </a:t>
            </a: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The forward looking statements are based on numerous assumptions regarding current and future business strategies and environments. They speak only as at the date of this document, and the actual results, performance or achievements may differ materially from those expressed or implied from the forward looking statements. </a:t>
            </a: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 </a:t>
            </a: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Appian Capital, its members, directors, officers, advisers, agents and employees and any other person each expressly disclaim any obligation or undertaking to disseminate any update or revisions to any information contained herein to reflect any changes in circumstances, expectations or any change in the event, condition or circumstance on which any such statement is based. Appian Capital, its members, directors, officers, advisers, agents and employees and any other person does not undertake to review, confirm or release publically or otherwise to any person any revision to any statements to reflect events occurring or circumstances arising after the date of this document. </a:t>
            </a: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 </a:t>
            </a: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By attending the physical presentation or by accepting the presentation you will be taken to have represented, warranted and undertaken that </a:t>
            </a:r>
            <a:r>
              <a:rPr lang="en-GB" sz="700" b="0" i="0" kern="1200" dirty="0" err="1">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i</a:t>
            </a: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 you have read, acknowledged and agree to comply with the contents of this notice and ii) you will not at any time have any discussion, correspondence or contact concerning the information in this presentation with any person including but not limited to any governmental or regulatory body, or otherwise distribute this presentation, without prior written consent of Appian Capital. </a:t>
            </a: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 </a:t>
            </a: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This document is provided to you for information purposes and no information in this document constitutes a solicitation, offer or recommendation to engage in any investment activity, to effect any transactions, or to conclude any legal act of any kind whatsoever. </a:t>
            </a: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 </a:t>
            </a:r>
          </a:p>
          <a:p>
            <a:pPr algn="just">
              <a:buClrTx/>
            </a:pPr>
            <a:r>
              <a:rPr lang="en-GB" sz="700" b="0" i="0" kern="1200" dirty="0">
                <a:solidFill>
                  <a:schemeClr val="tx1"/>
                </a:solidFill>
                <a:effectLst/>
                <a:latin typeface="Roboto Thin" panose="02000000000000000000" pitchFamily="2" charset="0"/>
                <a:ea typeface="Roboto Thin" panose="02000000000000000000" pitchFamily="2" charset="0"/>
                <a:cs typeface="Roboto Thin" panose="02000000000000000000" pitchFamily="2" charset="0"/>
              </a:rPr>
              <a:t>Use of this document shall be governed in accordance with the laws of England and the English courts shall have exclusive jurisdiction over any dispute arising out of your use of this document.</a:t>
            </a:r>
          </a:p>
        </p:txBody>
      </p:sp>
      <p:sp>
        <p:nvSpPr>
          <p:cNvPr id="4" name="Espace réservé du numéro de diapositive 3">
            <a:extLst>
              <a:ext uri="{FF2B5EF4-FFF2-40B4-BE49-F238E27FC236}">
                <a16:creationId xmlns:a16="http://schemas.microsoft.com/office/drawing/2014/main" id="{A6E8D184-04D1-9030-03EE-217A8CB3DEA4}"/>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Tx/>
            </a:pPr>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buClrTx/>
              </a:pPr>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4278354298"/>
      </p:ext>
    </p:extLst>
  </p:cSld>
  <p:clrMapOvr>
    <a:masterClrMapping/>
  </p:clrMapOvr>
  <p:extLst>
    <p:ext uri="{DCECCB84-F9BA-43D5-87BE-67443E8EF086}">
      <p15:sldGuideLst xmlns:p15="http://schemas.microsoft.com/office/powerpoint/2012/main">
        <p15:guide id="1" orient="horz" pos="867">
          <p15:clr>
            <a:srgbClr val="FBAE40"/>
          </p15:clr>
        </p15:guide>
        <p15:guide id="2" pos="240">
          <p15:clr>
            <a:srgbClr val="FBAE40"/>
          </p15:clr>
        </p15:guide>
        <p15:guide id="3" pos="600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grpSp>
        <p:nvGrpSpPr>
          <p:cNvPr id="4" name="Group 36"/>
          <p:cNvGrpSpPr/>
          <p:nvPr/>
        </p:nvGrpSpPr>
        <p:grpSpPr>
          <a:xfrm>
            <a:off x="8737794" y="6654523"/>
            <a:ext cx="933156" cy="104000"/>
            <a:chOff x="8756844" y="6671575"/>
            <a:chExt cx="933156" cy="104000"/>
          </a:xfrm>
        </p:grpSpPr>
        <p:sp>
          <p:nvSpPr>
            <p:cNvPr id="39" name="Freeform 9"/>
            <p:cNvSpPr>
              <a:spLocks/>
            </p:cNvSpPr>
            <p:nvPr/>
          </p:nvSpPr>
          <p:spPr bwMode="auto">
            <a:xfrm>
              <a:off x="8756844" y="6692294"/>
              <a:ext cx="43875" cy="60125"/>
            </a:xfrm>
            <a:custGeom>
              <a:avLst/>
              <a:gdLst/>
              <a:ahLst/>
              <a:cxnLst>
                <a:cxn ang="0">
                  <a:pos x="0" y="0"/>
                </a:cxn>
                <a:cxn ang="0">
                  <a:pos x="217" y="0"/>
                </a:cxn>
                <a:cxn ang="0">
                  <a:pos x="217" y="61"/>
                </a:cxn>
                <a:cxn ang="0">
                  <a:pos x="77" y="61"/>
                </a:cxn>
                <a:cxn ang="0">
                  <a:pos x="77" y="121"/>
                </a:cxn>
                <a:cxn ang="0">
                  <a:pos x="199" y="121"/>
                </a:cxn>
                <a:cxn ang="0">
                  <a:pos x="199" y="181"/>
                </a:cxn>
                <a:cxn ang="0">
                  <a:pos x="77" y="181"/>
                </a:cxn>
                <a:cxn ang="0">
                  <a:pos x="77" y="294"/>
                </a:cxn>
                <a:cxn ang="0">
                  <a:pos x="0" y="294"/>
                </a:cxn>
                <a:cxn ang="0">
                  <a:pos x="0" y="0"/>
                </a:cxn>
              </a:cxnLst>
              <a:rect l="0" t="0" r="r" b="b"/>
              <a:pathLst>
                <a:path w="217" h="294">
                  <a:moveTo>
                    <a:pt x="0" y="0"/>
                  </a:moveTo>
                  <a:lnTo>
                    <a:pt x="217" y="0"/>
                  </a:lnTo>
                  <a:lnTo>
                    <a:pt x="217" y="61"/>
                  </a:lnTo>
                  <a:lnTo>
                    <a:pt x="77" y="61"/>
                  </a:lnTo>
                  <a:lnTo>
                    <a:pt x="77" y="121"/>
                  </a:lnTo>
                  <a:lnTo>
                    <a:pt x="199" y="121"/>
                  </a:lnTo>
                  <a:lnTo>
                    <a:pt x="199" y="181"/>
                  </a:lnTo>
                  <a:lnTo>
                    <a:pt x="77" y="181"/>
                  </a:lnTo>
                  <a:lnTo>
                    <a:pt x="77" y="294"/>
                  </a:lnTo>
                  <a:lnTo>
                    <a:pt x="0" y="294"/>
                  </a:lnTo>
                  <a:lnTo>
                    <a:pt x="0" y="0"/>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41" name="Freeform 10"/>
            <p:cNvSpPr>
              <a:spLocks noEditPoints="1"/>
            </p:cNvSpPr>
            <p:nvPr/>
          </p:nvSpPr>
          <p:spPr bwMode="auto">
            <a:xfrm>
              <a:off x="8809250" y="6691482"/>
              <a:ext cx="58906" cy="62156"/>
            </a:xfrm>
            <a:custGeom>
              <a:avLst/>
              <a:gdLst/>
              <a:ahLst/>
              <a:cxnLst>
                <a:cxn ang="0">
                  <a:pos x="145" y="0"/>
                </a:cxn>
                <a:cxn ang="0">
                  <a:pos x="179" y="3"/>
                </a:cxn>
                <a:cxn ang="0">
                  <a:pos x="208" y="13"/>
                </a:cxn>
                <a:cxn ang="0">
                  <a:pos x="232" y="27"/>
                </a:cxn>
                <a:cxn ang="0">
                  <a:pos x="253" y="45"/>
                </a:cxn>
                <a:cxn ang="0">
                  <a:pos x="270" y="67"/>
                </a:cxn>
                <a:cxn ang="0">
                  <a:pos x="281" y="94"/>
                </a:cxn>
                <a:cxn ang="0">
                  <a:pos x="288" y="123"/>
                </a:cxn>
                <a:cxn ang="0">
                  <a:pos x="291" y="154"/>
                </a:cxn>
                <a:cxn ang="0">
                  <a:pos x="288" y="185"/>
                </a:cxn>
                <a:cxn ang="0">
                  <a:pos x="281" y="214"/>
                </a:cxn>
                <a:cxn ang="0">
                  <a:pos x="270" y="239"/>
                </a:cxn>
                <a:cxn ang="0">
                  <a:pos x="253" y="261"/>
                </a:cxn>
                <a:cxn ang="0">
                  <a:pos x="232" y="281"/>
                </a:cxn>
                <a:cxn ang="0">
                  <a:pos x="208" y="295"/>
                </a:cxn>
                <a:cxn ang="0">
                  <a:pos x="179" y="303"/>
                </a:cxn>
                <a:cxn ang="0">
                  <a:pos x="145" y="306"/>
                </a:cxn>
                <a:cxn ang="0">
                  <a:pos x="113" y="303"/>
                </a:cxn>
                <a:cxn ang="0">
                  <a:pos x="84" y="295"/>
                </a:cxn>
                <a:cxn ang="0">
                  <a:pos x="59" y="281"/>
                </a:cxn>
                <a:cxn ang="0">
                  <a:pos x="38" y="261"/>
                </a:cxn>
                <a:cxn ang="0">
                  <a:pos x="23" y="239"/>
                </a:cxn>
                <a:cxn ang="0">
                  <a:pos x="10" y="214"/>
                </a:cxn>
                <a:cxn ang="0">
                  <a:pos x="3" y="185"/>
                </a:cxn>
                <a:cxn ang="0">
                  <a:pos x="0" y="154"/>
                </a:cxn>
                <a:cxn ang="0">
                  <a:pos x="3" y="123"/>
                </a:cxn>
                <a:cxn ang="0">
                  <a:pos x="10" y="94"/>
                </a:cxn>
                <a:cxn ang="0">
                  <a:pos x="23" y="67"/>
                </a:cxn>
                <a:cxn ang="0">
                  <a:pos x="38" y="45"/>
                </a:cxn>
                <a:cxn ang="0">
                  <a:pos x="59" y="27"/>
                </a:cxn>
                <a:cxn ang="0">
                  <a:pos x="84" y="13"/>
                </a:cxn>
                <a:cxn ang="0">
                  <a:pos x="113" y="3"/>
                </a:cxn>
                <a:cxn ang="0">
                  <a:pos x="145" y="0"/>
                </a:cxn>
                <a:cxn ang="0">
                  <a:pos x="145" y="240"/>
                </a:cxn>
                <a:cxn ang="0">
                  <a:pos x="165" y="238"/>
                </a:cxn>
                <a:cxn ang="0">
                  <a:pos x="180" y="231"/>
                </a:cxn>
                <a:cxn ang="0">
                  <a:pos x="193" y="219"/>
                </a:cxn>
                <a:cxn ang="0">
                  <a:pos x="203" y="206"/>
                </a:cxn>
                <a:cxn ang="0">
                  <a:pos x="210" y="190"/>
                </a:cxn>
                <a:cxn ang="0">
                  <a:pos x="213" y="172"/>
                </a:cxn>
                <a:cxn ang="0">
                  <a:pos x="214" y="154"/>
                </a:cxn>
                <a:cxn ang="0">
                  <a:pos x="213" y="134"/>
                </a:cxn>
                <a:cxn ang="0">
                  <a:pos x="210" y="118"/>
                </a:cxn>
                <a:cxn ang="0">
                  <a:pos x="203" y="101"/>
                </a:cxn>
                <a:cxn ang="0">
                  <a:pos x="193" y="87"/>
                </a:cxn>
                <a:cxn ang="0">
                  <a:pos x="180" y="76"/>
                </a:cxn>
                <a:cxn ang="0">
                  <a:pos x="165" y="69"/>
                </a:cxn>
                <a:cxn ang="0">
                  <a:pos x="145" y="66"/>
                </a:cxn>
                <a:cxn ang="0">
                  <a:pos x="126" y="69"/>
                </a:cxn>
                <a:cxn ang="0">
                  <a:pos x="111" y="76"/>
                </a:cxn>
                <a:cxn ang="0">
                  <a:pos x="98" y="87"/>
                </a:cxn>
                <a:cxn ang="0">
                  <a:pos x="88" y="101"/>
                </a:cxn>
                <a:cxn ang="0">
                  <a:pos x="83" y="118"/>
                </a:cxn>
                <a:cxn ang="0">
                  <a:pos x="78" y="134"/>
                </a:cxn>
                <a:cxn ang="0">
                  <a:pos x="77" y="154"/>
                </a:cxn>
                <a:cxn ang="0">
                  <a:pos x="78" y="172"/>
                </a:cxn>
                <a:cxn ang="0">
                  <a:pos x="83" y="190"/>
                </a:cxn>
                <a:cxn ang="0">
                  <a:pos x="88" y="206"/>
                </a:cxn>
                <a:cxn ang="0">
                  <a:pos x="98" y="219"/>
                </a:cxn>
                <a:cxn ang="0">
                  <a:pos x="111" y="231"/>
                </a:cxn>
                <a:cxn ang="0">
                  <a:pos x="126" y="238"/>
                </a:cxn>
                <a:cxn ang="0">
                  <a:pos x="145" y="240"/>
                </a:cxn>
              </a:cxnLst>
              <a:rect l="0" t="0" r="r" b="b"/>
              <a:pathLst>
                <a:path w="291" h="306">
                  <a:moveTo>
                    <a:pt x="145" y="0"/>
                  </a:moveTo>
                  <a:lnTo>
                    <a:pt x="179" y="3"/>
                  </a:lnTo>
                  <a:lnTo>
                    <a:pt x="208" y="13"/>
                  </a:lnTo>
                  <a:lnTo>
                    <a:pt x="232" y="27"/>
                  </a:lnTo>
                  <a:lnTo>
                    <a:pt x="253" y="45"/>
                  </a:lnTo>
                  <a:lnTo>
                    <a:pt x="270" y="67"/>
                  </a:lnTo>
                  <a:lnTo>
                    <a:pt x="281" y="94"/>
                  </a:lnTo>
                  <a:lnTo>
                    <a:pt x="288" y="123"/>
                  </a:lnTo>
                  <a:lnTo>
                    <a:pt x="291" y="154"/>
                  </a:lnTo>
                  <a:lnTo>
                    <a:pt x="288" y="185"/>
                  </a:lnTo>
                  <a:lnTo>
                    <a:pt x="281" y="214"/>
                  </a:lnTo>
                  <a:lnTo>
                    <a:pt x="270" y="239"/>
                  </a:lnTo>
                  <a:lnTo>
                    <a:pt x="253" y="261"/>
                  </a:lnTo>
                  <a:lnTo>
                    <a:pt x="232" y="281"/>
                  </a:lnTo>
                  <a:lnTo>
                    <a:pt x="208" y="295"/>
                  </a:lnTo>
                  <a:lnTo>
                    <a:pt x="179" y="303"/>
                  </a:lnTo>
                  <a:lnTo>
                    <a:pt x="145" y="306"/>
                  </a:lnTo>
                  <a:lnTo>
                    <a:pt x="113" y="303"/>
                  </a:lnTo>
                  <a:lnTo>
                    <a:pt x="84" y="295"/>
                  </a:lnTo>
                  <a:lnTo>
                    <a:pt x="59" y="281"/>
                  </a:lnTo>
                  <a:lnTo>
                    <a:pt x="38" y="261"/>
                  </a:lnTo>
                  <a:lnTo>
                    <a:pt x="23" y="239"/>
                  </a:lnTo>
                  <a:lnTo>
                    <a:pt x="10" y="214"/>
                  </a:lnTo>
                  <a:lnTo>
                    <a:pt x="3" y="185"/>
                  </a:lnTo>
                  <a:lnTo>
                    <a:pt x="0" y="154"/>
                  </a:lnTo>
                  <a:lnTo>
                    <a:pt x="3" y="123"/>
                  </a:lnTo>
                  <a:lnTo>
                    <a:pt x="10" y="94"/>
                  </a:lnTo>
                  <a:lnTo>
                    <a:pt x="23" y="67"/>
                  </a:lnTo>
                  <a:lnTo>
                    <a:pt x="38" y="45"/>
                  </a:lnTo>
                  <a:lnTo>
                    <a:pt x="59" y="27"/>
                  </a:lnTo>
                  <a:lnTo>
                    <a:pt x="84" y="13"/>
                  </a:lnTo>
                  <a:lnTo>
                    <a:pt x="113" y="3"/>
                  </a:lnTo>
                  <a:lnTo>
                    <a:pt x="145" y="0"/>
                  </a:lnTo>
                  <a:close/>
                  <a:moveTo>
                    <a:pt x="145" y="240"/>
                  </a:moveTo>
                  <a:lnTo>
                    <a:pt x="165" y="238"/>
                  </a:lnTo>
                  <a:lnTo>
                    <a:pt x="180" y="231"/>
                  </a:lnTo>
                  <a:lnTo>
                    <a:pt x="193" y="219"/>
                  </a:lnTo>
                  <a:lnTo>
                    <a:pt x="203" y="206"/>
                  </a:lnTo>
                  <a:lnTo>
                    <a:pt x="210" y="190"/>
                  </a:lnTo>
                  <a:lnTo>
                    <a:pt x="213" y="172"/>
                  </a:lnTo>
                  <a:lnTo>
                    <a:pt x="214" y="154"/>
                  </a:lnTo>
                  <a:lnTo>
                    <a:pt x="213" y="134"/>
                  </a:lnTo>
                  <a:lnTo>
                    <a:pt x="210" y="118"/>
                  </a:lnTo>
                  <a:lnTo>
                    <a:pt x="203" y="101"/>
                  </a:lnTo>
                  <a:lnTo>
                    <a:pt x="193" y="87"/>
                  </a:lnTo>
                  <a:lnTo>
                    <a:pt x="180" y="76"/>
                  </a:lnTo>
                  <a:lnTo>
                    <a:pt x="165" y="69"/>
                  </a:lnTo>
                  <a:lnTo>
                    <a:pt x="145" y="66"/>
                  </a:lnTo>
                  <a:lnTo>
                    <a:pt x="126" y="69"/>
                  </a:lnTo>
                  <a:lnTo>
                    <a:pt x="111" y="76"/>
                  </a:lnTo>
                  <a:lnTo>
                    <a:pt x="98" y="87"/>
                  </a:lnTo>
                  <a:lnTo>
                    <a:pt x="88" y="101"/>
                  </a:lnTo>
                  <a:lnTo>
                    <a:pt x="83" y="118"/>
                  </a:lnTo>
                  <a:lnTo>
                    <a:pt x="78" y="134"/>
                  </a:lnTo>
                  <a:lnTo>
                    <a:pt x="77" y="154"/>
                  </a:lnTo>
                  <a:lnTo>
                    <a:pt x="78" y="172"/>
                  </a:lnTo>
                  <a:lnTo>
                    <a:pt x="83" y="190"/>
                  </a:lnTo>
                  <a:lnTo>
                    <a:pt x="88" y="206"/>
                  </a:lnTo>
                  <a:lnTo>
                    <a:pt x="98" y="219"/>
                  </a:lnTo>
                  <a:lnTo>
                    <a:pt x="111" y="231"/>
                  </a:lnTo>
                  <a:lnTo>
                    <a:pt x="126" y="238"/>
                  </a:lnTo>
                  <a:lnTo>
                    <a:pt x="145" y="240"/>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42" name="Freeform 11"/>
            <p:cNvSpPr>
              <a:spLocks noEditPoints="1"/>
            </p:cNvSpPr>
            <p:nvPr/>
          </p:nvSpPr>
          <p:spPr bwMode="auto">
            <a:xfrm>
              <a:off x="8879937" y="6692294"/>
              <a:ext cx="53219" cy="60125"/>
            </a:xfrm>
            <a:custGeom>
              <a:avLst/>
              <a:gdLst/>
              <a:ahLst/>
              <a:cxnLst>
                <a:cxn ang="0">
                  <a:pos x="0" y="0"/>
                </a:cxn>
                <a:cxn ang="0">
                  <a:pos x="150" y="0"/>
                </a:cxn>
                <a:cxn ang="0">
                  <a:pos x="172" y="1"/>
                </a:cxn>
                <a:cxn ang="0">
                  <a:pos x="193" y="5"/>
                </a:cxn>
                <a:cxn ang="0">
                  <a:pos x="213" y="14"/>
                </a:cxn>
                <a:cxn ang="0">
                  <a:pos x="229" y="25"/>
                </a:cxn>
                <a:cxn ang="0">
                  <a:pos x="242" y="40"/>
                </a:cxn>
                <a:cxn ang="0">
                  <a:pos x="250" y="60"/>
                </a:cxn>
                <a:cxn ang="0">
                  <a:pos x="253" y="84"/>
                </a:cxn>
                <a:cxn ang="0">
                  <a:pos x="252" y="102"/>
                </a:cxn>
                <a:cxn ang="0">
                  <a:pos x="246" y="120"/>
                </a:cxn>
                <a:cxn ang="0">
                  <a:pos x="236" y="135"/>
                </a:cxn>
                <a:cxn ang="0">
                  <a:pos x="224" y="148"/>
                </a:cxn>
                <a:cxn ang="0">
                  <a:pos x="207" y="156"/>
                </a:cxn>
                <a:cxn ang="0">
                  <a:pos x="207" y="158"/>
                </a:cxn>
                <a:cxn ang="0">
                  <a:pos x="221" y="163"/>
                </a:cxn>
                <a:cxn ang="0">
                  <a:pos x="231" y="173"/>
                </a:cxn>
                <a:cxn ang="0">
                  <a:pos x="239" y="184"/>
                </a:cxn>
                <a:cxn ang="0">
                  <a:pos x="245" y="198"/>
                </a:cxn>
                <a:cxn ang="0">
                  <a:pos x="248" y="213"/>
                </a:cxn>
                <a:cxn ang="0">
                  <a:pos x="249" y="227"/>
                </a:cxn>
                <a:cxn ang="0">
                  <a:pos x="250" y="239"/>
                </a:cxn>
                <a:cxn ang="0">
                  <a:pos x="252" y="253"/>
                </a:cxn>
                <a:cxn ang="0">
                  <a:pos x="253" y="269"/>
                </a:cxn>
                <a:cxn ang="0">
                  <a:pos x="256" y="285"/>
                </a:cxn>
                <a:cxn ang="0">
                  <a:pos x="262" y="294"/>
                </a:cxn>
                <a:cxn ang="0">
                  <a:pos x="186" y="294"/>
                </a:cxn>
                <a:cxn ang="0">
                  <a:pos x="182" y="285"/>
                </a:cxn>
                <a:cxn ang="0">
                  <a:pos x="179" y="271"/>
                </a:cxn>
                <a:cxn ang="0">
                  <a:pos x="178" y="257"/>
                </a:cxn>
                <a:cxn ang="0">
                  <a:pos x="178" y="247"/>
                </a:cxn>
                <a:cxn ang="0">
                  <a:pos x="176" y="233"/>
                </a:cxn>
                <a:cxn ang="0">
                  <a:pos x="174" y="219"/>
                </a:cxn>
                <a:cxn ang="0">
                  <a:pos x="168" y="206"/>
                </a:cxn>
                <a:cxn ang="0">
                  <a:pos x="161" y="195"/>
                </a:cxn>
                <a:cxn ang="0">
                  <a:pos x="150" y="190"/>
                </a:cxn>
                <a:cxn ang="0">
                  <a:pos x="134" y="187"/>
                </a:cxn>
                <a:cxn ang="0">
                  <a:pos x="76" y="187"/>
                </a:cxn>
                <a:cxn ang="0">
                  <a:pos x="76" y="294"/>
                </a:cxn>
                <a:cxn ang="0">
                  <a:pos x="0" y="294"/>
                </a:cxn>
                <a:cxn ang="0">
                  <a:pos x="0" y="0"/>
                </a:cxn>
                <a:cxn ang="0">
                  <a:pos x="76" y="128"/>
                </a:cxn>
                <a:cxn ang="0">
                  <a:pos x="141" y="128"/>
                </a:cxn>
                <a:cxn ang="0">
                  <a:pos x="157" y="125"/>
                </a:cxn>
                <a:cxn ang="0">
                  <a:pos x="167" y="118"/>
                </a:cxn>
                <a:cxn ang="0">
                  <a:pos x="174" y="109"/>
                </a:cxn>
                <a:cxn ang="0">
                  <a:pos x="176" y="93"/>
                </a:cxn>
                <a:cxn ang="0">
                  <a:pos x="175" y="81"/>
                </a:cxn>
                <a:cxn ang="0">
                  <a:pos x="168" y="72"/>
                </a:cxn>
                <a:cxn ang="0">
                  <a:pos x="160" y="65"/>
                </a:cxn>
                <a:cxn ang="0">
                  <a:pos x="150" y="63"/>
                </a:cxn>
                <a:cxn ang="0">
                  <a:pos x="137" y="61"/>
                </a:cxn>
                <a:cxn ang="0">
                  <a:pos x="76" y="61"/>
                </a:cxn>
                <a:cxn ang="0">
                  <a:pos x="76" y="128"/>
                </a:cxn>
              </a:cxnLst>
              <a:rect l="0" t="0" r="r" b="b"/>
              <a:pathLst>
                <a:path w="262" h="294">
                  <a:moveTo>
                    <a:pt x="0" y="0"/>
                  </a:moveTo>
                  <a:lnTo>
                    <a:pt x="150" y="0"/>
                  </a:lnTo>
                  <a:lnTo>
                    <a:pt x="172" y="1"/>
                  </a:lnTo>
                  <a:lnTo>
                    <a:pt x="193" y="5"/>
                  </a:lnTo>
                  <a:lnTo>
                    <a:pt x="213" y="14"/>
                  </a:lnTo>
                  <a:lnTo>
                    <a:pt x="229" y="25"/>
                  </a:lnTo>
                  <a:lnTo>
                    <a:pt x="242" y="40"/>
                  </a:lnTo>
                  <a:lnTo>
                    <a:pt x="250" y="60"/>
                  </a:lnTo>
                  <a:lnTo>
                    <a:pt x="253" y="84"/>
                  </a:lnTo>
                  <a:lnTo>
                    <a:pt x="252" y="102"/>
                  </a:lnTo>
                  <a:lnTo>
                    <a:pt x="246" y="120"/>
                  </a:lnTo>
                  <a:lnTo>
                    <a:pt x="236" y="135"/>
                  </a:lnTo>
                  <a:lnTo>
                    <a:pt x="224" y="148"/>
                  </a:lnTo>
                  <a:lnTo>
                    <a:pt x="207" y="156"/>
                  </a:lnTo>
                  <a:lnTo>
                    <a:pt x="207" y="158"/>
                  </a:lnTo>
                  <a:lnTo>
                    <a:pt x="221" y="163"/>
                  </a:lnTo>
                  <a:lnTo>
                    <a:pt x="231" y="173"/>
                  </a:lnTo>
                  <a:lnTo>
                    <a:pt x="239" y="184"/>
                  </a:lnTo>
                  <a:lnTo>
                    <a:pt x="245" y="198"/>
                  </a:lnTo>
                  <a:lnTo>
                    <a:pt x="248" y="213"/>
                  </a:lnTo>
                  <a:lnTo>
                    <a:pt x="249" y="227"/>
                  </a:lnTo>
                  <a:lnTo>
                    <a:pt x="250" y="239"/>
                  </a:lnTo>
                  <a:lnTo>
                    <a:pt x="252" y="253"/>
                  </a:lnTo>
                  <a:lnTo>
                    <a:pt x="253" y="269"/>
                  </a:lnTo>
                  <a:lnTo>
                    <a:pt x="256" y="285"/>
                  </a:lnTo>
                  <a:lnTo>
                    <a:pt x="262" y="294"/>
                  </a:lnTo>
                  <a:lnTo>
                    <a:pt x="186" y="294"/>
                  </a:lnTo>
                  <a:lnTo>
                    <a:pt x="182" y="285"/>
                  </a:lnTo>
                  <a:lnTo>
                    <a:pt x="179" y="271"/>
                  </a:lnTo>
                  <a:lnTo>
                    <a:pt x="178" y="257"/>
                  </a:lnTo>
                  <a:lnTo>
                    <a:pt x="178" y="247"/>
                  </a:lnTo>
                  <a:lnTo>
                    <a:pt x="176" y="233"/>
                  </a:lnTo>
                  <a:lnTo>
                    <a:pt x="174" y="219"/>
                  </a:lnTo>
                  <a:lnTo>
                    <a:pt x="168" y="206"/>
                  </a:lnTo>
                  <a:lnTo>
                    <a:pt x="161" y="195"/>
                  </a:lnTo>
                  <a:lnTo>
                    <a:pt x="150" y="190"/>
                  </a:lnTo>
                  <a:lnTo>
                    <a:pt x="134" y="187"/>
                  </a:lnTo>
                  <a:lnTo>
                    <a:pt x="76" y="187"/>
                  </a:lnTo>
                  <a:lnTo>
                    <a:pt x="76" y="294"/>
                  </a:lnTo>
                  <a:lnTo>
                    <a:pt x="0" y="294"/>
                  </a:lnTo>
                  <a:lnTo>
                    <a:pt x="0" y="0"/>
                  </a:lnTo>
                  <a:close/>
                  <a:moveTo>
                    <a:pt x="76" y="128"/>
                  </a:moveTo>
                  <a:lnTo>
                    <a:pt x="141" y="128"/>
                  </a:lnTo>
                  <a:lnTo>
                    <a:pt x="157" y="125"/>
                  </a:lnTo>
                  <a:lnTo>
                    <a:pt x="167" y="118"/>
                  </a:lnTo>
                  <a:lnTo>
                    <a:pt x="174" y="109"/>
                  </a:lnTo>
                  <a:lnTo>
                    <a:pt x="176" y="93"/>
                  </a:lnTo>
                  <a:lnTo>
                    <a:pt x="175" y="81"/>
                  </a:lnTo>
                  <a:lnTo>
                    <a:pt x="168" y="72"/>
                  </a:lnTo>
                  <a:lnTo>
                    <a:pt x="160" y="65"/>
                  </a:lnTo>
                  <a:lnTo>
                    <a:pt x="150" y="63"/>
                  </a:lnTo>
                  <a:lnTo>
                    <a:pt x="137" y="61"/>
                  </a:lnTo>
                  <a:lnTo>
                    <a:pt x="76" y="61"/>
                  </a:lnTo>
                  <a:lnTo>
                    <a:pt x="76" y="128"/>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43" name="Freeform 12"/>
            <p:cNvSpPr>
              <a:spLocks/>
            </p:cNvSpPr>
            <p:nvPr/>
          </p:nvSpPr>
          <p:spPr bwMode="auto">
            <a:xfrm>
              <a:off x="8936812" y="6692294"/>
              <a:ext cx="80438" cy="60125"/>
            </a:xfrm>
            <a:custGeom>
              <a:avLst/>
              <a:gdLst/>
              <a:ahLst/>
              <a:cxnLst>
                <a:cxn ang="0">
                  <a:pos x="315" y="294"/>
                </a:cxn>
                <a:cxn ang="0">
                  <a:pos x="239" y="294"/>
                </a:cxn>
                <a:cxn ang="0">
                  <a:pos x="198" y="92"/>
                </a:cxn>
                <a:cxn ang="0">
                  <a:pos x="158" y="294"/>
                </a:cxn>
                <a:cxn ang="0">
                  <a:pos x="79" y="294"/>
                </a:cxn>
                <a:cxn ang="0">
                  <a:pos x="0" y="0"/>
                </a:cxn>
                <a:cxn ang="0">
                  <a:pos x="77" y="0"/>
                </a:cxn>
                <a:cxn ang="0">
                  <a:pos x="118" y="215"/>
                </a:cxn>
                <a:cxn ang="0">
                  <a:pos x="162" y="0"/>
                </a:cxn>
                <a:cxn ang="0">
                  <a:pos x="234" y="0"/>
                </a:cxn>
                <a:cxn ang="0">
                  <a:pos x="278" y="215"/>
                </a:cxn>
                <a:cxn ang="0">
                  <a:pos x="279" y="215"/>
                </a:cxn>
                <a:cxn ang="0">
                  <a:pos x="320" y="0"/>
                </a:cxn>
                <a:cxn ang="0">
                  <a:pos x="396" y="0"/>
                </a:cxn>
                <a:cxn ang="0">
                  <a:pos x="315" y="294"/>
                </a:cxn>
              </a:cxnLst>
              <a:rect l="0" t="0" r="r" b="b"/>
              <a:pathLst>
                <a:path w="396" h="294">
                  <a:moveTo>
                    <a:pt x="315" y="294"/>
                  </a:moveTo>
                  <a:lnTo>
                    <a:pt x="239" y="294"/>
                  </a:lnTo>
                  <a:lnTo>
                    <a:pt x="198" y="92"/>
                  </a:lnTo>
                  <a:lnTo>
                    <a:pt x="158" y="294"/>
                  </a:lnTo>
                  <a:lnTo>
                    <a:pt x="79" y="294"/>
                  </a:lnTo>
                  <a:lnTo>
                    <a:pt x="0" y="0"/>
                  </a:lnTo>
                  <a:lnTo>
                    <a:pt x="77" y="0"/>
                  </a:lnTo>
                  <a:lnTo>
                    <a:pt x="118" y="215"/>
                  </a:lnTo>
                  <a:lnTo>
                    <a:pt x="162" y="0"/>
                  </a:lnTo>
                  <a:lnTo>
                    <a:pt x="234" y="0"/>
                  </a:lnTo>
                  <a:lnTo>
                    <a:pt x="278" y="215"/>
                  </a:lnTo>
                  <a:lnTo>
                    <a:pt x="279" y="215"/>
                  </a:lnTo>
                  <a:lnTo>
                    <a:pt x="320" y="0"/>
                  </a:lnTo>
                  <a:lnTo>
                    <a:pt x="396" y="0"/>
                  </a:lnTo>
                  <a:lnTo>
                    <a:pt x="315" y="294"/>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44" name="Freeform 13"/>
            <p:cNvSpPr>
              <a:spLocks noEditPoints="1"/>
            </p:cNvSpPr>
            <p:nvPr/>
          </p:nvSpPr>
          <p:spPr bwMode="auto">
            <a:xfrm>
              <a:off x="9017250" y="6692294"/>
              <a:ext cx="60125" cy="60125"/>
            </a:xfrm>
            <a:custGeom>
              <a:avLst/>
              <a:gdLst/>
              <a:ahLst/>
              <a:cxnLst>
                <a:cxn ang="0">
                  <a:pos x="109" y="0"/>
                </a:cxn>
                <a:cxn ang="0">
                  <a:pos x="187" y="0"/>
                </a:cxn>
                <a:cxn ang="0">
                  <a:pos x="298" y="294"/>
                </a:cxn>
                <a:cxn ang="0">
                  <a:pos x="217" y="294"/>
                </a:cxn>
                <a:cxn ang="0">
                  <a:pos x="200" y="241"/>
                </a:cxn>
                <a:cxn ang="0">
                  <a:pos x="96" y="241"/>
                </a:cxn>
                <a:cxn ang="0">
                  <a:pos x="78" y="294"/>
                </a:cxn>
                <a:cxn ang="0">
                  <a:pos x="0" y="294"/>
                </a:cxn>
                <a:cxn ang="0">
                  <a:pos x="109" y="0"/>
                </a:cxn>
                <a:cxn ang="0">
                  <a:pos x="115" y="184"/>
                </a:cxn>
                <a:cxn ang="0">
                  <a:pos x="182" y="184"/>
                </a:cxn>
                <a:cxn ang="0">
                  <a:pos x="148" y="82"/>
                </a:cxn>
                <a:cxn ang="0">
                  <a:pos x="115" y="184"/>
                </a:cxn>
              </a:cxnLst>
              <a:rect l="0" t="0" r="r" b="b"/>
              <a:pathLst>
                <a:path w="298" h="294">
                  <a:moveTo>
                    <a:pt x="109" y="0"/>
                  </a:moveTo>
                  <a:lnTo>
                    <a:pt x="187" y="0"/>
                  </a:lnTo>
                  <a:lnTo>
                    <a:pt x="298" y="294"/>
                  </a:lnTo>
                  <a:lnTo>
                    <a:pt x="217" y="294"/>
                  </a:lnTo>
                  <a:lnTo>
                    <a:pt x="200" y="241"/>
                  </a:lnTo>
                  <a:lnTo>
                    <a:pt x="96" y="241"/>
                  </a:lnTo>
                  <a:lnTo>
                    <a:pt x="78" y="294"/>
                  </a:lnTo>
                  <a:lnTo>
                    <a:pt x="0" y="294"/>
                  </a:lnTo>
                  <a:lnTo>
                    <a:pt x="109" y="0"/>
                  </a:lnTo>
                  <a:close/>
                  <a:moveTo>
                    <a:pt x="115" y="184"/>
                  </a:moveTo>
                  <a:lnTo>
                    <a:pt x="182" y="184"/>
                  </a:lnTo>
                  <a:lnTo>
                    <a:pt x="148" y="82"/>
                  </a:lnTo>
                  <a:lnTo>
                    <a:pt x="115" y="184"/>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45" name="Freeform 14"/>
            <p:cNvSpPr>
              <a:spLocks noEditPoints="1"/>
            </p:cNvSpPr>
            <p:nvPr/>
          </p:nvSpPr>
          <p:spPr bwMode="auto">
            <a:xfrm>
              <a:off x="9085094" y="6692294"/>
              <a:ext cx="53219" cy="60125"/>
            </a:xfrm>
            <a:custGeom>
              <a:avLst/>
              <a:gdLst/>
              <a:ahLst/>
              <a:cxnLst>
                <a:cxn ang="0">
                  <a:pos x="0" y="0"/>
                </a:cxn>
                <a:cxn ang="0">
                  <a:pos x="151" y="0"/>
                </a:cxn>
                <a:cxn ang="0">
                  <a:pos x="173" y="1"/>
                </a:cxn>
                <a:cxn ang="0">
                  <a:pos x="194" y="5"/>
                </a:cxn>
                <a:cxn ang="0">
                  <a:pos x="214" y="14"/>
                </a:cxn>
                <a:cxn ang="0">
                  <a:pos x="231" y="25"/>
                </a:cxn>
                <a:cxn ang="0">
                  <a:pos x="243" y="40"/>
                </a:cxn>
                <a:cxn ang="0">
                  <a:pos x="252" y="60"/>
                </a:cxn>
                <a:cxn ang="0">
                  <a:pos x="254" y="84"/>
                </a:cxn>
                <a:cxn ang="0">
                  <a:pos x="253" y="102"/>
                </a:cxn>
                <a:cxn ang="0">
                  <a:pos x="248" y="120"/>
                </a:cxn>
                <a:cxn ang="0">
                  <a:pos x="238" y="135"/>
                </a:cxn>
                <a:cxn ang="0">
                  <a:pos x="224" y="148"/>
                </a:cxn>
                <a:cxn ang="0">
                  <a:pos x="207" y="156"/>
                </a:cxn>
                <a:cxn ang="0">
                  <a:pos x="207" y="158"/>
                </a:cxn>
                <a:cxn ang="0">
                  <a:pos x="221" y="163"/>
                </a:cxn>
                <a:cxn ang="0">
                  <a:pos x="232" y="173"/>
                </a:cxn>
                <a:cxn ang="0">
                  <a:pos x="239" y="184"/>
                </a:cxn>
                <a:cxn ang="0">
                  <a:pos x="245" y="198"/>
                </a:cxn>
                <a:cxn ang="0">
                  <a:pos x="249" y="213"/>
                </a:cxn>
                <a:cxn ang="0">
                  <a:pos x="250" y="227"/>
                </a:cxn>
                <a:cxn ang="0">
                  <a:pos x="252" y="239"/>
                </a:cxn>
                <a:cxn ang="0">
                  <a:pos x="253" y="253"/>
                </a:cxn>
                <a:cxn ang="0">
                  <a:pos x="254" y="269"/>
                </a:cxn>
                <a:cxn ang="0">
                  <a:pos x="257" y="285"/>
                </a:cxn>
                <a:cxn ang="0">
                  <a:pos x="263" y="294"/>
                </a:cxn>
                <a:cxn ang="0">
                  <a:pos x="187" y="294"/>
                </a:cxn>
                <a:cxn ang="0">
                  <a:pos x="183" y="285"/>
                </a:cxn>
                <a:cxn ang="0">
                  <a:pos x="180" y="271"/>
                </a:cxn>
                <a:cxn ang="0">
                  <a:pos x="179" y="257"/>
                </a:cxn>
                <a:cxn ang="0">
                  <a:pos x="179" y="247"/>
                </a:cxn>
                <a:cxn ang="0">
                  <a:pos x="178" y="233"/>
                </a:cxn>
                <a:cxn ang="0">
                  <a:pos x="175" y="219"/>
                </a:cxn>
                <a:cxn ang="0">
                  <a:pos x="169" y="206"/>
                </a:cxn>
                <a:cxn ang="0">
                  <a:pos x="162" y="195"/>
                </a:cxn>
                <a:cxn ang="0">
                  <a:pos x="151" y="190"/>
                </a:cxn>
                <a:cxn ang="0">
                  <a:pos x="136" y="187"/>
                </a:cxn>
                <a:cxn ang="0">
                  <a:pos x="77" y="187"/>
                </a:cxn>
                <a:cxn ang="0">
                  <a:pos x="77" y="294"/>
                </a:cxn>
                <a:cxn ang="0">
                  <a:pos x="0" y="294"/>
                </a:cxn>
                <a:cxn ang="0">
                  <a:pos x="0" y="0"/>
                </a:cxn>
                <a:cxn ang="0">
                  <a:pos x="77" y="128"/>
                </a:cxn>
                <a:cxn ang="0">
                  <a:pos x="141" y="128"/>
                </a:cxn>
                <a:cxn ang="0">
                  <a:pos x="157" y="125"/>
                </a:cxn>
                <a:cxn ang="0">
                  <a:pos x="168" y="118"/>
                </a:cxn>
                <a:cxn ang="0">
                  <a:pos x="175" y="109"/>
                </a:cxn>
                <a:cxn ang="0">
                  <a:pos x="178" y="93"/>
                </a:cxn>
                <a:cxn ang="0">
                  <a:pos x="176" y="81"/>
                </a:cxn>
                <a:cxn ang="0">
                  <a:pos x="169" y="72"/>
                </a:cxn>
                <a:cxn ang="0">
                  <a:pos x="161" y="65"/>
                </a:cxn>
                <a:cxn ang="0">
                  <a:pos x="151" y="63"/>
                </a:cxn>
                <a:cxn ang="0">
                  <a:pos x="139" y="61"/>
                </a:cxn>
                <a:cxn ang="0">
                  <a:pos x="77" y="61"/>
                </a:cxn>
                <a:cxn ang="0">
                  <a:pos x="77" y="128"/>
                </a:cxn>
              </a:cxnLst>
              <a:rect l="0" t="0" r="r" b="b"/>
              <a:pathLst>
                <a:path w="263" h="294">
                  <a:moveTo>
                    <a:pt x="0" y="0"/>
                  </a:moveTo>
                  <a:lnTo>
                    <a:pt x="151" y="0"/>
                  </a:lnTo>
                  <a:lnTo>
                    <a:pt x="173" y="1"/>
                  </a:lnTo>
                  <a:lnTo>
                    <a:pt x="194" y="5"/>
                  </a:lnTo>
                  <a:lnTo>
                    <a:pt x="214" y="14"/>
                  </a:lnTo>
                  <a:lnTo>
                    <a:pt x="231" y="25"/>
                  </a:lnTo>
                  <a:lnTo>
                    <a:pt x="243" y="40"/>
                  </a:lnTo>
                  <a:lnTo>
                    <a:pt x="252" y="60"/>
                  </a:lnTo>
                  <a:lnTo>
                    <a:pt x="254" y="84"/>
                  </a:lnTo>
                  <a:lnTo>
                    <a:pt x="253" y="102"/>
                  </a:lnTo>
                  <a:lnTo>
                    <a:pt x="248" y="120"/>
                  </a:lnTo>
                  <a:lnTo>
                    <a:pt x="238" y="135"/>
                  </a:lnTo>
                  <a:lnTo>
                    <a:pt x="224" y="148"/>
                  </a:lnTo>
                  <a:lnTo>
                    <a:pt x="207" y="156"/>
                  </a:lnTo>
                  <a:lnTo>
                    <a:pt x="207" y="158"/>
                  </a:lnTo>
                  <a:lnTo>
                    <a:pt x="221" y="163"/>
                  </a:lnTo>
                  <a:lnTo>
                    <a:pt x="232" y="173"/>
                  </a:lnTo>
                  <a:lnTo>
                    <a:pt x="239" y="184"/>
                  </a:lnTo>
                  <a:lnTo>
                    <a:pt x="245" y="198"/>
                  </a:lnTo>
                  <a:lnTo>
                    <a:pt x="249" y="213"/>
                  </a:lnTo>
                  <a:lnTo>
                    <a:pt x="250" y="227"/>
                  </a:lnTo>
                  <a:lnTo>
                    <a:pt x="252" y="239"/>
                  </a:lnTo>
                  <a:lnTo>
                    <a:pt x="253" y="253"/>
                  </a:lnTo>
                  <a:lnTo>
                    <a:pt x="254" y="269"/>
                  </a:lnTo>
                  <a:lnTo>
                    <a:pt x="257" y="285"/>
                  </a:lnTo>
                  <a:lnTo>
                    <a:pt x="263" y="294"/>
                  </a:lnTo>
                  <a:lnTo>
                    <a:pt x="187" y="294"/>
                  </a:lnTo>
                  <a:lnTo>
                    <a:pt x="183" y="285"/>
                  </a:lnTo>
                  <a:lnTo>
                    <a:pt x="180" y="271"/>
                  </a:lnTo>
                  <a:lnTo>
                    <a:pt x="179" y="257"/>
                  </a:lnTo>
                  <a:lnTo>
                    <a:pt x="179" y="247"/>
                  </a:lnTo>
                  <a:lnTo>
                    <a:pt x="178" y="233"/>
                  </a:lnTo>
                  <a:lnTo>
                    <a:pt x="175" y="219"/>
                  </a:lnTo>
                  <a:lnTo>
                    <a:pt x="169" y="206"/>
                  </a:lnTo>
                  <a:lnTo>
                    <a:pt x="162" y="195"/>
                  </a:lnTo>
                  <a:lnTo>
                    <a:pt x="151" y="190"/>
                  </a:lnTo>
                  <a:lnTo>
                    <a:pt x="136" y="187"/>
                  </a:lnTo>
                  <a:lnTo>
                    <a:pt x="77" y="187"/>
                  </a:lnTo>
                  <a:lnTo>
                    <a:pt x="77" y="294"/>
                  </a:lnTo>
                  <a:lnTo>
                    <a:pt x="0" y="294"/>
                  </a:lnTo>
                  <a:lnTo>
                    <a:pt x="0" y="0"/>
                  </a:lnTo>
                  <a:close/>
                  <a:moveTo>
                    <a:pt x="77" y="128"/>
                  </a:moveTo>
                  <a:lnTo>
                    <a:pt x="141" y="128"/>
                  </a:lnTo>
                  <a:lnTo>
                    <a:pt x="157" y="125"/>
                  </a:lnTo>
                  <a:lnTo>
                    <a:pt x="168" y="118"/>
                  </a:lnTo>
                  <a:lnTo>
                    <a:pt x="175" y="109"/>
                  </a:lnTo>
                  <a:lnTo>
                    <a:pt x="178" y="93"/>
                  </a:lnTo>
                  <a:lnTo>
                    <a:pt x="176" y="81"/>
                  </a:lnTo>
                  <a:lnTo>
                    <a:pt x="169" y="72"/>
                  </a:lnTo>
                  <a:lnTo>
                    <a:pt x="161" y="65"/>
                  </a:lnTo>
                  <a:lnTo>
                    <a:pt x="151" y="63"/>
                  </a:lnTo>
                  <a:lnTo>
                    <a:pt x="139" y="61"/>
                  </a:lnTo>
                  <a:lnTo>
                    <a:pt x="77" y="61"/>
                  </a:lnTo>
                  <a:lnTo>
                    <a:pt x="77" y="128"/>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46" name="Freeform 15"/>
            <p:cNvSpPr>
              <a:spLocks noEditPoints="1"/>
            </p:cNvSpPr>
            <p:nvPr/>
          </p:nvSpPr>
          <p:spPr bwMode="auto">
            <a:xfrm>
              <a:off x="9148875" y="6692294"/>
              <a:ext cx="55250" cy="60125"/>
            </a:xfrm>
            <a:custGeom>
              <a:avLst/>
              <a:gdLst/>
              <a:ahLst/>
              <a:cxnLst>
                <a:cxn ang="0">
                  <a:pos x="0" y="0"/>
                </a:cxn>
                <a:cxn ang="0">
                  <a:pos x="127" y="0"/>
                </a:cxn>
                <a:cxn ang="0">
                  <a:pos x="159" y="3"/>
                </a:cxn>
                <a:cxn ang="0">
                  <a:pos x="187" y="10"/>
                </a:cxn>
                <a:cxn ang="0">
                  <a:pos x="212" y="22"/>
                </a:cxn>
                <a:cxn ang="0">
                  <a:pos x="231" y="39"/>
                </a:cxn>
                <a:cxn ang="0">
                  <a:pos x="248" y="60"/>
                </a:cxn>
                <a:cxn ang="0">
                  <a:pos x="261" y="85"/>
                </a:cxn>
                <a:cxn ang="0">
                  <a:pos x="268" y="114"/>
                </a:cxn>
                <a:cxn ang="0">
                  <a:pos x="271" y="146"/>
                </a:cxn>
                <a:cxn ang="0">
                  <a:pos x="268" y="180"/>
                </a:cxn>
                <a:cxn ang="0">
                  <a:pos x="261" y="211"/>
                </a:cxn>
                <a:cxn ang="0">
                  <a:pos x="248" y="236"/>
                </a:cxn>
                <a:cxn ang="0">
                  <a:pos x="231" y="257"/>
                </a:cxn>
                <a:cxn ang="0">
                  <a:pos x="212" y="274"/>
                </a:cxn>
                <a:cxn ang="0">
                  <a:pos x="187" y="285"/>
                </a:cxn>
                <a:cxn ang="0">
                  <a:pos x="159" y="292"/>
                </a:cxn>
                <a:cxn ang="0">
                  <a:pos x="127" y="294"/>
                </a:cxn>
                <a:cxn ang="0">
                  <a:pos x="0" y="294"/>
                </a:cxn>
                <a:cxn ang="0">
                  <a:pos x="0" y="0"/>
                </a:cxn>
                <a:cxn ang="0">
                  <a:pos x="266" y="145"/>
                </a:cxn>
                <a:cxn ang="0">
                  <a:pos x="76" y="42"/>
                </a:cxn>
                <a:cxn ang="0">
                  <a:pos x="76" y="253"/>
                </a:cxn>
                <a:cxn ang="0">
                  <a:pos x="266" y="145"/>
                </a:cxn>
              </a:cxnLst>
              <a:rect l="0" t="0" r="r" b="b"/>
              <a:pathLst>
                <a:path w="271" h="294">
                  <a:moveTo>
                    <a:pt x="0" y="0"/>
                  </a:moveTo>
                  <a:lnTo>
                    <a:pt x="127" y="0"/>
                  </a:lnTo>
                  <a:lnTo>
                    <a:pt x="159" y="3"/>
                  </a:lnTo>
                  <a:lnTo>
                    <a:pt x="187" y="10"/>
                  </a:lnTo>
                  <a:lnTo>
                    <a:pt x="212" y="22"/>
                  </a:lnTo>
                  <a:lnTo>
                    <a:pt x="231" y="39"/>
                  </a:lnTo>
                  <a:lnTo>
                    <a:pt x="248" y="60"/>
                  </a:lnTo>
                  <a:lnTo>
                    <a:pt x="261" y="85"/>
                  </a:lnTo>
                  <a:lnTo>
                    <a:pt x="268" y="114"/>
                  </a:lnTo>
                  <a:lnTo>
                    <a:pt x="271" y="146"/>
                  </a:lnTo>
                  <a:lnTo>
                    <a:pt x="268" y="180"/>
                  </a:lnTo>
                  <a:lnTo>
                    <a:pt x="261" y="211"/>
                  </a:lnTo>
                  <a:lnTo>
                    <a:pt x="248" y="236"/>
                  </a:lnTo>
                  <a:lnTo>
                    <a:pt x="231" y="257"/>
                  </a:lnTo>
                  <a:lnTo>
                    <a:pt x="212" y="274"/>
                  </a:lnTo>
                  <a:lnTo>
                    <a:pt x="187" y="285"/>
                  </a:lnTo>
                  <a:lnTo>
                    <a:pt x="159" y="292"/>
                  </a:lnTo>
                  <a:lnTo>
                    <a:pt x="127" y="294"/>
                  </a:lnTo>
                  <a:lnTo>
                    <a:pt x="0" y="294"/>
                  </a:lnTo>
                  <a:lnTo>
                    <a:pt x="0" y="0"/>
                  </a:lnTo>
                  <a:close/>
                  <a:moveTo>
                    <a:pt x="266" y="145"/>
                  </a:moveTo>
                  <a:lnTo>
                    <a:pt x="76" y="42"/>
                  </a:lnTo>
                  <a:lnTo>
                    <a:pt x="76" y="253"/>
                  </a:lnTo>
                  <a:lnTo>
                    <a:pt x="266" y="145"/>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47" name="Freeform 16"/>
            <p:cNvSpPr>
              <a:spLocks/>
            </p:cNvSpPr>
            <p:nvPr/>
          </p:nvSpPr>
          <p:spPr bwMode="auto">
            <a:xfrm>
              <a:off x="9241094" y="6676450"/>
              <a:ext cx="28844" cy="76375"/>
            </a:xfrm>
            <a:custGeom>
              <a:avLst/>
              <a:gdLst/>
              <a:ahLst/>
              <a:cxnLst>
                <a:cxn ang="0">
                  <a:pos x="87" y="87"/>
                </a:cxn>
                <a:cxn ang="0">
                  <a:pos x="144" y="87"/>
                </a:cxn>
                <a:cxn ang="0">
                  <a:pos x="144" y="116"/>
                </a:cxn>
                <a:cxn ang="0">
                  <a:pos x="87" y="116"/>
                </a:cxn>
                <a:cxn ang="0">
                  <a:pos x="87" y="323"/>
                </a:cxn>
                <a:cxn ang="0">
                  <a:pos x="90" y="333"/>
                </a:cxn>
                <a:cxn ang="0">
                  <a:pos x="94" y="341"/>
                </a:cxn>
                <a:cxn ang="0">
                  <a:pos x="102" y="345"/>
                </a:cxn>
                <a:cxn ang="0">
                  <a:pos x="115" y="348"/>
                </a:cxn>
                <a:cxn ang="0">
                  <a:pos x="144" y="347"/>
                </a:cxn>
                <a:cxn ang="0">
                  <a:pos x="144" y="376"/>
                </a:cxn>
                <a:cxn ang="0">
                  <a:pos x="129" y="377"/>
                </a:cxn>
                <a:cxn ang="0">
                  <a:pos x="113" y="377"/>
                </a:cxn>
                <a:cxn ang="0">
                  <a:pos x="92" y="376"/>
                </a:cxn>
                <a:cxn ang="0">
                  <a:pos x="77" y="372"/>
                </a:cxn>
                <a:cxn ang="0">
                  <a:pos x="64" y="363"/>
                </a:cxn>
                <a:cxn ang="0">
                  <a:pos x="56" y="351"/>
                </a:cxn>
                <a:cxn ang="0">
                  <a:pos x="52" y="335"/>
                </a:cxn>
                <a:cxn ang="0">
                  <a:pos x="50" y="313"/>
                </a:cxn>
                <a:cxn ang="0">
                  <a:pos x="50" y="116"/>
                </a:cxn>
                <a:cxn ang="0">
                  <a:pos x="0" y="116"/>
                </a:cxn>
                <a:cxn ang="0">
                  <a:pos x="0" y="87"/>
                </a:cxn>
                <a:cxn ang="0">
                  <a:pos x="50" y="87"/>
                </a:cxn>
                <a:cxn ang="0">
                  <a:pos x="50" y="0"/>
                </a:cxn>
                <a:cxn ang="0">
                  <a:pos x="87" y="0"/>
                </a:cxn>
                <a:cxn ang="0">
                  <a:pos x="87" y="87"/>
                </a:cxn>
              </a:cxnLst>
              <a:rect l="0" t="0" r="r" b="b"/>
              <a:pathLst>
                <a:path w="144" h="377">
                  <a:moveTo>
                    <a:pt x="87" y="87"/>
                  </a:moveTo>
                  <a:lnTo>
                    <a:pt x="144" y="87"/>
                  </a:lnTo>
                  <a:lnTo>
                    <a:pt x="144" y="116"/>
                  </a:lnTo>
                  <a:lnTo>
                    <a:pt x="87" y="116"/>
                  </a:lnTo>
                  <a:lnTo>
                    <a:pt x="87" y="323"/>
                  </a:lnTo>
                  <a:lnTo>
                    <a:pt x="90" y="333"/>
                  </a:lnTo>
                  <a:lnTo>
                    <a:pt x="94" y="341"/>
                  </a:lnTo>
                  <a:lnTo>
                    <a:pt x="102" y="345"/>
                  </a:lnTo>
                  <a:lnTo>
                    <a:pt x="115" y="348"/>
                  </a:lnTo>
                  <a:lnTo>
                    <a:pt x="144" y="347"/>
                  </a:lnTo>
                  <a:lnTo>
                    <a:pt x="144" y="376"/>
                  </a:lnTo>
                  <a:lnTo>
                    <a:pt x="129" y="377"/>
                  </a:lnTo>
                  <a:lnTo>
                    <a:pt x="113" y="377"/>
                  </a:lnTo>
                  <a:lnTo>
                    <a:pt x="92" y="376"/>
                  </a:lnTo>
                  <a:lnTo>
                    <a:pt x="77" y="372"/>
                  </a:lnTo>
                  <a:lnTo>
                    <a:pt x="64" y="363"/>
                  </a:lnTo>
                  <a:lnTo>
                    <a:pt x="56" y="351"/>
                  </a:lnTo>
                  <a:lnTo>
                    <a:pt x="52" y="335"/>
                  </a:lnTo>
                  <a:lnTo>
                    <a:pt x="50" y="313"/>
                  </a:lnTo>
                  <a:lnTo>
                    <a:pt x="50" y="116"/>
                  </a:lnTo>
                  <a:lnTo>
                    <a:pt x="0" y="116"/>
                  </a:lnTo>
                  <a:lnTo>
                    <a:pt x="0" y="87"/>
                  </a:lnTo>
                  <a:lnTo>
                    <a:pt x="50" y="87"/>
                  </a:lnTo>
                  <a:lnTo>
                    <a:pt x="50" y="0"/>
                  </a:lnTo>
                  <a:lnTo>
                    <a:pt x="87" y="0"/>
                  </a:lnTo>
                  <a:lnTo>
                    <a:pt x="87" y="87"/>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48" name="Freeform 17"/>
            <p:cNvSpPr>
              <a:spLocks/>
            </p:cNvSpPr>
            <p:nvPr/>
          </p:nvSpPr>
          <p:spPr bwMode="auto">
            <a:xfrm>
              <a:off x="9291875" y="6671575"/>
              <a:ext cx="47125" cy="80844"/>
            </a:xfrm>
            <a:custGeom>
              <a:avLst/>
              <a:gdLst/>
              <a:ahLst/>
              <a:cxnLst>
                <a:cxn ang="0">
                  <a:pos x="0" y="0"/>
                </a:cxn>
                <a:cxn ang="0">
                  <a:pos x="35" y="0"/>
                </a:cxn>
                <a:cxn ang="0">
                  <a:pos x="35" y="160"/>
                </a:cxn>
                <a:cxn ang="0">
                  <a:pos x="36" y="160"/>
                </a:cxn>
                <a:cxn ang="0">
                  <a:pos x="48" y="141"/>
                </a:cxn>
                <a:cxn ang="0">
                  <a:pos x="63" y="125"/>
                </a:cxn>
                <a:cxn ang="0">
                  <a:pos x="83" y="114"/>
                </a:cxn>
                <a:cxn ang="0">
                  <a:pos x="105" y="105"/>
                </a:cxn>
                <a:cxn ang="0">
                  <a:pos x="129" y="102"/>
                </a:cxn>
                <a:cxn ang="0">
                  <a:pos x="157" y="104"/>
                </a:cxn>
                <a:cxn ang="0">
                  <a:pos x="179" y="109"/>
                </a:cxn>
                <a:cxn ang="0">
                  <a:pos x="197" y="119"/>
                </a:cxn>
                <a:cxn ang="0">
                  <a:pos x="211" y="132"/>
                </a:cxn>
                <a:cxn ang="0">
                  <a:pos x="222" y="147"/>
                </a:cxn>
                <a:cxn ang="0">
                  <a:pos x="228" y="167"/>
                </a:cxn>
                <a:cxn ang="0">
                  <a:pos x="232" y="189"/>
                </a:cxn>
                <a:cxn ang="0">
                  <a:pos x="233" y="213"/>
                </a:cxn>
                <a:cxn ang="0">
                  <a:pos x="233" y="398"/>
                </a:cxn>
                <a:cxn ang="0">
                  <a:pos x="198" y="398"/>
                </a:cxn>
                <a:cxn ang="0">
                  <a:pos x="198" y="218"/>
                </a:cxn>
                <a:cxn ang="0">
                  <a:pos x="197" y="199"/>
                </a:cxn>
                <a:cxn ang="0">
                  <a:pos x="194" y="179"/>
                </a:cxn>
                <a:cxn ang="0">
                  <a:pos x="187" y="164"/>
                </a:cxn>
                <a:cxn ang="0">
                  <a:pos x="179" y="150"/>
                </a:cxn>
                <a:cxn ang="0">
                  <a:pos x="165" y="140"/>
                </a:cxn>
                <a:cxn ang="0">
                  <a:pos x="148" y="134"/>
                </a:cxn>
                <a:cxn ang="0">
                  <a:pos x="126" y="132"/>
                </a:cxn>
                <a:cxn ang="0">
                  <a:pos x="99" y="134"/>
                </a:cxn>
                <a:cxn ang="0">
                  <a:pos x="78" y="144"/>
                </a:cxn>
                <a:cxn ang="0">
                  <a:pos x="60" y="160"/>
                </a:cxn>
                <a:cxn ang="0">
                  <a:pos x="46" y="179"/>
                </a:cxn>
                <a:cxn ang="0">
                  <a:pos x="38" y="204"/>
                </a:cxn>
                <a:cxn ang="0">
                  <a:pos x="35" y="231"/>
                </a:cxn>
                <a:cxn ang="0">
                  <a:pos x="35" y="398"/>
                </a:cxn>
                <a:cxn ang="0">
                  <a:pos x="0" y="398"/>
                </a:cxn>
                <a:cxn ang="0">
                  <a:pos x="0" y="0"/>
                </a:cxn>
              </a:cxnLst>
              <a:rect l="0" t="0" r="r" b="b"/>
              <a:pathLst>
                <a:path w="233" h="398">
                  <a:moveTo>
                    <a:pt x="0" y="0"/>
                  </a:moveTo>
                  <a:lnTo>
                    <a:pt x="35" y="0"/>
                  </a:lnTo>
                  <a:lnTo>
                    <a:pt x="35" y="160"/>
                  </a:lnTo>
                  <a:lnTo>
                    <a:pt x="36" y="160"/>
                  </a:lnTo>
                  <a:lnTo>
                    <a:pt x="48" y="141"/>
                  </a:lnTo>
                  <a:lnTo>
                    <a:pt x="63" y="125"/>
                  </a:lnTo>
                  <a:lnTo>
                    <a:pt x="83" y="114"/>
                  </a:lnTo>
                  <a:lnTo>
                    <a:pt x="105" y="105"/>
                  </a:lnTo>
                  <a:lnTo>
                    <a:pt x="129" y="102"/>
                  </a:lnTo>
                  <a:lnTo>
                    <a:pt x="157" y="104"/>
                  </a:lnTo>
                  <a:lnTo>
                    <a:pt x="179" y="109"/>
                  </a:lnTo>
                  <a:lnTo>
                    <a:pt x="197" y="119"/>
                  </a:lnTo>
                  <a:lnTo>
                    <a:pt x="211" y="132"/>
                  </a:lnTo>
                  <a:lnTo>
                    <a:pt x="222" y="147"/>
                  </a:lnTo>
                  <a:lnTo>
                    <a:pt x="228" y="167"/>
                  </a:lnTo>
                  <a:lnTo>
                    <a:pt x="232" y="189"/>
                  </a:lnTo>
                  <a:lnTo>
                    <a:pt x="233" y="213"/>
                  </a:lnTo>
                  <a:lnTo>
                    <a:pt x="233" y="398"/>
                  </a:lnTo>
                  <a:lnTo>
                    <a:pt x="198" y="398"/>
                  </a:lnTo>
                  <a:lnTo>
                    <a:pt x="198" y="218"/>
                  </a:lnTo>
                  <a:lnTo>
                    <a:pt x="197" y="199"/>
                  </a:lnTo>
                  <a:lnTo>
                    <a:pt x="194" y="179"/>
                  </a:lnTo>
                  <a:lnTo>
                    <a:pt x="187" y="164"/>
                  </a:lnTo>
                  <a:lnTo>
                    <a:pt x="179" y="150"/>
                  </a:lnTo>
                  <a:lnTo>
                    <a:pt x="165" y="140"/>
                  </a:lnTo>
                  <a:lnTo>
                    <a:pt x="148" y="134"/>
                  </a:lnTo>
                  <a:lnTo>
                    <a:pt x="126" y="132"/>
                  </a:lnTo>
                  <a:lnTo>
                    <a:pt x="99" y="134"/>
                  </a:lnTo>
                  <a:lnTo>
                    <a:pt x="78" y="144"/>
                  </a:lnTo>
                  <a:lnTo>
                    <a:pt x="60" y="160"/>
                  </a:lnTo>
                  <a:lnTo>
                    <a:pt x="46" y="179"/>
                  </a:lnTo>
                  <a:lnTo>
                    <a:pt x="38" y="204"/>
                  </a:lnTo>
                  <a:lnTo>
                    <a:pt x="35" y="231"/>
                  </a:lnTo>
                  <a:lnTo>
                    <a:pt x="35" y="398"/>
                  </a:lnTo>
                  <a:lnTo>
                    <a:pt x="0" y="398"/>
                  </a:lnTo>
                  <a:lnTo>
                    <a:pt x="0" y="0"/>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49" name="Freeform 18"/>
            <p:cNvSpPr>
              <a:spLocks noEditPoints="1"/>
            </p:cNvSpPr>
            <p:nvPr/>
          </p:nvSpPr>
          <p:spPr bwMode="auto">
            <a:xfrm>
              <a:off x="9364187" y="6671575"/>
              <a:ext cx="6906" cy="80844"/>
            </a:xfrm>
            <a:custGeom>
              <a:avLst/>
              <a:gdLst/>
              <a:ahLst/>
              <a:cxnLst>
                <a:cxn ang="0">
                  <a:pos x="0" y="0"/>
                </a:cxn>
                <a:cxn ang="0">
                  <a:pos x="35" y="0"/>
                </a:cxn>
                <a:cxn ang="0">
                  <a:pos x="35" y="56"/>
                </a:cxn>
                <a:cxn ang="0">
                  <a:pos x="0" y="56"/>
                </a:cxn>
                <a:cxn ang="0">
                  <a:pos x="0" y="0"/>
                </a:cxn>
                <a:cxn ang="0">
                  <a:pos x="0" y="111"/>
                </a:cxn>
                <a:cxn ang="0">
                  <a:pos x="35" y="111"/>
                </a:cxn>
                <a:cxn ang="0">
                  <a:pos x="35" y="398"/>
                </a:cxn>
                <a:cxn ang="0">
                  <a:pos x="0" y="398"/>
                </a:cxn>
                <a:cxn ang="0">
                  <a:pos x="0" y="111"/>
                </a:cxn>
              </a:cxnLst>
              <a:rect l="0" t="0" r="r" b="b"/>
              <a:pathLst>
                <a:path w="35" h="398">
                  <a:moveTo>
                    <a:pt x="0" y="0"/>
                  </a:moveTo>
                  <a:lnTo>
                    <a:pt x="35" y="0"/>
                  </a:lnTo>
                  <a:lnTo>
                    <a:pt x="35" y="56"/>
                  </a:lnTo>
                  <a:lnTo>
                    <a:pt x="0" y="56"/>
                  </a:lnTo>
                  <a:lnTo>
                    <a:pt x="0" y="0"/>
                  </a:lnTo>
                  <a:close/>
                  <a:moveTo>
                    <a:pt x="0" y="111"/>
                  </a:moveTo>
                  <a:lnTo>
                    <a:pt x="35" y="111"/>
                  </a:lnTo>
                  <a:lnTo>
                    <a:pt x="35" y="398"/>
                  </a:lnTo>
                  <a:lnTo>
                    <a:pt x="0" y="398"/>
                  </a:lnTo>
                  <a:lnTo>
                    <a:pt x="0" y="111"/>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50" name="Freeform 19"/>
            <p:cNvSpPr>
              <a:spLocks/>
            </p:cNvSpPr>
            <p:nvPr/>
          </p:nvSpPr>
          <p:spPr bwMode="auto">
            <a:xfrm>
              <a:off x="9396281" y="6692294"/>
              <a:ext cx="47125" cy="60125"/>
            </a:xfrm>
            <a:custGeom>
              <a:avLst/>
              <a:gdLst/>
              <a:ahLst/>
              <a:cxnLst>
                <a:cxn ang="0">
                  <a:pos x="0" y="9"/>
                </a:cxn>
                <a:cxn ang="0">
                  <a:pos x="35" y="9"/>
                </a:cxn>
                <a:cxn ang="0">
                  <a:pos x="35" y="58"/>
                </a:cxn>
                <a:cxn ang="0">
                  <a:pos x="36" y="58"/>
                </a:cxn>
                <a:cxn ang="0">
                  <a:pos x="48" y="39"/>
                </a:cxn>
                <a:cxn ang="0">
                  <a:pos x="63" y="23"/>
                </a:cxn>
                <a:cxn ang="0">
                  <a:pos x="83" y="12"/>
                </a:cxn>
                <a:cxn ang="0">
                  <a:pos x="105" y="3"/>
                </a:cxn>
                <a:cxn ang="0">
                  <a:pos x="129" y="0"/>
                </a:cxn>
                <a:cxn ang="0">
                  <a:pos x="157" y="2"/>
                </a:cxn>
                <a:cxn ang="0">
                  <a:pos x="179" y="7"/>
                </a:cxn>
                <a:cxn ang="0">
                  <a:pos x="197" y="17"/>
                </a:cxn>
                <a:cxn ang="0">
                  <a:pos x="211" y="30"/>
                </a:cxn>
                <a:cxn ang="0">
                  <a:pos x="222" y="45"/>
                </a:cxn>
                <a:cxn ang="0">
                  <a:pos x="228" y="65"/>
                </a:cxn>
                <a:cxn ang="0">
                  <a:pos x="232" y="87"/>
                </a:cxn>
                <a:cxn ang="0">
                  <a:pos x="233" y="111"/>
                </a:cxn>
                <a:cxn ang="0">
                  <a:pos x="233" y="296"/>
                </a:cxn>
                <a:cxn ang="0">
                  <a:pos x="198" y="296"/>
                </a:cxn>
                <a:cxn ang="0">
                  <a:pos x="198" y="116"/>
                </a:cxn>
                <a:cxn ang="0">
                  <a:pos x="197" y="97"/>
                </a:cxn>
                <a:cxn ang="0">
                  <a:pos x="194" y="77"/>
                </a:cxn>
                <a:cxn ang="0">
                  <a:pos x="187" y="62"/>
                </a:cxn>
                <a:cxn ang="0">
                  <a:pos x="179" y="48"/>
                </a:cxn>
                <a:cxn ang="0">
                  <a:pos x="165" y="38"/>
                </a:cxn>
                <a:cxn ang="0">
                  <a:pos x="148" y="32"/>
                </a:cxn>
                <a:cxn ang="0">
                  <a:pos x="126" y="30"/>
                </a:cxn>
                <a:cxn ang="0">
                  <a:pos x="99" y="32"/>
                </a:cxn>
                <a:cxn ang="0">
                  <a:pos x="78" y="42"/>
                </a:cxn>
                <a:cxn ang="0">
                  <a:pos x="60" y="58"/>
                </a:cxn>
                <a:cxn ang="0">
                  <a:pos x="46" y="77"/>
                </a:cxn>
                <a:cxn ang="0">
                  <a:pos x="38" y="102"/>
                </a:cxn>
                <a:cxn ang="0">
                  <a:pos x="35" y="129"/>
                </a:cxn>
                <a:cxn ang="0">
                  <a:pos x="35" y="296"/>
                </a:cxn>
                <a:cxn ang="0">
                  <a:pos x="0" y="296"/>
                </a:cxn>
                <a:cxn ang="0">
                  <a:pos x="0" y="9"/>
                </a:cxn>
              </a:cxnLst>
              <a:rect l="0" t="0" r="r" b="b"/>
              <a:pathLst>
                <a:path w="233" h="296">
                  <a:moveTo>
                    <a:pt x="0" y="9"/>
                  </a:moveTo>
                  <a:lnTo>
                    <a:pt x="35" y="9"/>
                  </a:lnTo>
                  <a:lnTo>
                    <a:pt x="35" y="58"/>
                  </a:lnTo>
                  <a:lnTo>
                    <a:pt x="36" y="58"/>
                  </a:lnTo>
                  <a:lnTo>
                    <a:pt x="48" y="39"/>
                  </a:lnTo>
                  <a:lnTo>
                    <a:pt x="63" y="23"/>
                  </a:lnTo>
                  <a:lnTo>
                    <a:pt x="83" y="12"/>
                  </a:lnTo>
                  <a:lnTo>
                    <a:pt x="105" y="3"/>
                  </a:lnTo>
                  <a:lnTo>
                    <a:pt x="129" y="0"/>
                  </a:lnTo>
                  <a:lnTo>
                    <a:pt x="157" y="2"/>
                  </a:lnTo>
                  <a:lnTo>
                    <a:pt x="179" y="7"/>
                  </a:lnTo>
                  <a:lnTo>
                    <a:pt x="197" y="17"/>
                  </a:lnTo>
                  <a:lnTo>
                    <a:pt x="211" y="30"/>
                  </a:lnTo>
                  <a:lnTo>
                    <a:pt x="222" y="45"/>
                  </a:lnTo>
                  <a:lnTo>
                    <a:pt x="228" y="65"/>
                  </a:lnTo>
                  <a:lnTo>
                    <a:pt x="232" y="87"/>
                  </a:lnTo>
                  <a:lnTo>
                    <a:pt x="233" y="111"/>
                  </a:lnTo>
                  <a:lnTo>
                    <a:pt x="233" y="296"/>
                  </a:lnTo>
                  <a:lnTo>
                    <a:pt x="198" y="296"/>
                  </a:lnTo>
                  <a:lnTo>
                    <a:pt x="198" y="116"/>
                  </a:lnTo>
                  <a:lnTo>
                    <a:pt x="197" y="97"/>
                  </a:lnTo>
                  <a:lnTo>
                    <a:pt x="194" y="77"/>
                  </a:lnTo>
                  <a:lnTo>
                    <a:pt x="187" y="62"/>
                  </a:lnTo>
                  <a:lnTo>
                    <a:pt x="179" y="48"/>
                  </a:lnTo>
                  <a:lnTo>
                    <a:pt x="165" y="38"/>
                  </a:lnTo>
                  <a:lnTo>
                    <a:pt x="148" y="32"/>
                  </a:lnTo>
                  <a:lnTo>
                    <a:pt x="126" y="30"/>
                  </a:lnTo>
                  <a:lnTo>
                    <a:pt x="99" y="32"/>
                  </a:lnTo>
                  <a:lnTo>
                    <a:pt x="78" y="42"/>
                  </a:lnTo>
                  <a:lnTo>
                    <a:pt x="60" y="58"/>
                  </a:lnTo>
                  <a:lnTo>
                    <a:pt x="46" y="77"/>
                  </a:lnTo>
                  <a:lnTo>
                    <a:pt x="38" y="102"/>
                  </a:lnTo>
                  <a:lnTo>
                    <a:pt x="35" y="129"/>
                  </a:lnTo>
                  <a:lnTo>
                    <a:pt x="35" y="296"/>
                  </a:lnTo>
                  <a:lnTo>
                    <a:pt x="0" y="296"/>
                  </a:lnTo>
                  <a:lnTo>
                    <a:pt x="0" y="9"/>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51" name="Freeform 20"/>
            <p:cNvSpPr>
              <a:spLocks/>
            </p:cNvSpPr>
            <p:nvPr/>
          </p:nvSpPr>
          <p:spPr bwMode="auto">
            <a:xfrm>
              <a:off x="9468594" y="6671575"/>
              <a:ext cx="50375" cy="80844"/>
            </a:xfrm>
            <a:custGeom>
              <a:avLst/>
              <a:gdLst/>
              <a:ahLst/>
              <a:cxnLst>
                <a:cxn ang="0">
                  <a:pos x="0" y="0"/>
                </a:cxn>
                <a:cxn ang="0">
                  <a:pos x="35" y="0"/>
                </a:cxn>
                <a:cxn ang="0">
                  <a:pos x="35" y="250"/>
                </a:cxn>
                <a:cxn ang="0">
                  <a:pos x="194" y="111"/>
                </a:cxn>
                <a:cxn ang="0">
                  <a:pos x="241" y="111"/>
                </a:cxn>
                <a:cxn ang="0">
                  <a:pos x="119" y="217"/>
                </a:cxn>
                <a:cxn ang="0">
                  <a:pos x="249" y="398"/>
                </a:cxn>
                <a:cxn ang="0">
                  <a:pos x="206" y="398"/>
                </a:cxn>
                <a:cxn ang="0">
                  <a:pos x="91" y="242"/>
                </a:cxn>
                <a:cxn ang="0">
                  <a:pos x="35" y="290"/>
                </a:cxn>
                <a:cxn ang="0">
                  <a:pos x="35" y="398"/>
                </a:cxn>
                <a:cxn ang="0">
                  <a:pos x="0" y="398"/>
                </a:cxn>
                <a:cxn ang="0">
                  <a:pos x="0" y="0"/>
                </a:cxn>
              </a:cxnLst>
              <a:rect l="0" t="0" r="r" b="b"/>
              <a:pathLst>
                <a:path w="249" h="398">
                  <a:moveTo>
                    <a:pt x="0" y="0"/>
                  </a:moveTo>
                  <a:lnTo>
                    <a:pt x="35" y="0"/>
                  </a:lnTo>
                  <a:lnTo>
                    <a:pt x="35" y="250"/>
                  </a:lnTo>
                  <a:lnTo>
                    <a:pt x="194" y="111"/>
                  </a:lnTo>
                  <a:lnTo>
                    <a:pt x="241" y="111"/>
                  </a:lnTo>
                  <a:lnTo>
                    <a:pt x="119" y="217"/>
                  </a:lnTo>
                  <a:lnTo>
                    <a:pt x="249" y="398"/>
                  </a:lnTo>
                  <a:lnTo>
                    <a:pt x="206" y="398"/>
                  </a:lnTo>
                  <a:lnTo>
                    <a:pt x="91" y="242"/>
                  </a:lnTo>
                  <a:lnTo>
                    <a:pt x="35" y="290"/>
                  </a:lnTo>
                  <a:lnTo>
                    <a:pt x="35" y="398"/>
                  </a:lnTo>
                  <a:lnTo>
                    <a:pt x="0" y="398"/>
                  </a:lnTo>
                  <a:lnTo>
                    <a:pt x="0" y="0"/>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52" name="Freeform 21"/>
            <p:cNvSpPr>
              <a:spLocks noEditPoints="1"/>
            </p:cNvSpPr>
            <p:nvPr/>
          </p:nvSpPr>
          <p:spPr bwMode="auto">
            <a:xfrm>
              <a:off x="9536437" y="6671575"/>
              <a:ext cx="7313" cy="80844"/>
            </a:xfrm>
            <a:custGeom>
              <a:avLst/>
              <a:gdLst/>
              <a:ahLst/>
              <a:cxnLst>
                <a:cxn ang="0">
                  <a:pos x="0" y="0"/>
                </a:cxn>
                <a:cxn ang="0">
                  <a:pos x="36" y="0"/>
                </a:cxn>
                <a:cxn ang="0">
                  <a:pos x="36" y="56"/>
                </a:cxn>
                <a:cxn ang="0">
                  <a:pos x="0" y="56"/>
                </a:cxn>
                <a:cxn ang="0">
                  <a:pos x="0" y="0"/>
                </a:cxn>
                <a:cxn ang="0">
                  <a:pos x="0" y="111"/>
                </a:cxn>
                <a:cxn ang="0">
                  <a:pos x="36" y="111"/>
                </a:cxn>
                <a:cxn ang="0">
                  <a:pos x="36" y="398"/>
                </a:cxn>
                <a:cxn ang="0">
                  <a:pos x="0" y="398"/>
                </a:cxn>
                <a:cxn ang="0">
                  <a:pos x="0" y="111"/>
                </a:cxn>
              </a:cxnLst>
              <a:rect l="0" t="0" r="r" b="b"/>
              <a:pathLst>
                <a:path w="36" h="398">
                  <a:moveTo>
                    <a:pt x="0" y="0"/>
                  </a:moveTo>
                  <a:lnTo>
                    <a:pt x="36" y="0"/>
                  </a:lnTo>
                  <a:lnTo>
                    <a:pt x="36" y="56"/>
                  </a:lnTo>
                  <a:lnTo>
                    <a:pt x="0" y="56"/>
                  </a:lnTo>
                  <a:lnTo>
                    <a:pt x="0" y="0"/>
                  </a:lnTo>
                  <a:close/>
                  <a:moveTo>
                    <a:pt x="0" y="111"/>
                  </a:moveTo>
                  <a:lnTo>
                    <a:pt x="36" y="111"/>
                  </a:lnTo>
                  <a:lnTo>
                    <a:pt x="36" y="398"/>
                  </a:lnTo>
                  <a:lnTo>
                    <a:pt x="0" y="398"/>
                  </a:lnTo>
                  <a:lnTo>
                    <a:pt x="0" y="111"/>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53" name="Freeform 22"/>
            <p:cNvSpPr>
              <a:spLocks/>
            </p:cNvSpPr>
            <p:nvPr/>
          </p:nvSpPr>
          <p:spPr bwMode="auto">
            <a:xfrm>
              <a:off x="9568531" y="6692294"/>
              <a:ext cx="47531" cy="60125"/>
            </a:xfrm>
            <a:custGeom>
              <a:avLst/>
              <a:gdLst/>
              <a:ahLst/>
              <a:cxnLst>
                <a:cxn ang="0">
                  <a:pos x="0" y="9"/>
                </a:cxn>
                <a:cxn ang="0">
                  <a:pos x="36" y="9"/>
                </a:cxn>
                <a:cxn ang="0">
                  <a:pos x="36" y="58"/>
                </a:cxn>
                <a:cxn ang="0">
                  <a:pos x="47" y="39"/>
                </a:cxn>
                <a:cxn ang="0">
                  <a:pos x="63" y="23"/>
                </a:cxn>
                <a:cxn ang="0">
                  <a:pos x="82" y="12"/>
                </a:cxn>
                <a:cxn ang="0">
                  <a:pos x="105" y="3"/>
                </a:cxn>
                <a:cxn ang="0">
                  <a:pos x="129" y="0"/>
                </a:cxn>
                <a:cxn ang="0">
                  <a:pos x="156" y="2"/>
                </a:cxn>
                <a:cxn ang="0">
                  <a:pos x="179" y="7"/>
                </a:cxn>
                <a:cxn ang="0">
                  <a:pos x="198" y="17"/>
                </a:cxn>
                <a:cxn ang="0">
                  <a:pos x="212" y="30"/>
                </a:cxn>
                <a:cxn ang="0">
                  <a:pos x="222" y="45"/>
                </a:cxn>
                <a:cxn ang="0">
                  <a:pos x="229" y="65"/>
                </a:cxn>
                <a:cxn ang="0">
                  <a:pos x="233" y="87"/>
                </a:cxn>
                <a:cxn ang="0">
                  <a:pos x="235" y="111"/>
                </a:cxn>
                <a:cxn ang="0">
                  <a:pos x="235" y="296"/>
                </a:cxn>
                <a:cxn ang="0">
                  <a:pos x="198" y="296"/>
                </a:cxn>
                <a:cxn ang="0">
                  <a:pos x="198" y="116"/>
                </a:cxn>
                <a:cxn ang="0">
                  <a:pos x="197" y="97"/>
                </a:cxn>
                <a:cxn ang="0">
                  <a:pos x="194" y="77"/>
                </a:cxn>
                <a:cxn ang="0">
                  <a:pos x="187" y="62"/>
                </a:cxn>
                <a:cxn ang="0">
                  <a:pos x="179" y="48"/>
                </a:cxn>
                <a:cxn ang="0">
                  <a:pos x="165" y="38"/>
                </a:cxn>
                <a:cxn ang="0">
                  <a:pos x="148" y="32"/>
                </a:cxn>
                <a:cxn ang="0">
                  <a:pos x="126" y="30"/>
                </a:cxn>
                <a:cxn ang="0">
                  <a:pos x="99" y="32"/>
                </a:cxn>
                <a:cxn ang="0">
                  <a:pos x="78" y="42"/>
                </a:cxn>
                <a:cxn ang="0">
                  <a:pos x="60" y="58"/>
                </a:cxn>
                <a:cxn ang="0">
                  <a:pos x="47" y="77"/>
                </a:cxn>
                <a:cxn ang="0">
                  <a:pos x="39" y="102"/>
                </a:cxn>
                <a:cxn ang="0">
                  <a:pos x="36" y="129"/>
                </a:cxn>
                <a:cxn ang="0">
                  <a:pos x="36" y="296"/>
                </a:cxn>
                <a:cxn ang="0">
                  <a:pos x="0" y="296"/>
                </a:cxn>
                <a:cxn ang="0">
                  <a:pos x="0" y="9"/>
                </a:cxn>
              </a:cxnLst>
              <a:rect l="0" t="0" r="r" b="b"/>
              <a:pathLst>
                <a:path w="235" h="296">
                  <a:moveTo>
                    <a:pt x="0" y="9"/>
                  </a:moveTo>
                  <a:lnTo>
                    <a:pt x="36" y="9"/>
                  </a:lnTo>
                  <a:lnTo>
                    <a:pt x="36" y="58"/>
                  </a:lnTo>
                  <a:lnTo>
                    <a:pt x="47" y="39"/>
                  </a:lnTo>
                  <a:lnTo>
                    <a:pt x="63" y="23"/>
                  </a:lnTo>
                  <a:lnTo>
                    <a:pt x="82" y="12"/>
                  </a:lnTo>
                  <a:lnTo>
                    <a:pt x="105" y="3"/>
                  </a:lnTo>
                  <a:lnTo>
                    <a:pt x="129" y="0"/>
                  </a:lnTo>
                  <a:lnTo>
                    <a:pt x="156" y="2"/>
                  </a:lnTo>
                  <a:lnTo>
                    <a:pt x="179" y="7"/>
                  </a:lnTo>
                  <a:lnTo>
                    <a:pt x="198" y="17"/>
                  </a:lnTo>
                  <a:lnTo>
                    <a:pt x="212" y="30"/>
                  </a:lnTo>
                  <a:lnTo>
                    <a:pt x="222" y="45"/>
                  </a:lnTo>
                  <a:lnTo>
                    <a:pt x="229" y="65"/>
                  </a:lnTo>
                  <a:lnTo>
                    <a:pt x="233" y="87"/>
                  </a:lnTo>
                  <a:lnTo>
                    <a:pt x="235" y="111"/>
                  </a:lnTo>
                  <a:lnTo>
                    <a:pt x="235" y="296"/>
                  </a:lnTo>
                  <a:lnTo>
                    <a:pt x="198" y="296"/>
                  </a:lnTo>
                  <a:lnTo>
                    <a:pt x="198" y="116"/>
                  </a:lnTo>
                  <a:lnTo>
                    <a:pt x="197" y="97"/>
                  </a:lnTo>
                  <a:lnTo>
                    <a:pt x="194" y="77"/>
                  </a:lnTo>
                  <a:lnTo>
                    <a:pt x="187" y="62"/>
                  </a:lnTo>
                  <a:lnTo>
                    <a:pt x="179" y="48"/>
                  </a:lnTo>
                  <a:lnTo>
                    <a:pt x="165" y="38"/>
                  </a:lnTo>
                  <a:lnTo>
                    <a:pt x="148" y="32"/>
                  </a:lnTo>
                  <a:lnTo>
                    <a:pt x="126" y="30"/>
                  </a:lnTo>
                  <a:lnTo>
                    <a:pt x="99" y="32"/>
                  </a:lnTo>
                  <a:lnTo>
                    <a:pt x="78" y="42"/>
                  </a:lnTo>
                  <a:lnTo>
                    <a:pt x="60" y="58"/>
                  </a:lnTo>
                  <a:lnTo>
                    <a:pt x="47" y="77"/>
                  </a:lnTo>
                  <a:lnTo>
                    <a:pt x="39" y="102"/>
                  </a:lnTo>
                  <a:lnTo>
                    <a:pt x="36" y="129"/>
                  </a:lnTo>
                  <a:lnTo>
                    <a:pt x="36" y="296"/>
                  </a:lnTo>
                  <a:lnTo>
                    <a:pt x="0" y="296"/>
                  </a:lnTo>
                  <a:lnTo>
                    <a:pt x="0" y="9"/>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54" name="Freeform 23"/>
            <p:cNvSpPr>
              <a:spLocks noEditPoints="1"/>
            </p:cNvSpPr>
            <p:nvPr/>
          </p:nvSpPr>
          <p:spPr bwMode="auto">
            <a:xfrm>
              <a:off x="9638000" y="6692294"/>
              <a:ext cx="52000" cy="83281"/>
            </a:xfrm>
            <a:custGeom>
              <a:avLst/>
              <a:gdLst/>
              <a:ahLst/>
              <a:cxnLst>
                <a:cxn ang="0">
                  <a:pos x="256" y="303"/>
                </a:cxn>
                <a:cxn ang="0">
                  <a:pos x="242" y="355"/>
                </a:cxn>
                <a:cxn ang="0">
                  <a:pos x="211" y="390"/>
                </a:cxn>
                <a:cxn ang="0">
                  <a:pos x="162" y="408"/>
                </a:cxn>
                <a:cxn ang="0">
                  <a:pos x="105" y="410"/>
                </a:cxn>
                <a:cxn ang="0">
                  <a:pos x="60" y="396"/>
                </a:cxn>
                <a:cxn ang="0">
                  <a:pos x="25" y="369"/>
                </a:cxn>
                <a:cxn ang="0">
                  <a:pos x="10" y="324"/>
                </a:cxn>
                <a:cxn ang="0">
                  <a:pos x="52" y="343"/>
                </a:cxn>
                <a:cxn ang="0">
                  <a:pos x="76" y="369"/>
                </a:cxn>
                <a:cxn ang="0">
                  <a:pos x="111" y="380"/>
                </a:cxn>
                <a:cxn ang="0">
                  <a:pos x="155" y="379"/>
                </a:cxn>
                <a:cxn ang="0">
                  <a:pos x="193" y="361"/>
                </a:cxn>
                <a:cxn ang="0">
                  <a:pos x="215" y="324"/>
                </a:cxn>
                <a:cxn ang="0">
                  <a:pos x="222" y="273"/>
                </a:cxn>
                <a:cxn ang="0">
                  <a:pos x="221" y="234"/>
                </a:cxn>
                <a:cxn ang="0">
                  <a:pos x="193" y="270"/>
                </a:cxn>
                <a:cxn ang="0">
                  <a:pos x="154" y="290"/>
                </a:cxn>
                <a:cxn ang="0">
                  <a:pos x="101" y="290"/>
                </a:cxn>
                <a:cxn ang="0">
                  <a:pos x="56" y="273"/>
                </a:cxn>
                <a:cxn ang="0">
                  <a:pos x="24" y="241"/>
                </a:cxn>
                <a:cxn ang="0">
                  <a:pos x="6" y="197"/>
                </a:cxn>
                <a:cxn ang="0">
                  <a:pos x="0" y="146"/>
                </a:cxn>
                <a:cxn ang="0">
                  <a:pos x="9" y="90"/>
                </a:cxn>
                <a:cxn ang="0">
                  <a:pos x="34" y="44"/>
                </a:cxn>
                <a:cxn ang="0">
                  <a:pos x="74" y="12"/>
                </a:cxn>
                <a:cxn ang="0">
                  <a:pos x="130" y="0"/>
                </a:cxn>
                <a:cxn ang="0">
                  <a:pos x="176" y="12"/>
                </a:cxn>
                <a:cxn ang="0">
                  <a:pos x="210" y="39"/>
                </a:cxn>
                <a:cxn ang="0">
                  <a:pos x="222" y="58"/>
                </a:cxn>
                <a:cxn ang="0">
                  <a:pos x="257" y="9"/>
                </a:cxn>
                <a:cxn ang="0">
                  <a:pos x="222" y="150"/>
                </a:cxn>
                <a:cxn ang="0">
                  <a:pos x="217" y="107"/>
                </a:cxn>
                <a:cxn ang="0">
                  <a:pos x="201" y="69"/>
                </a:cxn>
                <a:cxn ang="0">
                  <a:pos x="172" y="41"/>
                </a:cxn>
                <a:cxn ang="0">
                  <a:pos x="130" y="30"/>
                </a:cxn>
                <a:cxn ang="0">
                  <a:pos x="87" y="39"/>
                </a:cxn>
                <a:cxn ang="0">
                  <a:pos x="57" y="67"/>
                </a:cxn>
                <a:cxn ang="0">
                  <a:pos x="41" y="105"/>
                </a:cxn>
                <a:cxn ang="0">
                  <a:pos x="35" y="150"/>
                </a:cxn>
                <a:cxn ang="0">
                  <a:pos x="41" y="192"/>
                </a:cxn>
                <a:cxn ang="0">
                  <a:pos x="57" y="228"/>
                </a:cxn>
                <a:cxn ang="0">
                  <a:pos x="88" y="253"/>
                </a:cxn>
                <a:cxn ang="0">
                  <a:pos x="130" y="263"/>
                </a:cxn>
                <a:cxn ang="0">
                  <a:pos x="175" y="250"/>
                </a:cxn>
                <a:cxn ang="0">
                  <a:pos x="206" y="218"/>
                </a:cxn>
                <a:cxn ang="0">
                  <a:pos x="221" y="174"/>
                </a:cxn>
              </a:cxnLst>
              <a:rect l="0" t="0" r="r" b="b"/>
              <a:pathLst>
                <a:path w="257" h="411">
                  <a:moveTo>
                    <a:pt x="257" y="273"/>
                  </a:moveTo>
                  <a:lnTo>
                    <a:pt x="256" y="303"/>
                  </a:lnTo>
                  <a:lnTo>
                    <a:pt x="250" y="331"/>
                  </a:lnTo>
                  <a:lnTo>
                    <a:pt x="242" y="355"/>
                  </a:lnTo>
                  <a:lnTo>
                    <a:pt x="229" y="375"/>
                  </a:lnTo>
                  <a:lnTo>
                    <a:pt x="211" y="390"/>
                  </a:lnTo>
                  <a:lnTo>
                    <a:pt x="189" y="401"/>
                  </a:lnTo>
                  <a:lnTo>
                    <a:pt x="162" y="408"/>
                  </a:lnTo>
                  <a:lnTo>
                    <a:pt x="130" y="411"/>
                  </a:lnTo>
                  <a:lnTo>
                    <a:pt x="105" y="410"/>
                  </a:lnTo>
                  <a:lnTo>
                    <a:pt x="81" y="404"/>
                  </a:lnTo>
                  <a:lnTo>
                    <a:pt x="60" y="396"/>
                  </a:lnTo>
                  <a:lnTo>
                    <a:pt x="41" y="384"/>
                  </a:lnTo>
                  <a:lnTo>
                    <a:pt x="25" y="369"/>
                  </a:lnTo>
                  <a:lnTo>
                    <a:pt x="16" y="348"/>
                  </a:lnTo>
                  <a:lnTo>
                    <a:pt x="10" y="324"/>
                  </a:lnTo>
                  <a:lnTo>
                    <a:pt x="45" y="324"/>
                  </a:lnTo>
                  <a:lnTo>
                    <a:pt x="52" y="343"/>
                  </a:lnTo>
                  <a:lnTo>
                    <a:pt x="62" y="358"/>
                  </a:lnTo>
                  <a:lnTo>
                    <a:pt x="76" y="369"/>
                  </a:lnTo>
                  <a:lnTo>
                    <a:pt x="92" y="376"/>
                  </a:lnTo>
                  <a:lnTo>
                    <a:pt x="111" y="380"/>
                  </a:lnTo>
                  <a:lnTo>
                    <a:pt x="130" y="382"/>
                  </a:lnTo>
                  <a:lnTo>
                    <a:pt x="155" y="379"/>
                  </a:lnTo>
                  <a:lnTo>
                    <a:pt x="176" y="372"/>
                  </a:lnTo>
                  <a:lnTo>
                    <a:pt x="193" y="361"/>
                  </a:lnTo>
                  <a:lnTo>
                    <a:pt x="207" y="345"/>
                  </a:lnTo>
                  <a:lnTo>
                    <a:pt x="215" y="324"/>
                  </a:lnTo>
                  <a:lnTo>
                    <a:pt x="221" y="301"/>
                  </a:lnTo>
                  <a:lnTo>
                    <a:pt x="222" y="273"/>
                  </a:lnTo>
                  <a:lnTo>
                    <a:pt x="222" y="234"/>
                  </a:lnTo>
                  <a:lnTo>
                    <a:pt x="221" y="234"/>
                  </a:lnTo>
                  <a:lnTo>
                    <a:pt x="208" y="253"/>
                  </a:lnTo>
                  <a:lnTo>
                    <a:pt x="193" y="270"/>
                  </a:lnTo>
                  <a:lnTo>
                    <a:pt x="175" y="281"/>
                  </a:lnTo>
                  <a:lnTo>
                    <a:pt x="154" y="290"/>
                  </a:lnTo>
                  <a:lnTo>
                    <a:pt x="130" y="292"/>
                  </a:lnTo>
                  <a:lnTo>
                    <a:pt x="101" y="290"/>
                  </a:lnTo>
                  <a:lnTo>
                    <a:pt x="77" y="283"/>
                  </a:lnTo>
                  <a:lnTo>
                    <a:pt x="56" y="273"/>
                  </a:lnTo>
                  <a:lnTo>
                    <a:pt x="38" y="257"/>
                  </a:lnTo>
                  <a:lnTo>
                    <a:pt x="24" y="241"/>
                  </a:lnTo>
                  <a:lnTo>
                    <a:pt x="13" y="220"/>
                  </a:lnTo>
                  <a:lnTo>
                    <a:pt x="6" y="197"/>
                  </a:lnTo>
                  <a:lnTo>
                    <a:pt x="2" y="172"/>
                  </a:lnTo>
                  <a:lnTo>
                    <a:pt x="0" y="146"/>
                  </a:lnTo>
                  <a:lnTo>
                    <a:pt x="3" y="116"/>
                  </a:lnTo>
                  <a:lnTo>
                    <a:pt x="9" y="90"/>
                  </a:lnTo>
                  <a:lnTo>
                    <a:pt x="20" y="65"/>
                  </a:lnTo>
                  <a:lnTo>
                    <a:pt x="34" y="44"/>
                  </a:lnTo>
                  <a:lnTo>
                    <a:pt x="52" y="26"/>
                  </a:lnTo>
                  <a:lnTo>
                    <a:pt x="74" y="12"/>
                  </a:lnTo>
                  <a:lnTo>
                    <a:pt x="101" y="3"/>
                  </a:lnTo>
                  <a:lnTo>
                    <a:pt x="130" y="0"/>
                  </a:lnTo>
                  <a:lnTo>
                    <a:pt x="154" y="3"/>
                  </a:lnTo>
                  <a:lnTo>
                    <a:pt x="176" y="12"/>
                  </a:lnTo>
                  <a:lnTo>
                    <a:pt x="194" y="24"/>
                  </a:lnTo>
                  <a:lnTo>
                    <a:pt x="210" y="39"/>
                  </a:lnTo>
                  <a:lnTo>
                    <a:pt x="221" y="58"/>
                  </a:lnTo>
                  <a:lnTo>
                    <a:pt x="222" y="58"/>
                  </a:lnTo>
                  <a:lnTo>
                    <a:pt x="222" y="9"/>
                  </a:lnTo>
                  <a:lnTo>
                    <a:pt x="257" y="9"/>
                  </a:lnTo>
                  <a:lnTo>
                    <a:pt x="257" y="273"/>
                  </a:lnTo>
                  <a:close/>
                  <a:moveTo>
                    <a:pt x="222" y="150"/>
                  </a:moveTo>
                  <a:lnTo>
                    <a:pt x="221" y="129"/>
                  </a:lnTo>
                  <a:lnTo>
                    <a:pt x="217" y="107"/>
                  </a:lnTo>
                  <a:lnTo>
                    <a:pt x="211" y="87"/>
                  </a:lnTo>
                  <a:lnTo>
                    <a:pt x="201" y="69"/>
                  </a:lnTo>
                  <a:lnTo>
                    <a:pt x="189" y="52"/>
                  </a:lnTo>
                  <a:lnTo>
                    <a:pt x="172" y="41"/>
                  </a:lnTo>
                  <a:lnTo>
                    <a:pt x="152" y="32"/>
                  </a:lnTo>
                  <a:lnTo>
                    <a:pt x="130" y="30"/>
                  </a:lnTo>
                  <a:lnTo>
                    <a:pt x="106" y="32"/>
                  </a:lnTo>
                  <a:lnTo>
                    <a:pt x="87" y="39"/>
                  </a:lnTo>
                  <a:lnTo>
                    <a:pt x="70" y="52"/>
                  </a:lnTo>
                  <a:lnTo>
                    <a:pt x="57" y="67"/>
                  </a:lnTo>
                  <a:lnTo>
                    <a:pt x="48" y="86"/>
                  </a:lnTo>
                  <a:lnTo>
                    <a:pt x="41" y="105"/>
                  </a:lnTo>
                  <a:lnTo>
                    <a:pt x="37" y="127"/>
                  </a:lnTo>
                  <a:lnTo>
                    <a:pt x="35" y="150"/>
                  </a:lnTo>
                  <a:lnTo>
                    <a:pt x="37" y="171"/>
                  </a:lnTo>
                  <a:lnTo>
                    <a:pt x="41" y="192"/>
                  </a:lnTo>
                  <a:lnTo>
                    <a:pt x="48" y="211"/>
                  </a:lnTo>
                  <a:lnTo>
                    <a:pt x="57" y="228"/>
                  </a:lnTo>
                  <a:lnTo>
                    <a:pt x="71" y="242"/>
                  </a:lnTo>
                  <a:lnTo>
                    <a:pt x="88" y="253"/>
                  </a:lnTo>
                  <a:lnTo>
                    <a:pt x="108" y="260"/>
                  </a:lnTo>
                  <a:lnTo>
                    <a:pt x="130" y="263"/>
                  </a:lnTo>
                  <a:lnTo>
                    <a:pt x="154" y="260"/>
                  </a:lnTo>
                  <a:lnTo>
                    <a:pt x="175" y="250"/>
                  </a:lnTo>
                  <a:lnTo>
                    <a:pt x="192" y="236"/>
                  </a:lnTo>
                  <a:lnTo>
                    <a:pt x="206" y="218"/>
                  </a:lnTo>
                  <a:lnTo>
                    <a:pt x="214" y="197"/>
                  </a:lnTo>
                  <a:lnTo>
                    <a:pt x="221" y="174"/>
                  </a:lnTo>
                  <a:lnTo>
                    <a:pt x="222" y="150"/>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grpSp>
      <p:sp>
        <p:nvSpPr>
          <p:cNvPr id="55" name="TextBox 54"/>
          <p:cNvSpPr txBox="1"/>
          <p:nvPr/>
        </p:nvSpPr>
        <p:spPr>
          <a:xfrm>
            <a:off x="186755" y="6557123"/>
            <a:ext cx="1208584" cy="298800"/>
          </a:xfrm>
          <a:prstGeom prst="rect">
            <a:avLst/>
          </a:prstGeom>
          <a:noFill/>
        </p:spPr>
        <p:txBody>
          <a:bodyPr wrap="none" lIns="36000" tIns="36000" rIns="36000" bIns="36000" rtlCol="0" anchor="ctr">
            <a:noAutofit/>
          </a:bodyPr>
          <a:lstStyle/>
          <a:p>
            <a:pPr algn="l"/>
            <a:r>
              <a:rPr lang="en-AU" sz="700" b="0" cap="all" baseline="0" dirty="0">
                <a:solidFill>
                  <a:schemeClr val="bg1"/>
                </a:solidFill>
              </a:rPr>
              <a:t>STRICTLY CONFIDENTIAL</a:t>
            </a:r>
          </a:p>
        </p:txBody>
      </p:sp>
      <p:grpSp>
        <p:nvGrpSpPr>
          <p:cNvPr id="56" name="Group 55"/>
          <p:cNvGrpSpPr/>
          <p:nvPr userDrawn="1"/>
        </p:nvGrpSpPr>
        <p:grpSpPr>
          <a:xfrm>
            <a:off x="8737794" y="6654523"/>
            <a:ext cx="933156" cy="104000"/>
            <a:chOff x="8756844" y="6671575"/>
            <a:chExt cx="933156" cy="104000"/>
          </a:xfrm>
        </p:grpSpPr>
        <p:sp>
          <p:nvSpPr>
            <p:cNvPr id="57" name="Freeform 9"/>
            <p:cNvSpPr>
              <a:spLocks/>
            </p:cNvSpPr>
            <p:nvPr/>
          </p:nvSpPr>
          <p:spPr bwMode="auto">
            <a:xfrm>
              <a:off x="8756844" y="6692294"/>
              <a:ext cx="43875" cy="60125"/>
            </a:xfrm>
            <a:custGeom>
              <a:avLst/>
              <a:gdLst/>
              <a:ahLst/>
              <a:cxnLst>
                <a:cxn ang="0">
                  <a:pos x="0" y="0"/>
                </a:cxn>
                <a:cxn ang="0">
                  <a:pos x="217" y="0"/>
                </a:cxn>
                <a:cxn ang="0">
                  <a:pos x="217" y="61"/>
                </a:cxn>
                <a:cxn ang="0">
                  <a:pos x="77" y="61"/>
                </a:cxn>
                <a:cxn ang="0">
                  <a:pos x="77" y="121"/>
                </a:cxn>
                <a:cxn ang="0">
                  <a:pos x="199" y="121"/>
                </a:cxn>
                <a:cxn ang="0">
                  <a:pos x="199" y="181"/>
                </a:cxn>
                <a:cxn ang="0">
                  <a:pos x="77" y="181"/>
                </a:cxn>
                <a:cxn ang="0">
                  <a:pos x="77" y="294"/>
                </a:cxn>
                <a:cxn ang="0">
                  <a:pos x="0" y="294"/>
                </a:cxn>
                <a:cxn ang="0">
                  <a:pos x="0" y="0"/>
                </a:cxn>
              </a:cxnLst>
              <a:rect l="0" t="0" r="r" b="b"/>
              <a:pathLst>
                <a:path w="217" h="294">
                  <a:moveTo>
                    <a:pt x="0" y="0"/>
                  </a:moveTo>
                  <a:lnTo>
                    <a:pt x="217" y="0"/>
                  </a:lnTo>
                  <a:lnTo>
                    <a:pt x="217" y="61"/>
                  </a:lnTo>
                  <a:lnTo>
                    <a:pt x="77" y="61"/>
                  </a:lnTo>
                  <a:lnTo>
                    <a:pt x="77" y="121"/>
                  </a:lnTo>
                  <a:lnTo>
                    <a:pt x="199" y="121"/>
                  </a:lnTo>
                  <a:lnTo>
                    <a:pt x="199" y="181"/>
                  </a:lnTo>
                  <a:lnTo>
                    <a:pt x="77" y="181"/>
                  </a:lnTo>
                  <a:lnTo>
                    <a:pt x="77" y="294"/>
                  </a:lnTo>
                  <a:lnTo>
                    <a:pt x="0" y="294"/>
                  </a:lnTo>
                  <a:lnTo>
                    <a:pt x="0" y="0"/>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58" name="Freeform 10"/>
            <p:cNvSpPr>
              <a:spLocks noEditPoints="1"/>
            </p:cNvSpPr>
            <p:nvPr/>
          </p:nvSpPr>
          <p:spPr bwMode="auto">
            <a:xfrm>
              <a:off x="8809250" y="6691482"/>
              <a:ext cx="58906" cy="62156"/>
            </a:xfrm>
            <a:custGeom>
              <a:avLst/>
              <a:gdLst/>
              <a:ahLst/>
              <a:cxnLst>
                <a:cxn ang="0">
                  <a:pos x="145" y="0"/>
                </a:cxn>
                <a:cxn ang="0">
                  <a:pos x="179" y="3"/>
                </a:cxn>
                <a:cxn ang="0">
                  <a:pos x="208" y="13"/>
                </a:cxn>
                <a:cxn ang="0">
                  <a:pos x="232" y="27"/>
                </a:cxn>
                <a:cxn ang="0">
                  <a:pos x="253" y="45"/>
                </a:cxn>
                <a:cxn ang="0">
                  <a:pos x="270" y="67"/>
                </a:cxn>
                <a:cxn ang="0">
                  <a:pos x="281" y="94"/>
                </a:cxn>
                <a:cxn ang="0">
                  <a:pos x="288" y="123"/>
                </a:cxn>
                <a:cxn ang="0">
                  <a:pos x="291" y="154"/>
                </a:cxn>
                <a:cxn ang="0">
                  <a:pos x="288" y="185"/>
                </a:cxn>
                <a:cxn ang="0">
                  <a:pos x="281" y="214"/>
                </a:cxn>
                <a:cxn ang="0">
                  <a:pos x="270" y="239"/>
                </a:cxn>
                <a:cxn ang="0">
                  <a:pos x="253" y="261"/>
                </a:cxn>
                <a:cxn ang="0">
                  <a:pos x="232" y="281"/>
                </a:cxn>
                <a:cxn ang="0">
                  <a:pos x="208" y="295"/>
                </a:cxn>
                <a:cxn ang="0">
                  <a:pos x="179" y="303"/>
                </a:cxn>
                <a:cxn ang="0">
                  <a:pos x="145" y="306"/>
                </a:cxn>
                <a:cxn ang="0">
                  <a:pos x="113" y="303"/>
                </a:cxn>
                <a:cxn ang="0">
                  <a:pos x="84" y="295"/>
                </a:cxn>
                <a:cxn ang="0">
                  <a:pos x="59" y="281"/>
                </a:cxn>
                <a:cxn ang="0">
                  <a:pos x="38" y="261"/>
                </a:cxn>
                <a:cxn ang="0">
                  <a:pos x="23" y="239"/>
                </a:cxn>
                <a:cxn ang="0">
                  <a:pos x="10" y="214"/>
                </a:cxn>
                <a:cxn ang="0">
                  <a:pos x="3" y="185"/>
                </a:cxn>
                <a:cxn ang="0">
                  <a:pos x="0" y="154"/>
                </a:cxn>
                <a:cxn ang="0">
                  <a:pos x="3" y="123"/>
                </a:cxn>
                <a:cxn ang="0">
                  <a:pos x="10" y="94"/>
                </a:cxn>
                <a:cxn ang="0">
                  <a:pos x="23" y="67"/>
                </a:cxn>
                <a:cxn ang="0">
                  <a:pos x="38" y="45"/>
                </a:cxn>
                <a:cxn ang="0">
                  <a:pos x="59" y="27"/>
                </a:cxn>
                <a:cxn ang="0">
                  <a:pos x="84" y="13"/>
                </a:cxn>
                <a:cxn ang="0">
                  <a:pos x="113" y="3"/>
                </a:cxn>
                <a:cxn ang="0">
                  <a:pos x="145" y="0"/>
                </a:cxn>
                <a:cxn ang="0">
                  <a:pos x="145" y="240"/>
                </a:cxn>
                <a:cxn ang="0">
                  <a:pos x="165" y="238"/>
                </a:cxn>
                <a:cxn ang="0">
                  <a:pos x="180" y="231"/>
                </a:cxn>
                <a:cxn ang="0">
                  <a:pos x="193" y="219"/>
                </a:cxn>
                <a:cxn ang="0">
                  <a:pos x="203" y="206"/>
                </a:cxn>
                <a:cxn ang="0">
                  <a:pos x="210" y="190"/>
                </a:cxn>
                <a:cxn ang="0">
                  <a:pos x="213" y="172"/>
                </a:cxn>
                <a:cxn ang="0">
                  <a:pos x="214" y="154"/>
                </a:cxn>
                <a:cxn ang="0">
                  <a:pos x="213" y="134"/>
                </a:cxn>
                <a:cxn ang="0">
                  <a:pos x="210" y="118"/>
                </a:cxn>
                <a:cxn ang="0">
                  <a:pos x="203" y="101"/>
                </a:cxn>
                <a:cxn ang="0">
                  <a:pos x="193" y="87"/>
                </a:cxn>
                <a:cxn ang="0">
                  <a:pos x="180" y="76"/>
                </a:cxn>
                <a:cxn ang="0">
                  <a:pos x="165" y="69"/>
                </a:cxn>
                <a:cxn ang="0">
                  <a:pos x="145" y="66"/>
                </a:cxn>
                <a:cxn ang="0">
                  <a:pos x="126" y="69"/>
                </a:cxn>
                <a:cxn ang="0">
                  <a:pos x="111" y="76"/>
                </a:cxn>
                <a:cxn ang="0">
                  <a:pos x="98" y="87"/>
                </a:cxn>
                <a:cxn ang="0">
                  <a:pos x="88" y="101"/>
                </a:cxn>
                <a:cxn ang="0">
                  <a:pos x="83" y="118"/>
                </a:cxn>
                <a:cxn ang="0">
                  <a:pos x="78" y="134"/>
                </a:cxn>
                <a:cxn ang="0">
                  <a:pos x="77" y="154"/>
                </a:cxn>
                <a:cxn ang="0">
                  <a:pos x="78" y="172"/>
                </a:cxn>
                <a:cxn ang="0">
                  <a:pos x="83" y="190"/>
                </a:cxn>
                <a:cxn ang="0">
                  <a:pos x="88" y="206"/>
                </a:cxn>
                <a:cxn ang="0">
                  <a:pos x="98" y="219"/>
                </a:cxn>
                <a:cxn ang="0">
                  <a:pos x="111" y="231"/>
                </a:cxn>
                <a:cxn ang="0">
                  <a:pos x="126" y="238"/>
                </a:cxn>
                <a:cxn ang="0">
                  <a:pos x="145" y="240"/>
                </a:cxn>
              </a:cxnLst>
              <a:rect l="0" t="0" r="r" b="b"/>
              <a:pathLst>
                <a:path w="291" h="306">
                  <a:moveTo>
                    <a:pt x="145" y="0"/>
                  </a:moveTo>
                  <a:lnTo>
                    <a:pt x="179" y="3"/>
                  </a:lnTo>
                  <a:lnTo>
                    <a:pt x="208" y="13"/>
                  </a:lnTo>
                  <a:lnTo>
                    <a:pt x="232" y="27"/>
                  </a:lnTo>
                  <a:lnTo>
                    <a:pt x="253" y="45"/>
                  </a:lnTo>
                  <a:lnTo>
                    <a:pt x="270" y="67"/>
                  </a:lnTo>
                  <a:lnTo>
                    <a:pt x="281" y="94"/>
                  </a:lnTo>
                  <a:lnTo>
                    <a:pt x="288" y="123"/>
                  </a:lnTo>
                  <a:lnTo>
                    <a:pt x="291" y="154"/>
                  </a:lnTo>
                  <a:lnTo>
                    <a:pt x="288" y="185"/>
                  </a:lnTo>
                  <a:lnTo>
                    <a:pt x="281" y="214"/>
                  </a:lnTo>
                  <a:lnTo>
                    <a:pt x="270" y="239"/>
                  </a:lnTo>
                  <a:lnTo>
                    <a:pt x="253" y="261"/>
                  </a:lnTo>
                  <a:lnTo>
                    <a:pt x="232" y="281"/>
                  </a:lnTo>
                  <a:lnTo>
                    <a:pt x="208" y="295"/>
                  </a:lnTo>
                  <a:lnTo>
                    <a:pt x="179" y="303"/>
                  </a:lnTo>
                  <a:lnTo>
                    <a:pt x="145" y="306"/>
                  </a:lnTo>
                  <a:lnTo>
                    <a:pt x="113" y="303"/>
                  </a:lnTo>
                  <a:lnTo>
                    <a:pt x="84" y="295"/>
                  </a:lnTo>
                  <a:lnTo>
                    <a:pt x="59" y="281"/>
                  </a:lnTo>
                  <a:lnTo>
                    <a:pt x="38" y="261"/>
                  </a:lnTo>
                  <a:lnTo>
                    <a:pt x="23" y="239"/>
                  </a:lnTo>
                  <a:lnTo>
                    <a:pt x="10" y="214"/>
                  </a:lnTo>
                  <a:lnTo>
                    <a:pt x="3" y="185"/>
                  </a:lnTo>
                  <a:lnTo>
                    <a:pt x="0" y="154"/>
                  </a:lnTo>
                  <a:lnTo>
                    <a:pt x="3" y="123"/>
                  </a:lnTo>
                  <a:lnTo>
                    <a:pt x="10" y="94"/>
                  </a:lnTo>
                  <a:lnTo>
                    <a:pt x="23" y="67"/>
                  </a:lnTo>
                  <a:lnTo>
                    <a:pt x="38" y="45"/>
                  </a:lnTo>
                  <a:lnTo>
                    <a:pt x="59" y="27"/>
                  </a:lnTo>
                  <a:lnTo>
                    <a:pt x="84" y="13"/>
                  </a:lnTo>
                  <a:lnTo>
                    <a:pt x="113" y="3"/>
                  </a:lnTo>
                  <a:lnTo>
                    <a:pt x="145" y="0"/>
                  </a:lnTo>
                  <a:close/>
                  <a:moveTo>
                    <a:pt x="145" y="240"/>
                  </a:moveTo>
                  <a:lnTo>
                    <a:pt x="165" y="238"/>
                  </a:lnTo>
                  <a:lnTo>
                    <a:pt x="180" y="231"/>
                  </a:lnTo>
                  <a:lnTo>
                    <a:pt x="193" y="219"/>
                  </a:lnTo>
                  <a:lnTo>
                    <a:pt x="203" y="206"/>
                  </a:lnTo>
                  <a:lnTo>
                    <a:pt x="210" y="190"/>
                  </a:lnTo>
                  <a:lnTo>
                    <a:pt x="213" y="172"/>
                  </a:lnTo>
                  <a:lnTo>
                    <a:pt x="214" y="154"/>
                  </a:lnTo>
                  <a:lnTo>
                    <a:pt x="213" y="134"/>
                  </a:lnTo>
                  <a:lnTo>
                    <a:pt x="210" y="118"/>
                  </a:lnTo>
                  <a:lnTo>
                    <a:pt x="203" y="101"/>
                  </a:lnTo>
                  <a:lnTo>
                    <a:pt x="193" y="87"/>
                  </a:lnTo>
                  <a:lnTo>
                    <a:pt x="180" y="76"/>
                  </a:lnTo>
                  <a:lnTo>
                    <a:pt x="165" y="69"/>
                  </a:lnTo>
                  <a:lnTo>
                    <a:pt x="145" y="66"/>
                  </a:lnTo>
                  <a:lnTo>
                    <a:pt x="126" y="69"/>
                  </a:lnTo>
                  <a:lnTo>
                    <a:pt x="111" y="76"/>
                  </a:lnTo>
                  <a:lnTo>
                    <a:pt x="98" y="87"/>
                  </a:lnTo>
                  <a:lnTo>
                    <a:pt x="88" y="101"/>
                  </a:lnTo>
                  <a:lnTo>
                    <a:pt x="83" y="118"/>
                  </a:lnTo>
                  <a:lnTo>
                    <a:pt x="78" y="134"/>
                  </a:lnTo>
                  <a:lnTo>
                    <a:pt x="77" y="154"/>
                  </a:lnTo>
                  <a:lnTo>
                    <a:pt x="78" y="172"/>
                  </a:lnTo>
                  <a:lnTo>
                    <a:pt x="83" y="190"/>
                  </a:lnTo>
                  <a:lnTo>
                    <a:pt x="88" y="206"/>
                  </a:lnTo>
                  <a:lnTo>
                    <a:pt x="98" y="219"/>
                  </a:lnTo>
                  <a:lnTo>
                    <a:pt x="111" y="231"/>
                  </a:lnTo>
                  <a:lnTo>
                    <a:pt x="126" y="238"/>
                  </a:lnTo>
                  <a:lnTo>
                    <a:pt x="145" y="240"/>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59" name="Freeform 11"/>
            <p:cNvSpPr>
              <a:spLocks noEditPoints="1"/>
            </p:cNvSpPr>
            <p:nvPr/>
          </p:nvSpPr>
          <p:spPr bwMode="auto">
            <a:xfrm>
              <a:off x="8879937" y="6692294"/>
              <a:ext cx="53219" cy="60125"/>
            </a:xfrm>
            <a:custGeom>
              <a:avLst/>
              <a:gdLst/>
              <a:ahLst/>
              <a:cxnLst>
                <a:cxn ang="0">
                  <a:pos x="0" y="0"/>
                </a:cxn>
                <a:cxn ang="0">
                  <a:pos x="150" y="0"/>
                </a:cxn>
                <a:cxn ang="0">
                  <a:pos x="172" y="1"/>
                </a:cxn>
                <a:cxn ang="0">
                  <a:pos x="193" y="5"/>
                </a:cxn>
                <a:cxn ang="0">
                  <a:pos x="213" y="14"/>
                </a:cxn>
                <a:cxn ang="0">
                  <a:pos x="229" y="25"/>
                </a:cxn>
                <a:cxn ang="0">
                  <a:pos x="242" y="40"/>
                </a:cxn>
                <a:cxn ang="0">
                  <a:pos x="250" y="60"/>
                </a:cxn>
                <a:cxn ang="0">
                  <a:pos x="253" y="84"/>
                </a:cxn>
                <a:cxn ang="0">
                  <a:pos x="252" y="102"/>
                </a:cxn>
                <a:cxn ang="0">
                  <a:pos x="246" y="120"/>
                </a:cxn>
                <a:cxn ang="0">
                  <a:pos x="236" y="135"/>
                </a:cxn>
                <a:cxn ang="0">
                  <a:pos x="224" y="148"/>
                </a:cxn>
                <a:cxn ang="0">
                  <a:pos x="207" y="156"/>
                </a:cxn>
                <a:cxn ang="0">
                  <a:pos x="207" y="158"/>
                </a:cxn>
                <a:cxn ang="0">
                  <a:pos x="221" y="163"/>
                </a:cxn>
                <a:cxn ang="0">
                  <a:pos x="231" y="173"/>
                </a:cxn>
                <a:cxn ang="0">
                  <a:pos x="239" y="184"/>
                </a:cxn>
                <a:cxn ang="0">
                  <a:pos x="245" y="198"/>
                </a:cxn>
                <a:cxn ang="0">
                  <a:pos x="248" y="213"/>
                </a:cxn>
                <a:cxn ang="0">
                  <a:pos x="249" y="227"/>
                </a:cxn>
                <a:cxn ang="0">
                  <a:pos x="250" y="239"/>
                </a:cxn>
                <a:cxn ang="0">
                  <a:pos x="252" y="253"/>
                </a:cxn>
                <a:cxn ang="0">
                  <a:pos x="253" y="269"/>
                </a:cxn>
                <a:cxn ang="0">
                  <a:pos x="256" y="285"/>
                </a:cxn>
                <a:cxn ang="0">
                  <a:pos x="262" y="294"/>
                </a:cxn>
                <a:cxn ang="0">
                  <a:pos x="186" y="294"/>
                </a:cxn>
                <a:cxn ang="0">
                  <a:pos x="182" y="285"/>
                </a:cxn>
                <a:cxn ang="0">
                  <a:pos x="179" y="271"/>
                </a:cxn>
                <a:cxn ang="0">
                  <a:pos x="178" y="257"/>
                </a:cxn>
                <a:cxn ang="0">
                  <a:pos x="178" y="247"/>
                </a:cxn>
                <a:cxn ang="0">
                  <a:pos x="176" y="233"/>
                </a:cxn>
                <a:cxn ang="0">
                  <a:pos x="174" y="219"/>
                </a:cxn>
                <a:cxn ang="0">
                  <a:pos x="168" y="206"/>
                </a:cxn>
                <a:cxn ang="0">
                  <a:pos x="161" y="195"/>
                </a:cxn>
                <a:cxn ang="0">
                  <a:pos x="150" y="190"/>
                </a:cxn>
                <a:cxn ang="0">
                  <a:pos x="134" y="187"/>
                </a:cxn>
                <a:cxn ang="0">
                  <a:pos x="76" y="187"/>
                </a:cxn>
                <a:cxn ang="0">
                  <a:pos x="76" y="294"/>
                </a:cxn>
                <a:cxn ang="0">
                  <a:pos x="0" y="294"/>
                </a:cxn>
                <a:cxn ang="0">
                  <a:pos x="0" y="0"/>
                </a:cxn>
                <a:cxn ang="0">
                  <a:pos x="76" y="128"/>
                </a:cxn>
                <a:cxn ang="0">
                  <a:pos x="141" y="128"/>
                </a:cxn>
                <a:cxn ang="0">
                  <a:pos x="157" y="125"/>
                </a:cxn>
                <a:cxn ang="0">
                  <a:pos x="167" y="118"/>
                </a:cxn>
                <a:cxn ang="0">
                  <a:pos x="174" y="109"/>
                </a:cxn>
                <a:cxn ang="0">
                  <a:pos x="176" y="93"/>
                </a:cxn>
                <a:cxn ang="0">
                  <a:pos x="175" y="81"/>
                </a:cxn>
                <a:cxn ang="0">
                  <a:pos x="168" y="72"/>
                </a:cxn>
                <a:cxn ang="0">
                  <a:pos x="160" y="65"/>
                </a:cxn>
                <a:cxn ang="0">
                  <a:pos x="150" y="63"/>
                </a:cxn>
                <a:cxn ang="0">
                  <a:pos x="137" y="61"/>
                </a:cxn>
                <a:cxn ang="0">
                  <a:pos x="76" y="61"/>
                </a:cxn>
                <a:cxn ang="0">
                  <a:pos x="76" y="128"/>
                </a:cxn>
              </a:cxnLst>
              <a:rect l="0" t="0" r="r" b="b"/>
              <a:pathLst>
                <a:path w="262" h="294">
                  <a:moveTo>
                    <a:pt x="0" y="0"/>
                  </a:moveTo>
                  <a:lnTo>
                    <a:pt x="150" y="0"/>
                  </a:lnTo>
                  <a:lnTo>
                    <a:pt x="172" y="1"/>
                  </a:lnTo>
                  <a:lnTo>
                    <a:pt x="193" y="5"/>
                  </a:lnTo>
                  <a:lnTo>
                    <a:pt x="213" y="14"/>
                  </a:lnTo>
                  <a:lnTo>
                    <a:pt x="229" y="25"/>
                  </a:lnTo>
                  <a:lnTo>
                    <a:pt x="242" y="40"/>
                  </a:lnTo>
                  <a:lnTo>
                    <a:pt x="250" y="60"/>
                  </a:lnTo>
                  <a:lnTo>
                    <a:pt x="253" y="84"/>
                  </a:lnTo>
                  <a:lnTo>
                    <a:pt x="252" y="102"/>
                  </a:lnTo>
                  <a:lnTo>
                    <a:pt x="246" y="120"/>
                  </a:lnTo>
                  <a:lnTo>
                    <a:pt x="236" y="135"/>
                  </a:lnTo>
                  <a:lnTo>
                    <a:pt x="224" y="148"/>
                  </a:lnTo>
                  <a:lnTo>
                    <a:pt x="207" y="156"/>
                  </a:lnTo>
                  <a:lnTo>
                    <a:pt x="207" y="158"/>
                  </a:lnTo>
                  <a:lnTo>
                    <a:pt x="221" y="163"/>
                  </a:lnTo>
                  <a:lnTo>
                    <a:pt x="231" y="173"/>
                  </a:lnTo>
                  <a:lnTo>
                    <a:pt x="239" y="184"/>
                  </a:lnTo>
                  <a:lnTo>
                    <a:pt x="245" y="198"/>
                  </a:lnTo>
                  <a:lnTo>
                    <a:pt x="248" y="213"/>
                  </a:lnTo>
                  <a:lnTo>
                    <a:pt x="249" y="227"/>
                  </a:lnTo>
                  <a:lnTo>
                    <a:pt x="250" y="239"/>
                  </a:lnTo>
                  <a:lnTo>
                    <a:pt x="252" y="253"/>
                  </a:lnTo>
                  <a:lnTo>
                    <a:pt x="253" y="269"/>
                  </a:lnTo>
                  <a:lnTo>
                    <a:pt x="256" y="285"/>
                  </a:lnTo>
                  <a:lnTo>
                    <a:pt x="262" y="294"/>
                  </a:lnTo>
                  <a:lnTo>
                    <a:pt x="186" y="294"/>
                  </a:lnTo>
                  <a:lnTo>
                    <a:pt x="182" y="285"/>
                  </a:lnTo>
                  <a:lnTo>
                    <a:pt x="179" y="271"/>
                  </a:lnTo>
                  <a:lnTo>
                    <a:pt x="178" y="257"/>
                  </a:lnTo>
                  <a:lnTo>
                    <a:pt x="178" y="247"/>
                  </a:lnTo>
                  <a:lnTo>
                    <a:pt x="176" y="233"/>
                  </a:lnTo>
                  <a:lnTo>
                    <a:pt x="174" y="219"/>
                  </a:lnTo>
                  <a:lnTo>
                    <a:pt x="168" y="206"/>
                  </a:lnTo>
                  <a:lnTo>
                    <a:pt x="161" y="195"/>
                  </a:lnTo>
                  <a:lnTo>
                    <a:pt x="150" y="190"/>
                  </a:lnTo>
                  <a:lnTo>
                    <a:pt x="134" y="187"/>
                  </a:lnTo>
                  <a:lnTo>
                    <a:pt x="76" y="187"/>
                  </a:lnTo>
                  <a:lnTo>
                    <a:pt x="76" y="294"/>
                  </a:lnTo>
                  <a:lnTo>
                    <a:pt x="0" y="294"/>
                  </a:lnTo>
                  <a:lnTo>
                    <a:pt x="0" y="0"/>
                  </a:lnTo>
                  <a:close/>
                  <a:moveTo>
                    <a:pt x="76" y="128"/>
                  </a:moveTo>
                  <a:lnTo>
                    <a:pt x="141" y="128"/>
                  </a:lnTo>
                  <a:lnTo>
                    <a:pt x="157" y="125"/>
                  </a:lnTo>
                  <a:lnTo>
                    <a:pt x="167" y="118"/>
                  </a:lnTo>
                  <a:lnTo>
                    <a:pt x="174" y="109"/>
                  </a:lnTo>
                  <a:lnTo>
                    <a:pt x="176" y="93"/>
                  </a:lnTo>
                  <a:lnTo>
                    <a:pt x="175" y="81"/>
                  </a:lnTo>
                  <a:lnTo>
                    <a:pt x="168" y="72"/>
                  </a:lnTo>
                  <a:lnTo>
                    <a:pt x="160" y="65"/>
                  </a:lnTo>
                  <a:lnTo>
                    <a:pt x="150" y="63"/>
                  </a:lnTo>
                  <a:lnTo>
                    <a:pt x="137" y="61"/>
                  </a:lnTo>
                  <a:lnTo>
                    <a:pt x="76" y="61"/>
                  </a:lnTo>
                  <a:lnTo>
                    <a:pt x="76" y="128"/>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60" name="Freeform 12"/>
            <p:cNvSpPr>
              <a:spLocks/>
            </p:cNvSpPr>
            <p:nvPr/>
          </p:nvSpPr>
          <p:spPr bwMode="auto">
            <a:xfrm>
              <a:off x="8936812" y="6692294"/>
              <a:ext cx="80438" cy="60125"/>
            </a:xfrm>
            <a:custGeom>
              <a:avLst/>
              <a:gdLst/>
              <a:ahLst/>
              <a:cxnLst>
                <a:cxn ang="0">
                  <a:pos x="315" y="294"/>
                </a:cxn>
                <a:cxn ang="0">
                  <a:pos x="239" y="294"/>
                </a:cxn>
                <a:cxn ang="0">
                  <a:pos x="198" y="92"/>
                </a:cxn>
                <a:cxn ang="0">
                  <a:pos x="158" y="294"/>
                </a:cxn>
                <a:cxn ang="0">
                  <a:pos x="79" y="294"/>
                </a:cxn>
                <a:cxn ang="0">
                  <a:pos x="0" y="0"/>
                </a:cxn>
                <a:cxn ang="0">
                  <a:pos x="77" y="0"/>
                </a:cxn>
                <a:cxn ang="0">
                  <a:pos x="118" y="215"/>
                </a:cxn>
                <a:cxn ang="0">
                  <a:pos x="162" y="0"/>
                </a:cxn>
                <a:cxn ang="0">
                  <a:pos x="234" y="0"/>
                </a:cxn>
                <a:cxn ang="0">
                  <a:pos x="278" y="215"/>
                </a:cxn>
                <a:cxn ang="0">
                  <a:pos x="279" y="215"/>
                </a:cxn>
                <a:cxn ang="0">
                  <a:pos x="320" y="0"/>
                </a:cxn>
                <a:cxn ang="0">
                  <a:pos x="396" y="0"/>
                </a:cxn>
                <a:cxn ang="0">
                  <a:pos x="315" y="294"/>
                </a:cxn>
              </a:cxnLst>
              <a:rect l="0" t="0" r="r" b="b"/>
              <a:pathLst>
                <a:path w="396" h="294">
                  <a:moveTo>
                    <a:pt x="315" y="294"/>
                  </a:moveTo>
                  <a:lnTo>
                    <a:pt x="239" y="294"/>
                  </a:lnTo>
                  <a:lnTo>
                    <a:pt x="198" y="92"/>
                  </a:lnTo>
                  <a:lnTo>
                    <a:pt x="158" y="294"/>
                  </a:lnTo>
                  <a:lnTo>
                    <a:pt x="79" y="294"/>
                  </a:lnTo>
                  <a:lnTo>
                    <a:pt x="0" y="0"/>
                  </a:lnTo>
                  <a:lnTo>
                    <a:pt x="77" y="0"/>
                  </a:lnTo>
                  <a:lnTo>
                    <a:pt x="118" y="215"/>
                  </a:lnTo>
                  <a:lnTo>
                    <a:pt x="162" y="0"/>
                  </a:lnTo>
                  <a:lnTo>
                    <a:pt x="234" y="0"/>
                  </a:lnTo>
                  <a:lnTo>
                    <a:pt x="278" y="215"/>
                  </a:lnTo>
                  <a:lnTo>
                    <a:pt x="279" y="215"/>
                  </a:lnTo>
                  <a:lnTo>
                    <a:pt x="320" y="0"/>
                  </a:lnTo>
                  <a:lnTo>
                    <a:pt x="396" y="0"/>
                  </a:lnTo>
                  <a:lnTo>
                    <a:pt x="315" y="294"/>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61" name="Freeform 13"/>
            <p:cNvSpPr>
              <a:spLocks noEditPoints="1"/>
            </p:cNvSpPr>
            <p:nvPr/>
          </p:nvSpPr>
          <p:spPr bwMode="auto">
            <a:xfrm>
              <a:off x="9017250" y="6692294"/>
              <a:ext cx="60125" cy="60125"/>
            </a:xfrm>
            <a:custGeom>
              <a:avLst/>
              <a:gdLst/>
              <a:ahLst/>
              <a:cxnLst>
                <a:cxn ang="0">
                  <a:pos x="109" y="0"/>
                </a:cxn>
                <a:cxn ang="0">
                  <a:pos x="187" y="0"/>
                </a:cxn>
                <a:cxn ang="0">
                  <a:pos x="298" y="294"/>
                </a:cxn>
                <a:cxn ang="0">
                  <a:pos x="217" y="294"/>
                </a:cxn>
                <a:cxn ang="0">
                  <a:pos x="200" y="241"/>
                </a:cxn>
                <a:cxn ang="0">
                  <a:pos x="96" y="241"/>
                </a:cxn>
                <a:cxn ang="0">
                  <a:pos x="78" y="294"/>
                </a:cxn>
                <a:cxn ang="0">
                  <a:pos x="0" y="294"/>
                </a:cxn>
                <a:cxn ang="0">
                  <a:pos x="109" y="0"/>
                </a:cxn>
                <a:cxn ang="0">
                  <a:pos x="115" y="184"/>
                </a:cxn>
                <a:cxn ang="0">
                  <a:pos x="182" y="184"/>
                </a:cxn>
                <a:cxn ang="0">
                  <a:pos x="148" y="82"/>
                </a:cxn>
                <a:cxn ang="0">
                  <a:pos x="115" y="184"/>
                </a:cxn>
              </a:cxnLst>
              <a:rect l="0" t="0" r="r" b="b"/>
              <a:pathLst>
                <a:path w="298" h="294">
                  <a:moveTo>
                    <a:pt x="109" y="0"/>
                  </a:moveTo>
                  <a:lnTo>
                    <a:pt x="187" y="0"/>
                  </a:lnTo>
                  <a:lnTo>
                    <a:pt x="298" y="294"/>
                  </a:lnTo>
                  <a:lnTo>
                    <a:pt x="217" y="294"/>
                  </a:lnTo>
                  <a:lnTo>
                    <a:pt x="200" y="241"/>
                  </a:lnTo>
                  <a:lnTo>
                    <a:pt x="96" y="241"/>
                  </a:lnTo>
                  <a:lnTo>
                    <a:pt x="78" y="294"/>
                  </a:lnTo>
                  <a:lnTo>
                    <a:pt x="0" y="294"/>
                  </a:lnTo>
                  <a:lnTo>
                    <a:pt x="109" y="0"/>
                  </a:lnTo>
                  <a:close/>
                  <a:moveTo>
                    <a:pt x="115" y="184"/>
                  </a:moveTo>
                  <a:lnTo>
                    <a:pt x="182" y="184"/>
                  </a:lnTo>
                  <a:lnTo>
                    <a:pt x="148" y="82"/>
                  </a:lnTo>
                  <a:lnTo>
                    <a:pt x="115" y="184"/>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62" name="Freeform 14"/>
            <p:cNvSpPr>
              <a:spLocks noEditPoints="1"/>
            </p:cNvSpPr>
            <p:nvPr/>
          </p:nvSpPr>
          <p:spPr bwMode="auto">
            <a:xfrm>
              <a:off x="9085094" y="6692294"/>
              <a:ext cx="53219" cy="60125"/>
            </a:xfrm>
            <a:custGeom>
              <a:avLst/>
              <a:gdLst/>
              <a:ahLst/>
              <a:cxnLst>
                <a:cxn ang="0">
                  <a:pos x="0" y="0"/>
                </a:cxn>
                <a:cxn ang="0">
                  <a:pos x="151" y="0"/>
                </a:cxn>
                <a:cxn ang="0">
                  <a:pos x="173" y="1"/>
                </a:cxn>
                <a:cxn ang="0">
                  <a:pos x="194" y="5"/>
                </a:cxn>
                <a:cxn ang="0">
                  <a:pos x="214" y="14"/>
                </a:cxn>
                <a:cxn ang="0">
                  <a:pos x="231" y="25"/>
                </a:cxn>
                <a:cxn ang="0">
                  <a:pos x="243" y="40"/>
                </a:cxn>
                <a:cxn ang="0">
                  <a:pos x="252" y="60"/>
                </a:cxn>
                <a:cxn ang="0">
                  <a:pos x="254" y="84"/>
                </a:cxn>
                <a:cxn ang="0">
                  <a:pos x="253" y="102"/>
                </a:cxn>
                <a:cxn ang="0">
                  <a:pos x="248" y="120"/>
                </a:cxn>
                <a:cxn ang="0">
                  <a:pos x="238" y="135"/>
                </a:cxn>
                <a:cxn ang="0">
                  <a:pos x="224" y="148"/>
                </a:cxn>
                <a:cxn ang="0">
                  <a:pos x="207" y="156"/>
                </a:cxn>
                <a:cxn ang="0">
                  <a:pos x="207" y="158"/>
                </a:cxn>
                <a:cxn ang="0">
                  <a:pos x="221" y="163"/>
                </a:cxn>
                <a:cxn ang="0">
                  <a:pos x="232" y="173"/>
                </a:cxn>
                <a:cxn ang="0">
                  <a:pos x="239" y="184"/>
                </a:cxn>
                <a:cxn ang="0">
                  <a:pos x="245" y="198"/>
                </a:cxn>
                <a:cxn ang="0">
                  <a:pos x="249" y="213"/>
                </a:cxn>
                <a:cxn ang="0">
                  <a:pos x="250" y="227"/>
                </a:cxn>
                <a:cxn ang="0">
                  <a:pos x="252" y="239"/>
                </a:cxn>
                <a:cxn ang="0">
                  <a:pos x="253" y="253"/>
                </a:cxn>
                <a:cxn ang="0">
                  <a:pos x="254" y="269"/>
                </a:cxn>
                <a:cxn ang="0">
                  <a:pos x="257" y="285"/>
                </a:cxn>
                <a:cxn ang="0">
                  <a:pos x="263" y="294"/>
                </a:cxn>
                <a:cxn ang="0">
                  <a:pos x="187" y="294"/>
                </a:cxn>
                <a:cxn ang="0">
                  <a:pos x="183" y="285"/>
                </a:cxn>
                <a:cxn ang="0">
                  <a:pos x="180" y="271"/>
                </a:cxn>
                <a:cxn ang="0">
                  <a:pos x="179" y="257"/>
                </a:cxn>
                <a:cxn ang="0">
                  <a:pos x="179" y="247"/>
                </a:cxn>
                <a:cxn ang="0">
                  <a:pos x="178" y="233"/>
                </a:cxn>
                <a:cxn ang="0">
                  <a:pos x="175" y="219"/>
                </a:cxn>
                <a:cxn ang="0">
                  <a:pos x="169" y="206"/>
                </a:cxn>
                <a:cxn ang="0">
                  <a:pos x="162" y="195"/>
                </a:cxn>
                <a:cxn ang="0">
                  <a:pos x="151" y="190"/>
                </a:cxn>
                <a:cxn ang="0">
                  <a:pos x="136" y="187"/>
                </a:cxn>
                <a:cxn ang="0">
                  <a:pos x="77" y="187"/>
                </a:cxn>
                <a:cxn ang="0">
                  <a:pos x="77" y="294"/>
                </a:cxn>
                <a:cxn ang="0">
                  <a:pos x="0" y="294"/>
                </a:cxn>
                <a:cxn ang="0">
                  <a:pos x="0" y="0"/>
                </a:cxn>
                <a:cxn ang="0">
                  <a:pos x="77" y="128"/>
                </a:cxn>
                <a:cxn ang="0">
                  <a:pos x="141" y="128"/>
                </a:cxn>
                <a:cxn ang="0">
                  <a:pos x="157" y="125"/>
                </a:cxn>
                <a:cxn ang="0">
                  <a:pos x="168" y="118"/>
                </a:cxn>
                <a:cxn ang="0">
                  <a:pos x="175" y="109"/>
                </a:cxn>
                <a:cxn ang="0">
                  <a:pos x="178" y="93"/>
                </a:cxn>
                <a:cxn ang="0">
                  <a:pos x="176" y="81"/>
                </a:cxn>
                <a:cxn ang="0">
                  <a:pos x="169" y="72"/>
                </a:cxn>
                <a:cxn ang="0">
                  <a:pos x="161" y="65"/>
                </a:cxn>
                <a:cxn ang="0">
                  <a:pos x="151" y="63"/>
                </a:cxn>
                <a:cxn ang="0">
                  <a:pos x="139" y="61"/>
                </a:cxn>
                <a:cxn ang="0">
                  <a:pos x="77" y="61"/>
                </a:cxn>
                <a:cxn ang="0">
                  <a:pos x="77" y="128"/>
                </a:cxn>
              </a:cxnLst>
              <a:rect l="0" t="0" r="r" b="b"/>
              <a:pathLst>
                <a:path w="263" h="294">
                  <a:moveTo>
                    <a:pt x="0" y="0"/>
                  </a:moveTo>
                  <a:lnTo>
                    <a:pt x="151" y="0"/>
                  </a:lnTo>
                  <a:lnTo>
                    <a:pt x="173" y="1"/>
                  </a:lnTo>
                  <a:lnTo>
                    <a:pt x="194" y="5"/>
                  </a:lnTo>
                  <a:lnTo>
                    <a:pt x="214" y="14"/>
                  </a:lnTo>
                  <a:lnTo>
                    <a:pt x="231" y="25"/>
                  </a:lnTo>
                  <a:lnTo>
                    <a:pt x="243" y="40"/>
                  </a:lnTo>
                  <a:lnTo>
                    <a:pt x="252" y="60"/>
                  </a:lnTo>
                  <a:lnTo>
                    <a:pt x="254" y="84"/>
                  </a:lnTo>
                  <a:lnTo>
                    <a:pt x="253" y="102"/>
                  </a:lnTo>
                  <a:lnTo>
                    <a:pt x="248" y="120"/>
                  </a:lnTo>
                  <a:lnTo>
                    <a:pt x="238" y="135"/>
                  </a:lnTo>
                  <a:lnTo>
                    <a:pt x="224" y="148"/>
                  </a:lnTo>
                  <a:lnTo>
                    <a:pt x="207" y="156"/>
                  </a:lnTo>
                  <a:lnTo>
                    <a:pt x="207" y="158"/>
                  </a:lnTo>
                  <a:lnTo>
                    <a:pt x="221" y="163"/>
                  </a:lnTo>
                  <a:lnTo>
                    <a:pt x="232" y="173"/>
                  </a:lnTo>
                  <a:lnTo>
                    <a:pt x="239" y="184"/>
                  </a:lnTo>
                  <a:lnTo>
                    <a:pt x="245" y="198"/>
                  </a:lnTo>
                  <a:lnTo>
                    <a:pt x="249" y="213"/>
                  </a:lnTo>
                  <a:lnTo>
                    <a:pt x="250" y="227"/>
                  </a:lnTo>
                  <a:lnTo>
                    <a:pt x="252" y="239"/>
                  </a:lnTo>
                  <a:lnTo>
                    <a:pt x="253" y="253"/>
                  </a:lnTo>
                  <a:lnTo>
                    <a:pt x="254" y="269"/>
                  </a:lnTo>
                  <a:lnTo>
                    <a:pt x="257" y="285"/>
                  </a:lnTo>
                  <a:lnTo>
                    <a:pt x="263" y="294"/>
                  </a:lnTo>
                  <a:lnTo>
                    <a:pt x="187" y="294"/>
                  </a:lnTo>
                  <a:lnTo>
                    <a:pt x="183" y="285"/>
                  </a:lnTo>
                  <a:lnTo>
                    <a:pt x="180" y="271"/>
                  </a:lnTo>
                  <a:lnTo>
                    <a:pt x="179" y="257"/>
                  </a:lnTo>
                  <a:lnTo>
                    <a:pt x="179" y="247"/>
                  </a:lnTo>
                  <a:lnTo>
                    <a:pt x="178" y="233"/>
                  </a:lnTo>
                  <a:lnTo>
                    <a:pt x="175" y="219"/>
                  </a:lnTo>
                  <a:lnTo>
                    <a:pt x="169" y="206"/>
                  </a:lnTo>
                  <a:lnTo>
                    <a:pt x="162" y="195"/>
                  </a:lnTo>
                  <a:lnTo>
                    <a:pt x="151" y="190"/>
                  </a:lnTo>
                  <a:lnTo>
                    <a:pt x="136" y="187"/>
                  </a:lnTo>
                  <a:lnTo>
                    <a:pt x="77" y="187"/>
                  </a:lnTo>
                  <a:lnTo>
                    <a:pt x="77" y="294"/>
                  </a:lnTo>
                  <a:lnTo>
                    <a:pt x="0" y="294"/>
                  </a:lnTo>
                  <a:lnTo>
                    <a:pt x="0" y="0"/>
                  </a:lnTo>
                  <a:close/>
                  <a:moveTo>
                    <a:pt x="77" y="128"/>
                  </a:moveTo>
                  <a:lnTo>
                    <a:pt x="141" y="128"/>
                  </a:lnTo>
                  <a:lnTo>
                    <a:pt x="157" y="125"/>
                  </a:lnTo>
                  <a:lnTo>
                    <a:pt x="168" y="118"/>
                  </a:lnTo>
                  <a:lnTo>
                    <a:pt x="175" y="109"/>
                  </a:lnTo>
                  <a:lnTo>
                    <a:pt x="178" y="93"/>
                  </a:lnTo>
                  <a:lnTo>
                    <a:pt x="176" y="81"/>
                  </a:lnTo>
                  <a:lnTo>
                    <a:pt x="169" y="72"/>
                  </a:lnTo>
                  <a:lnTo>
                    <a:pt x="161" y="65"/>
                  </a:lnTo>
                  <a:lnTo>
                    <a:pt x="151" y="63"/>
                  </a:lnTo>
                  <a:lnTo>
                    <a:pt x="139" y="61"/>
                  </a:lnTo>
                  <a:lnTo>
                    <a:pt x="77" y="61"/>
                  </a:lnTo>
                  <a:lnTo>
                    <a:pt x="77" y="128"/>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63" name="Freeform 15"/>
            <p:cNvSpPr>
              <a:spLocks noEditPoints="1"/>
            </p:cNvSpPr>
            <p:nvPr/>
          </p:nvSpPr>
          <p:spPr bwMode="auto">
            <a:xfrm>
              <a:off x="9148875" y="6692294"/>
              <a:ext cx="55250" cy="60125"/>
            </a:xfrm>
            <a:custGeom>
              <a:avLst/>
              <a:gdLst/>
              <a:ahLst/>
              <a:cxnLst>
                <a:cxn ang="0">
                  <a:pos x="0" y="0"/>
                </a:cxn>
                <a:cxn ang="0">
                  <a:pos x="127" y="0"/>
                </a:cxn>
                <a:cxn ang="0">
                  <a:pos x="159" y="3"/>
                </a:cxn>
                <a:cxn ang="0">
                  <a:pos x="187" y="10"/>
                </a:cxn>
                <a:cxn ang="0">
                  <a:pos x="212" y="22"/>
                </a:cxn>
                <a:cxn ang="0">
                  <a:pos x="231" y="39"/>
                </a:cxn>
                <a:cxn ang="0">
                  <a:pos x="248" y="60"/>
                </a:cxn>
                <a:cxn ang="0">
                  <a:pos x="261" y="85"/>
                </a:cxn>
                <a:cxn ang="0">
                  <a:pos x="268" y="114"/>
                </a:cxn>
                <a:cxn ang="0">
                  <a:pos x="271" y="146"/>
                </a:cxn>
                <a:cxn ang="0">
                  <a:pos x="268" y="180"/>
                </a:cxn>
                <a:cxn ang="0">
                  <a:pos x="261" y="211"/>
                </a:cxn>
                <a:cxn ang="0">
                  <a:pos x="248" y="236"/>
                </a:cxn>
                <a:cxn ang="0">
                  <a:pos x="231" y="257"/>
                </a:cxn>
                <a:cxn ang="0">
                  <a:pos x="212" y="274"/>
                </a:cxn>
                <a:cxn ang="0">
                  <a:pos x="187" y="285"/>
                </a:cxn>
                <a:cxn ang="0">
                  <a:pos x="159" y="292"/>
                </a:cxn>
                <a:cxn ang="0">
                  <a:pos x="127" y="294"/>
                </a:cxn>
                <a:cxn ang="0">
                  <a:pos x="0" y="294"/>
                </a:cxn>
                <a:cxn ang="0">
                  <a:pos x="0" y="0"/>
                </a:cxn>
                <a:cxn ang="0">
                  <a:pos x="266" y="145"/>
                </a:cxn>
                <a:cxn ang="0">
                  <a:pos x="76" y="42"/>
                </a:cxn>
                <a:cxn ang="0">
                  <a:pos x="76" y="253"/>
                </a:cxn>
                <a:cxn ang="0">
                  <a:pos x="266" y="145"/>
                </a:cxn>
              </a:cxnLst>
              <a:rect l="0" t="0" r="r" b="b"/>
              <a:pathLst>
                <a:path w="271" h="294">
                  <a:moveTo>
                    <a:pt x="0" y="0"/>
                  </a:moveTo>
                  <a:lnTo>
                    <a:pt x="127" y="0"/>
                  </a:lnTo>
                  <a:lnTo>
                    <a:pt x="159" y="3"/>
                  </a:lnTo>
                  <a:lnTo>
                    <a:pt x="187" y="10"/>
                  </a:lnTo>
                  <a:lnTo>
                    <a:pt x="212" y="22"/>
                  </a:lnTo>
                  <a:lnTo>
                    <a:pt x="231" y="39"/>
                  </a:lnTo>
                  <a:lnTo>
                    <a:pt x="248" y="60"/>
                  </a:lnTo>
                  <a:lnTo>
                    <a:pt x="261" y="85"/>
                  </a:lnTo>
                  <a:lnTo>
                    <a:pt x="268" y="114"/>
                  </a:lnTo>
                  <a:lnTo>
                    <a:pt x="271" y="146"/>
                  </a:lnTo>
                  <a:lnTo>
                    <a:pt x="268" y="180"/>
                  </a:lnTo>
                  <a:lnTo>
                    <a:pt x="261" y="211"/>
                  </a:lnTo>
                  <a:lnTo>
                    <a:pt x="248" y="236"/>
                  </a:lnTo>
                  <a:lnTo>
                    <a:pt x="231" y="257"/>
                  </a:lnTo>
                  <a:lnTo>
                    <a:pt x="212" y="274"/>
                  </a:lnTo>
                  <a:lnTo>
                    <a:pt x="187" y="285"/>
                  </a:lnTo>
                  <a:lnTo>
                    <a:pt x="159" y="292"/>
                  </a:lnTo>
                  <a:lnTo>
                    <a:pt x="127" y="294"/>
                  </a:lnTo>
                  <a:lnTo>
                    <a:pt x="0" y="294"/>
                  </a:lnTo>
                  <a:lnTo>
                    <a:pt x="0" y="0"/>
                  </a:lnTo>
                  <a:close/>
                  <a:moveTo>
                    <a:pt x="266" y="145"/>
                  </a:moveTo>
                  <a:lnTo>
                    <a:pt x="76" y="42"/>
                  </a:lnTo>
                  <a:lnTo>
                    <a:pt x="76" y="253"/>
                  </a:lnTo>
                  <a:lnTo>
                    <a:pt x="266" y="145"/>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64" name="Freeform 16"/>
            <p:cNvSpPr>
              <a:spLocks/>
            </p:cNvSpPr>
            <p:nvPr/>
          </p:nvSpPr>
          <p:spPr bwMode="auto">
            <a:xfrm>
              <a:off x="9241094" y="6676450"/>
              <a:ext cx="28844" cy="76375"/>
            </a:xfrm>
            <a:custGeom>
              <a:avLst/>
              <a:gdLst/>
              <a:ahLst/>
              <a:cxnLst>
                <a:cxn ang="0">
                  <a:pos x="87" y="87"/>
                </a:cxn>
                <a:cxn ang="0">
                  <a:pos x="144" y="87"/>
                </a:cxn>
                <a:cxn ang="0">
                  <a:pos x="144" y="116"/>
                </a:cxn>
                <a:cxn ang="0">
                  <a:pos x="87" y="116"/>
                </a:cxn>
                <a:cxn ang="0">
                  <a:pos x="87" y="323"/>
                </a:cxn>
                <a:cxn ang="0">
                  <a:pos x="90" y="333"/>
                </a:cxn>
                <a:cxn ang="0">
                  <a:pos x="94" y="341"/>
                </a:cxn>
                <a:cxn ang="0">
                  <a:pos x="102" y="345"/>
                </a:cxn>
                <a:cxn ang="0">
                  <a:pos x="115" y="348"/>
                </a:cxn>
                <a:cxn ang="0">
                  <a:pos x="144" y="347"/>
                </a:cxn>
                <a:cxn ang="0">
                  <a:pos x="144" y="376"/>
                </a:cxn>
                <a:cxn ang="0">
                  <a:pos x="129" y="377"/>
                </a:cxn>
                <a:cxn ang="0">
                  <a:pos x="113" y="377"/>
                </a:cxn>
                <a:cxn ang="0">
                  <a:pos x="92" y="376"/>
                </a:cxn>
                <a:cxn ang="0">
                  <a:pos x="77" y="372"/>
                </a:cxn>
                <a:cxn ang="0">
                  <a:pos x="64" y="363"/>
                </a:cxn>
                <a:cxn ang="0">
                  <a:pos x="56" y="351"/>
                </a:cxn>
                <a:cxn ang="0">
                  <a:pos x="52" y="335"/>
                </a:cxn>
                <a:cxn ang="0">
                  <a:pos x="50" y="313"/>
                </a:cxn>
                <a:cxn ang="0">
                  <a:pos x="50" y="116"/>
                </a:cxn>
                <a:cxn ang="0">
                  <a:pos x="0" y="116"/>
                </a:cxn>
                <a:cxn ang="0">
                  <a:pos x="0" y="87"/>
                </a:cxn>
                <a:cxn ang="0">
                  <a:pos x="50" y="87"/>
                </a:cxn>
                <a:cxn ang="0">
                  <a:pos x="50" y="0"/>
                </a:cxn>
                <a:cxn ang="0">
                  <a:pos x="87" y="0"/>
                </a:cxn>
                <a:cxn ang="0">
                  <a:pos x="87" y="87"/>
                </a:cxn>
              </a:cxnLst>
              <a:rect l="0" t="0" r="r" b="b"/>
              <a:pathLst>
                <a:path w="144" h="377">
                  <a:moveTo>
                    <a:pt x="87" y="87"/>
                  </a:moveTo>
                  <a:lnTo>
                    <a:pt x="144" y="87"/>
                  </a:lnTo>
                  <a:lnTo>
                    <a:pt x="144" y="116"/>
                  </a:lnTo>
                  <a:lnTo>
                    <a:pt x="87" y="116"/>
                  </a:lnTo>
                  <a:lnTo>
                    <a:pt x="87" y="323"/>
                  </a:lnTo>
                  <a:lnTo>
                    <a:pt x="90" y="333"/>
                  </a:lnTo>
                  <a:lnTo>
                    <a:pt x="94" y="341"/>
                  </a:lnTo>
                  <a:lnTo>
                    <a:pt x="102" y="345"/>
                  </a:lnTo>
                  <a:lnTo>
                    <a:pt x="115" y="348"/>
                  </a:lnTo>
                  <a:lnTo>
                    <a:pt x="144" y="347"/>
                  </a:lnTo>
                  <a:lnTo>
                    <a:pt x="144" y="376"/>
                  </a:lnTo>
                  <a:lnTo>
                    <a:pt x="129" y="377"/>
                  </a:lnTo>
                  <a:lnTo>
                    <a:pt x="113" y="377"/>
                  </a:lnTo>
                  <a:lnTo>
                    <a:pt x="92" y="376"/>
                  </a:lnTo>
                  <a:lnTo>
                    <a:pt x="77" y="372"/>
                  </a:lnTo>
                  <a:lnTo>
                    <a:pt x="64" y="363"/>
                  </a:lnTo>
                  <a:lnTo>
                    <a:pt x="56" y="351"/>
                  </a:lnTo>
                  <a:lnTo>
                    <a:pt x="52" y="335"/>
                  </a:lnTo>
                  <a:lnTo>
                    <a:pt x="50" y="313"/>
                  </a:lnTo>
                  <a:lnTo>
                    <a:pt x="50" y="116"/>
                  </a:lnTo>
                  <a:lnTo>
                    <a:pt x="0" y="116"/>
                  </a:lnTo>
                  <a:lnTo>
                    <a:pt x="0" y="87"/>
                  </a:lnTo>
                  <a:lnTo>
                    <a:pt x="50" y="87"/>
                  </a:lnTo>
                  <a:lnTo>
                    <a:pt x="50" y="0"/>
                  </a:lnTo>
                  <a:lnTo>
                    <a:pt x="87" y="0"/>
                  </a:lnTo>
                  <a:lnTo>
                    <a:pt x="87" y="87"/>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65" name="Freeform 17"/>
            <p:cNvSpPr>
              <a:spLocks/>
            </p:cNvSpPr>
            <p:nvPr/>
          </p:nvSpPr>
          <p:spPr bwMode="auto">
            <a:xfrm>
              <a:off x="9291875" y="6671575"/>
              <a:ext cx="47125" cy="80844"/>
            </a:xfrm>
            <a:custGeom>
              <a:avLst/>
              <a:gdLst/>
              <a:ahLst/>
              <a:cxnLst>
                <a:cxn ang="0">
                  <a:pos x="0" y="0"/>
                </a:cxn>
                <a:cxn ang="0">
                  <a:pos x="35" y="0"/>
                </a:cxn>
                <a:cxn ang="0">
                  <a:pos x="35" y="160"/>
                </a:cxn>
                <a:cxn ang="0">
                  <a:pos x="36" y="160"/>
                </a:cxn>
                <a:cxn ang="0">
                  <a:pos x="48" y="141"/>
                </a:cxn>
                <a:cxn ang="0">
                  <a:pos x="63" y="125"/>
                </a:cxn>
                <a:cxn ang="0">
                  <a:pos x="83" y="114"/>
                </a:cxn>
                <a:cxn ang="0">
                  <a:pos x="105" y="105"/>
                </a:cxn>
                <a:cxn ang="0">
                  <a:pos x="129" y="102"/>
                </a:cxn>
                <a:cxn ang="0">
                  <a:pos x="157" y="104"/>
                </a:cxn>
                <a:cxn ang="0">
                  <a:pos x="179" y="109"/>
                </a:cxn>
                <a:cxn ang="0">
                  <a:pos x="197" y="119"/>
                </a:cxn>
                <a:cxn ang="0">
                  <a:pos x="211" y="132"/>
                </a:cxn>
                <a:cxn ang="0">
                  <a:pos x="222" y="147"/>
                </a:cxn>
                <a:cxn ang="0">
                  <a:pos x="228" y="167"/>
                </a:cxn>
                <a:cxn ang="0">
                  <a:pos x="232" y="189"/>
                </a:cxn>
                <a:cxn ang="0">
                  <a:pos x="233" y="213"/>
                </a:cxn>
                <a:cxn ang="0">
                  <a:pos x="233" y="398"/>
                </a:cxn>
                <a:cxn ang="0">
                  <a:pos x="198" y="398"/>
                </a:cxn>
                <a:cxn ang="0">
                  <a:pos x="198" y="218"/>
                </a:cxn>
                <a:cxn ang="0">
                  <a:pos x="197" y="199"/>
                </a:cxn>
                <a:cxn ang="0">
                  <a:pos x="194" y="179"/>
                </a:cxn>
                <a:cxn ang="0">
                  <a:pos x="187" y="164"/>
                </a:cxn>
                <a:cxn ang="0">
                  <a:pos x="179" y="150"/>
                </a:cxn>
                <a:cxn ang="0">
                  <a:pos x="165" y="140"/>
                </a:cxn>
                <a:cxn ang="0">
                  <a:pos x="148" y="134"/>
                </a:cxn>
                <a:cxn ang="0">
                  <a:pos x="126" y="132"/>
                </a:cxn>
                <a:cxn ang="0">
                  <a:pos x="99" y="134"/>
                </a:cxn>
                <a:cxn ang="0">
                  <a:pos x="78" y="144"/>
                </a:cxn>
                <a:cxn ang="0">
                  <a:pos x="60" y="160"/>
                </a:cxn>
                <a:cxn ang="0">
                  <a:pos x="46" y="179"/>
                </a:cxn>
                <a:cxn ang="0">
                  <a:pos x="38" y="204"/>
                </a:cxn>
                <a:cxn ang="0">
                  <a:pos x="35" y="231"/>
                </a:cxn>
                <a:cxn ang="0">
                  <a:pos x="35" y="398"/>
                </a:cxn>
                <a:cxn ang="0">
                  <a:pos x="0" y="398"/>
                </a:cxn>
                <a:cxn ang="0">
                  <a:pos x="0" y="0"/>
                </a:cxn>
              </a:cxnLst>
              <a:rect l="0" t="0" r="r" b="b"/>
              <a:pathLst>
                <a:path w="233" h="398">
                  <a:moveTo>
                    <a:pt x="0" y="0"/>
                  </a:moveTo>
                  <a:lnTo>
                    <a:pt x="35" y="0"/>
                  </a:lnTo>
                  <a:lnTo>
                    <a:pt x="35" y="160"/>
                  </a:lnTo>
                  <a:lnTo>
                    <a:pt x="36" y="160"/>
                  </a:lnTo>
                  <a:lnTo>
                    <a:pt x="48" y="141"/>
                  </a:lnTo>
                  <a:lnTo>
                    <a:pt x="63" y="125"/>
                  </a:lnTo>
                  <a:lnTo>
                    <a:pt x="83" y="114"/>
                  </a:lnTo>
                  <a:lnTo>
                    <a:pt x="105" y="105"/>
                  </a:lnTo>
                  <a:lnTo>
                    <a:pt x="129" y="102"/>
                  </a:lnTo>
                  <a:lnTo>
                    <a:pt x="157" y="104"/>
                  </a:lnTo>
                  <a:lnTo>
                    <a:pt x="179" y="109"/>
                  </a:lnTo>
                  <a:lnTo>
                    <a:pt x="197" y="119"/>
                  </a:lnTo>
                  <a:lnTo>
                    <a:pt x="211" y="132"/>
                  </a:lnTo>
                  <a:lnTo>
                    <a:pt x="222" y="147"/>
                  </a:lnTo>
                  <a:lnTo>
                    <a:pt x="228" y="167"/>
                  </a:lnTo>
                  <a:lnTo>
                    <a:pt x="232" y="189"/>
                  </a:lnTo>
                  <a:lnTo>
                    <a:pt x="233" y="213"/>
                  </a:lnTo>
                  <a:lnTo>
                    <a:pt x="233" y="398"/>
                  </a:lnTo>
                  <a:lnTo>
                    <a:pt x="198" y="398"/>
                  </a:lnTo>
                  <a:lnTo>
                    <a:pt x="198" y="218"/>
                  </a:lnTo>
                  <a:lnTo>
                    <a:pt x="197" y="199"/>
                  </a:lnTo>
                  <a:lnTo>
                    <a:pt x="194" y="179"/>
                  </a:lnTo>
                  <a:lnTo>
                    <a:pt x="187" y="164"/>
                  </a:lnTo>
                  <a:lnTo>
                    <a:pt x="179" y="150"/>
                  </a:lnTo>
                  <a:lnTo>
                    <a:pt x="165" y="140"/>
                  </a:lnTo>
                  <a:lnTo>
                    <a:pt x="148" y="134"/>
                  </a:lnTo>
                  <a:lnTo>
                    <a:pt x="126" y="132"/>
                  </a:lnTo>
                  <a:lnTo>
                    <a:pt x="99" y="134"/>
                  </a:lnTo>
                  <a:lnTo>
                    <a:pt x="78" y="144"/>
                  </a:lnTo>
                  <a:lnTo>
                    <a:pt x="60" y="160"/>
                  </a:lnTo>
                  <a:lnTo>
                    <a:pt x="46" y="179"/>
                  </a:lnTo>
                  <a:lnTo>
                    <a:pt x="38" y="204"/>
                  </a:lnTo>
                  <a:lnTo>
                    <a:pt x="35" y="231"/>
                  </a:lnTo>
                  <a:lnTo>
                    <a:pt x="35" y="398"/>
                  </a:lnTo>
                  <a:lnTo>
                    <a:pt x="0" y="398"/>
                  </a:lnTo>
                  <a:lnTo>
                    <a:pt x="0" y="0"/>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66" name="Freeform 18"/>
            <p:cNvSpPr>
              <a:spLocks noEditPoints="1"/>
            </p:cNvSpPr>
            <p:nvPr/>
          </p:nvSpPr>
          <p:spPr bwMode="auto">
            <a:xfrm>
              <a:off x="9364187" y="6671575"/>
              <a:ext cx="6906" cy="80844"/>
            </a:xfrm>
            <a:custGeom>
              <a:avLst/>
              <a:gdLst/>
              <a:ahLst/>
              <a:cxnLst>
                <a:cxn ang="0">
                  <a:pos x="0" y="0"/>
                </a:cxn>
                <a:cxn ang="0">
                  <a:pos x="35" y="0"/>
                </a:cxn>
                <a:cxn ang="0">
                  <a:pos x="35" y="56"/>
                </a:cxn>
                <a:cxn ang="0">
                  <a:pos x="0" y="56"/>
                </a:cxn>
                <a:cxn ang="0">
                  <a:pos x="0" y="0"/>
                </a:cxn>
                <a:cxn ang="0">
                  <a:pos x="0" y="111"/>
                </a:cxn>
                <a:cxn ang="0">
                  <a:pos x="35" y="111"/>
                </a:cxn>
                <a:cxn ang="0">
                  <a:pos x="35" y="398"/>
                </a:cxn>
                <a:cxn ang="0">
                  <a:pos x="0" y="398"/>
                </a:cxn>
                <a:cxn ang="0">
                  <a:pos x="0" y="111"/>
                </a:cxn>
              </a:cxnLst>
              <a:rect l="0" t="0" r="r" b="b"/>
              <a:pathLst>
                <a:path w="35" h="398">
                  <a:moveTo>
                    <a:pt x="0" y="0"/>
                  </a:moveTo>
                  <a:lnTo>
                    <a:pt x="35" y="0"/>
                  </a:lnTo>
                  <a:lnTo>
                    <a:pt x="35" y="56"/>
                  </a:lnTo>
                  <a:lnTo>
                    <a:pt x="0" y="56"/>
                  </a:lnTo>
                  <a:lnTo>
                    <a:pt x="0" y="0"/>
                  </a:lnTo>
                  <a:close/>
                  <a:moveTo>
                    <a:pt x="0" y="111"/>
                  </a:moveTo>
                  <a:lnTo>
                    <a:pt x="35" y="111"/>
                  </a:lnTo>
                  <a:lnTo>
                    <a:pt x="35" y="398"/>
                  </a:lnTo>
                  <a:lnTo>
                    <a:pt x="0" y="398"/>
                  </a:lnTo>
                  <a:lnTo>
                    <a:pt x="0" y="111"/>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67" name="Freeform 19"/>
            <p:cNvSpPr>
              <a:spLocks/>
            </p:cNvSpPr>
            <p:nvPr/>
          </p:nvSpPr>
          <p:spPr bwMode="auto">
            <a:xfrm>
              <a:off x="9396281" y="6692294"/>
              <a:ext cx="47125" cy="60125"/>
            </a:xfrm>
            <a:custGeom>
              <a:avLst/>
              <a:gdLst/>
              <a:ahLst/>
              <a:cxnLst>
                <a:cxn ang="0">
                  <a:pos x="0" y="9"/>
                </a:cxn>
                <a:cxn ang="0">
                  <a:pos x="35" y="9"/>
                </a:cxn>
                <a:cxn ang="0">
                  <a:pos x="35" y="58"/>
                </a:cxn>
                <a:cxn ang="0">
                  <a:pos x="36" y="58"/>
                </a:cxn>
                <a:cxn ang="0">
                  <a:pos x="48" y="39"/>
                </a:cxn>
                <a:cxn ang="0">
                  <a:pos x="63" y="23"/>
                </a:cxn>
                <a:cxn ang="0">
                  <a:pos x="83" y="12"/>
                </a:cxn>
                <a:cxn ang="0">
                  <a:pos x="105" y="3"/>
                </a:cxn>
                <a:cxn ang="0">
                  <a:pos x="129" y="0"/>
                </a:cxn>
                <a:cxn ang="0">
                  <a:pos x="157" y="2"/>
                </a:cxn>
                <a:cxn ang="0">
                  <a:pos x="179" y="7"/>
                </a:cxn>
                <a:cxn ang="0">
                  <a:pos x="197" y="17"/>
                </a:cxn>
                <a:cxn ang="0">
                  <a:pos x="211" y="30"/>
                </a:cxn>
                <a:cxn ang="0">
                  <a:pos x="222" y="45"/>
                </a:cxn>
                <a:cxn ang="0">
                  <a:pos x="228" y="65"/>
                </a:cxn>
                <a:cxn ang="0">
                  <a:pos x="232" y="87"/>
                </a:cxn>
                <a:cxn ang="0">
                  <a:pos x="233" y="111"/>
                </a:cxn>
                <a:cxn ang="0">
                  <a:pos x="233" y="296"/>
                </a:cxn>
                <a:cxn ang="0">
                  <a:pos x="198" y="296"/>
                </a:cxn>
                <a:cxn ang="0">
                  <a:pos x="198" y="116"/>
                </a:cxn>
                <a:cxn ang="0">
                  <a:pos x="197" y="97"/>
                </a:cxn>
                <a:cxn ang="0">
                  <a:pos x="194" y="77"/>
                </a:cxn>
                <a:cxn ang="0">
                  <a:pos x="187" y="62"/>
                </a:cxn>
                <a:cxn ang="0">
                  <a:pos x="179" y="48"/>
                </a:cxn>
                <a:cxn ang="0">
                  <a:pos x="165" y="38"/>
                </a:cxn>
                <a:cxn ang="0">
                  <a:pos x="148" y="32"/>
                </a:cxn>
                <a:cxn ang="0">
                  <a:pos x="126" y="30"/>
                </a:cxn>
                <a:cxn ang="0">
                  <a:pos x="99" y="32"/>
                </a:cxn>
                <a:cxn ang="0">
                  <a:pos x="78" y="42"/>
                </a:cxn>
                <a:cxn ang="0">
                  <a:pos x="60" y="58"/>
                </a:cxn>
                <a:cxn ang="0">
                  <a:pos x="46" y="77"/>
                </a:cxn>
                <a:cxn ang="0">
                  <a:pos x="38" y="102"/>
                </a:cxn>
                <a:cxn ang="0">
                  <a:pos x="35" y="129"/>
                </a:cxn>
                <a:cxn ang="0">
                  <a:pos x="35" y="296"/>
                </a:cxn>
                <a:cxn ang="0">
                  <a:pos x="0" y="296"/>
                </a:cxn>
                <a:cxn ang="0">
                  <a:pos x="0" y="9"/>
                </a:cxn>
              </a:cxnLst>
              <a:rect l="0" t="0" r="r" b="b"/>
              <a:pathLst>
                <a:path w="233" h="296">
                  <a:moveTo>
                    <a:pt x="0" y="9"/>
                  </a:moveTo>
                  <a:lnTo>
                    <a:pt x="35" y="9"/>
                  </a:lnTo>
                  <a:lnTo>
                    <a:pt x="35" y="58"/>
                  </a:lnTo>
                  <a:lnTo>
                    <a:pt x="36" y="58"/>
                  </a:lnTo>
                  <a:lnTo>
                    <a:pt x="48" y="39"/>
                  </a:lnTo>
                  <a:lnTo>
                    <a:pt x="63" y="23"/>
                  </a:lnTo>
                  <a:lnTo>
                    <a:pt x="83" y="12"/>
                  </a:lnTo>
                  <a:lnTo>
                    <a:pt x="105" y="3"/>
                  </a:lnTo>
                  <a:lnTo>
                    <a:pt x="129" y="0"/>
                  </a:lnTo>
                  <a:lnTo>
                    <a:pt x="157" y="2"/>
                  </a:lnTo>
                  <a:lnTo>
                    <a:pt x="179" y="7"/>
                  </a:lnTo>
                  <a:lnTo>
                    <a:pt x="197" y="17"/>
                  </a:lnTo>
                  <a:lnTo>
                    <a:pt x="211" y="30"/>
                  </a:lnTo>
                  <a:lnTo>
                    <a:pt x="222" y="45"/>
                  </a:lnTo>
                  <a:lnTo>
                    <a:pt x="228" y="65"/>
                  </a:lnTo>
                  <a:lnTo>
                    <a:pt x="232" y="87"/>
                  </a:lnTo>
                  <a:lnTo>
                    <a:pt x="233" y="111"/>
                  </a:lnTo>
                  <a:lnTo>
                    <a:pt x="233" y="296"/>
                  </a:lnTo>
                  <a:lnTo>
                    <a:pt x="198" y="296"/>
                  </a:lnTo>
                  <a:lnTo>
                    <a:pt x="198" y="116"/>
                  </a:lnTo>
                  <a:lnTo>
                    <a:pt x="197" y="97"/>
                  </a:lnTo>
                  <a:lnTo>
                    <a:pt x="194" y="77"/>
                  </a:lnTo>
                  <a:lnTo>
                    <a:pt x="187" y="62"/>
                  </a:lnTo>
                  <a:lnTo>
                    <a:pt x="179" y="48"/>
                  </a:lnTo>
                  <a:lnTo>
                    <a:pt x="165" y="38"/>
                  </a:lnTo>
                  <a:lnTo>
                    <a:pt x="148" y="32"/>
                  </a:lnTo>
                  <a:lnTo>
                    <a:pt x="126" y="30"/>
                  </a:lnTo>
                  <a:lnTo>
                    <a:pt x="99" y="32"/>
                  </a:lnTo>
                  <a:lnTo>
                    <a:pt x="78" y="42"/>
                  </a:lnTo>
                  <a:lnTo>
                    <a:pt x="60" y="58"/>
                  </a:lnTo>
                  <a:lnTo>
                    <a:pt x="46" y="77"/>
                  </a:lnTo>
                  <a:lnTo>
                    <a:pt x="38" y="102"/>
                  </a:lnTo>
                  <a:lnTo>
                    <a:pt x="35" y="129"/>
                  </a:lnTo>
                  <a:lnTo>
                    <a:pt x="35" y="296"/>
                  </a:lnTo>
                  <a:lnTo>
                    <a:pt x="0" y="296"/>
                  </a:lnTo>
                  <a:lnTo>
                    <a:pt x="0" y="9"/>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68" name="Freeform 20"/>
            <p:cNvSpPr>
              <a:spLocks/>
            </p:cNvSpPr>
            <p:nvPr/>
          </p:nvSpPr>
          <p:spPr bwMode="auto">
            <a:xfrm>
              <a:off x="9468594" y="6671575"/>
              <a:ext cx="50375" cy="80844"/>
            </a:xfrm>
            <a:custGeom>
              <a:avLst/>
              <a:gdLst/>
              <a:ahLst/>
              <a:cxnLst>
                <a:cxn ang="0">
                  <a:pos x="0" y="0"/>
                </a:cxn>
                <a:cxn ang="0">
                  <a:pos x="35" y="0"/>
                </a:cxn>
                <a:cxn ang="0">
                  <a:pos x="35" y="250"/>
                </a:cxn>
                <a:cxn ang="0">
                  <a:pos x="194" y="111"/>
                </a:cxn>
                <a:cxn ang="0">
                  <a:pos x="241" y="111"/>
                </a:cxn>
                <a:cxn ang="0">
                  <a:pos x="119" y="217"/>
                </a:cxn>
                <a:cxn ang="0">
                  <a:pos x="249" y="398"/>
                </a:cxn>
                <a:cxn ang="0">
                  <a:pos x="206" y="398"/>
                </a:cxn>
                <a:cxn ang="0">
                  <a:pos x="91" y="242"/>
                </a:cxn>
                <a:cxn ang="0">
                  <a:pos x="35" y="290"/>
                </a:cxn>
                <a:cxn ang="0">
                  <a:pos x="35" y="398"/>
                </a:cxn>
                <a:cxn ang="0">
                  <a:pos x="0" y="398"/>
                </a:cxn>
                <a:cxn ang="0">
                  <a:pos x="0" y="0"/>
                </a:cxn>
              </a:cxnLst>
              <a:rect l="0" t="0" r="r" b="b"/>
              <a:pathLst>
                <a:path w="249" h="398">
                  <a:moveTo>
                    <a:pt x="0" y="0"/>
                  </a:moveTo>
                  <a:lnTo>
                    <a:pt x="35" y="0"/>
                  </a:lnTo>
                  <a:lnTo>
                    <a:pt x="35" y="250"/>
                  </a:lnTo>
                  <a:lnTo>
                    <a:pt x="194" y="111"/>
                  </a:lnTo>
                  <a:lnTo>
                    <a:pt x="241" y="111"/>
                  </a:lnTo>
                  <a:lnTo>
                    <a:pt x="119" y="217"/>
                  </a:lnTo>
                  <a:lnTo>
                    <a:pt x="249" y="398"/>
                  </a:lnTo>
                  <a:lnTo>
                    <a:pt x="206" y="398"/>
                  </a:lnTo>
                  <a:lnTo>
                    <a:pt x="91" y="242"/>
                  </a:lnTo>
                  <a:lnTo>
                    <a:pt x="35" y="290"/>
                  </a:lnTo>
                  <a:lnTo>
                    <a:pt x="35" y="398"/>
                  </a:lnTo>
                  <a:lnTo>
                    <a:pt x="0" y="398"/>
                  </a:lnTo>
                  <a:lnTo>
                    <a:pt x="0" y="0"/>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69" name="Freeform 21"/>
            <p:cNvSpPr>
              <a:spLocks noEditPoints="1"/>
            </p:cNvSpPr>
            <p:nvPr/>
          </p:nvSpPr>
          <p:spPr bwMode="auto">
            <a:xfrm>
              <a:off x="9536437" y="6671575"/>
              <a:ext cx="7313" cy="80844"/>
            </a:xfrm>
            <a:custGeom>
              <a:avLst/>
              <a:gdLst/>
              <a:ahLst/>
              <a:cxnLst>
                <a:cxn ang="0">
                  <a:pos x="0" y="0"/>
                </a:cxn>
                <a:cxn ang="0">
                  <a:pos x="36" y="0"/>
                </a:cxn>
                <a:cxn ang="0">
                  <a:pos x="36" y="56"/>
                </a:cxn>
                <a:cxn ang="0">
                  <a:pos x="0" y="56"/>
                </a:cxn>
                <a:cxn ang="0">
                  <a:pos x="0" y="0"/>
                </a:cxn>
                <a:cxn ang="0">
                  <a:pos x="0" y="111"/>
                </a:cxn>
                <a:cxn ang="0">
                  <a:pos x="36" y="111"/>
                </a:cxn>
                <a:cxn ang="0">
                  <a:pos x="36" y="398"/>
                </a:cxn>
                <a:cxn ang="0">
                  <a:pos x="0" y="398"/>
                </a:cxn>
                <a:cxn ang="0">
                  <a:pos x="0" y="111"/>
                </a:cxn>
              </a:cxnLst>
              <a:rect l="0" t="0" r="r" b="b"/>
              <a:pathLst>
                <a:path w="36" h="398">
                  <a:moveTo>
                    <a:pt x="0" y="0"/>
                  </a:moveTo>
                  <a:lnTo>
                    <a:pt x="36" y="0"/>
                  </a:lnTo>
                  <a:lnTo>
                    <a:pt x="36" y="56"/>
                  </a:lnTo>
                  <a:lnTo>
                    <a:pt x="0" y="56"/>
                  </a:lnTo>
                  <a:lnTo>
                    <a:pt x="0" y="0"/>
                  </a:lnTo>
                  <a:close/>
                  <a:moveTo>
                    <a:pt x="0" y="111"/>
                  </a:moveTo>
                  <a:lnTo>
                    <a:pt x="36" y="111"/>
                  </a:lnTo>
                  <a:lnTo>
                    <a:pt x="36" y="398"/>
                  </a:lnTo>
                  <a:lnTo>
                    <a:pt x="0" y="398"/>
                  </a:lnTo>
                  <a:lnTo>
                    <a:pt x="0" y="111"/>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70" name="Freeform 22"/>
            <p:cNvSpPr>
              <a:spLocks/>
            </p:cNvSpPr>
            <p:nvPr/>
          </p:nvSpPr>
          <p:spPr bwMode="auto">
            <a:xfrm>
              <a:off x="9568531" y="6692294"/>
              <a:ext cx="47531" cy="60125"/>
            </a:xfrm>
            <a:custGeom>
              <a:avLst/>
              <a:gdLst/>
              <a:ahLst/>
              <a:cxnLst>
                <a:cxn ang="0">
                  <a:pos x="0" y="9"/>
                </a:cxn>
                <a:cxn ang="0">
                  <a:pos x="36" y="9"/>
                </a:cxn>
                <a:cxn ang="0">
                  <a:pos x="36" y="58"/>
                </a:cxn>
                <a:cxn ang="0">
                  <a:pos x="47" y="39"/>
                </a:cxn>
                <a:cxn ang="0">
                  <a:pos x="63" y="23"/>
                </a:cxn>
                <a:cxn ang="0">
                  <a:pos x="82" y="12"/>
                </a:cxn>
                <a:cxn ang="0">
                  <a:pos x="105" y="3"/>
                </a:cxn>
                <a:cxn ang="0">
                  <a:pos x="129" y="0"/>
                </a:cxn>
                <a:cxn ang="0">
                  <a:pos x="156" y="2"/>
                </a:cxn>
                <a:cxn ang="0">
                  <a:pos x="179" y="7"/>
                </a:cxn>
                <a:cxn ang="0">
                  <a:pos x="198" y="17"/>
                </a:cxn>
                <a:cxn ang="0">
                  <a:pos x="212" y="30"/>
                </a:cxn>
                <a:cxn ang="0">
                  <a:pos x="222" y="45"/>
                </a:cxn>
                <a:cxn ang="0">
                  <a:pos x="229" y="65"/>
                </a:cxn>
                <a:cxn ang="0">
                  <a:pos x="233" y="87"/>
                </a:cxn>
                <a:cxn ang="0">
                  <a:pos x="235" y="111"/>
                </a:cxn>
                <a:cxn ang="0">
                  <a:pos x="235" y="296"/>
                </a:cxn>
                <a:cxn ang="0">
                  <a:pos x="198" y="296"/>
                </a:cxn>
                <a:cxn ang="0">
                  <a:pos x="198" y="116"/>
                </a:cxn>
                <a:cxn ang="0">
                  <a:pos x="197" y="97"/>
                </a:cxn>
                <a:cxn ang="0">
                  <a:pos x="194" y="77"/>
                </a:cxn>
                <a:cxn ang="0">
                  <a:pos x="187" y="62"/>
                </a:cxn>
                <a:cxn ang="0">
                  <a:pos x="179" y="48"/>
                </a:cxn>
                <a:cxn ang="0">
                  <a:pos x="165" y="38"/>
                </a:cxn>
                <a:cxn ang="0">
                  <a:pos x="148" y="32"/>
                </a:cxn>
                <a:cxn ang="0">
                  <a:pos x="126" y="30"/>
                </a:cxn>
                <a:cxn ang="0">
                  <a:pos x="99" y="32"/>
                </a:cxn>
                <a:cxn ang="0">
                  <a:pos x="78" y="42"/>
                </a:cxn>
                <a:cxn ang="0">
                  <a:pos x="60" y="58"/>
                </a:cxn>
                <a:cxn ang="0">
                  <a:pos x="47" y="77"/>
                </a:cxn>
                <a:cxn ang="0">
                  <a:pos x="39" y="102"/>
                </a:cxn>
                <a:cxn ang="0">
                  <a:pos x="36" y="129"/>
                </a:cxn>
                <a:cxn ang="0">
                  <a:pos x="36" y="296"/>
                </a:cxn>
                <a:cxn ang="0">
                  <a:pos x="0" y="296"/>
                </a:cxn>
                <a:cxn ang="0">
                  <a:pos x="0" y="9"/>
                </a:cxn>
              </a:cxnLst>
              <a:rect l="0" t="0" r="r" b="b"/>
              <a:pathLst>
                <a:path w="235" h="296">
                  <a:moveTo>
                    <a:pt x="0" y="9"/>
                  </a:moveTo>
                  <a:lnTo>
                    <a:pt x="36" y="9"/>
                  </a:lnTo>
                  <a:lnTo>
                    <a:pt x="36" y="58"/>
                  </a:lnTo>
                  <a:lnTo>
                    <a:pt x="47" y="39"/>
                  </a:lnTo>
                  <a:lnTo>
                    <a:pt x="63" y="23"/>
                  </a:lnTo>
                  <a:lnTo>
                    <a:pt x="82" y="12"/>
                  </a:lnTo>
                  <a:lnTo>
                    <a:pt x="105" y="3"/>
                  </a:lnTo>
                  <a:lnTo>
                    <a:pt x="129" y="0"/>
                  </a:lnTo>
                  <a:lnTo>
                    <a:pt x="156" y="2"/>
                  </a:lnTo>
                  <a:lnTo>
                    <a:pt x="179" y="7"/>
                  </a:lnTo>
                  <a:lnTo>
                    <a:pt x="198" y="17"/>
                  </a:lnTo>
                  <a:lnTo>
                    <a:pt x="212" y="30"/>
                  </a:lnTo>
                  <a:lnTo>
                    <a:pt x="222" y="45"/>
                  </a:lnTo>
                  <a:lnTo>
                    <a:pt x="229" y="65"/>
                  </a:lnTo>
                  <a:lnTo>
                    <a:pt x="233" y="87"/>
                  </a:lnTo>
                  <a:lnTo>
                    <a:pt x="235" y="111"/>
                  </a:lnTo>
                  <a:lnTo>
                    <a:pt x="235" y="296"/>
                  </a:lnTo>
                  <a:lnTo>
                    <a:pt x="198" y="296"/>
                  </a:lnTo>
                  <a:lnTo>
                    <a:pt x="198" y="116"/>
                  </a:lnTo>
                  <a:lnTo>
                    <a:pt x="197" y="97"/>
                  </a:lnTo>
                  <a:lnTo>
                    <a:pt x="194" y="77"/>
                  </a:lnTo>
                  <a:lnTo>
                    <a:pt x="187" y="62"/>
                  </a:lnTo>
                  <a:lnTo>
                    <a:pt x="179" y="48"/>
                  </a:lnTo>
                  <a:lnTo>
                    <a:pt x="165" y="38"/>
                  </a:lnTo>
                  <a:lnTo>
                    <a:pt x="148" y="32"/>
                  </a:lnTo>
                  <a:lnTo>
                    <a:pt x="126" y="30"/>
                  </a:lnTo>
                  <a:lnTo>
                    <a:pt x="99" y="32"/>
                  </a:lnTo>
                  <a:lnTo>
                    <a:pt x="78" y="42"/>
                  </a:lnTo>
                  <a:lnTo>
                    <a:pt x="60" y="58"/>
                  </a:lnTo>
                  <a:lnTo>
                    <a:pt x="47" y="77"/>
                  </a:lnTo>
                  <a:lnTo>
                    <a:pt x="39" y="102"/>
                  </a:lnTo>
                  <a:lnTo>
                    <a:pt x="36" y="129"/>
                  </a:lnTo>
                  <a:lnTo>
                    <a:pt x="36" y="296"/>
                  </a:lnTo>
                  <a:lnTo>
                    <a:pt x="0" y="296"/>
                  </a:lnTo>
                  <a:lnTo>
                    <a:pt x="0" y="9"/>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71" name="Freeform 23"/>
            <p:cNvSpPr>
              <a:spLocks noEditPoints="1"/>
            </p:cNvSpPr>
            <p:nvPr/>
          </p:nvSpPr>
          <p:spPr bwMode="auto">
            <a:xfrm>
              <a:off x="9638000" y="6692294"/>
              <a:ext cx="52000" cy="83281"/>
            </a:xfrm>
            <a:custGeom>
              <a:avLst/>
              <a:gdLst/>
              <a:ahLst/>
              <a:cxnLst>
                <a:cxn ang="0">
                  <a:pos x="256" y="303"/>
                </a:cxn>
                <a:cxn ang="0">
                  <a:pos x="242" y="355"/>
                </a:cxn>
                <a:cxn ang="0">
                  <a:pos x="211" y="390"/>
                </a:cxn>
                <a:cxn ang="0">
                  <a:pos x="162" y="408"/>
                </a:cxn>
                <a:cxn ang="0">
                  <a:pos x="105" y="410"/>
                </a:cxn>
                <a:cxn ang="0">
                  <a:pos x="60" y="396"/>
                </a:cxn>
                <a:cxn ang="0">
                  <a:pos x="25" y="369"/>
                </a:cxn>
                <a:cxn ang="0">
                  <a:pos x="10" y="324"/>
                </a:cxn>
                <a:cxn ang="0">
                  <a:pos x="52" y="343"/>
                </a:cxn>
                <a:cxn ang="0">
                  <a:pos x="76" y="369"/>
                </a:cxn>
                <a:cxn ang="0">
                  <a:pos x="111" y="380"/>
                </a:cxn>
                <a:cxn ang="0">
                  <a:pos x="155" y="379"/>
                </a:cxn>
                <a:cxn ang="0">
                  <a:pos x="193" y="361"/>
                </a:cxn>
                <a:cxn ang="0">
                  <a:pos x="215" y="324"/>
                </a:cxn>
                <a:cxn ang="0">
                  <a:pos x="222" y="273"/>
                </a:cxn>
                <a:cxn ang="0">
                  <a:pos x="221" y="234"/>
                </a:cxn>
                <a:cxn ang="0">
                  <a:pos x="193" y="270"/>
                </a:cxn>
                <a:cxn ang="0">
                  <a:pos x="154" y="290"/>
                </a:cxn>
                <a:cxn ang="0">
                  <a:pos x="101" y="290"/>
                </a:cxn>
                <a:cxn ang="0">
                  <a:pos x="56" y="273"/>
                </a:cxn>
                <a:cxn ang="0">
                  <a:pos x="24" y="241"/>
                </a:cxn>
                <a:cxn ang="0">
                  <a:pos x="6" y="197"/>
                </a:cxn>
                <a:cxn ang="0">
                  <a:pos x="0" y="146"/>
                </a:cxn>
                <a:cxn ang="0">
                  <a:pos x="9" y="90"/>
                </a:cxn>
                <a:cxn ang="0">
                  <a:pos x="34" y="44"/>
                </a:cxn>
                <a:cxn ang="0">
                  <a:pos x="74" y="12"/>
                </a:cxn>
                <a:cxn ang="0">
                  <a:pos x="130" y="0"/>
                </a:cxn>
                <a:cxn ang="0">
                  <a:pos x="176" y="12"/>
                </a:cxn>
                <a:cxn ang="0">
                  <a:pos x="210" y="39"/>
                </a:cxn>
                <a:cxn ang="0">
                  <a:pos x="222" y="58"/>
                </a:cxn>
                <a:cxn ang="0">
                  <a:pos x="257" y="9"/>
                </a:cxn>
                <a:cxn ang="0">
                  <a:pos x="222" y="150"/>
                </a:cxn>
                <a:cxn ang="0">
                  <a:pos x="217" y="107"/>
                </a:cxn>
                <a:cxn ang="0">
                  <a:pos x="201" y="69"/>
                </a:cxn>
                <a:cxn ang="0">
                  <a:pos x="172" y="41"/>
                </a:cxn>
                <a:cxn ang="0">
                  <a:pos x="130" y="30"/>
                </a:cxn>
                <a:cxn ang="0">
                  <a:pos x="87" y="39"/>
                </a:cxn>
                <a:cxn ang="0">
                  <a:pos x="57" y="67"/>
                </a:cxn>
                <a:cxn ang="0">
                  <a:pos x="41" y="105"/>
                </a:cxn>
                <a:cxn ang="0">
                  <a:pos x="35" y="150"/>
                </a:cxn>
                <a:cxn ang="0">
                  <a:pos x="41" y="192"/>
                </a:cxn>
                <a:cxn ang="0">
                  <a:pos x="57" y="228"/>
                </a:cxn>
                <a:cxn ang="0">
                  <a:pos x="88" y="253"/>
                </a:cxn>
                <a:cxn ang="0">
                  <a:pos x="130" y="263"/>
                </a:cxn>
                <a:cxn ang="0">
                  <a:pos x="175" y="250"/>
                </a:cxn>
                <a:cxn ang="0">
                  <a:pos x="206" y="218"/>
                </a:cxn>
                <a:cxn ang="0">
                  <a:pos x="221" y="174"/>
                </a:cxn>
              </a:cxnLst>
              <a:rect l="0" t="0" r="r" b="b"/>
              <a:pathLst>
                <a:path w="257" h="411">
                  <a:moveTo>
                    <a:pt x="257" y="273"/>
                  </a:moveTo>
                  <a:lnTo>
                    <a:pt x="256" y="303"/>
                  </a:lnTo>
                  <a:lnTo>
                    <a:pt x="250" y="331"/>
                  </a:lnTo>
                  <a:lnTo>
                    <a:pt x="242" y="355"/>
                  </a:lnTo>
                  <a:lnTo>
                    <a:pt x="229" y="375"/>
                  </a:lnTo>
                  <a:lnTo>
                    <a:pt x="211" y="390"/>
                  </a:lnTo>
                  <a:lnTo>
                    <a:pt x="189" y="401"/>
                  </a:lnTo>
                  <a:lnTo>
                    <a:pt x="162" y="408"/>
                  </a:lnTo>
                  <a:lnTo>
                    <a:pt x="130" y="411"/>
                  </a:lnTo>
                  <a:lnTo>
                    <a:pt x="105" y="410"/>
                  </a:lnTo>
                  <a:lnTo>
                    <a:pt x="81" y="404"/>
                  </a:lnTo>
                  <a:lnTo>
                    <a:pt x="60" y="396"/>
                  </a:lnTo>
                  <a:lnTo>
                    <a:pt x="41" y="384"/>
                  </a:lnTo>
                  <a:lnTo>
                    <a:pt x="25" y="369"/>
                  </a:lnTo>
                  <a:lnTo>
                    <a:pt x="16" y="348"/>
                  </a:lnTo>
                  <a:lnTo>
                    <a:pt x="10" y="324"/>
                  </a:lnTo>
                  <a:lnTo>
                    <a:pt x="45" y="324"/>
                  </a:lnTo>
                  <a:lnTo>
                    <a:pt x="52" y="343"/>
                  </a:lnTo>
                  <a:lnTo>
                    <a:pt x="62" y="358"/>
                  </a:lnTo>
                  <a:lnTo>
                    <a:pt x="76" y="369"/>
                  </a:lnTo>
                  <a:lnTo>
                    <a:pt x="92" y="376"/>
                  </a:lnTo>
                  <a:lnTo>
                    <a:pt x="111" y="380"/>
                  </a:lnTo>
                  <a:lnTo>
                    <a:pt x="130" y="382"/>
                  </a:lnTo>
                  <a:lnTo>
                    <a:pt x="155" y="379"/>
                  </a:lnTo>
                  <a:lnTo>
                    <a:pt x="176" y="372"/>
                  </a:lnTo>
                  <a:lnTo>
                    <a:pt x="193" y="361"/>
                  </a:lnTo>
                  <a:lnTo>
                    <a:pt x="207" y="345"/>
                  </a:lnTo>
                  <a:lnTo>
                    <a:pt x="215" y="324"/>
                  </a:lnTo>
                  <a:lnTo>
                    <a:pt x="221" y="301"/>
                  </a:lnTo>
                  <a:lnTo>
                    <a:pt x="222" y="273"/>
                  </a:lnTo>
                  <a:lnTo>
                    <a:pt x="222" y="234"/>
                  </a:lnTo>
                  <a:lnTo>
                    <a:pt x="221" y="234"/>
                  </a:lnTo>
                  <a:lnTo>
                    <a:pt x="208" y="253"/>
                  </a:lnTo>
                  <a:lnTo>
                    <a:pt x="193" y="270"/>
                  </a:lnTo>
                  <a:lnTo>
                    <a:pt x="175" y="281"/>
                  </a:lnTo>
                  <a:lnTo>
                    <a:pt x="154" y="290"/>
                  </a:lnTo>
                  <a:lnTo>
                    <a:pt x="130" y="292"/>
                  </a:lnTo>
                  <a:lnTo>
                    <a:pt x="101" y="290"/>
                  </a:lnTo>
                  <a:lnTo>
                    <a:pt x="77" y="283"/>
                  </a:lnTo>
                  <a:lnTo>
                    <a:pt x="56" y="273"/>
                  </a:lnTo>
                  <a:lnTo>
                    <a:pt x="38" y="257"/>
                  </a:lnTo>
                  <a:lnTo>
                    <a:pt x="24" y="241"/>
                  </a:lnTo>
                  <a:lnTo>
                    <a:pt x="13" y="220"/>
                  </a:lnTo>
                  <a:lnTo>
                    <a:pt x="6" y="197"/>
                  </a:lnTo>
                  <a:lnTo>
                    <a:pt x="2" y="172"/>
                  </a:lnTo>
                  <a:lnTo>
                    <a:pt x="0" y="146"/>
                  </a:lnTo>
                  <a:lnTo>
                    <a:pt x="3" y="116"/>
                  </a:lnTo>
                  <a:lnTo>
                    <a:pt x="9" y="90"/>
                  </a:lnTo>
                  <a:lnTo>
                    <a:pt x="20" y="65"/>
                  </a:lnTo>
                  <a:lnTo>
                    <a:pt x="34" y="44"/>
                  </a:lnTo>
                  <a:lnTo>
                    <a:pt x="52" y="26"/>
                  </a:lnTo>
                  <a:lnTo>
                    <a:pt x="74" y="12"/>
                  </a:lnTo>
                  <a:lnTo>
                    <a:pt x="101" y="3"/>
                  </a:lnTo>
                  <a:lnTo>
                    <a:pt x="130" y="0"/>
                  </a:lnTo>
                  <a:lnTo>
                    <a:pt x="154" y="3"/>
                  </a:lnTo>
                  <a:lnTo>
                    <a:pt x="176" y="12"/>
                  </a:lnTo>
                  <a:lnTo>
                    <a:pt x="194" y="24"/>
                  </a:lnTo>
                  <a:lnTo>
                    <a:pt x="210" y="39"/>
                  </a:lnTo>
                  <a:lnTo>
                    <a:pt x="221" y="58"/>
                  </a:lnTo>
                  <a:lnTo>
                    <a:pt x="222" y="58"/>
                  </a:lnTo>
                  <a:lnTo>
                    <a:pt x="222" y="9"/>
                  </a:lnTo>
                  <a:lnTo>
                    <a:pt x="257" y="9"/>
                  </a:lnTo>
                  <a:lnTo>
                    <a:pt x="257" y="273"/>
                  </a:lnTo>
                  <a:close/>
                  <a:moveTo>
                    <a:pt x="222" y="150"/>
                  </a:moveTo>
                  <a:lnTo>
                    <a:pt x="221" y="129"/>
                  </a:lnTo>
                  <a:lnTo>
                    <a:pt x="217" y="107"/>
                  </a:lnTo>
                  <a:lnTo>
                    <a:pt x="211" y="87"/>
                  </a:lnTo>
                  <a:lnTo>
                    <a:pt x="201" y="69"/>
                  </a:lnTo>
                  <a:lnTo>
                    <a:pt x="189" y="52"/>
                  </a:lnTo>
                  <a:lnTo>
                    <a:pt x="172" y="41"/>
                  </a:lnTo>
                  <a:lnTo>
                    <a:pt x="152" y="32"/>
                  </a:lnTo>
                  <a:lnTo>
                    <a:pt x="130" y="30"/>
                  </a:lnTo>
                  <a:lnTo>
                    <a:pt x="106" y="32"/>
                  </a:lnTo>
                  <a:lnTo>
                    <a:pt x="87" y="39"/>
                  </a:lnTo>
                  <a:lnTo>
                    <a:pt x="70" y="52"/>
                  </a:lnTo>
                  <a:lnTo>
                    <a:pt x="57" y="67"/>
                  </a:lnTo>
                  <a:lnTo>
                    <a:pt x="48" y="86"/>
                  </a:lnTo>
                  <a:lnTo>
                    <a:pt x="41" y="105"/>
                  </a:lnTo>
                  <a:lnTo>
                    <a:pt x="37" y="127"/>
                  </a:lnTo>
                  <a:lnTo>
                    <a:pt x="35" y="150"/>
                  </a:lnTo>
                  <a:lnTo>
                    <a:pt x="37" y="171"/>
                  </a:lnTo>
                  <a:lnTo>
                    <a:pt x="41" y="192"/>
                  </a:lnTo>
                  <a:lnTo>
                    <a:pt x="48" y="211"/>
                  </a:lnTo>
                  <a:lnTo>
                    <a:pt x="57" y="228"/>
                  </a:lnTo>
                  <a:lnTo>
                    <a:pt x="71" y="242"/>
                  </a:lnTo>
                  <a:lnTo>
                    <a:pt x="88" y="253"/>
                  </a:lnTo>
                  <a:lnTo>
                    <a:pt x="108" y="260"/>
                  </a:lnTo>
                  <a:lnTo>
                    <a:pt x="130" y="263"/>
                  </a:lnTo>
                  <a:lnTo>
                    <a:pt x="154" y="260"/>
                  </a:lnTo>
                  <a:lnTo>
                    <a:pt x="175" y="250"/>
                  </a:lnTo>
                  <a:lnTo>
                    <a:pt x="192" y="236"/>
                  </a:lnTo>
                  <a:lnTo>
                    <a:pt x="206" y="218"/>
                  </a:lnTo>
                  <a:lnTo>
                    <a:pt x="214" y="197"/>
                  </a:lnTo>
                  <a:lnTo>
                    <a:pt x="221" y="174"/>
                  </a:lnTo>
                  <a:lnTo>
                    <a:pt x="222" y="150"/>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grpSp>
      <p:sp>
        <p:nvSpPr>
          <p:cNvPr id="72" name="TextBox 71"/>
          <p:cNvSpPr txBox="1"/>
          <p:nvPr userDrawn="1"/>
        </p:nvSpPr>
        <p:spPr>
          <a:xfrm>
            <a:off x="186755" y="6557123"/>
            <a:ext cx="1208584" cy="298800"/>
          </a:xfrm>
          <a:prstGeom prst="rect">
            <a:avLst/>
          </a:prstGeom>
          <a:noFill/>
        </p:spPr>
        <p:txBody>
          <a:bodyPr wrap="none" lIns="36000" tIns="36000" rIns="36000" bIns="36000" rtlCol="0" anchor="ctr">
            <a:noAutofit/>
          </a:bodyPr>
          <a:lstStyle/>
          <a:p>
            <a:pPr algn="l"/>
            <a:r>
              <a:rPr lang="en-AU" sz="700" b="0" cap="all" baseline="0" dirty="0">
                <a:solidFill>
                  <a:schemeClr val="bg1"/>
                </a:solidFill>
              </a:rPr>
              <a:t>STRICTLY CONFIDENTIAL</a:t>
            </a:r>
          </a:p>
        </p:txBody>
      </p:sp>
      <p:cxnSp>
        <p:nvCxnSpPr>
          <p:cNvPr id="73" name="Straight Connector 72"/>
          <p:cNvCxnSpPr/>
          <p:nvPr userDrawn="1"/>
        </p:nvCxnSpPr>
        <p:spPr bwMode="auto">
          <a:xfrm>
            <a:off x="0" y="6555600"/>
            <a:ext cx="9906000" cy="0"/>
          </a:xfrm>
          <a:prstGeom prst="line">
            <a:avLst/>
          </a:prstGeom>
          <a:solidFill>
            <a:schemeClr val="accent1"/>
          </a:solidFill>
          <a:ln w="9525" cap="flat" cmpd="sng" algn="ctr">
            <a:solidFill>
              <a:schemeClr val="bg1"/>
            </a:solidFill>
            <a:prstDash val="solid"/>
            <a:round/>
            <a:headEnd type="none" w="med" len="med"/>
            <a:tailEnd type="none" w="med" len="med"/>
          </a:ln>
          <a:effectLst/>
        </p:spPr>
      </p:cxnSp>
      <p:cxnSp>
        <p:nvCxnSpPr>
          <p:cNvPr id="74" name="Straight Connector 73"/>
          <p:cNvCxnSpPr/>
          <p:nvPr userDrawn="1"/>
        </p:nvCxnSpPr>
        <p:spPr bwMode="auto">
          <a:xfrm>
            <a:off x="0" y="6555600"/>
            <a:ext cx="9906000" cy="0"/>
          </a:xfrm>
          <a:prstGeom prst="line">
            <a:avLst/>
          </a:prstGeom>
          <a:solidFill>
            <a:schemeClr val="accent1"/>
          </a:solidFill>
          <a:ln w="9525" cap="flat" cmpd="sng" algn="ctr">
            <a:solidFill>
              <a:schemeClr val="bg1"/>
            </a:solidFill>
            <a:prstDash val="solid"/>
            <a:round/>
            <a:headEnd type="none" w="med" len="med"/>
            <a:tailEnd type="none" w="med" len="med"/>
          </a:ln>
          <a:effectLst/>
        </p:spPr>
      </p:cxnSp>
      <p:cxnSp>
        <p:nvCxnSpPr>
          <p:cNvPr id="75" name="Straight Connector 24"/>
          <p:cNvCxnSpPr>
            <a:cxnSpLocks noChangeShapeType="1"/>
          </p:cNvCxnSpPr>
          <p:nvPr userDrawn="1">
            <p:custDataLst>
              <p:tags r:id="rId1"/>
            </p:custDataLst>
          </p:nvPr>
        </p:nvCxnSpPr>
        <p:spPr bwMode="gray">
          <a:xfrm flipH="1">
            <a:off x="632848" y="3429000"/>
            <a:ext cx="8687102" cy="0"/>
          </a:xfrm>
          <a:prstGeom prst="line">
            <a:avLst/>
          </a:prstGeom>
          <a:noFill/>
          <a:ln w="9525" algn="ctr">
            <a:solidFill>
              <a:schemeClr val="accent6"/>
            </a:solidFill>
            <a:round/>
            <a:headEnd/>
            <a:tailEnd/>
          </a:ln>
        </p:spPr>
      </p:cxnSp>
      <p:sp>
        <p:nvSpPr>
          <p:cNvPr id="3" name="Text Placeholder 2"/>
          <p:cNvSpPr>
            <a:spLocks noGrp="1"/>
          </p:cNvSpPr>
          <p:nvPr>
            <p:ph type="body" sz="quarter" idx="10" hasCustomPrompt="1"/>
          </p:nvPr>
        </p:nvSpPr>
        <p:spPr>
          <a:xfrm>
            <a:off x="2059536" y="3447081"/>
            <a:ext cx="7251376" cy="4826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Autofit/>
          </a:bodyPr>
          <a:lstStyle>
            <a:lvl1pPr algn="r">
              <a:defRPr lang="en-GB" sz="2400" b="0" i="0" dirty="0" smtClean="0">
                <a:solidFill>
                  <a:schemeClr val="accent1"/>
                </a:solidFill>
                <a:latin typeface="Roboto Medium" pitchFamily="2" charset="0"/>
                <a:ea typeface="Roboto Medium" pitchFamily="2" charset="0"/>
                <a:cs typeface="Roboto Medium" pitchFamily="2" charset="0"/>
              </a:defRPr>
            </a:lvl1pPr>
          </a:lstStyle>
          <a:p>
            <a:pPr lvl="0"/>
            <a:r>
              <a:rPr lang="en-GB" sz="2400" dirty="0">
                <a:solidFill>
                  <a:schemeClr val="tx2"/>
                </a:solidFill>
              </a:rPr>
              <a:t>[Title]</a:t>
            </a:r>
          </a:p>
        </p:txBody>
      </p:sp>
      <p:sp>
        <p:nvSpPr>
          <p:cNvPr id="40" name="jpmDocTracker">
            <a:extLst>
              <a:ext uri="{FF2B5EF4-FFF2-40B4-BE49-F238E27FC236}">
                <a16:creationId xmlns:a16="http://schemas.microsoft.com/office/drawing/2014/main" id="{E219D02D-C39F-1445-BDAA-65DD5FB00F2F}"/>
              </a:ext>
            </a:extLst>
          </p:cNvPr>
          <p:cNvSpPr>
            <a:spLocks noChangeArrowheads="1"/>
          </p:cNvSpPr>
          <p:nvPr userDrawn="1">
            <p:custDataLst>
              <p:tags r:id="rId2"/>
            </p:custDataLst>
          </p:nvPr>
        </p:nvSpPr>
        <p:spPr bwMode="auto">
          <a:xfrm>
            <a:off x="6131808" y="6579257"/>
            <a:ext cx="3387069" cy="241873"/>
          </a:xfrm>
          <a:prstGeom prst="rect">
            <a:avLst/>
          </a:prstGeom>
          <a:noFill/>
          <a:ln w="9525">
            <a:noFill/>
            <a:miter lim="800000"/>
            <a:headEnd/>
            <a:tailEnd/>
          </a:ln>
        </p:spPr>
        <p:txBody>
          <a:bodyPr wrap="none" lIns="0" tIns="0" rIns="0" bIns="0" anchor="ctr" anchorCtr="0"/>
          <a:lstStyle/>
          <a:p>
            <a:pPr algn="r" defTabSz="912705" eaLnBrk="0" fontAlgn="base" hangingPunct="0">
              <a:lnSpc>
                <a:spcPts val="1052"/>
              </a:lnSpc>
              <a:spcBef>
                <a:spcPct val="0"/>
              </a:spcBef>
              <a:spcAft>
                <a:spcPct val="0"/>
              </a:spcAft>
            </a:pPr>
            <a:r>
              <a:rPr lang="pt-BR" sz="600" b="0" i="0" dirty="0">
                <a:solidFill>
                  <a:srgbClr val="6D6E71"/>
                </a:solidFill>
                <a:latin typeface="Roboto" panose="02000000000000000000" pitchFamily="2" charset="0"/>
                <a:ea typeface="Roboto" panose="02000000000000000000" pitchFamily="2" charset="0"/>
                <a:cs typeface="Roboto" panose="02000000000000000000" pitchFamily="2" charset="0"/>
              </a:rPr>
              <a:t>STRICTLY PRIVATE AND CONFIDENTIAL</a:t>
            </a:r>
            <a:endParaRPr lang="en-US" sz="600" b="0" i="0" dirty="0">
              <a:solidFill>
                <a:srgbClr val="6D6E71"/>
              </a:solidFill>
              <a:latin typeface="Roboto" panose="02000000000000000000" pitchFamily="2" charset="0"/>
              <a:ea typeface="Roboto" panose="02000000000000000000" pitchFamily="2" charset="0"/>
              <a:cs typeface="Roboto" panose="02000000000000000000" pitchFamily="2" charset="0"/>
            </a:endParaRPr>
          </a:p>
        </p:txBody>
      </p:sp>
      <p:pic>
        <p:nvPicPr>
          <p:cNvPr id="2" name="Picture 1" descr="A black background with brown text&#10;&#10;Description automatically generated">
            <a:extLst>
              <a:ext uri="{FF2B5EF4-FFF2-40B4-BE49-F238E27FC236}">
                <a16:creationId xmlns:a16="http://schemas.microsoft.com/office/drawing/2014/main" id="{94B0B7C2-656B-6A80-41ED-D5DFDB86974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431363" y="212455"/>
            <a:ext cx="1124571" cy="432000"/>
          </a:xfrm>
          <a:prstGeom prst="rect">
            <a:avLst/>
          </a:prstGeom>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54" name="Title 19">
            <a:extLst>
              <a:ext uri="{FF2B5EF4-FFF2-40B4-BE49-F238E27FC236}">
                <a16:creationId xmlns:a16="http://schemas.microsoft.com/office/drawing/2014/main" id="{E4C62F4D-B4D5-4A69-99EF-2A8EB5934C53}"/>
              </a:ext>
            </a:extLst>
          </p:cNvPr>
          <p:cNvSpPr txBox="1">
            <a:spLocks/>
          </p:cNvSpPr>
          <p:nvPr userDrawn="1"/>
        </p:nvSpPr>
        <p:spPr bwMode="auto">
          <a:xfrm>
            <a:off x="378000" y="108000"/>
            <a:ext cx="7038000" cy="576000"/>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defTabSz="914400" rtl="0" eaLnBrk="1" latinLnBrk="0" hangingPunct="1">
              <a:lnSpc>
                <a:spcPct val="90000"/>
              </a:lnSpc>
              <a:spcBef>
                <a:spcPct val="0"/>
              </a:spcBef>
              <a:buNone/>
              <a:defRPr sz="1800" kern="1200" cap="none" baseline="0">
                <a:solidFill>
                  <a:schemeClr val="tx2"/>
                </a:solidFill>
                <a:latin typeface="+mj-lt"/>
                <a:ea typeface="+mj-ea"/>
                <a:cs typeface="+mj-cs"/>
              </a:defRPr>
            </a:lvl1pPr>
          </a:lstStyle>
          <a:p>
            <a:r>
              <a:rPr lang="en-AU" b="0" i="0" dirty="0">
                <a:latin typeface="Roboto Light" panose="02000000000000000000" pitchFamily="2" charset="0"/>
                <a:ea typeface="Roboto Light" panose="02000000000000000000" pitchFamily="2" charset="0"/>
                <a:cs typeface="Roboto Light" panose="02000000000000000000" pitchFamily="2" charset="0"/>
              </a:rPr>
              <a:t>Appian colour palette</a:t>
            </a:r>
          </a:p>
        </p:txBody>
      </p:sp>
      <p:sp>
        <p:nvSpPr>
          <p:cNvPr id="13" name="Espace réservé du numéro de diapositive 3">
            <a:extLst>
              <a:ext uri="{FF2B5EF4-FFF2-40B4-BE49-F238E27FC236}">
                <a16:creationId xmlns:a16="http://schemas.microsoft.com/office/drawing/2014/main" id="{5D8FF07E-5535-55F9-5073-DC25F475FC05}"/>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7175123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E7A470E-6806-926A-8B83-5C8656110ECC}"/>
              </a:ext>
            </a:extLst>
          </p:cNvPr>
          <p:cNvGraphicFramePr>
            <a:graphicFrameLocks noChangeAspect="1"/>
          </p:cNvGraphicFramePr>
          <p:nvPr userDrawn="1">
            <p:custDataLst>
              <p:tags r:id="rId1"/>
            </p:custDataLst>
            <p:extLst>
              <p:ext uri="{D42A27DB-BD31-4B8C-83A1-F6EECF244321}">
                <p14:modId xmlns:p14="http://schemas.microsoft.com/office/powerpoint/2010/main" val="2038990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think-cell data - do not delete" hidden="1">
                        <a:extLst>
                          <a:ext uri="{FF2B5EF4-FFF2-40B4-BE49-F238E27FC236}">
                            <a16:creationId xmlns:a16="http://schemas.microsoft.com/office/drawing/2014/main" id="{6E7A470E-6806-926A-8B83-5C8656110E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23A80900-68D6-6145-A646-FE0362465B09}"/>
              </a:ext>
            </a:extLst>
          </p:cNvPr>
          <p:cNvSpPr/>
          <p:nvPr userDrawn="1"/>
        </p:nvSpPr>
        <p:spPr>
          <a:xfrm>
            <a:off x="0" y="7140"/>
            <a:ext cx="9906000" cy="68734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3231" tIns="33231" rIns="33231" bIns="33231" rtlCol="0" anchor="ctr" anchorCtr="0"/>
          <a:lstStyle/>
          <a:p>
            <a:pPr algn="ctr"/>
            <a:endParaRPr lang="en-US" sz="923" dirty="0" err="1">
              <a:solidFill>
                <a:schemeClr val="bg1"/>
              </a:solidFill>
            </a:endParaRPr>
          </a:p>
        </p:txBody>
      </p:sp>
      <p:pic>
        <p:nvPicPr>
          <p:cNvPr id="10" name="Picture 9">
            <a:extLst>
              <a:ext uri="{FF2B5EF4-FFF2-40B4-BE49-F238E27FC236}">
                <a16:creationId xmlns:a16="http://schemas.microsoft.com/office/drawing/2014/main" id="{68C787F0-3B30-374C-22AF-7470BAB60214}"/>
              </a:ext>
            </a:extLst>
          </p:cNvPr>
          <p:cNvPicPr>
            <a:picLocks noChangeAspect="1"/>
          </p:cNvPicPr>
          <p:nvPr userDrawn="1"/>
        </p:nvPicPr>
        <p:blipFill>
          <a:blip r:embed="rId5"/>
          <a:srcRect l="45409"/>
          <a:stretch>
            <a:fillRect/>
          </a:stretch>
        </p:blipFill>
        <p:spPr>
          <a:xfrm>
            <a:off x="4294208" y="0"/>
            <a:ext cx="5611792" cy="6857998"/>
          </a:xfrm>
          <a:custGeom>
            <a:avLst/>
            <a:gdLst>
              <a:gd name="connsiteX0" fmla="*/ 0 w 5611792"/>
              <a:gd name="connsiteY0" fmla="*/ 0 h 6857998"/>
              <a:gd name="connsiteX1" fmla="*/ 5611792 w 5611792"/>
              <a:gd name="connsiteY1" fmla="*/ 0 h 6857998"/>
              <a:gd name="connsiteX2" fmla="*/ 5611792 w 5611792"/>
              <a:gd name="connsiteY2" fmla="*/ 6857998 h 6857998"/>
              <a:gd name="connsiteX3" fmla="*/ 0 w 5611792"/>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5611792" h="6857998">
                <a:moveTo>
                  <a:pt x="0" y="0"/>
                </a:moveTo>
                <a:lnTo>
                  <a:pt x="5611792" y="0"/>
                </a:lnTo>
                <a:lnTo>
                  <a:pt x="5611792" y="6857998"/>
                </a:lnTo>
                <a:lnTo>
                  <a:pt x="0" y="6857998"/>
                </a:lnTo>
                <a:close/>
              </a:path>
            </a:pathLst>
          </a:custGeom>
        </p:spPr>
      </p:pic>
      <p:sp>
        <p:nvSpPr>
          <p:cNvPr id="6" name="Rectangle 5">
            <a:extLst>
              <a:ext uri="{FF2B5EF4-FFF2-40B4-BE49-F238E27FC236}">
                <a16:creationId xmlns:a16="http://schemas.microsoft.com/office/drawing/2014/main" id="{22CC77B4-B1CD-224C-99DD-56690339F95F}"/>
              </a:ext>
            </a:extLst>
          </p:cNvPr>
          <p:cNvSpPr/>
          <p:nvPr userDrawn="1"/>
        </p:nvSpPr>
        <p:spPr>
          <a:xfrm rot="16200000">
            <a:off x="2292560" y="48083"/>
            <a:ext cx="6873407" cy="6791523"/>
          </a:xfrm>
          <a:prstGeom prst="rect">
            <a:avLst/>
          </a:prstGeom>
          <a:gradFill>
            <a:gsLst>
              <a:gs pos="28000">
                <a:schemeClr val="accent1"/>
              </a:gs>
              <a:gs pos="0">
                <a:schemeClr val="accent1"/>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3231" tIns="33231" rIns="33231" bIns="33231" rtlCol="0" anchor="ctr" anchorCtr="0"/>
          <a:lstStyle/>
          <a:p>
            <a:pPr algn="ctr"/>
            <a:endParaRPr lang="en-US" sz="923" dirty="0" err="1">
              <a:solidFill>
                <a:schemeClr val="bg1"/>
              </a:solidFill>
            </a:endParaRPr>
          </a:p>
        </p:txBody>
      </p:sp>
      <p:sp>
        <p:nvSpPr>
          <p:cNvPr id="2" name="Title 1">
            <a:extLst>
              <a:ext uri="{FF2B5EF4-FFF2-40B4-BE49-F238E27FC236}">
                <a16:creationId xmlns:a16="http://schemas.microsoft.com/office/drawing/2014/main" id="{6D23523E-27C0-E247-919A-9E8F54CEB67A}"/>
              </a:ext>
            </a:extLst>
          </p:cNvPr>
          <p:cNvSpPr>
            <a:spLocks noGrp="1"/>
          </p:cNvSpPr>
          <p:nvPr>
            <p:ph type="title"/>
          </p:nvPr>
        </p:nvSpPr>
        <p:spPr/>
        <p:txBody>
          <a:bodyPr vert="horz"/>
          <a:lstStyle>
            <a:lvl1pPr>
              <a:defRPr>
                <a:solidFill>
                  <a:schemeClr val="bg1"/>
                </a:solidFill>
              </a:defRPr>
            </a:lvl1pPr>
          </a:lstStyle>
          <a:p>
            <a:r>
              <a:rPr lang="en-GB"/>
              <a:t>Click to edit Master title style</a:t>
            </a:r>
            <a:endParaRPr lang="en-US"/>
          </a:p>
        </p:txBody>
      </p:sp>
    </p:spTree>
    <p:extLst>
      <p:ext uri="{BB962C8B-B14F-4D97-AF65-F5344CB8AC3E}">
        <p14:creationId xmlns:p14="http://schemas.microsoft.com/office/powerpoint/2010/main" val="1695491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0AA4605-4081-464E-B78B-62705E50E0AF}"/>
              </a:ext>
            </a:extLst>
          </p:cNvPr>
          <p:cNvSpPr>
            <a:spLocks noGrp="1"/>
          </p:cNvSpPr>
          <p:nvPr>
            <p:ph type="pic" sz="quarter" idx="10"/>
          </p:nvPr>
        </p:nvSpPr>
        <p:spPr>
          <a:xfrm>
            <a:off x="6891713" y="1993769"/>
            <a:ext cx="1865313" cy="2470150"/>
          </a:xfrm>
          <a:prstGeom prst="rect">
            <a:avLst/>
          </a:prstGeom>
        </p:spPr>
        <p:txBody>
          <a:bodyPr/>
          <a:lstStyle/>
          <a:p>
            <a:endParaRPr lang="en-US"/>
          </a:p>
        </p:txBody>
      </p:sp>
      <p:sp>
        <p:nvSpPr>
          <p:cNvPr id="13" name="Text Placeholder 12">
            <a:extLst>
              <a:ext uri="{FF2B5EF4-FFF2-40B4-BE49-F238E27FC236}">
                <a16:creationId xmlns:a16="http://schemas.microsoft.com/office/drawing/2014/main" id="{E5C5A680-8C56-5F4B-9628-6DBE90A8F8F3}"/>
              </a:ext>
            </a:extLst>
          </p:cNvPr>
          <p:cNvSpPr>
            <a:spLocks noGrp="1"/>
          </p:cNvSpPr>
          <p:nvPr>
            <p:ph type="body" sz="quarter" idx="11" hasCustomPrompt="1"/>
          </p:nvPr>
        </p:nvSpPr>
        <p:spPr>
          <a:xfrm>
            <a:off x="6891338" y="4516813"/>
            <a:ext cx="2403475" cy="300970"/>
          </a:xfrm>
          <a:prstGeom prst="rect">
            <a:avLst/>
          </a:prstGeom>
        </p:spPr>
        <p:txBody>
          <a:bodyPr/>
          <a:lstStyle>
            <a:lvl1pPr>
              <a:defRPr sz="1200" b="0" i="0">
                <a:solidFill>
                  <a:schemeClr val="bg1"/>
                </a:solidFill>
                <a:latin typeface="Roboto Medium" pitchFamily="2" charset="0"/>
                <a:ea typeface="Roboto Medium" pitchFamily="2" charset="0"/>
                <a:cs typeface="Roboto Medium" pitchFamily="2" charset="0"/>
              </a:defRPr>
            </a:lvl1pPr>
          </a:lstStyle>
          <a:p>
            <a:pPr lvl="0"/>
            <a:r>
              <a:rPr lang="en-GB" dirty="0"/>
              <a:t>[NAME]</a:t>
            </a:r>
          </a:p>
        </p:txBody>
      </p:sp>
      <p:sp>
        <p:nvSpPr>
          <p:cNvPr id="16" name="Text Placeholder 12">
            <a:extLst>
              <a:ext uri="{FF2B5EF4-FFF2-40B4-BE49-F238E27FC236}">
                <a16:creationId xmlns:a16="http://schemas.microsoft.com/office/drawing/2014/main" id="{276B41C1-8BB3-AB47-AEE0-AE7ED20F06CD}"/>
              </a:ext>
            </a:extLst>
          </p:cNvPr>
          <p:cNvSpPr>
            <a:spLocks noGrp="1"/>
          </p:cNvSpPr>
          <p:nvPr>
            <p:ph type="body" sz="quarter" idx="12" hasCustomPrompt="1"/>
          </p:nvPr>
        </p:nvSpPr>
        <p:spPr>
          <a:xfrm>
            <a:off x="6891338" y="4780075"/>
            <a:ext cx="2403475" cy="300970"/>
          </a:xfrm>
          <a:prstGeom prst="rect">
            <a:avLst/>
          </a:prstGeom>
        </p:spPr>
        <p:txBody>
          <a:bodyPr/>
          <a:lstStyle>
            <a:lvl1pPr>
              <a:defRPr b="0" i="1">
                <a:solidFill>
                  <a:schemeClr val="bg1"/>
                </a:solidFill>
                <a:latin typeface="Roboto Light" panose="02000000000000000000" pitchFamily="2" charset="0"/>
                <a:ea typeface="Roboto Light" panose="02000000000000000000" pitchFamily="2" charset="0"/>
                <a:cs typeface="Roboto Light" panose="02000000000000000000" pitchFamily="2" charset="0"/>
              </a:defRPr>
            </a:lvl1pPr>
          </a:lstStyle>
          <a:p>
            <a:pPr lvl="0"/>
            <a:r>
              <a:rPr lang="en-GB" dirty="0"/>
              <a:t>[title]</a:t>
            </a:r>
          </a:p>
        </p:txBody>
      </p:sp>
    </p:spTree>
    <p:extLst>
      <p:ext uri="{BB962C8B-B14F-4D97-AF65-F5344CB8AC3E}">
        <p14:creationId xmlns:p14="http://schemas.microsoft.com/office/powerpoint/2010/main" val="2282062808"/>
      </p:ext>
    </p:extLst>
  </p:cSld>
  <p:clrMapOvr>
    <a:masterClrMapping/>
  </p:clrMapOvr>
  <p:extLst>
    <p:ext uri="{DCECCB84-F9BA-43D5-87BE-67443E8EF086}">
      <p15:sldGuideLst xmlns:p15="http://schemas.microsoft.com/office/powerpoint/2012/main">
        <p15:guide id="1" orient="horz" pos="867">
          <p15:clr>
            <a:srgbClr val="FBAE40"/>
          </p15:clr>
        </p15:guide>
        <p15:guide id="2" pos="240">
          <p15:clr>
            <a:srgbClr val="FBAE40"/>
          </p15:clr>
        </p15:guide>
        <p15:guide id="3" pos="6000">
          <p15:clr>
            <a:srgbClr val="FBAE40"/>
          </p15:clr>
        </p15:guide>
        <p15:guide id="4" pos="3007">
          <p15:clr>
            <a:srgbClr val="FBAE40"/>
          </p15:clr>
        </p15:guide>
        <p15:guide id="5" pos="3233">
          <p15:clr>
            <a:srgbClr val="FBAE40"/>
          </p15:clr>
        </p15:guide>
        <p15:guide id="6" orient="horz" pos="1026">
          <p15:clr>
            <a:srgbClr val="FBAE40"/>
          </p15:clr>
        </p15:guide>
        <p15:guide id="7" orient="horz" pos="256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EED1B81-5172-6496-5271-9EBBEE72F1DC}"/>
              </a:ext>
            </a:extLst>
          </p:cNvPr>
          <p:cNvGraphicFramePr>
            <a:graphicFrameLocks noChangeAspect="1"/>
          </p:cNvGraphicFramePr>
          <p:nvPr userDrawn="1">
            <p:custDataLst>
              <p:tags r:id="rId1"/>
            </p:custDataLst>
            <p:extLst>
              <p:ext uri="{D42A27DB-BD31-4B8C-83A1-F6EECF244321}">
                <p14:modId xmlns:p14="http://schemas.microsoft.com/office/powerpoint/2010/main" val="805166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0EED1B81-5172-6496-5271-9EBBEE72F1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55DAB0CE-D625-30D6-4BF9-A362574B85D1}"/>
              </a:ext>
            </a:extLst>
          </p:cNvPr>
          <p:cNvSpPr/>
          <p:nvPr userDrawn="1"/>
        </p:nvSpPr>
        <p:spPr>
          <a:xfrm>
            <a:off x="7070103" y="0"/>
            <a:ext cx="2835897"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b="0" i="0" dirty="0">
              <a:latin typeface="Roboto" panose="02000000000000000000" pitchFamily="2" charset="0"/>
            </a:endParaRPr>
          </a:p>
        </p:txBody>
      </p:sp>
      <p:sp>
        <p:nvSpPr>
          <p:cNvPr id="11" name="Picture Placeholder 10">
            <a:extLst>
              <a:ext uri="{FF2B5EF4-FFF2-40B4-BE49-F238E27FC236}">
                <a16:creationId xmlns:a16="http://schemas.microsoft.com/office/drawing/2014/main" id="{00AA4605-4081-464E-B78B-62705E50E0AF}"/>
              </a:ext>
            </a:extLst>
          </p:cNvPr>
          <p:cNvSpPr>
            <a:spLocks noGrp="1"/>
          </p:cNvSpPr>
          <p:nvPr>
            <p:ph type="pic" sz="quarter" idx="10"/>
          </p:nvPr>
        </p:nvSpPr>
        <p:spPr>
          <a:xfrm>
            <a:off x="-1" y="0"/>
            <a:ext cx="6693031" cy="6865920"/>
          </a:xfrm>
          <a:prstGeom prst="rect">
            <a:avLst/>
          </a:prstGeom>
        </p:spPr>
        <p:txBody>
          <a:bodyPr/>
          <a:lstStyle/>
          <a:p>
            <a:endParaRPr lang="en-US"/>
          </a:p>
        </p:txBody>
      </p:sp>
      <p:sp>
        <p:nvSpPr>
          <p:cNvPr id="13" name="Text Placeholder 12">
            <a:extLst>
              <a:ext uri="{FF2B5EF4-FFF2-40B4-BE49-F238E27FC236}">
                <a16:creationId xmlns:a16="http://schemas.microsoft.com/office/drawing/2014/main" id="{E5C5A680-8C56-5F4B-9628-6DBE90A8F8F3}"/>
              </a:ext>
            </a:extLst>
          </p:cNvPr>
          <p:cNvSpPr>
            <a:spLocks noGrp="1"/>
          </p:cNvSpPr>
          <p:nvPr>
            <p:ph type="body" sz="quarter" idx="11"/>
          </p:nvPr>
        </p:nvSpPr>
        <p:spPr>
          <a:xfrm>
            <a:off x="7287263" y="3778480"/>
            <a:ext cx="2403475" cy="300970"/>
          </a:xfrm>
          <a:prstGeom prst="rect">
            <a:avLst/>
          </a:prstGeom>
        </p:spPr>
        <p:txBody>
          <a:bodyPr/>
          <a:lstStyle>
            <a:lvl1pPr>
              <a:defRPr sz="1200" b="0" i="0">
                <a:solidFill>
                  <a:schemeClr val="bg1"/>
                </a:solidFill>
                <a:latin typeface="Roboto Light" panose="02000000000000000000" pitchFamily="2" charset="0"/>
                <a:ea typeface="Roboto Light" panose="02000000000000000000" pitchFamily="2" charset="0"/>
                <a:cs typeface="Roboto Light" panose="02000000000000000000" pitchFamily="2" charset="0"/>
              </a:defRPr>
            </a:lvl1pPr>
          </a:lstStyle>
          <a:p>
            <a:pPr lvl="0"/>
            <a:endParaRPr lang="en-GB" dirty="0"/>
          </a:p>
        </p:txBody>
      </p:sp>
      <p:sp>
        <p:nvSpPr>
          <p:cNvPr id="5" name="Text Placeholder 12">
            <a:extLst>
              <a:ext uri="{FF2B5EF4-FFF2-40B4-BE49-F238E27FC236}">
                <a16:creationId xmlns:a16="http://schemas.microsoft.com/office/drawing/2014/main" id="{6F6EA360-6F15-3944-99BD-788CC8EB9002}"/>
              </a:ext>
            </a:extLst>
          </p:cNvPr>
          <p:cNvSpPr>
            <a:spLocks noGrp="1"/>
          </p:cNvSpPr>
          <p:nvPr>
            <p:ph type="body" sz="quarter" idx="13" hasCustomPrompt="1"/>
          </p:nvPr>
        </p:nvSpPr>
        <p:spPr>
          <a:xfrm rot="16200000">
            <a:off x="3448607" y="3244423"/>
            <a:ext cx="6865919" cy="377072"/>
          </a:xfrm>
          <a:prstGeom prst="rect">
            <a:avLst/>
          </a:prstGeom>
          <a:solidFill>
            <a:schemeClr val="accent6"/>
          </a:solidFill>
        </p:spPr>
        <p:txBody>
          <a:bodyPr anchor="ctr"/>
          <a:lstStyle>
            <a:lvl1pPr algn="ctr">
              <a:defRPr sz="1200" b="0" i="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r>
              <a:rPr lang="en-GB" dirty="0"/>
              <a:t>[NAME]</a:t>
            </a:r>
          </a:p>
        </p:txBody>
      </p:sp>
      <p:pic>
        <p:nvPicPr>
          <p:cNvPr id="3" name="Picture 2" descr="A black background with brown text&#10;&#10;Description automatically generated">
            <a:extLst>
              <a:ext uri="{FF2B5EF4-FFF2-40B4-BE49-F238E27FC236}">
                <a16:creationId xmlns:a16="http://schemas.microsoft.com/office/drawing/2014/main" id="{A12432ED-1CAF-BC35-4237-29766ABB69C8}"/>
              </a:ext>
            </a:extLst>
          </p:cNvPr>
          <p:cNvPicPr>
            <a:picLocks noChangeAspect="1"/>
          </p:cNvPicPr>
          <p:nvPr userDrawn="1"/>
        </p:nvPicPr>
        <p:blipFill>
          <a:blip r:embed="rId5">
            <a:lum bright="70000" contrast="-70000"/>
            <a:extLst>
              <a:ext uri="{BEBA8EAE-BF5A-486C-A8C5-ECC9F3942E4B}">
                <a14:imgProps xmlns:a14="http://schemas.microsoft.com/office/drawing/2010/main">
                  <a14:imgLayer r:embed="rId6">
                    <a14:imgEffect>
                      <a14:artisticPhotocopy/>
                    </a14:imgEffect>
                  </a14:imgLayer>
                </a14:imgProps>
              </a:ext>
              <a:ext uri="{28A0092B-C50C-407E-A947-70E740481C1C}">
                <a14:useLocalDpi xmlns:a14="http://schemas.microsoft.com/office/drawing/2010/main" val="0"/>
              </a:ext>
            </a:extLst>
          </a:blip>
          <a:stretch>
            <a:fillRect/>
          </a:stretch>
        </p:blipFill>
        <p:spPr>
          <a:xfrm>
            <a:off x="7581418" y="1218931"/>
            <a:ext cx="1813266" cy="696560"/>
          </a:xfrm>
          <a:prstGeom prst="rect">
            <a:avLst/>
          </a:prstGeom>
        </p:spPr>
      </p:pic>
    </p:spTree>
    <p:extLst>
      <p:ext uri="{BB962C8B-B14F-4D97-AF65-F5344CB8AC3E}">
        <p14:creationId xmlns:p14="http://schemas.microsoft.com/office/powerpoint/2010/main" val="3861335952"/>
      </p:ext>
    </p:extLst>
  </p:cSld>
  <p:clrMapOvr>
    <a:masterClrMapping/>
  </p:clrMapOvr>
  <p:extLst>
    <p:ext uri="{DCECCB84-F9BA-43D5-87BE-67443E8EF086}">
      <p15:sldGuideLst xmlns:p15="http://schemas.microsoft.com/office/powerpoint/2012/main">
        <p15:guide id="1" orient="horz" pos="867">
          <p15:clr>
            <a:srgbClr val="FBAE40"/>
          </p15:clr>
        </p15:guide>
        <p15:guide id="2" pos="240">
          <p15:clr>
            <a:srgbClr val="FBAE40"/>
          </p15:clr>
        </p15:guide>
        <p15:guide id="3" pos="6000">
          <p15:clr>
            <a:srgbClr val="FBAE40"/>
          </p15:clr>
        </p15:guide>
        <p15:guide id="4" pos="3007">
          <p15:clr>
            <a:srgbClr val="FBAE40"/>
          </p15:clr>
        </p15:guide>
        <p15:guide id="5" pos="3233">
          <p15:clr>
            <a:srgbClr val="FBAE40"/>
          </p15:clr>
        </p15:guide>
        <p15:guide id="6" orient="horz" pos="1026">
          <p15:clr>
            <a:srgbClr val="FBAE40"/>
          </p15:clr>
        </p15:guide>
        <p15:guide id="7" orient="horz" pos="256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grpSp>
        <p:nvGrpSpPr>
          <p:cNvPr id="4" name="Group 36"/>
          <p:cNvGrpSpPr/>
          <p:nvPr/>
        </p:nvGrpSpPr>
        <p:grpSpPr>
          <a:xfrm>
            <a:off x="8737794" y="6654523"/>
            <a:ext cx="933156" cy="104000"/>
            <a:chOff x="8756844" y="6671575"/>
            <a:chExt cx="933156" cy="104000"/>
          </a:xfrm>
        </p:grpSpPr>
        <p:sp>
          <p:nvSpPr>
            <p:cNvPr id="39" name="Freeform 9"/>
            <p:cNvSpPr>
              <a:spLocks/>
            </p:cNvSpPr>
            <p:nvPr/>
          </p:nvSpPr>
          <p:spPr bwMode="auto">
            <a:xfrm>
              <a:off x="8756844" y="6692294"/>
              <a:ext cx="43875" cy="60125"/>
            </a:xfrm>
            <a:custGeom>
              <a:avLst/>
              <a:gdLst/>
              <a:ahLst/>
              <a:cxnLst>
                <a:cxn ang="0">
                  <a:pos x="0" y="0"/>
                </a:cxn>
                <a:cxn ang="0">
                  <a:pos x="217" y="0"/>
                </a:cxn>
                <a:cxn ang="0">
                  <a:pos x="217" y="61"/>
                </a:cxn>
                <a:cxn ang="0">
                  <a:pos x="77" y="61"/>
                </a:cxn>
                <a:cxn ang="0">
                  <a:pos x="77" y="121"/>
                </a:cxn>
                <a:cxn ang="0">
                  <a:pos x="199" y="121"/>
                </a:cxn>
                <a:cxn ang="0">
                  <a:pos x="199" y="181"/>
                </a:cxn>
                <a:cxn ang="0">
                  <a:pos x="77" y="181"/>
                </a:cxn>
                <a:cxn ang="0">
                  <a:pos x="77" y="294"/>
                </a:cxn>
                <a:cxn ang="0">
                  <a:pos x="0" y="294"/>
                </a:cxn>
                <a:cxn ang="0">
                  <a:pos x="0" y="0"/>
                </a:cxn>
              </a:cxnLst>
              <a:rect l="0" t="0" r="r" b="b"/>
              <a:pathLst>
                <a:path w="217" h="294">
                  <a:moveTo>
                    <a:pt x="0" y="0"/>
                  </a:moveTo>
                  <a:lnTo>
                    <a:pt x="217" y="0"/>
                  </a:lnTo>
                  <a:lnTo>
                    <a:pt x="217" y="61"/>
                  </a:lnTo>
                  <a:lnTo>
                    <a:pt x="77" y="61"/>
                  </a:lnTo>
                  <a:lnTo>
                    <a:pt x="77" y="121"/>
                  </a:lnTo>
                  <a:lnTo>
                    <a:pt x="199" y="121"/>
                  </a:lnTo>
                  <a:lnTo>
                    <a:pt x="199" y="181"/>
                  </a:lnTo>
                  <a:lnTo>
                    <a:pt x="77" y="181"/>
                  </a:lnTo>
                  <a:lnTo>
                    <a:pt x="77" y="294"/>
                  </a:lnTo>
                  <a:lnTo>
                    <a:pt x="0" y="294"/>
                  </a:lnTo>
                  <a:lnTo>
                    <a:pt x="0" y="0"/>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41" name="Freeform 10"/>
            <p:cNvSpPr>
              <a:spLocks noEditPoints="1"/>
            </p:cNvSpPr>
            <p:nvPr/>
          </p:nvSpPr>
          <p:spPr bwMode="auto">
            <a:xfrm>
              <a:off x="8809250" y="6691482"/>
              <a:ext cx="58906" cy="62156"/>
            </a:xfrm>
            <a:custGeom>
              <a:avLst/>
              <a:gdLst/>
              <a:ahLst/>
              <a:cxnLst>
                <a:cxn ang="0">
                  <a:pos x="145" y="0"/>
                </a:cxn>
                <a:cxn ang="0">
                  <a:pos x="179" y="3"/>
                </a:cxn>
                <a:cxn ang="0">
                  <a:pos x="208" y="13"/>
                </a:cxn>
                <a:cxn ang="0">
                  <a:pos x="232" y="27"/>
                </a:cxn>
                <a:cxn ang="0">
                  <a:pos x="253" y="45"/>
                </a:cxn>
                <a:cxn ang="0">
                  <a:pos x="270" y="67"/>
                </a:cxn>
                <a:cxn ang="0">
                  <a:pos x="281" y="94"/>
                </a:cxn>
                <a:cxn ang="0">
                  <a:pos x="288" y="123"/>
                </a:cxn>
                <a:cxn ang="0">
                  <a:pos x="291" y="154"/>
                </a:cxn>
                <a:cxn ang="0">
                  <a:pos x="288" y="185"/>
                </a:cxn>
                <a:cxn ang="0">
                  <a:pos x="281" y="214"/>
                </a:cxn>
                <a:cxn ang="0">
                  <a:pos x="270" y="239"/>
                </a:cxn>
                <a:cxn ang="0">
                  <a:pos x="253" y="261"/>
                </a:cxn>
                <a:cxn ang="0">
                  <a:pos x="232" y="281"/>
                </a:cxn>
                <a:cxn ang="0">
                  <a:pos x="208" y="295"/>
                </a:cxn>
                <a:cxn ang="0">
                  <a:pos x="179" y="303"/>
                </a:cxn>
                <a:cxn ang="0">
                  <a:pos x="145" y="306"/>
                </a:cxn>
                <a:cxn ang="0">
                  <a:pos x="113" y="303"/>
                </a:cxn>
                <a:cxn ang="0">
                  <a:pos x="84" y="295"/>
                </a:cxn>
                <a:cxn ang="0">
                  <a:pos x="59" y="281"/>
                </a:cxn>
                <a:cxn ang="0">
                  <a:pos x="38" y="261"/>
                </a:cxn>
                <a:cxn ang="0">
                  <a:pos x="23" y="239"/>
                </a:cxn>
                <a:cxn ang="0">
                  <a:pos x="10" y="214"/>
                </a:cxn>
                <a:cxn ang="0">
                  <a:pos x="3" y="185"/>
                </a:cxn>
                <a:cxn ang="0">
                  <a:pos x="0" y="154"/>
                </a:cxn>
                <a:cxn ang="0">
                  <a:pos x="3" y="123"/>
                </a:cxn>
                <a:cxn ang="0">
                  <a:pos x="10" y="94"/>
                </a:cxn>
                <a:cxn ang="0">
                  <a:pos x="23" y="67"/>
                </a:cxn>
                <a:cxn ang="0">
                  <a:pos x="38" y="45"/>
                </a:cxn>
                <a:cxn ang="0">
                  <a:pos x="59" y="27"/>
                </a:cxn>
                <a:cxn ang="0">
                  <a:pos x="84" y="13"/>
                </a:cxn>
                <a:cxn ang="0">
                  <a:pos x="113" y="3"/>
                </a:cxn>
                <a:cxn ang="0">
                  <a:pos x="145" y="0"/>
                </a:cxn>
                <a:cxn ang="0">
                  <a:pos x="145" y="240"/>
                </a:cxn>
                <a:cxn ang="0">
                  <a:pos x="165" y="238"/>
                </a:cxn>
                <a:cxn ang="0">
                  <a:pos x="180" y="231"/>
                </a:cxn>
                <a:cxn ang="0">
                  <a:pos x="193" y="219"/>
                </a:cxn>
                <a:cxn ang="0">
                  <a:pos x="203" y="206"/>
                </a:cxn>
                <a:cxn ang="0">
                  <a:pos x="210" y="190"/>
                </a:cxn>
                <a:cxn ang="0">
                  <a:pos x="213" y="172"/>
                </a:cxn>
                <a:cxn ang="0">
                  <a:pos x="214" y="154"/>
                </a:cxn>
                <a:cxn ang="0">
                  <a:pos x="213" y="134"/>
                </a:cxn>
                <a:cxn ang="0">
                  <a:pos x="210" y="118"/>
                </a:cxn>
                <a:cxn ang="0">
                  <a:pos x="203" y="101"/>
                </a:cxn>
                <a:cxn ang="0">
                  <a:pos x="193" y="87"/>
                </a:cxn>
                <a:cxn ang="0">
                  <a:pos x="180" y="76"/>
                </a:cxn>
                <a:cxn ang="0">
                  <a:pos x="165" y="69"/>
                </a:cxn>
                <a:cxn ang="0">
                  <a:pos x="145" y="66"/>
                </a:cxn>
                <a:cxn ang="0">
                  <a:pos x="126" y="69"/>
                </a:cxn>
                <a:cxn ang="0">
                  <a:pos x="111" y="76"/>
                </a:cxn>
                <a:cxn ang="0">
                  <a:pos x="98" y="87"/>
                </a:cxn>
                <a:cxn ang="0">
                  <a:pos x="88" y="101"/>
                </a:cxn>
                <a:cxn ang="0">
                  <a:pos x="83" y="118"/>
                </a:cxn>
                <a:cxn ang="0">
                  <a:pos x="78" y="134"/>
                </a:cxn>
                <a:cxn ang="0">
                  <a:pos x="77" y="154"/>
                </a:cxn>
                <a:cxn ang="0">
                  <a:pos x="78" y="172"/>
                </a:cxn>
                <a:cxn ang="0">
                  <a:pos x="83" y="190"/>
                </a:cxn>
                <a:cxn ang="0">
                  <a:pos x="88" y="206"/>
                </a:cxn>
                <a:cxn ang="0">
                  <a:pos x="98" y="219"/>
                </a:cxn>
                <a:cxn ang="0">
                  <a:pos x="111" y="231"/>
                </a:cxn>
                <a:cxn ang="0">
                  <a:pos x="126" y="238"/>
                </a:cxn>
                <a:cxn ang="0">
                  <a:pos x="145" y="240"/>
                </a:cxn>
              </a:cxnLst>
              <a:rect l="0" t="0" r="r" b="b"/>
              <a:pathLst>
                <a:path w="291" h="306">
                  <a:moveTo>
                    <a:pt x="145" y="0"/>
                  </a:moveTo>
                  <a:lnTo>
                    <a:pt x="179" y="3"/>
                  </a:lnTo>
                  <a:lnTo>
                    <a:pt x="208" y="13"/>
                  </a:lnTo>
                  <a:lnTo>
                    <a:pt x="232" y="27"/>
                  </a:lnTo>
                  <a:lnTo>
                    <a:pt x="253" y="45"/>
                  </a:lnTo>
                  <a:lnTo>
                    <a:pt x="270" y="67"/>
                  </a:lnTo>
                  <a:lnTo>
                    <a:pt x="281" y="94"/>
                  </a:lnTo>
                  <a:lnTo>
                    <a:pt x="288" y="123"/>
                  </a:lnTo>
                  <a:lnTo>
                    <a:pt x="291" y="154"/>
                  </a:lnTo>
                  <a:lnTo>
                    <a:pt x="288" y="185"/>
                  </a:lnTo>
                  <a:lnTo>
                    <a:pt x="281" y="214"/>
                  </a:lnTo>
                  <a:lnTo>
                    <a:pt x="270" y="239"/>
                  </a:lnTo>
                  <a:lnTo>
                    <a:pt x="253" y="261"/>
                  </a:lnTo>
                  <a:lnTo>
                    <a:pt x="232" y="281"/>
                  </a:lnTo>
                  <a:lnTo>
                    <a:pt x="208" y="295"/>
                  </a:lnTo>
                  <a:lnTo>
                    <a:pt x="179" y="303"/>
                  </a:lnTo>
                  <a:lnTo>
                    <a:pt x="145" y="306"/>
                  </a:lnTo>
                  <a:lnTo>
                    <a:pt x="113" y="303"/>
                  </a:lnTo>
                  <a:lnTo>
                    <a:pt x="84" y="295"/>
                  </a:lnTo>
                  <a:lnTo>
                    <a:pt x="59" y="281"/>
                  </a:lnTo>
                  <a:lnTo>
                    <a:pt x="38" y="261"/>
                  </a:lnTo>
                  <a:lnTo>
                    <a:pt x="23" y="239"/>
                  </a:lnTo>
                  <a:lnTo>
                    <a:pt x="10" y="214"/>
                  </a:lnTo>
                  <a:lnTo>
                    <a:pt x="3" y="185"/>
                  </a:lnTo>
                  <a:lnTo>
                    <a:pt x="0" y="154"/>
                  </a:lnTo>
                  <a:lnTo>
                    <a:pt x="3" y="123"/>
                  </a:lnTo>
                  <a:lnTo>
                    <a:pt x="10" y="94"/>
                  </a:lnTo>
                  <a:lnTo>
                    <a:pt x="23" y="67"/>
                  </a:lnTo>
                  <a:lnTo>
                    <a:pt x="38" y="45"/>
                  </a:lnTo>
                  <a:lnTo>
                    <a:pt x="59" y="27"/>
                  </a:lnTo>
                  <a:lnTo>
                    <a:pt x="84" y="13"/>
                  </a:lnTo>
                  <a:lnTo>
                    <a:pt x="113" y="3"/>
                  </a:lnTo>
                  <a:lnTo>
                    <a:pt x="145" y="0"/>
                  </a:lnTo>
                  <a:close/>
                  <a:moveTo>
                    <a:pt x="145" y="240"/>
                  </a:moveTo>
                  <a:lnTo>
                    <a:pt x="165" y="238"/>
                  </a:lnTo>
                  <a:lnTo>
                    <a:pt x="180" y="231"/>
                  </a:lnTo>
                  <a:lnTo>
                    <a:pt x="193" y="219"/>
                  </a:lnTo>
                  <a:lnTo>
                    <a:pt x="203" y="206"/>
                  </a:lnTo>
                  <a:lnTo>
                    <a:pt x="210" y="190"/>
                  </a:lnTo>
                  <a:lnTo>
                    <a:pt x="213" y="172"/>
                  </a:lnTo>
                  <a:lnTo>
                    <a:pt x="214" y="154"/>
                  </a:lnTo>
                  <a:lnTo>
                    <a:pt x="213" y="134"/>
                  </a:lnTo>
                  <a:lnTo>
                    <a:pt x="210" y="118"/>
                  </a:lnTo>
                  <a:lnTo>
                    <a:pt x="203" y="101"/>
                  </a:lnTo>
                  <a:lnTo>
                    <a:pt x="193" y="87"/>
                  </a:lnTo>
                  <a:lnTo>
                    <a:pt x="180" y="76"/>
                  </a:lnTo>
                  <a:lnTo>
                    <a:pt x="165" y="69"/>
                  </a:lnTo>
                  <a:lnTo>
                    <a:pt x="145" y="66"/>
                  </a:lnTo>
                  <a:lnTo>
                    <a:pt x="126" y="69"/>
                  </a:lnTo>
                  <a:lnTo>
                    <a:pt x="111" y="76"/>
                  </a:lnTo>
                  <a:lnTo>
                    <a:pt x="98" y="87"/>
                  </a:lnTo>
                  <a:lnTo>
                    <a:pt x="88" y="101"/>
                  </a:lnTo>
                  <a:lnTo>
                    <a:pt x="83" y="118"/>
                  </a:lnTo>
                  <a:lnTo>
                    <a:pt x="78" y="134"/>
                  </a:lnTo>
                  <a:lnTo>
                    <a:pt x="77" y="154"/>
                  </a:lnTo>
                  <a:lnTo>
                    <a:pt x="78" y="172"/>
                  </a:lnTo>
                  <a:lnTo>
                    <a:pt x="83" y="190"/>
                  </a:lnTo>
                  <a:lnTo>
                    <a:pt x="88" y="206"/>
                  </a:lnTo>
                  <a:lnTo>
                    <a:pt x="98" y="219"/>
                  </a:lnTo>
                  <a:lnTo>
                    <a:pt x="111" y="231"/>
                  </a:lnTo>
                  <a:lnTo>
                    <a:pt x="126" y="238"/>
                  </a:lnTo>
                  <a:lnTo>
                    <a:pt x="145" y="240"/>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42" name="Freeform 11"/>
            <p:cNvSpPr>
              <a:spLocks noEditPoints="1"/>
            </p:cNvSpPr>
            <p:nvPr/>
          </p:nvSpPr>
          <p:spPr bwMode="auto">
            <a:xfrm>
              <a:off x="8879937" y="6692294"/>
              <a:ext cx="53219" cy="60125"/>
            </a:xfrm>
            <a:custGeom>
              <a:avLst/>
              <a:gdLst/>
              <a:ahLst/>
              <a:cxnLst>
                <a:cxn ang="0">
                  <a:pos x="0" y="0"/>
                </a:cxn>
                <a:cxn ang="0">
                  <a:pos x="150" y="0"/>
                </a:cxn>
                <a:cxn ang="0">
                  <a:pos x="172" y="1"/>
                </a:cxn>
                <a:cxn ang="0">
                  <a:pos x="193" y="5"/>
                </a:cxn>
                <a:cxn ang="0">
                  <a:pos x="213" y="14"/>
                </a:cxn>
                <a:cxn ang="0">
                  <a:pos x="229" y="25"/>
                </a:cxn>
                <a:cxn ang="0">
                  <a:pos x="242" y="40"/>
                </a:cxn>
                <a:cxn ang="0">
                  <a:pos x="250" y="60"/>
                </a:cxn>
                <a:cxn ang="0">
                  <a:pos x="253" y="84"/>
                </a:cxn>
                <a:cxn ang="0">
                  <a:pos x="252" y="102"/>
                </a:cxn>
                <a:cxn ang="0">
                  <a:pos x="246" y="120"/>
                </a:cxn>
                <a:cxn ang="0">
                  <a:pos x="236" y="135"/>
                </a:cxn>
                <a:cxn ang="0">
                  <a:pos x="224" y="148"/>
                </a:cxn>
                <a:cxn ang="0">
                  <a:pos x="207" y="156"/>
                </a:cxn>
                <a:cxn ang="0">
                  <a:pos x="207" y="158"/>
                </a:cxn>
                <a:cxn ang="0">
                  <a:pos x="221" y="163"/>
                </a:cxn>
                <a:cxn ang="0">
                  <a:pos x="231" y="173"/>
                </a:cxn>
                <a:cxn ang="0">
                  <a:pos x="239" y="184"/>
                </a:cxn>
                <a:cxn ang="0">
                  <a:pos x="245" y="198"/>
                </a:cxn>
                <a:cxn ang="0">
                  <a:pos x="248" y="213"/>
                </a:cxn>
                <a:cxn ang="0">
                  <a:pos x="249" y="227"/>
                </a:cxn>
                <a:cxn ang="0">
                  <a:pos x="250" y="239"/>
                </a:cxn>
                <a:cxn ang="0">
                  <a:pos x="252" y="253"/>
                </a:cxn>
                <a:cxn ang="0">
                  <a:pos x="253" y="269"/>
                </a:cxn>
                <a:cxn ang="0">
                  <a:pos x="256" y="285"/>
                </a:cxn>
                <a:cxn ang="0">
                  <a:pos x="262" y="294"/>
                </a:cxn>
                <a:cxn ang="0">
                  <a:pos x="186" y="294"/>
                </a:cxn>
                <a:cxn ang="0">
                  <a:pos x="182" y="285"/>
                </a:cxn>
                <a:cxn ang="0">
                  <a:pos x="179" y="271"/>
                </a:cxn>
                <a:cxn ang="0">
                  <a:pos x="178" y="257"/>
                </a:cxn>
                <a:cxn ang="0">
                  <a:pos x="178" y="247"/>
                </a:cxn>
                <a:cxn ang="0">
                  <a:pos x="176" y="233"/>
                </a:cxn>
                <a:cxn ang="0">
                  <a:pos x="174" y="219"/>
                </a:cxn>
                <a:cxn ang="0">
                  <a:pos x="168" y="206"/>
                </a:cxn>
                <a:cxn ang="0">
                  <a:pos x="161" y="195"/>
                </a:cxn>
                <a:cxn ang="0">
                  <a:pos x="150" y="190"/>
                </a:cxn>
                <a:cxn ang="0">
                  <a:pos x="134" y="187"/>
                </a:cxn>
                <a:cxn ang="0">
                  <a:pos x="76" y="187"/>
                </a:cxn>
                <a:cxn ang="0">
                  <a:pos x="76" y="294"/>
                </a:cxn>
                <a:cxn ang="0">
                  <a:pos x="0" y="294"/>
                </a:cxn>
                <a:cxn ang="0">
                  <a:pos x="0" y="0"/>
                </a:cxn>
                <a:cxn ang="0">
                  <a:pos x="76" y="128"/>
                </a:cxn>
                <a:cxn ang="0">
                  <a:pos x="141" y="128"/>
                </a:cxn>
                <a:cxn ang="0">
                  <a:pos x="157" y="125"/>
                </a:cxn>
                <a:cxn ang="0">
                  <a:pos x="167" y="118"/>
                </a:cxn>
                <a:cxn ang="0">
                  <a:pos x="174" y="109"/>
                </a:cxn>
                <a:cxn ang="0">
                  <a:pos x="176" y="93"/>
                </a:cxn>
                <a:cxn ang="0">
                  <a:pos x="175" y="81"/>
                </a:cxn>
                <a:cxn ang="0">
                  <a:pos x="168" y="72"/>
                </a:cxn>
                <a:cxn ang="0">
                  <a:pos x="160" y="65"/>
                </a:cxn>
                <a:cxn ang="0">
                  <a:pos x="150" y="63"/>
                </a:cxn>
                <a:cxn ang="0">
                  <a:pos x="137" y="61"/>
                </a:cxn>
                <a:cxn ang="0">
                  <a:pos x="76" y="61"/>
                </a:cxn>
                <a:cxn ang="0">
                  <a:pos x="76" y="128"/>
                </a:cxn>
              </a:cxnLst>
              <a:rect l="0" t="0" r="r" b="b"/>
              <a:pathLst>
                <a:path w="262" h="294">
                  <a:moveTo>
                    <a:pt x="0" y="0"/>
                  </a:moveTo>
                  <a:lnTo>
                    <a:pt x="150" y="0"/>
                  </a:lnTo>
                  <a:lnTo>
                    <a:pt x="172" y="1"/>
                  </a:lnTo>
                  <a:lnTo>
                    <a:pt x="193" y="5"/>
                  </a:lnTo>
                  <a:lnTo>
                    <a:pt x="213" y="14"/>
                  </a:lnTo>
                  <a:lnTo>
                    <a:pt x="229" y="25"/>
                  </a:lnTo>
                  <a:lnTo>
                    <a:pt x="242" y="40"/>
                  </a:lnTo>
                  <a:lnTo>
                    <a:pt x="250" y="60"/>
                  </a:lnTo>
                  <a:lnTo>
                    <a:pt x="253" y="84"/>
                  </a:lnTo>
                  <a:lnTo>
                    <a:pt x="252" y="102"/>
                  </a:lnTo>
                  <a:lnTo>
                    <a:pt x="246" y="120"/>
                  </a:lnTo>
                  <a:lnTo>
                    <a:pt x="236" y="135"/>
                  </a:lnTo>
                  <a:lnTo>
                    <a:pt x="224" y="148"/>
                  </a:lnTo>
                  <a:lnTo>
                    <a:pt x="207" y="156"/>
                  </a:lnTo>
                  <a:lnTo>
                    <a:pt x="207" y="158"/>
                  </a:lnTo>
                  <a:lnTo>
                    <a:pt x="221" y="163"/>
                  </a:lnTo>
                  <a:lnTo>
                    <a:pt x="231" y="173"/>
                  </a:lnTo>
                  <a:lnTo>
                    <a:pt x="239" y="184"/>
                  </a:lnTo>
                  <a:lnTo>
                    <a:pt x="245" y="198"/>
                  </a:lnTo>
                  <a:lnTo>
                    <a:pt x="248" y="213"/>
                  </a:lnTo>
                  <a:lnTo>
                    <a:pt x="249" y="227"/>
                  </a:lnTo>
                  <a:lnTo>
                    <a:pt x="250" y="239"/>
                  </a:lnTo>
                  <a:lnTo>
                    <a:pt x="252" y="253"/>
                  </a:lnTo>
                  <a:lnTo>
                    <a:pt x="253" y="269"/>
                  </a:lnTo>
                  <a:lnTo>
                    <a:pt x="256" y="285"/>
                  </a:lnTo>
                  <a:lnTo>
                    <a:pt x="262" y="294"/>
                  </a:lnTo>
                  <a:lnTo>
                    <a:pt x="186" y="294"/>
                  </a:lnTo>
                  <a:lnTo>
                    <a:pt x="182" y="285"/>
                  </a:lnTo>
                  <a:lnTo>
                    <a:pt x="179" y="271"/>
                  </a:lnTo>
                  <a:lnTo>
                    <a:pt x="178" y="257"/>
                  </a:lnTo>
                  <a:lnTo>
                    <a:pt x="178" y="247"/>
                  </a:lnTo>
                  <a:lnTo>
                    <a:pt x="176" y="233"/>
                  </a:lnTo>
                  <a:lnTo>
                    <a:pt x="174" y="219"/>
                  </a:lnTo>
                  <a:lnTo>
                    <a:pt x="168" y="206"/>
                  </a:lnTo>
                  <a:lnTo>
                    <a:pt x="161" y="195"/>
                  </a:lnTo>
                  <a:lnTo>
                    <a:pt x="150" y="190"/>
                  </a:lnTo>
                  <a:lnTo>
                    <a:pt x="134" y="187"/>
                  </a:lnTo>
                  <a:lnTo>
                    <a:pt x="76" y="187"/>
                  </a:lnTo>
                  <a:lnTo>
                    <a:pt x="76" y="294"/>
                  </a:lnTo>
                  <a:lnTo>
                    <a:pt x="0" y="294"/>
                  </a:lnTo>
                  <a:lnTo>
                    <a:pt x="0" y="0"/>
                  </a:lnTo>
                  <a:close/>
                  <a:moveTo>
                    <a:pt x="76" y="128"/>
                  </a:moveTo>
                  <a:lnTo>
                    <a:pt x="141" y="128"/>
                  </a:lnTo>
                  <a:lnTo>
                    <a:pt x="157" y="125"/>
                  </a:lnTo>
                  <a:lnTo>
                    <a:pt x="167" y="118"/>
                  </a:lnTo>
                  <a:lnTo>
                    <a:pt x="174" y="109"/>
                  </a:lnTo>
                  <a:lnTo>
                    <a:pt x="176" y="93"/>
                  </a:lnTo>
                  <a:lnTo>
                    <a:pt x="175" y="81"/>
                  </a:lnTo>
                  <a:lnTo>
                    <a:pt x="168" y="72"/>
                  </a:lnTo>
                  <a:lnTo>
                    <a:pt x="160" y="65"/>
                  </a:lnTo>
                  <a:lnTo>
                    <a:pt x="150" y="63"/>
                  </a:lnTo>
                  <a:lnTo>
                    <a:pt x="137" y="61"/>
                  </a:lnTo>
                  <a:lnTo>
                    <a:pt x="76" y="61"/>
                  </a:lnTo>
                  <a:lnTo>
                    <a:pt x="76" y="128"/>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43" name="Freeform 12"/>
            <p:cNvSpPr>
              <a:spLocks/>
            </p:cNvSpPr>
            <p:nvPr/>
          </p:nvSpPr>
          <p:spPr bwMode="auto">
            <a:xfrm>
              <a:off x="8936812" y="6692294"/>
              <a:ext cx="80438" cy="60125"/>
            </a:xfrm>
            <a:custGeom>
              <a:avLst/>
              <a:gdLst/>
              <a:ahLst/>
              <a:cxnLst>
                <a:cxn ang="0">
                  <a:pos x="315" y="294"/>
                </a:cxn>
                <a:cxn ang="0">
                  <a:pos x="239" y="294"/>
                </a:cxn>
                <a:cxn ang="0">
                  <a:pos x="198" y="92"/>
                </a:cxn>
                <a:cxn ang="0">
                  <a:pos x="158" y="294"/>
                </a:cxn>
                <a:cxn ang="0">
                  <a:pos x="79" y="294"/>
                </a:cxn>
                <a:cxn ang="0">
                  <a:pos x="0" y="0"/>
                </a:cxn>
                <a:cxn ang="0">
                  <a:pos x="77" y="0"/>
                </a:cxn>
                <a:cxn ang="0">
                  <a:pos x="118" y="215"/>
                </a:cxn>
                <a:cxn ang="0">
                  <a:pos x="162" y="0"/>
                </a:cxn>
                <a:cxn ang="0">
                  <a:pos x="234" y="0"/>
                </a:cxn>
                <a:cxn ang="0">
                  <a:pos x="278" y="215"/>
                </a:cxn>
                <a:cxn ang="0">
                  <a:pos x="279" y="215"/>
                </a:cxn>
                <a:cxn ang="0">
                  <a:pos x="320" y="0"/>
                </a:cxn>
                <a:cxn ang="0">
                  <a:pos x="396" y="0"/>
                </a:cxn>
                <a:cxn ang="0">
                  <a:pos x="315" y="294"/>
                </a:cxn>
              </a:cxnLst>
              <a:rect l="0" t="0" r="r" b="b"/>
              <a:pathLst>
                <a:path w="396" h="294">
                  <a:moveTo>
                    <a:pt x="315" y="294"/>
                  </a:moveTo>
                  <a:lnTo>
                    <a:pt x="239" y="294"/>
                  </a:lnTo>
                  <a:lnTo>
                    <a:pt x="198" y="92"/>
                  </a:lnTo>
                  <a:lnTo>
                    <a:pt x="158" y="294"/>
                  </a:lnTo>
                  <a:lnTo>
                    <a:pt x="79" y="294"/>
                  </a:lnTo>
                  <a:lnTo>
                    <a:pt x="0" y="0"/>
                  </a:lnTo>
                  <a:lnTo>
                    <a:pt x="77" y="0"/>
                  </a:lnTo>
                  <a:lnTo>
                    <a:pt x="118" y="215"/>
                  </a:lnTo>
                  <a:lnTo>
                    <a:pt x="162" y="0"/>
                  </a:lnTo>
                  <a:lnTo>
                    <a:pt x="234" y="0"/>
                  </a:lnTo>
                  <a:lnTo>
                    <a:pt x="278" y="215"/>
                  </a:lnTo>
                  <a:lnTo>
                    <a:pt x="279" y="215"/>
                  </a:lnTo>
                  <a:lnTo>
                    <a:pt x="320" y="0"/>
                  </a:lnTo>
                  <a:lnTo>
                    <a:pt x="396" y="0"/>
                  </a:lnTo>
                  <a:lnTo>
                    <a:pt x="315" y="294"/>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44" name="Freeform 13"/>
            <p:cNvSpPr>
              <a:spLocks noEditPoints="1"/>
            </p:cNvSpPr>
            <p:nvPr/>
          </p:nvSpPr>
          <p:spPr bwMode="auto">
            <a:xfrm>
              <a:off x="9017250" y="6692294"/>
              <a:ext cx="60125" cy="60125"/>
            </a:xfrm>
            <a:custGeom>
              <a:avLst/>
              <a:gdLst/>
              <a:ahLst/>
              <a:cxnLst>
                <a:cxn ang="0">
                  <a:pos x="109" y="0"/>
                </a:cxn>
                <a:cxn ang="0">
                  <a:pos x="187" y="0"/>
                </a:cxn>
                <a:cxn ang="0">
                  <a:pos x="298" y="294"/>
                </a:cxn>
                <a:cxn ang="0">
                  <a:pos x="217" y="294"/>
                </a:cxn>
                <a:cxn ang="0">
                  <a:pos x="200" y="241"/>
                </a:cxn>
                <a:cxn ang="0">
                  <a:pos x="96" y="241"/>
                </a:cxn>
                <a:cxn ang="0">
                  <a:pos x="78" y="294"/>
                </a:cxn>
                <a:cxn ang="0">
                  <a:pos x="0" y="294"/>
                </a:cxn>
                <a:cxn ang="0">
                  <a:pos x="109" y="0"/>
                </a:cxn>
                <a:cxn ang="0">
                  <a:pos x="115" y="184"/>
                </a:cxn>
                <a:cxn ang="0">
                  <a:pos x="182" y="184"/>
                </a:cxn>
                <a:cxn ang="0">
                  <a:pos x="148" y="82"/>
                </a:cxn>
                <a:cxn ang="0">
                  <a:pos x="115" y="184"/>
                </a:cxn>
              </a:cxnLst>
              <a:rect l="0" t="0" r="r" b="b"/>
              <a:pathLst>
                <a:path w="298" h="294">
                  <a:moveTo>
                    <a:pt x="109" y="0"/>
                  </a:moveTo>
                  <a:lnTo>
                    <a:pt x="187" y="0"/>
                  </a:lnTo>
                  <a:lnTo>
                    <a:pt x="298" y="294"/>
                  </a:lnTo>
                  <a:lnTo>
                    <a:pt x="217" y="294"/>
                  </a:lnTo>
                  <a:lnTo>
                    <a:pt x="200" y="241"/>
                  </a:lnTo>
                  <a:lnTo>
                    <a:pt x="96" y="241"/>
                  </a:lnTo>
                  <a:lnTo>
                    <a:pt x="78" y="294"/>
                  </a:lnTo>
                  <a:lnTo>
                    <a:pt x="0" y="294"/>
                  </a:lnTo>
                  <a:lnTo>
                    <a:pt x="109" y="0"/>
                  </a:lnTo>
                  <a:close/>
                  <a:moveTo>
                    <a:pt x="115" y="184"/>
                  </a:moveTo>
                  <a:lnTo>
                    <a:pt x="182" y="184"/>
                  </a:lnTo>
                  <a:lnTo>
                    <a:pt x="148" y="82"/>
                  </a:lnTo>
                  <a:lnTo>
                    <a:pt x="115" y="184"/>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45" name="Freeform 14"/>
            <p:cNvSpPr>
              <a:spLocks noEditPoints="1"/>
            </p:cNvSpPr>
            <p:nvPr/>
          </p:nvSpPr>
          <p:spPr bwMode="auto">
            <a:xfrm>
              <a:off x="9085094" y="6692294"/>
              <a:ext cx="53219" cy="60125"/>
            </a:xfrm>
            <a:custGeom>
              <a:avLst/>
              <a:gdLst/>
              <a:ahLst/>
              <a:cxnLst>
                <a:cxn ang="0">
                  <a:pos x="0" y="0"/>
                </a:cxn>
                <a:cxn ang="0">
                  <a:pos x="151" y="0"/>
                </a:cxn>
                <a:cxn ang="0">
                  <a:pos x="173" y="1"/>
                </a:cxn>
                <a:cxn ang="0">
                  <a:pos x="194" y="5"/>
                </a:cxn>
                <a:cxn ang="0">
                  <a:pos x="214" y="14"/>
                </a:cxn>
                <a:cxn ang="0">
                  <a:pos x="231" y="25"/>
                </a:cxn>
                <a:cxn ang="0">
                  <a:pos x="243" y="40"/>
                </a:cxn>
                <a:cxn ang="0">
                  <a:pos x="252" y="60"/>
                </a:cxn>
                <a:cxn ang="0">
                  <a:pos x="254" y="84"/>
                </a:cxn>
                <a:cxn ang="0">
                  <a:pos x="253" y="102"/>
                </a:cxn>
                <a:cxn ang="0">
                  <a:pos x="248" y="120"/>
                </a:cxn>
                <a:cxn ang="0">
                  <a:pos x="238" y="135"/>
                </a:cxn>
                <a:cxn ang="0">
                  <a:pos x="224" y="148"/>
                </a:cxn>
                <a:cxn ang="0">
                  <a:pos x="207" y="156"/>
                </a:cxn>
                <a:cxn ang="0">
                  <a:pos x="207" y="158"/>
                </a:cxn>
                <a:cxn ang="0">
                  <a:pos x="221" y="163"/>
                </a:cxn>
                <a:cxn ang="0">
                  <a:pos x="232" y="173"/>
                </a:cxn>
                <a:cxn ang="0">
                  <a:pos x="239" y="184"/>
                </a:cxn>
                <a:cxn ang="0">
                  <a:pos x="245" y="198"/>
                </a:cxn>
                <a:cxn ang="0">
                  <a:pos x="249" y="213"/>
                </a:cxn>
                <a:cxn ang="0">
                  <a:pos x="250" y="227"/>
                </a:cxn>
                <a:cxn ang="0">
                  <a:pos x="252" y="239"/>
                </a:cxn>
                <a:cxn ang="0">
                  <a:pos x="253" y="253"/>
                </a:cxn>
                <a:cxn ang="0">
                  <a:pos x="254" y="269"/>
                </a:cxn>
                <a:cxn ang="0">
                  <a:pos x="257" y="285"/>
                </a:cxn>
                <a:cxn ang="0">
                  <a:pos x="263" y="294"/>
                </a:cxn>
                <a:cxn ang="0">
                  <a:pos x="187" y="294"/>
                </a:cxn>
                <a:cxn ang="0">
                  <a:pos x="183" y="285"/>
                </a:cxn>
                <a:cxn ang="0">
                  <a:pos x="180" y="271"/>
                </a:cxn>
                <a:cxn ang="0">
                  <a:pos x="179" y="257"/>
                </a:cxn>
                <a:cxn ang="0">
                  <a:pos x="179" y="247"/>
                </a:cxn>
                <a:cxn ang="0">
                  <a:pos x="178" y="233"/>
                </a:cxn>
                <a:cxn ang="0">
                  <a:pos x="175" y="219"/>
                </a:cxn>
                <a:cxn ang="0">
                  <a:pos x="169" y="206"/>
                </a:cxn>
                <a:cxn ang="0">
                  <a:pos x="162" y="195"/>
                </a:cxn>
                <a:cxn ang="0">
                  <a:pos x="151" y="190"/>
                </a:cxn>
                <a:cxn ang="0">
                  <a:pos x="136" y="187"/>
                </a:cxn>
                <a:cxn ang="0">
                  <a:pos x="77" y="187"/>
                </a:cxn>
                <a:cxn ang="0">
                  <a:pos x="77" y="294"/>
                </a:cxn>
                <a:cxn ang="0">
                  <a:pos x="0" y="294"/>
                </a:cxn>
                <a:cxn ang="0">
                  <a:pos x="0" y="0"/>
                </a:cxn>
                <a:cxn ang="0">
                  <a:pos x="77" y="128"/>
                </a:cxn>
                <a:cxn ang="0">
                  <a:pos x="141" y="128"/>
                </a:cxn>
                <a:cxn ang="0">
                  <a:pos x="157" y="125"/>
                </a:cxn>
                <a:cxn ang="0">
                  <a:pos x="168" y="118"/>
                </a:cxn>
                <a:cxn ang="0">
                  <a:pos x="175" y="109"/>
                </a:cxn>
                <a:cxn ang="0">
                  <a:pos x="178" y="93"/>
                </a:cxn>
                <a:cxn ang="0">
                  <a:pos x="176" y="81"/>
                </a:cxn>
                <a:cxn ang="0">
                  <a:pos x="169" y="72"/>
                </a:cxn>
                <a:cxn ang="0">
                  <a:pos x="161" y="65"/>
                </a:cxn>
                <a:cxn ang="0">
                  <a:pos x="151" y="63"/>
                </a:cxn>
                <a:cxn ang="0">
                  <a:pos x="139" y="61"/>
                </a:cxn>
                <a:cxn ang="0">
                  <a:pos x="77" y="61"/>
                </a:cxn>
                <a:cxn ang="0">
                  <a:pos x="77" y="128"/>
                </a:cxn>
              </a:cxnLst>
              <a:rect l="0" t="0" r="r" b="b"/>
              <a:pathLst>
                <a:path w="263" h="294">
                  <a:moveTo>
                    <a:pt x="0" y="0"/>
                  </a:moveTo>
                  <a:lnTo>
                    <a:pt x="151" y="0"/>
                  </a:lnTo>
                  <a:lnTo>
                    <a:pt x="173" y="1"/>
                  </a:lnTo>
                  <a:lnTo>
                    <a:pt x="194" y="5"/>
                  </a:lnTo>
                  <a:lnTo>
                    <a:pt x="214" y="14"/>
                  </a:lnTo>
                  <a:lnTo>
                    <a:pt x="231" y="25"/>
                  </a:lnTo>
                  <a:lnTo>
                    <a:pt x="243" y="40"/>
                  </a:lnTo>
                  <a:lnTo>
                    <a:pt x="252" y="60"/>
                  </a:lnTo>
                  <a:lnTo>
                    <a:pt x="254" y="84"/>
                  </a:lnTo>
                  <a:lnTo>
                    <a:pt x="253" y="102"/>
                  </a:lnTo>
                  <a:lnTo>
                    <a:pt x="248" y="120"/>
                  </a:lnTo>
                  <a:lnTo>
                    <a:pt x="238" y="135"/>
                  </a:lnTo>
                  <a:lnTo>
                    <a:pt x="224" y="148"/>
                  </a:lnTo>
                  <a:lnTo>
                    <a:pt x="207" y="156"/>
                  </a:lnTo>
                  <a:lnTo>
                    <a:pt x="207" y="158"/>
                  </a:lnTo>
                  <a:lnTo>
                    <a:pt x="221" y="163"/>
                  </a:lnTo>
                  <a:lnTo>
                    <a:pt x="232" y="173"/>
                  </a:lnTo>
                  <a:lnTo>
                    <a:pt x="239" y="184"/>
                  </a:lnTo>
                  <a:lnTo>
                    <a:pt x="245" y="198"/>
                  </a:lnTo>
                  <a:lnTo>
                    <a:pt x="249" y="213"/>
                  </a:lnTo>
                  <a:lnTo>
                    <a:pt x="250" y="227"/>
                  </a:lnTo>
                  <a:lnTo>
                    <a:pt x="252" y="239"/>
                  </a:lnTo>
                  <a:lnTo>
                    <a:pt x="253" y="253"/>
                  </a:lnTo>
                  <a:lnTo>
                    <a:pt x="254" y="269"/>
                  </a:lnTo>
                  <a:lnTo>
                    <a:pt x="257" y="285"/>
                  </a:lnTo>
                  <a:lnTo>
                    <a:pt x="263" y="294"/>
                  </a:lnTo>
                  <a:lnTo>
                    <a:pt x="187" y="294"/>
                  </a:lnTo>
                  <a:lnTo>
                    <a:pt x="183" y="285"/>
                  </a:lnTo>
                  <a:lnTo>
                    <a:pt x="180" y="271"/>
                  </a:lnTo>
                  <a:lnTo>
                    <a:pt x="179" y="257"/>
                  </a:lnTo>
                  <a:lnTo>
                    <a:pt x="179" y="247"/>
                  </a:lnTo>
                  <a:lnTo>
                    <a:pt x="178" y="233"/>
                  </a:lnTo>
                  <a:lnTo>
                    <a:pt x="175" y="219"/>
                  </a:lnTo>
                  <a:lnTo>
                    <a:pt x="169" y="206"/>
                  </a:lnTo>
                  <a:lnTo>
                    <a:pt x="162" y="195"/>
                  </a:lnTo>
                  <a:lnTo>
                    <a:pt x="151" y="190"/>
                  </a:lnTo>
                  <a:lnTo>
                    <a:pt x="136" y="187"/>
                  </a:lnTo>
                  <a:lnTo>
                    <a:pt x="77" y="187"/>
                  </a:lnTo>
                  <a:lnTo>
                    <a:pt x="77" y="294"/>
                  </a:lnTo>
                  <a:lnTo>
                    <a:pt x="0" y="294"/>
                  </a:lnTo>
                  <a:lnTo>
                    <a:pt x="0" y="0"/>
                  </a:lnTo>
                  <a:close/>
                  <a:moveTo>
                    <a:pt x="77" y="128"/>
                  </a:moveTo>
                  <a:lnTo>
                    <a:pt x="141" y="128"/>
                  </a:lnTo>
                  <a:lnTo>
                    <a:pt x="157" y="125"/>
                  </a:lnTo>
                  <a:lnTo>
                    <a:pt x="168" y="118"/>
                  </a:lnTo>
                  <a:lnTo>
                    <a:pt x="175" y="109"/>
                  </a:lnTo>
                  <a:lnTo>
                    <a:pt x="178" y="93"/>
                  </a:lnTo>
                  <a:lnTo>
                    <a:pt x="176" y="81"/>
                  </a:lnTo>
                  <a:lnTo>
                    <a:pt x="169" y="72"/>
                  </a:lnTo>
                  <a:lnTo>
                    <a:pt x="161" y="65"/>
                  </a:lnTo>
                  <a:lnTo>
                    <a:pt x="151" y="63"/>
                  </a:lnTo>
                  <a:lnTo>
                    <a:pt x="139" y="61"/>
                  </a:lnTo>
                  <a:lnTo>
                    <a:pt x="77" y="61"/>
                  </a:lnTo>
                  <a:lnTo>
                    <a:pt x="77" y="128"/>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46" name="Freeform 15"/>
            <p:cNvSpPr>
              <a:spLocks noEditPoints="1"/>
            </p:cNvSpPr>
            <p:nvPr/>
          </p:nvSpPr>
          <p:spPr bwMode="auto">
            <a:xfrm>
              <a:off x="9148875" y="6692294"/>
              <a:ext cx="55250" cy="60125"/>
            </a:xfrm>
            <a:custGeom>
              <a:avLst/>
              <a:gdLst/>
              <a:ahLst/>
              <a:cxnLst>
                <a:cxn ang="0">
                  <a:pos x="0" y="0"/>
                </a:cxn>
                <a:cxn ang="0">
                  <a:pos x="127" y="0"/>
                </a:cxn>
                <a:cxn ang="0">
                  <a:pos x="159" y="3"/>
                </a:cxn>
                <a:cxn ang="0">
                  <a:pos x="187" y="10"/>
                </a:cxn>
                <a:cxn ang="0">
                  <a:pos x="212" y="22"/>
                </a:cxn>
                <a:cxn ang="0">
                  <a:pos x="231" y="39"/>
                </a:cxn>
                <a:cxn ang="0">
                  <a:pos x="248" y="60"/>
                </a:cxn>
                <a:cxn ang="0">
                  <a:pos x="261" y="85"/>
                </a:cxn>
                <a:cxn ang="0">
                  <a:pos x="268" y="114"/>
                </a:cxn>
                <a:cxn ang="0">
                  <a:pos x="271" y="146"/>
                </a:cxn>
                <a:cxn ang="0">
                  <a:pos x="268" y="180"/>
                </a:cxn>
                <a:cxn ang="0">
                  <a:pos x="261" y="211"/>
                </a:cxn>
                <a:cxn ang="0">
                  <a:pos x="248" y="236"/>
                </a:cxn>
                <a:cxn ang="0">
                  <a:pos x="231" y="257"/>
                </a:cxn>
                <a:cxn ang="0">
                  <a:pos x="212" y="274"/>
                </a:cxn>
                <a:cxn ang="0">
                  <a:pos x="187" y="285"/>
                </a:cxn>
                <a:cxn ang="0">
                  <a:pos x="159" y="292"/>
                </a:cxn>
                <a:cxn ang="0">
                  <a:pos x="127" y="294"/>
                </a:cxn>
                <a:cxn ang="0">
                  <a:pos x="0" y="294"/>
                </a:cxn>
                <a:cxn ang="0">
                  <a:pos x="0" y="0"/>
                </a:cxn>
                <a:cxn ang="0">
                  <a:pos x="266" y="145"/>
                </a:cxn>
                <a:cxn ang="0">
                  <a:pos x="76" y="42"/>
                </a:cxn>
                <a:cxn ang="0">
                  <a:pos x="76" y="253"/>
                </a:cxn>
                <a:cxn ang="0">
                  <a:pos x="266" y="145"/>
                </a:cxn>
              </a:cxnLst>
              <a:rect l="0" t="0" r="r" b="b"/>
              <a:pathLst>
                <a:path w="271" h="294">
                  <a:moveTo>
                    <a:pt x="0" y="0"/>
                  </a:moveTo>
                  <a:lnTo>
                    <a:pt x="127" y="0"/>
                  </a:lnTo>
                  <a:lnTo>
                    <a:pt x="159" y="3"/>
                  </a:lnTo>
                  <a:lnTo>
                    <a:pt x="187" y="10"/>
                  </a:lnTo>
                  <a:lnTo>
                    <a:pt x="212" y="22"/>
                  </a:lnTo>
                  <a:lnTo>
                    <a:pt x="231" y="39"/>
                  </a:lnTo>
                  <a:lnTo>
                    <a:pt x="248" y="60"/>
                  </a:lnTo>
                  <a:lnTo>
                    <a:pt x="261" y="85"/>
                  </a:lnTo>
                  <a:lnTo>
                    <a:pt x="268" y="114"/>
                  </a:lnTo>
                  <a:lnTo>
                    <a:pt x="271" y="146"/>
                  </a:lnTo>
                  <a:lnTo>
                    <a:pt x="268" y="180"/>
                  </a:lnTo>
                  <a:lnTo>
                    <a:pt x="261" y="211"/>
                  </a:lnTo>
                  <a:lnTo>
                    <a:pt x="248" y="236"/>
                  </a:lnTo>
                  <a:lnTo>
                    <a:pt x="231" y="257"/>
                  </a:lnTo>
                  <a:lnTo>
                    <a:pt x="212" y="274"/>
                  </a:lnTo>
                  <a:lnTo>
                    <a:pt x="187" y="285"/>
                  </a:lnTo>
                  <a:lnTo>
                    <a:pt x="159" y="292"/>
                  </a:lnTo>
                  <a:lnTo>
                    <a:pt x="127" y="294"/>
                  </a:lnTo>
                  <a:lnTo>
                    <a:pt x="0" y="294"/>
                  </a:lnTo>
                  <a:lnTo>
                    <a:pt x="0" y="0"/>
                  </a:lnTo>
                  <a:close/>
                  <a:moveTo>
                    <a:pt x="266" y="145"/>
                  </a:moveTo>
                  <a:lnTo>
                    <a:pt x="76" y="42"/>
                  </a:lnTo>
                  <a:lnTo>
                    <a:pt x="76" y="253"/>
                  </a:lnTo>
                  <a:lnTo>
                    <a:pt x="266" y="145"/>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47" name="Freeform 16"/>
            <p:cNvSpPr>
              <a:spLocks/>
            </p:cNvSpPr>
            <p:nvPr/>
          </p:nvSpPr>
          <p:spPr bwMode="auto">
            <a:xfrm>
              <a:off x="9241094" y="6676450"/>
              <a:ext cx="28844" cy="76375"/>
            </a:xfrm>
            <a:custGeom>
              <a:avLst/>
              <a:gdLst/>
              <a:ahLst/>
              <a:cxnLst>
                <a:cxn ang="0">
                  <a:pos x="87" y="87"/>
                </a:cxn>
                <a:cxn ang="0">
                  <a:pos x="144" y="87"/>
                </a:cxn>
                <a:cxn ang="0">
                  <a:pos x="144" y="116"/>
                </a:cxn>
                <a:cxn ang="0">
                  <a:pos x="87" y="116"/>
                </a:cxn>
                <a:cxn ang="0">
                  <a:pos x="87" y="323"/>
                </a:cxn>
                <a:cxn ang="0">
                  <a:pos x="90" y="333"/>
                </a:cxn>
                <a:cxn ang="0">
                  <a:pos x="94" y="341"/>
                </a:cxn>
                <a:cxn ang="0">
                  <a:pos x="102" y="345"/>
                </a:cxn>
                <a:cxn ang="0">
                  <a:pos x="115" y="348"/>
                </a:cxn>
                <a:cxn ang="0">
                  <a:pos x="144" y="347"/>
                </a:cxn>
                <a:cxn ang="0">
                  <a:pos x="144" y="376"/>
                </a:cxn>
                <a:cxn ang="0">
                  <a:pos x="129" y="377"/>
                </a:cxn>
                <a:cxn ang="0">
                  <a:pos x="113" y="377"/>
                </a:cxn>
                <a:cxn ang="0">
                  <a:pos x="92" y="376"/>
                </a:cxn>
                <a:cxn ang="0">
                  <a:pos x="77" y="372"/>
                </a:cxn>
                <a:cxn ang="0">
                  <a:pos x="64" y="363"/>
                </a:cxn>
                <a:cxn ang="0">
                  <a:pos x="56" y="351"/>
                </a:cxn>
                <a:cxn ang="0">
                  <a:pos x="52" y="335"/>
                </a:cxn>
                <a:cxn ang="0">
                  <a:pos x="50" y="313"/>
                </a:cxn>
                <a:cxn ang="0">
                  <a:pos x="50" y="116"/>
                </a:cxn>
                <a:cxn ang="0">
                  <a:pos x="0" y="116"/>
                </a:cxn>
                <a:cxn ang="0">
                  <a:pos x="0" y="87"/>
                </a:cxn>
                <a:cxn ang="0">
                  <a:pos x="50" y="87"/>
                </a:cxn>
                <a:cxn ang="0">
                  <a:pos x="50" y="0"/>
                </a:cxn>
                <a:cxn ang="0">
                  <a:pos x="87" y="0"/>
                </a:cxn>
                <a:cxn ang="0">
                  <a:pos x="87" y="87"/>
                </a:cxn>
              </a:cxnLst>
              <a:rect l="0" t="0" r="r" b="b"/>
              <a:pathLst>
                <a:path w="144" h="377">
                  <a:moveTo>
                    <a:pt x="87" y="87"/>
                  </a:moveTo>
                  <a:lnTo>
                    <a:pt x="144" y="87"/>
                  </a:lnTo>
                  <a:lnTo>
                    <a:pt x="144" y="116"/>
                  </a:lnTo>
                  <a:lnTo>
                    <a:pt x="87" y="116"/>
                  </a:lnTo>
                  <a:lnTo>
                    <a:pt x="87" y="323"/>
                  </a:lnTo>
                  <a:lnTo>
                    <a:pt x="90" y="333"/>
                  </a:lnTo>
                  <a:lnTo>
                    <a:pt x="94" y="341"/>
                  </a:lnTo>
                  <a:lnTo>
                    <a:pt x="102" y="345"/>
                  </a:lnTo>
                  <a:lnTo>
                    <a:pt x="115" y="348"/>
                  </a:lnTo>
                  <a:lnTo>
                    <a:pt x="144" y="347"/>
                  </a:lnTo>
                  <a:lnTo>
                    <a:pt x="144" y="376"/>
                  </a:lnTo>
                  <a:lnTo>
                    <a:pt x="129" y="377"/>
                  </a:lnTo>
                  <a:lnTo>
                    <a:pt x="113" y="377"/>
                  </a:lnTo>
                  <a:lnTo>
                    <a:pt x="92" y="376"/>
                  </a:lnTo>
                  <a:lnTo>
                    <a:pt x="77" y="372"/>
                  </a:lnTo>
                  <a:lnTo>
                    <a:pt x="64" y="363"/>
                  </a:lnTo>
                  <a:lnTo>
                    <a:pt x="56" y="351"/>
                  </a:lnTo>
                  <a:lnTo>
                    <a:pt x="52" y="335"/>
                  </a:lnTo>
                  <a:lnTo>
                    <a:pt x="50" y="313"/>
                  </a:lnTo>
                  <a:lnTo>
                    <a:pt x="50" y="116"/>
                  </a:lnTo>
                  <a:lnTo>
                    <a:pt x="0" y="116"/>
                  </a:lnTo>
                  <a:lnTo>
                    <a:pt x="0" y="87"/>
                  </a:lnTo>
                  <a:lnTo>
                    <a:pt x="50" y="87"/>
                  </a:lnTo>
                  <a:lnTo>
                    <a:pt x="50" y="0"/>
                  </a:lnTo>
                  <a:lnTo>
                    <a:pt x="87" y="0"/>
                  </a:lnTo>
                  <a:lnTo>
                    <a:pt x="87" y="87"/>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48" name="Freeform 17"/>
            <p:cNvSpPr>
              <a:spLocks/>
            </p:cNvSpPr>
            <p:nvPr/>
          </p:nvSpPr>
          <p:spPr bwMode="auto">
            <a:xfrm>
              <a:off x="9291875" y="6671575"/>
              <a:ext cx="47125" cy="80844"/>
            </a:xfrm>
            <a:custGeom>
              <a:avLst/>
              <a:gdLst/>
              <a:ahLst/>
              <a:cxnLst>
                <a:cxn ang="0">
                  <a:pos x="0" y="0"/>
                </a:cxn>
                <a:cxn ang="0">
                  <a:pos x="35" y="0"/>
                </a:cxn>
                <a:cxn ang="0">
                  <a:pos x="35" y="160"/>
                </a:cxn>
                <a:cxn ang="0">
                  <a:pos x="36" y="160"/>
                </a:cxn>
                <a:cxn ang="0">
                  <a:pos x="48" y="141"/>
                </a:cxn>
                <a:cxn ang="0">
                  <a:pos x="63" y="125"/>
                </a:cxn>
                <a:cxn ang="0">
                  <a:pos x="83" y="114"/>
                </a:cxn>
                <a:cxn ang="0">
                  <a:pos x="105" y="105"/>
                </a:cxn>
                <a:cxn ang="0">
                  <a:pos x="129" y="102"/>
                </a:cxn>
                <a:cxn ang="0">
                  <a:pos x="157" y="104"/>
                </a:cxn>
                <a:cxn ang="0">
                  <a:pos x="179" y="109"/>
                </a:cxn>
                <a:cxn ang="0">
                  <a:pos x="197" y="119"/>
                </a:cxn>
                <a:cxn ang="0">
                  <a:pos x="211" y="132"/>
                </a:cxn>
                <a:cxn ang="0">
                  <a:pos x="222" y="147"/>
                </a:cxn>
                <a:cxn ang="0">
                  <a:pos x="228" y="167"/>
                </a:cxn>
                <a:cxn ang="0">
                  <a:pos x="232" y="189"/>
                </a:cxn>
                <a:cxn ang="0">
                  <a:pos x="233" y="213"/>
                </a:cxn>
                <a:cxn ang="0">
                  <a:pos x="233" y="398"/>
                </a:cxn>
                <a:cxn ang="0">
                  <a:pos x="198" y="398"/>
                </a:cxn>
                <a:cxn ang="0">
                  <a:pos x="198" y="218"/>
                </a:cxn>
                <a:cxn ang="0">
                  <a:pos x="197" y="199"/>
                </a:cxn>
                <a:cxn ang="0">
                  <a:pos x="194" y="179"/>
                </a:cxn>
                <a:cxn ang="0">
                  <a:pos x="187" y="164"/>
                </a:cxn>
                <a:cxn ang="0">
                  <a:pos x="179" y="150"/>
                </a:cxn>
                <a:cxn ang="0">
                  <a:pos x="165" y="140"/>
                </a:cxn>
                <a:cxn ang="0">
                  <a:pos x="148" y="134"/>
                </a:cxn>
                <a:cxn ang="0">
                  <a:pos x="126" y="132"/>
                </a:cxn>
                <a:cxn ang="0">
                  <a:pos x="99" y="134"/>
                </a:cxn>
                <a:cxn ang="0">
                  <a:pos x="78" y="144"/>
                </a:cxn>
                <a:cxn ang="0">
                  <a:pos x="60" y="160"/>
                </a:cxn>
                <a:cxn ang="0">
                  <a:pos x="46" y="179"/>
                </a:cxn>
                <a:cxn ang="0">
                  <a:pos x="38" y="204"/>
                </a:cxn>
                <a:cxn ang="0">
                  <a:pos x="35" y="231"/>
                </a:cxn>
                <a:cxn ang="0">
                  <a:pos x="35" y="398"/>
                </a:cxn>
                <a:cxn ang="0">
                  <a:pos x="0" y="398"/>
                </a:cxn>
                <a:cxn ang="0">
                  <a:pos x="0" y="0"/>
                </a:cxn>
              </a:cxnLst>
              <a:rect l="0" t="0" r="r" b="b"/>
              <a:pathLst>
                <a:path w="233" h="398">
                  <a:moveTo>
                    <a:pt x="0" y="0"/>
                  </a:moveTo>
                  <a:lnTo>
                    <a:pt x="35" y="0"/>
                  </a:lnTo>
                  <a:lnTo>
                    <a:pt x="35" y="160"/>
                  </a:lnTo>
                  <a:lnTo>
                    <a:pt x="36" y="160"/>
                  </a:lnTo>
                  <a:lnTo>
                    <a:pt x="48" y="141"/>
                  </a:lnTo>
                  <a:lnTo>
                    <a:pt x="63" y="125"/>
                  </a:lnTo>
                  <a:lnTo>
                    <a:pt x="83" y="114"/>
                  </a:lnTo>
                  <a:lnTo>
                    <a:pt x="105" y="105"/>
                  </a:lnTo>
                  <a:lnTo>
                    <a:pt x="129" y="102"/>
                  </a:lnTo>
                  <a:lnTo>
                    <a:pt x="157" y="104"/>
                  </a:lnTo>
                  <a:lnTo>
                    <a:pt x="179" y="109"/>
                  </a:lnTo>
                  <a:lnTo>
                    <a:pt x="197" y="119"/>
                  </a:lnTo>
                  <a:lnTo>
                    <a:pt x="211" y="132"/>
                  </a:lnTo>
                  <a:lnTo>
                    <a:pt x="222" y="147"/>
                  </a:lnTo>
                  <a:lnTo>
                    <a:pt x="228" y="167"/>
                  </a:lnTo>
                  <a:lnTo>
                    <a:pt x="232" y="189"/>
                  </a:lnTo>
                  <a:lnTo>
                    <a:pt x="233" y="213"/>
                  </a:lnTo>
                  <a:lnTo>
                    <a:pt x="233" y="398"/>
                  </a:lnTo>
                  <a:lnTo>
                    <a:pt x="198" y="398"/>
                  </a:lnTo>
                  <a:lnTo>
                    <a:pt x="198" y="218"/>
                  </a:lnTo>
                  <a:lnTo>
                    <a:pt x="197" y="199"/>
                  </a:lnTo>
                  <a:lnTo>
                    <a:pt x="194" y="179"/>
                  </a:lnTo>
                  <a:lnTo>
                    <a:pt x="187" y="164"/>
                  </a:lnTo>
                  <a:lnTo>
                    <a:pt x="179" y="150"/>
                  </a:lnTo>
                  <a:lnTo>
                    <a:pt x="165" y="140"/>
                  </a:lnTo>
                  <a:lnTo>
                    <a:pt x="148" y="134"/>
                  </a:lnTo>
                  <a:lnTo>
                    <a:pt x="126" y="132"/>
                  </a:lnTo>
                  <a:lnTo>
                    <a:pt x="99" y="134"/>
                  </a:lnTo>
                  <a:lnTo>
                    <a:pt x="78" y="144"/>
                  </a:lnTo>
                  <a:lnTo>
                    <a:pt x="60" y="160"/>
                  </a:lnTo>
                  <a:lnTo>
                    <a:pt x="46" y="179"/>
                  </a:lnTo>
                  <a:lnTo>
                    <a:pt x="38" y="204"/>
                  </a:lnTo>
                  <a:lnTo>
                    <a:pt x="35" y="231"/>
                  </a:lnTo>
                  <a:lnTo>
                    <a:pt x="35" y="398"/>
                  </a:lnTo>
                  <a:lnTo>
                    <a:pt x="0" y="398"/>
                  </a:lnTo>
                  <a:lnTo>
                    <a:pt x="0" y="0"/>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49" name="Freeform 18"/>
            <p:cNvSpPr>
              <a:spLocks noEditPoints="1"/>
            </p:cNvSpPr>
            <p:nvPr/>
          </p:nvSpPr>
          <p:spPr bwMode="auto">
            <a:xfrm>
              <a:off x="9364187" y="6671575"/>
              <a:ext cx="6906" cy="80844"/>
            </a:xfrm>
            <a:custGeom>
              <a:avLst/>
              <a:gdLst/>
              <a:ahLst/>
              <a:cxnLst>
                <a:cxn ang="0">
                  <a:pos x="0" y="0"/>
                </a:cxn>
                <a:cxn ang="0">
                  <a:pos x="35" y="0"/>
                </a:cxn>
                <a:cxn ang="0">
                  <a:pos x="35" y="56"/>
                </a:cxn>
                <a:cxn ang="0">
                  <a:pos x="0" y="56"/>
                </a:cxn>
                <a:cxn ang="0">
                  <a:pos x="0" y="0"/>
                </a:cxn>
                <a:cxn ang="0">
                  <a:pos x="0" y="111"/>
                </a:cxn>
                <a:cxn ang="0">
                  <a:pos x="35" y="111"/>
                </a:cxn>
                <a:cxn ang="0">
                  <a:pos x="35" y="398"/>
                </a:cxn>
                <a:cxn ang="0">
                  <a:pos x="0" y="398"/>
                </a:cxn>
                <a:cxn ang="0">
                  <a:pos x="0" y="111"/>
                </a:cxn>
              </a:cxnLst>
              <a:rect l="0" t="0" r="r" b="b"/>
              <a:pathLst>
                <a:path w="35" h="398">
                  <a:moveTo>
                    <a:pt x="0" y="0"/>
                  </a:moveTo>
                  <a:lnTo>
                    <a:pt x="35" y="0"/>
                  </a:lnTo>
                  <a:lnTo>
                    <a:pt x="35" y="56"/>
                  </a:lnTo>
                  <a:lnTo>
                    <a:pt x="0" y="56"/>
                  </a:lnTo>
                  <a:lnTo>
                    <a:pt x="0" y="0"/>
                  </a:lnTo>
                  <a:close/>
                  <a:moveTo>
                    <a:pt x="0" y="111"/>
                  </a:moveTo>
                  <a:lnTo>
                    <a:pt x="35" y="111"/>
                  </a:lnTo>
                  <a:lnTo>
                    <a:pt x="35" y="398"/>
                  </a:lnTo>
                  <a:lnTo>
                    <a:pt x="0" y="398"/>
                  </a:lnTo>
                  <a:lnTo>
                    <a:pt x="0" y="111"/>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50" name="Freeform 19"/>
            <p:cNvSpPr>
              <a:spLocks/>
            </p:cNvSpPr>
            <p:nvPr/>
          </p:nvSpPr>
          <p:spPr bwMode="auto">
            <a:xfrm>
              <a:off x="9396281" y="6692294"/>
              <a:ext cx="47125" cy="60125"/>
            </a:xfrm>
            <a:custGeom>
              <a:avLst/>
              <a:gdLst/>
              <a:ahLst/>
              <a:cxnLst>
                <a:cxn ang="0">
                  <a:pos x="0" y="9"/>
                </a:cxn>
                <a:cxn ang="0">
                  <a:pos x="35" y="9"/>
                </a:cxn>
                <a:cxn ang="0">
                  <a:pos x="35" y="58"/>
                </a:cxn>
                <a:cxn ang="0">
                  <a:pos x="36" y="58"/>
                </a:cxn>
                <a:cxn ang="0">
                  <a:pos x="48" y="39"/>
                </a:cxn>
                <a:cxn ang="0">
                  <a:pos x="63" y="23"/>
                </a:cxn>
                <a:cxn ang="0">
                  <a:pos x="83" y="12"/>
                </a:cxn>
                <a:cxn ang="0">
                  <a:pos x="105" y="3"/>
                </a:cxn>
                <a:cxn ang="0">
                  <a:pos x="129" y="0"/>
                </a:cxn>
                <a:cxn ang="0">
                  <a:pos x="157" y="2"/>
                </a:cxn>
                <a:cxn ang="0">
                  <a:pos x="179" y="7"/>
                </a:cxn>
                <a:cxn ang="0">
                  <a:pos x="197" y="17"/>
                </a:cxn>
                <a:cxn ang="0">
                  <a:pos x="211" y="30"/>
                </a:cxn>
                <a:cxn ang="0">
                  <a:pos x="222" y="45"/>
                </a:cxn>
                <a:cxn ang="0">
                  <a:pos x="228" y="65"/>
                </a:cxn>
                <a:cxn ang="0">
                  <a:pos x="232" y="87"/>
                </a:cxn>
                <a:cxn ang="0">
                  <a:pos x="233" y="111"/>
                </a:cxn>
                <a:cxn ang="0">
                  <a:pos x="233" y="296"/>
                </a:cxn>
                <a:cxn ang="0">
                  <a:pos x="198" y="296"/>
                </a:cxn>
                <a:cxn ang="0">
                  <a:pos x="198" y="116"/>
                </a:cxn>
                <a:cxn ang="0">
                  <a:pos x="197" y="97"/>
                </a:cxn>
                <a:cxn ang="0">
                  <a:pos x="194" y="77"/>
                </a:cxn>
                <a:cxn ang="0">
                  <a:pos x="187" y="62"/>
                </a:cxn>
                <a:cxn ang="0">
                  <a:pos x="179" y="48"/>
                </a:cxn>
                <a:cxn ang="0">
                  <a:pos x="165" y="38"/>
                </a:cxn>
                <a:cxn ang="0">
                  <a:pos x="148" y="32"/>
                </a:cxn>
                <a:cxn ang="0">
                  <a:pos x="126" y="30"/>
                </a:cxn>
                <a:cxn ang="0">
                  <a:pos x="99" y="32"/>
                </a:cxn>
                <a:cxn ang="0">
                  <a:pos x="78" y="42"/>
                </a:cxn>
                <a:cxn ang="0">
                  <a:pos x="60" y="58"/>
                </a:cxn>
                <a:cxn ang="0">
                  <a:pos x="46" y="77"/>
                </a:cxn>
                <a:cxn ang="0">
                  <a:pos x="38" y="102"/>
                </a:cxn>
                <a:cxn ang="0">
                  <a:pos x="35" y="129"/>
                </a:cxn>
                <a:cxn ang="0">
                  <a:pos x="35" y="296"/>
                </a:cxn>
                <a:cxn ang="0">
                  <a:pos x="0" y="296"/>
                </a:cxn>
                <a:cxn ang="0">
                  <a:pos x="0" y="9"/>
                </a:cxn>
              </a:cxnLst>
              <a:rect l="0" t="0" r="r" b="b"/>
              <a:pathLst>
                <a:path w="233" h="296">
                  <a:moveTo>
                    <a:pt x="0" y="9"/>
                  </a:moveTo>
                  <a:lnTo>
                    <a:pt x="35" y="9"/>
                  </a:lnTo>
                  <a:lnTo>
                    <a:pt x="35" y="58"/>
                  </a:lnTo>
                  <a:lnTo>
                    <a:pt x="36" y="58"/>
                  </a:lnTo>
                  <a:lnTo>
                    <a:pt x="48" y="39"/>
                  </a:lnTo>
                  <a:lnTo>
                    <a:pt x="63" y="23"/>
                  </a:lnTo>
                  <a:lnTo>
                    <a:pt x="83" y="12"/>
                  </a:lnTo>
                  <a:lnTo>
                    <a:pt x="105" y="3"/>
                  </a:lnTo>
                  <a:lnTo>
                    <a:pt x="129" y="0"/>
                  </a:lnTo>
                  <a:lnTo>
                    <a:pt x="157" y="2"/>
                  </a:lnTo>
                  <a:lnTo>
                    <a:pt x="179" y="7"/>
                  </a:lnTo>
                  <a:lnTo>
                    <a:pt x="197" y="17"/>
                  </a:lnTo>
                  <a:lnTo>
                    <a:pt x="211" y="30"/>
                  </a:lnTo>
                  <a:lnTo>
                    <a:pt x="222" y="45"/>
                  </a:lnTo>
                  <a:lnTo>
                    <a:pt x="228" y="65"/>
                  </a:lnTo>
                  <a:lnTo>
                    <a:pt x="232" y="87"/>
                  </a:lnTo>
                  <a:lnTo>
                    <a:pt x="233" y="111"/>
                  </a:lnTo>
                  <a:lnTo>
                    <a:pt x="233" y="296"/>
                  </a:lnTo>
                  <a:lnTo>
                    <a:pt x="198" y="296"/>
                  </a:lnTo>
                  <a:lnTo>
                    <a:pt x="198" y="116"/>
                  </a:lnTo>
                  <a:lnTo>
                    <a:pt x="197" y="97"/>
                  </a:lnTo>
                  <a:lnTo>
                    <a:pt x="194" y="77"/>
                  </a:lnTo>
                  <a:lnTo>
                    <a:pt x="187" y="62"/>
                  </a:lnTo>
                  <a:lnTo>
                    <a:pt x="179" y="48"/>
                  </a:lnTo>
                  <a:lnTo>
                    <a:pt x="165" y="38"/>
                  </a:lnTo>
                  <a:lnTo>
                    <a:pt x="148" y="32"/>
                  </a:lnTo>
                  <a:lnTo>
                    <a:pt x="126" y="30"/>
                  </a:lnTo>
                  <a:lnTo>
                    <a:pt x="99" y="32"/>
                  </a:lnTo>
                  <a:lnTo>
                    <a:pt x="78" y="42"/>
                  </a:lnTo>
                  <a:lnTo>
                    <a:pt x="60" y="58"/>
                  </a:lnTo>
                  <a:lnTo>
                    <a:pt x="46" y="77"/>
                  </a:lnTo>
                  <a:lnTo>
                    <a:pt x="38" y="102"/>
                  </a:lnTo>
                  <a:lnTo>
                    <a:pt x="35" y="129"/>
                  </a:lnTo>
                  <a:lnTo>
                    <a:pt x="35" y="296"/>
                  </a:lnTo>
                  <a:lnTo>
                    <a:pt x="0" y="296"/>
                  </a:lnTo>
                  <a:lnTo>
                    <a:pt x="0" y="9"/>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51" name="Freeform 20"/>
            <p:cNvSpPr>
              <a:spLocks/>
            </p:cNvSpPr>
            <p:nvPr/>
          </p:nvSpPr>
          <p:spPr bwMode="auto">
            <a:xfrm>
              <a:off x="9468594" y="6671575"/>
              <a:ext cx="50375" cy="80844"/>
            </a:xfrm>
            <a:custGeom>
              <a:avLst/>
              <a:gdLst/>
              <a:ahLst/>
              <a:cxnLst>
                <a:cxn ang="0">
                  <a:pos x="0" y="0"/>
                </a:cxn>
                <a:cxn ang="0">
                  <a:pos x="35" y="0"/>
                </a:cxn>
                <a:cxn ang="0">
                  <a:pos x="35" y="250"/>
                </a:cxn>
                <a:cxn ang="0">
                  <a:pos x="194" y="111"/>
                </a:cxn>
                <a:cxn ang="0">
                  <a:pos x="241" y="111"/>
                </a:cxn>
                <a:cxn ang="0">
                  <a:pos x="119" y="217"/>
                </a:cxn>
                <a:cxn ang="0">
                  <a:pos x="249" y="398"/>
                </a:cxn>
                <a:cxn ang="0">
                  <a:pos x="206" y="398"/>
                </a:cxn>
                <a:cxn ang="0">
                  <a:pos x="91" y="242"/>
                </a:cxn>
                <a:cxn ang="0">
                  <a:pos x="35" y="290"/>
                </a:cxn>
                <a:cxn ang="0">
                  <a:pos x="35" y="398"/>
                </a:cxn>
                <a:cxn ang="0">
                  <a:pos x="0" y="398"/>
                </a:cxn>
                <a:cxn ang="0">
                  <a:pos x="0" y="0"/>
                </a:cxn>
              </a:cxnLst>
              <a:rect l="0" t="0" r="r" b="b"/>
              <a:pathLst>
                <a:path w="249" h="398">
                  <a:moveTo>
                    <a:pt x="0" y="0"/>
                  </a:moveTo>
                  <a:lnTo>
                    <a:pt x="35" y="0"/>
                  </a:lnTo>
                  <a:lnTo>
                    <a:pt x="35" y="250"/>
                  </a:lnTo>
                  <a:lnTo>
                    <a:pt x="194" y="111"/>
                  </a:lnTo>
                  <a:lnTo>
                    <a:pt x="241" y="111"/>
                  </a:lnTo>
                  <a:lnTo>
                    <a:pt x="119" y="217"/>
                  </a:lnTo>
                  <a:lnTo>
                    <a:pt x="249" y="398"/>
                  </a:lnTo>
                  <a:lnTo>
                    <a:pt x="206" y="398"/>
                  </a:lnTo>
                  <a:lnTo>
                    <a:pt x="91" y="242"/>
                  </a:lnTo>
                  <a:lnTo>
                    <a:pt x="35" y="290"/>
                  </a:lnTo>
                  <a:lnTo>
                    <a:pt x="35" y="398"/>
                  </a:lnTo>
                  <a:lnTo>
                    <a:pt x="0" y="398"/>
                  </a:lnTo>
                  <a:lnTo>
                    <a:pt x="0" y="0"/>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52" name="Freeform 21"/>
            <p:cNvSpPr>
              <a:spLocks noEditPoints="1"/>
            </p:cNvSpPr>
            <p:nvPr/>
          </p:nvSpPr>
          <p:spPr bwMode="auto">
            <a:xfrm>
              <a:off x="9536437" y="6671575"/>
              <a:ext cx="7313" cy="80844"/>
            </a:xfrm>
            <a:custGeom>
              <a:avLst/>
              <a:gdLst/>
              <a:ahLst/>
              <a:cxnLst>
                <a:cxn ang="0">
                  <a:pos x="0" y="0"/>
                </a:cxn>
                <a:cxn ang="0">
                  <a:pos x="36" y="0"/>
                </a:cxn>
                <a:cxn ang="0">
                  <a:pos x="36" y="56"/>
                </a:cxn>
                <a:cxn ang="0">
                  <a:pos x="0" y="56"/>
                </a:cxn>
                <a:cxn ang="0">
                  <a:pos x="0" y="0"/>
                </a:cxn>
                <a:cxn ang="0">
                  <a:pos x="0" y="111"/>
                </a:cxn>
                <a:cxn ang="0">
                  <a:pos x="36" y="111"/>
                </a:cxn>
                <a:cxn ang="0">
                  <a:pos x="36" y="398"/>
                </a:cxn>
                <a:cxn ang="0">
                  <a:pos x="0" y="398"/>
                </a:cxn>
                <a:cxn ang="0">
                  <a:pos x="0" y="111"/>
                </a:cxn>
              </a:cxnLst>
              <a:rect l="0" t="0" r="r" b="b"/>
              <a:pathLst>
                <a:path w="36" h="398">
                  <a:moveTo>
                    <a:pt x="0" y="0"/>
                  </a:moveTo>
                  <a:lnTo>
                    <a:pt x="36" y="0"/>
                  </a:lnTo>
                  <a:lnTo>
                    <a:pt x="36" y="56"/>
                  </a:lnTo>
                  <a:lnTo>
                    <a:pt x="0" y="56"/>
                  </a:lnTo>
                  <a:lnTo>
                    <a:pt x="0" y="0"/>
                  </a:lnTo>
                  <a:close/>
                  <a:moveTo>
                    <a:pt x="0" y="111"/>
                  </a:moveTo>
                  <a:lnTo>
                    <a:pt x="36" y="111"/>
                  </a:lnTo>
                  <a:lnTo>
                    <a:pt x="36" y="398"/>
                  </a:lnTo>
                  <a:lnTo>
                    <a:pt x="0" y="398"/>
                  </a:lnTo>
                  <a:lnTo>
                    <a:pt x="0" y="111"/>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53" name="Freeform 22"/>
            <p:cNvSpPr>
              <a:spLocks/>
            </p:cNvSpPr>
            <p:nvPr/>
          </p:nvSpPr>
          <p:spPr bwMode="auto">
            <a:xfrm>
              <a:off x="9568531" y="6692294"/>
              <a:ext cx="47531" cy="60125"/>
            </a:xfrm>
            <a:custGeom>
              <a:avLst/>
              <a:gdLst/>
              <a:ahLst/>
              <a:cxnLst>
                <a:cxn ang="0">
                  <a:pos x="0" y="9"/>
                </a:cxn>
                <a:cxn ang="0">
                  <a:pos x="36" y="9"/>
                </a:cxn>
                <a:cxn ang="0">
                  <a:pos x="36" y="58"/>
                </a:cxn>
                <a:cxn ang="0">
                  <a:pos x="47" y="39"/>
                </a:cxn>
                <a:cxn ang="0">
                  <a:pos x="63" y="23"/>
                </a:cxn>
                <a:cxn ang="0">
                  <a:pos x="82" y="12"/>
                </a:cxn>
                <a:cxn ang="0">
                  <a:pos x="105" y="3"/>
                </a:cxn>
                <a:cxn ang="0">
                  <a:pos x="129" y="0"/>
                </a:cxn>
                <a:cxn ang="0">
                  <a:pos x="156" y="2"/>
                </a:cxn>
                <a:cxn ang="0">
                  <a:pos x="179" y="7"/>
                </a:cxn>
                <a:cxn ang="0">
                  <a:pos x="198" y="17"/>
                </a:cxn>
                <a:cxn ang="0">
                  <a:pos x="212" y="30"/>
                </a:cxn>
                <a:cxn ang="0">
                  <a:pos x="222" y="45"/>
                </a:cxn>
                <a:cxn ang="0">
                  <a:pos x="229" y="65"/>
                </a:cxn>
                <a:cxn ang="0">
                  <a:pos x="233" y="87"/>
                </a:cxn>
                <a:cxn ang="0">
                  <a:pos x="235" y="111"/>
                </a:cxn>
                <a:cxn ang="0">
                  <a:pos x="235" y="296"/>
                </a:cxn>
                <a:cxn ang="0">
                  <a:pos x="198" y="296"/>
                </a:cxn>
                <a:cxn ang="0">
                  <a:pos x="198" y="116"/>
                </a:cxn>
                <a:cxn ang="0">
                  <a:pos x="197" y="97"/>
                </a:cxn>
                <a:cxn ang="0">
                  <a:pos x="194" y="77"/>
                </a:cxn>
                <a:cxn ang="0">
                  <a:pos x="187" y="62"/>
                </a:cxn>
                <a:cxn ang="0">
                  <a:pos x="179" y="48"/>
                </a:cxn>
                <a:cxn ang="0">
                  <a:pos x="165" y="38"/>
                </a:cxn>
                <a:cxn ang="0">
                  <a:pos x="148" y="32"/>
                </a:cxn>
                <a:cxn ang="0">
                  <a:pos x="126" y="30"/>
                </a:cxn>
                <a:cxn ang="0">
                  <a:pos x="99" y="32"/>
                </a:cxn>
                <a:cxn ang="0">
                  <a:pos x="78" y="42"/>
                </a:cxn>
                <a:cxn ang="0">
                  <a:pos x="60" y="58"/>
                </a:cxn>
                <a:cxn ang="0">
                  <a:pos x="47" y="77"/>
                </a:cxn>
                <a:cxn ang="0">
                  <a:pos x="39" y="102"/>
                </a:cxn>
                <a:cxn ang="0">
                  <a:pos x="36" y="129"/>
                </a:cxn>
                <a:cxn ang="0">
                  <a:pos x="36" y="296"/>
                </a:cxn>
                <a:cxn ang="0">
                  <a:pos x="0" y="296"/>
                </a:cxn>
                <a:cxn ang="0">
                  <a:pos x="0" y="9"/>
                </a:cxn>
              </a:cxnLst>
              <a:rect l="0" t="0" r="r" b="b"/>
              <a:pathLst>
                <a:path w="235" h="296">
                  <a:moveTo>
                    <a:pt x="0" y="9"/>
                  </a:moveTo>
                  <a:lnTo>
                    <a:pt x="36" y="9"/>
                  </a:lnTo>
                  <a:lnTo>
                    <a:pt x="36" y="58"/>
                  </a:lnTo>
                  <a:lnTo>
                    <a:pt x="47" y="39"/>
                  </a:lnTo>
                  <a:lnTo>
                    <a:pt x="63" y="23"/>
                  </a:lnTo>
                  <a:lnTo>
                    <a:pt x="82" y="12"/>
                  </a:lnTo>
                  <a:lnTo>
                    <a:pt x="105" y="3"/>
                  </a:lnTo>
                  <a:lnTo>
                    <a:pt x="129" y="0"/>
                  </a:lnTo>
                  <a:lnTo>
                    <a:pt x="156" y="2"/>
                  </a:lnTo>
                  <a:lnTo>
                    <a:pt x="179" y="7"/>
                  </a:lnTo>
                  <a:lnTo>
                    <a:pt x="198" y="17"/>
                  </a:lnTo>
                  <a:lnTo>
                    <a:pt x="212" y="30"/>
                  </a:lnTo>
                  <a:lnTo>
                    <a:pt x="222" y="45"/>
                  </a:lnTo>
                  <a:lnTo>
                    <a:pt x="229" y="65"/>
                  </a:lnTo>
                  <a:lnTo>
                    <a:pt x="233" y="87"/>
                  </a:lnTo>
                  <a:lnTo>
                    <a:pt x="235" y="111"/>
                  </a:lnTo>
                  <a:lnTo>
                    <a:pt x="235" y="296"/>
                  </a:lnTo>
                  <a:lnTo>
                    <a:pt x="198" y="296"/>
                  </a:lnTo>
                  <a:lnTo>
                    <a:pt x="198" y="116"/>
                  </a:lnTo>
                  <a:lnTo>
                    <a:pt x="197" y="97"/>
                  </a:lnTo>
                  <a:lnTo>
                    <a:pt x="194" y="77"/>
                  </a:lnTo>
                  <a:lnTo>
                    <a:pt x="187" y="62"/>
                  </a:lnTo>
                  <a:lnTo>
                    <a:pt x="179" y="48"/>
                  </a:lnTo>
                  <a:lnTo>
                    <a:pt x="165" y="38"/>
                  </a:lnTo>
                  <a:lnTo>
                    <a:pt x="148" y="32"/>
                  </a:lnTo>
                  <a:lnTo>
                    <a:pt x="126" y="30"/>
                  </a:lnTo>
                  <a:lnTo>
                    <a:pt x="99" y="32"/>
                  </a:lnTo>
                  <a:lnTo>
                    <a:pt x="78" y="42"/>
                  </a:lnTo>
                  <a:lnTo>
                    <a:pt x="60" y="58"/>
                  </a:lnTo>
                  <a:lnTo>
                    <a:pt x="47" y="77"/>
                  </a:lnTo>
                  <a:lnTo>
                    <a:pt x="39" y="102"/>
                  </a:lnTo>
                  <a:lnTo>
                    <a:pt x="36" y="129"/>
                  </a:lnTo>
                  <a:lnTo>
                    <a:pt x="36" y="296"/>
                  </a:lnTo>
                  <a:lnTo>
                    <a:pt x="0" y="296"/>
                  </a:lnTo>
                  <a:lnTo>
                    <a:pt x="0" y="9"/>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54" name="Freeform 23"/>
            <p:cNvSpPr>
              <a:spLocks noEditPoints="1"/>
            </p:cNvSpPr>
            <p:nvPr/>
          </p:nvSpPr>
          <p:spPr bwMode="auto">
            <a:xfrm>
              <a:off x="9638000" y="6692294"/>
              <a:ext cx="52000" cy="83281"/>
            </a:xfrm>
            <a:custGeom>
              <a:avLst/>
              <a:gdLst/>
              <a:ahLst/>
              <a:cxnLst>
                <a:cxn ang="0">
                  <a:pos x="256" y="303"/>
                </a:cxn>
                <a:cxn ang="0">
                  <a:pos x="242" y="355"/>
                </a:cxn>
                <a:cxn ang="0">
                  <a:pos x="211" y="390"/>
                </a:cxn>
                <a:cxn ang="0">
                  <a:pos x="162" y="408"/>
                </a:cxn>
                <a:cxn ang="0">
                  <a:pos x="105" y="410"/>
                </a:cxn>
                <a:cxn ang="0">
                  <a:pos x="60" y="396"/>
                </a:cxn>
                <a:cxn ang="0">
                  <a:pos x="25" y="369"/>
                </a:cxn>
                <a:cxn ang="0">
                  <a:pos x="10" y="324"/>
                </a:cxn>
                <a:cxn ang="0">
                  <a:pos x="52" y="343"/>
                </a:cxn>
                <a:cxn ang="0">
                  <a:pos x="76" y="369"/>
                </a:cxn>
                <a:cxn ang="0">
                  <a:pos x="111" y="380"/>
                </a:cxn>
                <a:cxn ang="0">
                  <a:pos x="155" y="379"/>
                </a:cxn>
                <a:cxn ang="0">
                  <a:pos x="193" y="361"/>
                </a:cxn>
                <a:cxn ang="0">
                  <a:pos x="215" y="324"/>
                </a:cxn>
                <a:cxn ang="0">
                  <a:pos x="222" y="273"/>
                </a:cxn>
                <a:cxn ang="0">
                  <a:pos x="221" y="234"/>
                </a:cxn>
                <a:cxn ang="0">
                  <a:pos x="193" y="270"/>
                </a:cxn>
                <a:cxn ang="0">
                  <a:pos x="154" y="290"/>
                </a:cxn>
                <a:cxn ang="0">
                  <a:pos x="101" y="290"/>
                </a:cxn>
                <a:cxn ang="0">
                  <a:pos x="56" y="273"/>
                </a:cxn>
                <a:cxn ang="0">
                  <a:pos x="24" y="241"/>
                </a:cxn>
                <a:cxn ang="0">
                  <a:pos x="6" y="197"/>
                </a:cxn>
                <a:cxn ang="0">
                  <a:pos x="0" y="146"/>
                </a:cxn>
                <a:cxn ang="0">
                  <a:pos x="9" y="90"/>
                </a:cxn>
                <a:cxn ang="0">
                  <a:pos x="34" y="44"/>
                </a:cxn>
                <a:cxn ang="0">
                  <a:pos x="74" y="12"/>
                </a:cxn>
                <a:cxn ang="0">
                  <a:pos x="130" y="0"/>
                </a:cxn>
                <a:cxn ang="0">
                  <a:pos x="176" y="12"/>
                </a:cxn>
                <a:cxn ang="0">
                  <a:pos x="210" y="39"/>
                </a:cxn>
                <a:cxn ang="0">
                  <a:pos x="222" y="58"/>
                </a:cxn>
                <a:cxn ang="0">
                  <a:pos x="257" y="9"/>
                </a:cxn>
                <a:cxn ang="0">
                  <a:pos x="222" y="150"/>
                </a:cxn>
                <a:cxn ang="0">
                  <a:pos x="217" y="107"/>
                </a:cxn>
                <a:cxn ang="0">
                  <a:pos x="201" y="69"/>
                </a:cxn>
                <a:cxn ang="0">
                  <a:pos x="172" y="41"/>
                </a:cxn>
                <a:cxn ang="0">
                  <a:pos x="130" y="30"/>
                </a:cxn>
                <a:cxn ang="0">
                  <a:pos x="87" y="39"/>
                </a:cxn>
                <a:cxn ang="0">
                  <a:pos x="57" y="67"/>
                </a:cxn>
                <a:cxn ang="0">
                  <a:pos x="41" y="105"/>
                </a:cxn>
                <a:cxn ang="0">
                  <a:pos x="35" y="150"/>
                </a:cxn>
                <a:cxn ang="0">
                  <a:pos x="41" y="192"/>
                </a:cxn>
                <a:cxn ang="0">
                  <a:pos x="57" y="228"/>
                </a:cxn>
                <a:cxn ang="0">
                  <a:pos x="88" y="253"/>
                </a:cxn>
                <a:cxn ang="0">
                  <a:pos x="130" y="263"/>
                </a:cxn>
                <a:cxn ang="0">
                  <a:pos x="175" y="250"/>
                </a:cxn>
                <a:cxn ang="0">
                  <a:pos x="206" y="218"/>
                </a:cxn>
                <a:cxn ang="0">
                  <a:pos x="221" y="174"/>
                </a:cxn>
              </a:cxnLst>
              <a:rect l="0" t="0" r="r" b="b"/>
              <a:pathLst>
                <a:path w="257" h="411">
                  <a:moveTo>
                    <a:pt x="257" y="273"/>
                  </a:moveTo>
                  <a:lnTo>
                    <a:pt x="256" y="303"/>
                  </a:lnTo>
                  <a:lnTo>
                    <a:pt x="250" y="331"/>
                  </a:lnTo>
                  <a:lnTo>
                    <a:pt x="242" y="355"/>
                  </a:lnTo>
                  <a:lnTo>
                    <a:pt x="229" y="375"/>
                  </a:lnTo>
                  <a:lnTo>
                    <a:pt x="211" y="390"/>
                  </a:lnTo>
                  <a:lnTo>
                    <a:pt x="189" y="401"/>
                  </a:lnTo>
                  <a:lnTo>
                    <a:pt x="162" y="408"/>
                  </a:lnTo>
                  <a:lnTo>
                    <a:pt x="130" y="411"/>
                  </a:lnTo>
                  <a:lnTo>
                    <a:pt x="105" y="410"/>
                  </a:lnTo>
                  <a:lnTo>
                    <a:pt x="81" y="404"/>
                  </a:lnTo>
                  <a:lnTo>
                    <a:pt x="60" y="396"/>
                  </a:lnTo>
                  <a:lnTo>
                    <a:pt x="41" y="384"/>
                  </a:lnTo>
                  <a:lnTo>
                    <a:pt x="25" y="369"/>
                  </a:lnTo>
                  <a:lnTo>
                    <a:pt x="16" y="348"/>
                  </a:lnTo>
                  <a:lnTo>
                    <a:pt x="10" y="324"/>
                  </a:lnTo>
                  <a:lnTo>
                    <a:pt x="45" y="324"/>
                  </a:lnTo>
                  <a:lnTo>
                    <a:pt x="52" y="343"/>
                  </a:lnTo>
                  <a:lnTo>
                    <a:pt x="62" y="358"/>
                  </a:lnTo>
                  <a:lnTo>
                    <a:pt x="76" y="369"/>
                  </a:lnTo>
                  <a:lnTo>
                    <a:pt x="92" y="376"/>
                  </a:lnTo>
                  <a:lnTo>
                    <a:pt x="111" y="380"/>
                  </a:lnTo>
                  <a:lnTo>
                    <a:pt x="130" y="382"/>
                  </a:lnTo>
                  <a:lnTo>
                    <a:pt x="155" y="379"/>
                  </a:lnTo>
                  <a:lnTo>
                    <a:pt x="176" y="372"/>
                  </a:lnTo>
                  <a:lnTo>
                    <a:pt x="193" y="361"/>
                  </a:lnTo>
                  <a:lnTo>
                    <a:pt x="207" y="345"/>
                  </a:lnTo>
                  <a:lnTo>
                    <a:pt x="215" y="324"/>
                  </a:lnTo>
                  <a:lnTo>
                    <a:pt x="221" y="301"/>
                  </a:lnTo>
                  <a:lnTo>
                    <a:pt x="222" y="273"/>
                  </a:lnTo>
                  <a:lnTo>
                    <a:pt x="222" y="234"/>
                  </a:lnTo>
                  <a:lnTo>
                    <a:pt x="221" y="234"/>
                  </a:lnTo>
                  <a:lnTo>
                    <a:pt x="208" y="253"/>
                  </a:lnTo>
                  <a:lnTo>
                    <a:pt x="193" y="270"/>
                  </a:lnTo>
                  <a:lnTo>
                    <a:pt x="175" y="281"/>
                  </a:lnTo>
                  <a:lnTo>
                    <a:pt x="154" y="290"/>
                  </a:lnTo>
                  <a:lnTo>
                    <a:pt x="130" y="292"/>
                  </a:lnTo>
                  <a:lnTo>
                    <a:pt x="101" y="290"/>
                  </a:lnTo>
                  <a:lnTo>
                    <a:pt x="77" y="283"/>
                  </a:lnTo>
                  <a:lnTo>
                    <a:pt x="56" y="273"/>
                  </a:lnTo>
                  <a:lnTo>
                    <a:pt x="38" y="257"/>
                  </a:lnTo>
                  <a:lnTo>
                    <a:pt x="24" y="241"/>
                  </a:lnTo>
                  <a:lnTo>
                    <a:pt x="13" y="220"/>
                  </a:lnTo>
                  <a:lnTo>
                    <a:pt x="6" y="197"/>
                  </a:lnTo>
                  <a:lnTo>
                    <a:pt x="2" y="172"/>
                  </a:lnTo>
                  <a:lnTo>
                    <a:pt x="0" y="146"/>
                  </a:lnTo>
                  <a:lnTo>
                    <a:pt x="3" y="116"/>
                  </a:lnTo>
                  <a:lnTo>
                    <a:pt x="9" y="90"/>
                  </a:lnTo>
                  <a:lnTo>
                    <a:pt x="20" y="65"/>
                  </a:lnTo>
                  <a:lnTo>
                    <a:pt x="34" y="44"/>
                  </a:lnTo>
                  <a:lnTo>
                    <a:pt x="52" y="26"/>
                  </a:lnTo>
                  <a:lnTo>
                    <a:pt x="74" y="12"/>
                  </a:lnTo>
                  <a:lnTo>
                    <a:pt x="101" y="3"/>
                  </a:lnTo>
                  <a:lnTo>
                    <a:pt x="130" y="0"/>
                  </a:lnTo>
                  <a:lnTo>
                    <a:pt x="154" y="3"/>
                  </a:lnTo>
                  <a:lnTo>
                    <a:pt x="176" y="12"/>
                  </a:lnTo>
                  <a:lnTo>
                    <a:pt x="194" y="24"/>
                  </a:lnTo>
                  <a:lnTo>
                    <a:pt x="210" y="39"/>
                  </a:lnTo>
                  <a:lnTo>
                    <a:pt x="221" y="58"/>
                  </a:lnTo>
                  <a:lnTo>
                    <a:pt x="222" y="58"/>
                  </a:lnTo>
                  <a:lnTo>
                    <a:pt x="222" y="9"/>
                  </a:lnTo>
                  <a:lnTo>
                    <a:pt x="257" y="9"/>
                  </a:lnTo>
                  <a:lnTo>
                    <a:pt x="257" y="273"/>
                  </a:lnTo>
                  <a:close/>
                  <a:moveTo>
                    <a:pt x="222" y="150"/>
                  </a:moveTo>
                  <a:lnTo>
                    <a:pt x="221" y="129"/>
                  </a:lnTo>
                  <a:lnTo>
                    <a:pt x="217" y="107"/>
                  </a:lnTo>
                  <a:lnTo>
                    <a:pt x="211" y="87"/>
                  </a:lnTo>
                  <a:lnTo>
                    <a:pt x="201" y="69"/>
                  </a:lnTo>
                  <a:lnTo>
                    <a:pt x="189" y="52"/>
                  </a:lnTo>
                  <a:lnTo>
                    <a:pt x="172" y="41"/>
                  </a:lnTo>
                  <a:lnTo>
                    <a:pt x="152" y="32"/>
                  </a:lnTo>
                  <a:lnTo>
                    <a:pt x="130" y="30"/>
                  </a:lnTo>
                  <a:lnTo>
                    <a:pt x="106" y="32"/>
                  </a:lnTo>
                  <a:lnTo>
                    <a:pt x="87" y="39"/>
                  </a:lnTo>
                  <a:lnTo>
                    <a:pt x="70" y="52"/>
                  </a:lnTo>
                  <a:lnTo>
                    <a:pt x="57" y="67"/>
                  </a:lnTo>
                  <a:lnTo>
                    <a:pt x="48" y="86"/>
                  </a:lnTo>
                  <a:lnTo>
                    <a:pt x="41" y="105"/>
                  </a:lnTo>
                  <a:lnTo>
                    <a:pt x="37" y="127"/>
                  </a:lnTo>
                  <a:lnTo>
                    <a:pt x="35" y="150"/>
                  </a:lnTo>
                  <a:lnTo>
                    <a:pt x="37" y="171"/>
                  </a:lnTo>
                  <a:lnTo>
                    <a:pt x="41" y="192"/>
                  </a:lnTo>
                  <a:lnTo>
                    <a:pt x="48" y="211"/>
                  </a:lnTo>
                  <a:lnTo>
                    <a:pt x="57" y="228"/>
                  </a:lnTo>
                  <a:lnTo>
                    <a:pt x="71" y="242"/>
                  </a:lnTo>
                  <a:lnTo>
                    <a:pt x="88" y="253"/>
                  </a:lnTo>
                  <a:lnTo>
                    <a:pt x="108" y="260"/>
                  </a:lnTo>
                  <a:lnTo>
                    <a:pt x="130" y="263"/>
                  </a:lnTo>
                  <a:lnTo>
                    <a:pt x="154" y="260"/>
                  </a:lnTo>
                  <a:lnTo>
                    <a:pt x="175" y="250"/>
                  </a:lnTo>
                  <a:lnTo>
                    <a:pt x="192" y="236"/>
                  </a:lnTo>
                  <a:lnTo>
                    <a:pt x="206" y="218"/>
                  </a:lnTo>
                  <a:lnTo>
                    <a:pt x="214" y="197"/>
                  </a:lnTo>
                  <a:lnTo>
                    <a:pt x="221" y="174"/>
                  </a:lnTo>
                  <a:lnTo>
                    <a:pt x="222" y="150"/>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grpSp>
      <p:sp>
        <p:nvSpPr>
          <p:cNvPr id="55" name="TextBox 54"/>
          <p:cNvSpPr txBox="1"/>
          <p:nvPr/>
        </p:nvSpPr>
        <p:spPr>
          <a:xfrm>
            <a:off x="186755" y="6557123"/>
            <a:ext cx="1208584" cy="298800"/>
          </a:xfrm>
          <a:prstGeom prst="rect">
            <a:avLst/>
          </a:prstGeom>
          <a:noFill/>
        </p:spPr>
        <p:txBody>
          <a:bodyPr wrap="none" lIns="36000" tIns="36000" rIns="36000" bIns="36000" rtlCol="0" anchor="ctr">
            <a:noAutofit/>
          </a:bodyPr>
          <a:lstStyle/>
          <a:p>
            <a:pPr algn="l"/>
            <a:r>
              <a:rPr lang="en-AU" sz="700" b="0" cap="all" baseline="0" dirty="0">
                <a:solidFill>
                  <a:schemeClr val="bg1"/>
                </a:solidFill>
              </a:rPr>
              <a:t>STRICTLY CONFIDENTIAL</a:t>
            </a:r>
          </a:p>
        </p:txBody>
      </p:sp>
      <p:grpSp>
        <p:nvGrpSpPr>
          <p:cNvPr id="56" name="Group 55"/>
          <p:cNvGrpSpPr/>
          <p:nvPr userDrawn="1"/>
        </p:nvGrpSpPr>
        <p:grpSpPr>
          <a:xfrm>
            <a:off x="8737794" y="6654523"/>
            <a:ext cx="933156" cy="104000"/>
            <a:chOff x="8756844" y="6671575"/>
            <a:chExt cx="933156" cy="104000"/>
          </a:xfrm>
        </p:grpSpPr>
        <p:sp>
          <p:nvSpPr>
            <p:cNvPr id="57" name="Freeform 9"/>
            <p:cNvSpPr>
              <a:spLocks/>
            </p:cNvSpPr>
            <p:nvPr/>
          </p:nvSpPr>
          <p:spPr bwMode="auto">
            <a:xfrm>
              <a:off x="8756844" y="6692294"/>
              <a:ext cx="43875" cy="60125"/>
            </a:xfrm>
            <a:custGeom>
              <a:avLst/>
              <a:gdLst/>
              <a:ahLst/>
              <a:cxnLst>
                <a:cxn ang="0">
                  <a:pos x="0" y="0"/>
                </a:cxn>
                <a:cxn ang="0">
                  <a:pos x="217" y="0"/>
                </a:cxn>
                <a:cxn ang="0">
                  <a:pos x="217" y="61"/>
                </a:cxn>
                <a:cxn ang="0">
                  <a:pos x="77" y="61"/>
                </a:cxn>
                <a:cxn ang="0">
                  <a:pos x="77" y="121"/>
                </a:cxn>
                <a:cxn ang="0">
                  <a:pos x="199" y="121"/>
                </a:cxn>
                <a:cxn ang="0">
                  <a:pos x="199" y="181"/>
                </a:cxn>
                <a:cxn ang="0">
                  <a:pos x="77" y="181"/>
                </a:cxn>
                <a:cxn ang="0">
                  <a:pos x="77" y="294"/>
                </a:cxn>
                <a:cxn ang="0">
                  <a:pos x="0" y="294"/>
                </a:cxn>
                <a:cxn ang="0">
                  <a:pos x="0" y="0"/>
                </a:cxn>
              </a:cxnLst>
              <a:rect l="0" t="0" r="r" b="b"/>
              <a:pathLst>
                <a:path w="217" h="294">
                  <a:moveTo>
                    <a:pt x="0" y="0"/>
                  </a:moveTo>
                  <a:lnTo>
                    <a:pt x="217" y="0"/>
                  </a:lnTo>
                  <a:lnTo>
                    <a:pt x="217" y="61"/>
                  </a:lnTo>
                  <a:lnTo>
                    <a:pt x="77" y="61"/>
                  </a:lnTo>
                  <a:lnTo>
                    <a:pt x="77" y="121"/>
                  </a:lnTo>
                  <a:lnTo>
                    <a:pt x="199" y="121"/>
                  </a:lnTo>
                  <a:lnTo>
                    <a:pt x="199" y="181"/>
                  </a:lnTo>
                  <a:lnTo>
                    <a:pt x="77" y="181"/>
                  </a:lnTo>
                  <a:lnTo>
                    <a:pt x="77" y="294"/>
                  </a:lnTo>
                  <a:lnTo>
                    <a:pt x="0" y="294"/>
                  </a:lnTo>
                  <a:lnTo>
                    <a:pt x="0" y="0"/>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58" name="Freeform 10"/>
            <p:cNvSpPr>
              <a:spLocks noEditPoints="1"/>
            </p:cNvSpPr>
            <p:nvPr/>
          </p:nvSpPr>
          <p:spPr bwMode="auto">
            <a:xfrm>
              <a:off x="8809250" y="6691482"/>
              <a:ext cx="58906" cy="62156"/>
            </a:xfrm>
            <a:custGeom>
              <a:avLst/>
              <a:gdLst/>
              <a:ahLst/>
              <a:cxnLst>
                <a:cxn ang="0">
                  <a:pos x="145" y="0"/>
                </a:cxn>
                <a:cxn ang="0">
                  <a:pos x="179" y="3"/>
                </a:cxn>
                <a:cxn ang="0">
                  <a:pos x="208" y="13"/>
                </a:cxn>
                <a:cxn ang="0">
                  <a:pos x="232" y="27"/>
                </a:cxn>
                <a:cxn ang="0">
                  <a:pos x="253" y="45"/>
                </a:cxn>
                <a:cxn ang="0">
                  <a:pos x="270" y="67"/>
                </a:cxn>
                <a:cxn ang="0">
                  <a:pos x="281" y="94"/>
                </a:cxn>
                <a:cxn ang="0">
                  <a:pos x="288" y="123"/>
                </a:cxn>
                <a:cxn ang="0">
                  <a:pos x="291" y="154"/>
                </a:cxn>
                <a:cxn ang="0">
                  <a:pos x="288" y="185"/>
                </a:cxn>
                <a:cxn ang="0">
                  <a:pos x="281" y="214"/>
                </a:cxn>
                <a:cxn ang="0">
                  <a:pos x="270" y="239"/>
                </a:cxn>
                <a:cxn ang="0">
                  <a:pos x="253" y="261"/>
                </a:cxn>
                <a:cxn ang="0">
                  <a:pos x="232" y="281"/>
                </a:cxn>
                <a:cxn ang="0">
                  <a:pos x="208" y="295"/>
                </a:cxn>
                <a:cxn ang="0">
                  <a:pos x="179" y="303"/>
                </a:cxn>
                <a:cxn ang="0">
                  <a:pos x="145" y="306"/>
                </a:cxn>
                <a:cxn ang="0">
                  <a:pos x="113" y="303"/>
                </a:cxn>
                <a:cxn ang="0">
                  <a:pos x="84" y="295"/>
                </a:cxn>
                <a:cxn ang="0">
                  <a:pos x="59" y="281"/>
                </a:cxn>
                <a:cxn ang="0">
                  <a:pos x="38" y="261"/>
                </a:cxn>
                <a:cxn ang="0">
                  <a:pos x="23" y="239"/>
                </a:cxn>
                <a:cxn ang="0">
                  <a:pos x="10" y="214"/>
                </a:cxn>
                <a:cxn ang="0">
                  <a:pos x="3" y="185"/>
                </a:cxn>
                <a:cxn ang="0">
                  <a:pos x="0" y="154"/>
                </a:cxn>
                <a:cxn ang="0">
                  <a:pos x="3" y="123"/>
                </a:cxn>
                <a:cxn ang="0">
                  <a:pos x="10" y="94"/>
                </a:cxn>
                <a:cxn ang="0">
                  <a:pos x="23" y="67"/>
                </a:cxn>
                <a:cxn ang="0">
                  <a:pos x="38" y="45"/>
                </a:cxn>
                <a:cxn ang="0">
                  <a:pos x="59" y="27"/>
                </a:cxn>
                <a:cxn ang="0">
                  <a:pos x="84" y="13"/>
                </a:cxn>
                <a:cxn ang="0">
                  <a:pos x="113" y="3"/>
                </a:cxn>
                <a:cxn ang="0">
                  <a:pos x="145" y="0"/>
                </a:cxn>
                <a:cxn ang="0">
                  <a:pos x="145" y="240"/>
                </a:cxn>
                <a:cxn ang="0">
                  <a:pos x="165" y="238"/>
                </a:cxn>
                <a:cxn ang="0">
                  <a:pos x="180" y="231"/>
                </a:cxn>
                <a:cxn ang="0">
                  <a:pos x="193" y="219"/>
                </a:cxn>
                <a:cxn ang="0">
                  <a:pos x="203" y="206"/>
                </a:cxn>
                <a:cxn ang="0">
                  <a:pos x="210" y="190"/>
                </a:cxn>
                <a:cxn ang="0">
                  <a:pos x="213" y="172"/>
                </a:cxn>
                <a:cxn ang="0">
                  <a:pos x="214" y="154"/>
                </a:cxn>
                <a:cxn ang="0">
                  <a:pos x="213" y="134"/>
                </a:cxn>
                <a:cxn ang="0">
                  <a:pos x="210" y="118"/>
                </a:cxn>
                <a:cxn ang="0">
                  <a:pos x="203" y="101"/>
                </a:cxn>
                <a:cxn ang="0">
                  <a:pos x="193" y="87"/>
                </a:cxn>
                <a:cxn ang="0">
                  <a:pos x="180" y="76"/>
                </a:cxn>
                <a:cxn ang="0">
                  <a:pos x="165" y="69"/>
                </a:cxn>
                <a:cxn ang="0">
                  <a:pos x="145" y="66"/>
                </a:cxn>
                <a:cxn ang="0">
                  <a:pos x="126" y="69"/>
                </a:cxn>
                <a:cxn ang="0">
                  <a:pos x="111" y="76"/>
                </a:cxn>
                <a:cxn ang="0">
                  <a:pos x="98" y="87"/>
                </a:cxn>
                <a:cxn ang="0">
                  <a:pos x="88" y="101"/>
                </a:cxn>
                <a:cxn ang="0">
                  <a:pos x="83" y="118"/>
                </a:cxn>
                <a:cxn ang="0">
                  <a:pos x="78" y="134"/>
                </a:cxn>
                <a:cxn ang="0">
                  <a:pos x="77" y="154"/>
                </a:cxn>
                <a:cxn ang="0">
                  <a:pos x="78" y="172"/>
                </a:cxn>
                <a:cxn ang="0">
                  <a:pos x="83" y="190"/>
                </a:cxn>
                <a:cxn ang="0">
                  <a:pos x="88" y="206"/>
                </a:cxn>
                <a:cxn ang="0">
                  <a:pos x="98" y="219"/>
                </a:cxn>
                <a:cxn ang="0">
                  <a:pos x="111" y="231"/>
                </a:cxn>
                <a:cxn ang="0">
                  <a:pos x="126" y="238"/>
                </a:cxn>
                <a:cxn ang="0">
                  <a:pos x="145" y="240"/>
                </a:cxn>
              </a:cxnLst>
              <a:rect l="0" t="0" r="r" b="b"/>
              <a:pathLst>
                <a:path w="291" h="306">
                  <a:moveTo>
                    <a:pt x="145" y="0"/>
                  </a:moveTo>
                  <a:lnTo>
                    <a:pt x="179" y="3"/>
                  </a:lnTo>
                  <a:lnTo>
                    <a:pt x="208" y="13"/>
                  </a:lnTo>
                  <a:lnTo>
                    <a:pt x="232" y="27"/>
                  </a:lnTo>
                  <a:lnTo>
                    <a:pt x="253" y="45"/>
                  </a:lnTo>
                  <a:lnTo>
                    <a:pt x="270" y="67"/>
                  </a:lnTo>
                  <a:lnTo>
                    <a:pt x="281" y="94"/>
                  </a:lnTo>
                  <a:lnTo>
                    <a:pt x="288" y="123"/>
                  </a:lnTo>
                  <a:lnTo>
                    <a:pt x="291" y="154"/>
                  </a:lnTo>
                  <a:lnTo>
                    <a:pt x="288" y="185"/>
                  </a:lnTo>
                  <a:lnTo>
                    <a:pt x="281" y="214"/>
                  </a:lnTo>
                  <a:lnTo>
                    <a:pt x="270" y="239"/>
                  </a:lnTo>
                  <a:lnTo>
                    <a:pt x="253" y="261"/>
                  </a:lnTo>
                  <a:lnTo>
                    <a:pt x="232" y="281"/>
                  </a:lnTo>
                  <a:lnTo>
                    <a:pt x="208" y="295"/>
                  </a:lnTo>
                  <a:lnTo>
                    <a:pt x="179" y="303"/>
                  </a:lnTo>
                  <a:lnTo>
                    <a:pt x="145" y="306"/>
                  </a:lnTo>
                  <a:lnTo>
                    <a:pt x="113" y="303"/>
                  </a:lnTo>
                  <a:lnTo>
                    <a:pt x="84" y="295"/>
                  </a:lnTo>
                  <a:lnTo>
                    <a:pt x="59" y="281"/>
                  </a:lnTo>
                  <a:lnTo>
                    <a:pt x="38" y="261"/>
                  </a:lnTo>
                  <a:lnTo>
                    <a:pt x="23" y="239"/>
                  </a:lnTo>
                  <a:lnTo>
                    <a:pt x="10" y="214"/>
                  </a:lnTo>
                  <a:lnTo>
                    <a:pt x="3" y="185"/>
                  </a:lnTo>
                  <a:lnTo>
                    <a:pt x="0" y="154"/>
                  </a:lnTo>
                  <a:lnTo>
                    <a:pt x="3" y="123"/>
                  </a:lnTo>
                  <a:lnTo>
                    <a:pt x="10" y="94"/>
                  </a:lnTo>
                  <a:lnTo>
                    <a:pt x="23" y="67"/>
                  </a:lnTo>
                  <a:lnTo>
                    <a:pt x="38" y="45"/>
                  </a:lnTo>
                  <a:lnTo>
                    <a:pt x="59" y="27"/>
                  </a:lnTo>
                  <a:lnTo>
                    <a:pt x="84" y="13"/>
                  </a:lnTo>
                  <a:lnTo>
                    <a:pt x="113" y="3"/>
                  </a:lnTo>
                  <a:lnTo>
                    <a:pt x="145" y="0"/>
                  </a:lnTo>
                  <a:close/>
                  <a:moveTo>
                    <a:pt x="145" y="240"/>
                  </a:moveTo>
                  <a:lnTo>
                    <a:pt x="165" y="238"/>
                  </a:lnTo>
                  <a:lnTo>
                    <a:pt x="180" y="231"/>
                  </a:lnTo>
                  <a:lnTo>
                    <a:pt x="193" y="219"/>
                  </a:lnTo>
                  <a:lnTo>
                    <a:pt x="203" y="206"/>
                  </a:lnTo>
                  <a:lnTo>
                    <a:pt x="210" y="190"/>
                  </a:lnTo>
                  <a:lnTo>
                    <a:pt x="213" y="172"/>
                  </a:lnTo>
                  <a:lnTo>
                    <a:pt x="214" y="154"/>
                  </a:lnTo>
                  <a:lnTo>
                    <a:pt x="213" y="134"/>
                  </a:lnTo>
                  <a:lnTo>
                    <a:pt x="210" y="118"/>
                  </a:lnTo>
                  <a:lnTo>
                    <a:pt x="203" y="101"/>
                  </a:lnTo>
                  <a:lnTo>
                    <a:pt x="193" y="87"/>
                  </a:lnTo>
                  <a:lnTo>
                    <a:pt x="180" y="76"/>
                  </a:lnTo>
                  <a:lnTo>
                    <a:pt x="165" y="69"/>
                  </a:lnTo>
                  <a:lnTo>
                    <a:pt x="145" y="66"/>
                  </a:lnTo>
                  <a:lnTo>
                    <a:pt x="126" y="69"/>
                  </a:lnTo>
                  <a:lnTo>
                    <a:pt x="111" y="76"/>
                  </a:lnTo>
                  <a:lnTo>
                    <a:pt x="98" y="87"/>
                  </a:lnTo>
                  <a:lnTo>
                    <a:pt x="88" y="101"/>
                  </a:lnTo>
                  <a:lnTo>
                    <a:pt x="83" y="118"/>
                  </a:lnTo>
                  <a:lnTo>
                    <a:pt x="78" y="134"/>
                  </a:lnTo>
                  <a:lnTo>
                    <a:pt x="77" y="154"/>
                  </a:lnTo>
                  <a:lnTo>
                    <a:pt x="78" y="172"/>
                  </a:lnTo>
                  <a:lnTo>
                    <a:pt x="83" y="190"/>
                  </a:lnTo>
                  <a:lnTo>
                    <a:pt x="88" y="206"/>
                  </a:lnTo>
                  <a:lnTo>
                    <a:pt x="98" y="219"/>
                  </a:lnTo>
                  <a:lnTo>
                    <a:pt x="111" y="231"/>
                  </a:lnTo>
                  <a:lnTo>
                    <a:pt x="126" y="238"/>
                  </a:lnTo>
                  <a:lnTo>
                    <a:pt x="145" y="240"/>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59" name="Freeform 11"/>
            <p:cNvSpPr>
              <a:spLocks noEditPoints="1"/>
            </p:cNvSpPr>
            <p:nvPr/>
          </p:nvSpPr>
          <p:spPr bwMode="auto">
            <a:xfrm>
              <a:off x="8879937" y="6692294"/>
              <a:ext cx="53219" cy="60125"/>
            </a:xfrm>
            <a:custGeom>
              <a:avLst/>
              <a:gdLst/>
              <a:ahLst/>
              <a:cxnLst>
                <a:cxn ang="0">
                  <a:pos x="0" y="0"/>
                </a:cxn>
                <a:cxn ang="0">
                  <a:pos x="150" y="0"/>
                </a:cxn>
                <a:cxn ang="0">
                  <a:pos x="172" y="1"/>
                </a:cxn>
                <a:cxn ang="0">
                  <a:pos x="193" y="5"/>
                </a:cxn>
                <a:cxn ang="0">
                  <a:pos x="213" y="14"/>
                </a:cxn>
                <a:cxn ang="0">
                  <a:pos x="229" y="25"/>
                </a:cxn>
                <a:cxn ang="0">
                  <a:pos x="242" y="40"/>
                </a:cxn>
                <a:cxn ang="0">
                  <a:pos x="250" y="60"/>
                </a:cxn>
                <a:cxn ang="0">
                  <a:pos x="253" y="84"/>
                </a:cxn>
                <a:cxn ang="0">
                  <a:pos x="252" y="102"/>
                </a:cxn>
                <a:cxn ang="0">
                  <a:pos x="246" y="120"/>
                </a:cxn>
                <a:cxn ang="0">
                  <a:pos x="236" y="135"/>
                </a:cxn>
                <a:cxn ang="0">
                  <a:pos x="224" y="148"/>
                </a:cxn>
                <a:cxn ang="0">
                  <a:pos x="207" y="156"/>
                </a:cxn>
                <a:cxn ang="0">
                  <a:pos x="207" y="158"/>
                </a:cxn>
                <a:cxn ang="0">
                  <a:pos x="221" y="163"/>
                </a:cxn>
                <a:cxn ang="0">
                  <a:pos x="231" y="173"/>
                </a:cxn>
                <a:cxn ang="0">
                  <a:pos x="239" y="184"/>
                </a:cxn>
                <a:cxn ang="0">
                  <a:pos x="245" y="198"/>
                </a:cxn>
                <a:cxn ang="0">
                  <a:pos x="248" y="213"/>
                </a:cxn>
                <a:cxn ang="0">
                  <a:pos x="249" y="227"/>
                </a:cxn>
                <a:cxn ang="0">
                  <a:pos x="250" y="239"/>
                </a:cxn>
                <a:cxn ang="0">
                  <a:pos x="252" y="253"/>
                </a:cxn>
                <a:cxn ang="0">
                  <a:pos x="253" y="269"/>
                </a:cxn>
                <a:cxn ang="0">
                  <a:pos x="256" y="285"/>
                </a:cxn>
                <a:cxn ang="0">
                  <a:pos x="262" y="294"/>
                </a:cxn>
                <a:cxn ang="0">
                  <a:pos x="186" y="294"/>
                </a:cxn>
                <a:cxn ang="0">
                  <a:pos x="182" y="285"/>
                </a:cxn>
                <a:cxn ang="0">
                  <a:pos x="179" y="271"/>
                </a:cxn>
                <a:cxn ang="0">
                  <a:pos x="178" y="257"/>
                </a:cxn>
                <a:cxn ang="0">
                  <a:pos x="178" y="247"/>
                </a:cxn>
                <a:cxn ang="0">
                  <a:pos x="176" y="233"/>
                </a:cxn>
                <a:cxn ang="0">
                  <a:pos x="174" y="219"/>
                </a:cxn>
                <a:cxn ang="0">
                  <a:pos x="168" y="206"/>
                </a:cxn>
                <a:cxn ang="0">
                  <a:pos x="161" y="195"/>
                </a:cxn>
                <a:cxn ang="0">
                  <a:pos x="150" y="190"/>
                </a:cxn>
                <a:cxn ang="0">
                  <a:pos x="134" y="187"/>
                </a:cxn>
                <a:cxn ang="0">
                  <a:pos x="76" y="187"/>
                </a:cxn>
                <a:cxn ang="0">
                  <a:pos x="76" y="294"/>
                </a:cxn>
                <a:cxn ang="0">
                  <a:pos x="0" y="294"/>
                </a:cxn>
                <a:cxn ang="0">
                  <a:pos x="0" y="0"/>
                </a:cxn>
                <a:cxn ang="0">
                  <a:pos x="76" y="128"/>
                </a:cxn>
                <a:cxn ang="0">
                  <a:pos x="141" y="128"/>
                </a:cxn>
                <a:cxn ang="0">
                  <a:pos x="157" y="125"/>
                </a:cxn>
                <a:cxn ang="0">
                  <a:pos x="167" y="118"/>
                </a:cxn>
                <a:cxn ang="0">
                  <a:pos x="174" y="109"/>
                </a:cxn>
                <a:cxn ang="0">
                  <a:pos x="176" y="93"/>
                </a:cxn>
                <a:cxn ang="0">
                  <a:pos x="175" y="81"/>
                </a:cxn>
                <a:cxn ang="0">
                  <a:pos x="168" y="72"/>
                </a:cxn>
                <a:cxn ang="0">
                  <a:pos x="160" y="65"/>
                </a:cxn>
                <a:cxn ang="0">
                  <a:pos x="150" y="63"/>
                </a:cxn>
                <a:cxn ang="0">
                  <a:pos x="137" y="61"/>
                </a:cxn>
                <a:cxn ang="0">
                  <a:pos x="76" y="61"/>
                </a:cxn>
                <a:cxn ang="0">
                  <a:pos x="76" y="128"/>
                </a:cxn>
              </a:cxnLst>
              <a:rect l="0" t="0" r="r" b="b"/>
              <a:pathLst>
                <a:path w="262" h="294">
                  <a:moveTo>
                    <a:pt x="0" y="0"/>
                  </a:moveTo>
                  <a:lnTo>
                    <a:pt x="150" y="0"/>
                  </a:lnTo>
                  <a:lnTo>
                    <a:pt x="172" y="1"/>
                  </a:lnTo>
                  <a:lnTo>
                    <a:pt x="193" y="5"/>
                  </a:lnTo>
                  <a:lnTo>
                    <a:pt x="213" y="14"/>
                  </a:lnTo>
                  <a:lnTo>
                    <a:pt x="229" y="25"/>
                  </a:lnTo>
                  <a:lnTo>
                    <a:pt x="242" y="40"/>
                  </a:lnTo>
                  <a:lnTo>
                    <a:pt x="250" y="60"/>
                  </a:lnTo>
                  <a:lnTo>
                    <a:pt x="253" y="84"/>
                  </a:lnTo>
                  <a:lnTo>
                    <a:pt x="252" y="102"/>
                  </a:lnTo>
                  <a:lnTo>
                    <a:pt x="246" y="120"/>
                  </a:lnTo>
                  <a:lnTo>
                    <a:pt x="236" y="135"/>
                  </a:lnTo>
                  <a:lnTo>
                    <a:pt x="224" y="148"/>
                  </a:lnTo>
                  <a:lnTo>
                    <a:pt x="207" y="156"/>
                  </a:lnTo>
                  <a:lnTo>
                    <a:pt x="207" y="158"/>
                  </a:lnTo>
                  <a:lnTo>
                    <a:pt x="221" y="163"/>
                  </a:lnTo>
                  <a:lnTo>
                    <a:pt x="231" y="173"/>
                  </a:lnTo>
                  <a:lnTo>
                    <a:pt x="239" y="184"/>
                  </a:lnTo>
                  <a:lnTo>
                    <a:pt x="245" y="198"/>
                  </a:lnTo>
                  <a:lnTo>
                    <a:pt x="248" y="213"/>
                  </a:lnTo>
                  <a:lnTo>
                    <a:pt x="249" y="227"/>
                  </a:lnTo>
                  <a:lnTo>
                    <a:pt x="250" y="239"/>
                  </a:lnTo>
                  <a:lnTo>
                    <a:pt x="252" y="253"/>
                  </a:lnTo>
                  <a:lnTo>
                    <a:pt x="253" y="269"/>
                  </a:lnTo>
                  <a:lnTo>
                    <a:pt x="256" y="285"/>
                  </a:lnTo>
                  <a:lnTo>
                    <a:pt x="262" y="294"/>
                  </a:lnTo>
                  <a:lnTo>
                    <a:pt x="186" y="294"/>
                  </a:lnTo>
                  <a:lnTo>
                    <a:pt x="182" y="285"/>
                  </a:lnTo>
                  <a:lnTo>
                    <a:pt x="179" y="271"/>
                  </a:lnTo>
                  <a:lnTo>
                    <a:pt x="178" y="257"/>
                  </a:lnTo>
                  <a:lnTo>
                    <a:pt x="178" y="247"/>
                  </a:lnTo>
                  <a:lnTo>
                    <a:pt x="176" y="233"/>
                  </a:lnTo>
                  <a:lnTo>
                    <a:pt x="174" y="219"/>
                  </a:lnTo>
                  <a:lnTo>
                    <a:pt x="168" y="206"/>
                  </a:lnTo>
                  <a:lnTo>
                    <a:pt x="161" y="195"/>
                  </a:lnTo>
                  <a:lnTo>
                    <a:pt x="150" y="190"/>
                  </a:lnTo>
                  <a:lnTo>
                    <a:pt x="134" y="187"/>
                  </a:lnTo>
                  <a:lnTo>
                    <a:pt x="76" y="187"/>
                  </a:lnTo>
                  <a:lnTo>
                    <a:pt x="76" y="294"/>
                  </a:lnTo>
                  <a:lnTo>
                    <a:pt x="0" y="294"/>
                  </a:lnTo>
                  <a:lnTo>
                    <a:pt x="0" y="0"/>
                  </a:lnTo>
                  <a:close/>
                  <a:moveTo>
                    <a:pt x="76" y="128"/>
                  </a:moveTo>
                  <a:lnTo>
                    <a:pt x="141" y="128"/>
                  </a:lnTo>
                  <a:lnTo>
                    <a:pt x="157" y="125"/>
                  </a:lnTo>
                  <a:lnTo>
                    <a:pt x="167" y="118"/>
                  </a:lnTo>
                  <a:lnTo>
                    <a:pt x="174" y="109"/>
                  </a:lnTo>
                  <a:lnTo>
                    <a:pt x="176" y="93"/>
                  </a:lnTo>
                  <a:lnTo>
                    <a:pt x="175" y="81"/>
                  </a:lnTo>
                  <a:lnTo>
                    <a:pt x="168" y="72"/>
                  </a:lnTo>
                  <a:lnTo>
                    <a:pt x="160" y="65"/>
                  </a:lnTo>
                  <a:lnTo>
                    <a:pt x="150" y="63"/>
                  </a:lnTo>
                  <a:lnTo>
                    <a:pt x="137" y="61"/>
                  </a:lnTo>
                  <a:lnTo>
                    <a:pt x="76" y="61"/>
                  </a:lnTo>
                  <a:lnTo>
                    <a:pt x="76" y="128"/>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60" name="Freeform 12"/>
            <p:cNvSpPr>
              <a:spLocks/>
            </p:cNvSpPr>
            <p:nvPr/>
          </p:nvSpPr>
          <p:spPr bwMode="auto">
            <a:xfrm>
              <a:off x="8936812" y="6692294"/>
              <a:ext cx="80438" cy="60125"/>
            </a:xfrm>
            <a:custGeom>
              <a:avLst/>
              <a:gdLst/>
              <a:ahLst/>
              <a:cxnLst>
                <a:cxn ang="0">
                  <a:pos x="315" y="294"/>
                </a:cxn>
                <a:cxn ang="0">
                  <a:pos x="239" y="294"/>
                </a:cxn>
                <a:cxn ang="0">
                  <a:pos x="198" y="92"/>
                </a:cxn>
                <a:cxn ang="0">
                  <a:pos x="158" y="294"/>
                </a:cxn>
                <a:cxn ang="0">
                  <a:pos x="79" y="294"/>
                </a:cxn>
                <a:cxn ang="0">
                  <a:pos x="0" y="0"/>
                </a:cxn>
                <a:cxn ang="0">
                  <a:pos x="77" y="0"/>
                </a:cxn>
                <a:cxn ang="0">
                  <a:pos x="118" y="215"/>
                </a:cxn>
                <a:cxn ang="0">
                  <a:pos x="162" y="0"/>
                </a:cxn>
                <a:cxn ang="0">
                  <a:pos x="234" y="0"/>
                </a:cxn>
                <a:cxn ang="0">
                  <a:pos x="278" y="215"/>
                </a:cxn>
                <a:cxn ang="0">
                  <a:pos x="279" y="215"/>
                </a:cxn>
                <a:cxn ang="0">
                  <a:pos x="320" y="0"/>
                </a:cxn>
                <a:cxn ang="0">
                  <a:pos x="396" y="0"/>
                </a:cxn>
                <a:cxn ang="0">
                  <a:pos x="315" y="294"/>
                </a:cxn>
              </a:cxnLst>
              <a:rect l="0" t="0" r="r" b="b"/>
              <a:pathLst>
                <a:path w="396" h="294">
                  <a:moveTo>
                    <a:pt x="315" y="294"/>
                  </a:moveTo>
                  <a:lnTo>
                    <a:pt x="239" y="294"/>
                  </a:lnTo>
                  <a:lnTo>
                    <a:pt x="198" y="92"/>
                  </a:lnTo>
                  <a:lnTo>
                    <a:pt x="158" y="294"/>
                  </a:lnTo>
                  <a:lnTo>
                    <a:pt x="79" y="294"/>
                  </a:lnTo>
                  <a:lnTo>
                    <a:pt x="0" y="0"/>
                  </a:lnTo>
                  <a:lnTo>
                    <a:pt x="77" y="0"/>
                  </a:lnTo>
                  <a:lnTo>
                    <a:pt x="118" y="215"/>
                  </a:lnTo>
                  <a:lnTo>
                    <a:pt x="162" y="0"/>
                  </a:lnTo>
                  <a:lnTo>
                    <a:pt x="234" y="0"/>
                  </a:lnTo>
                  <a:lnTo>
                    <a:pt x="278" y="215"/>
                  </a:lnTo>
                  <a:lnTo>
                    <a:pt x="279" y="215"/>
                  </a:lnTo>
                  <a:lnTo>
                    <a:pt x="320" y="0"/>
                  </a:lnTo>
                  <a:lnTo>
                    <a:pt x="396" y="0"/>
                  </a:lnTo>
                  <a:lnTo>
                    <a:pt x="315" y="294"/>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61" name="Freeform 13"/>
            <p:cNvSpPr>
              <a:spLocks noEditPoints="1"/>
            </p:cNvSpPr>
            <p:nvPr/>
          </p:nvSpPr>
          <p:spPr bwMode="auto">
            <a:xfrm>
              <a:off x="9017250" y="6692294"/>
              <a:ext cx="60125" cy="60125"/>
            </a:xfrm>
            <a:custGeom>
              <a:avLst/>
              <a:gdLst/>
              <a:ahLst/>
              <a:cxnLst>
                <a:cxn ang="0">
                  <a:pos x="109" y="0"/>
                </a:cxn>
                <a:cxn ang="0">
                  <a:pos x="187" y="0"/>
                </a:cxn>
                <a:cxn ang="0">
                  <a:pos x="298" y="294"/>
                </a:cxn>
                <a:cxn ang="0">
                  <a:pos x="217" y="294"/>
                </a:cxn>
                <a:cxn ang="0">
                  <a:pos x="200" y="241"/>
                </a:cxn>
                <a:cxn ang="0">
                  <a:pos x="96" y="241"/>
                </a:cxn>
                <a:cxn ang="0">
                  <a:pos x="78" y="294"/>
                </a:cxn>
                <a:cxn ang="0">
                  <a:pos x="0" y="294"/>
                </a:cxn>
                <a:cxn ang="0">
                  <a:pos x="109" y="0"/>
                </a:cxn>
                <a:cxn ang="0">
                  <a:pos x="115" y="184"/>
                </a:cxn>
                <a:cxn ang="0">
                  <a:pos x="182" y="184"/>
                </a:cxn>
                <a:cxn ang="0">
                  <a:pos x="148" y="82"/>
                </a:cxn>
                <a:cxn ang="0">
                  <a:pos x="115" y="184"/>
                </a:cxn>
              </a:cxnLst>
              <a:rect l="0" t="0" r="r" b="b"/>
              <a:pathLst>
                <a:path w="298" h="294">
                  <a:moveTo>
                    <a:pt x="109" y="0"/>
                  </a:moveTo>
                  <a:lnTo>
                    <a:pt x="187" y="0"/>
                  </a:lnTo>
                  <a:lnTo>
                    <a:pt x="298" y="294"/>
                  </a:lnTo>
                  <a:lnTo>
                    <a:pt x="217" y="294"/>
                  </a:lnTo>
                  <a:lnTo>
                    <a:pt x="200" y="241"/>
                  </a:lnTo>
                  <a:lnTo>
                    <a:pt x="96" y="241"/>
                  </a:lnTo>
                  <a:lnTo>
                    <a:pt x="78" y="294"/>
                  </a:lnTo>
                  <a:lnTo>
                    <a:pt x="0" y="294"/>
                  </a:lnTo>
                  <a:lnTo>
                    <a:pt x="109" y="0"/>
                  </a:lnTo>
                  <a:close/>
                  <a:moveTo>
                    <a:pt x="115" y="184"/>
                  </a:moveTo>
                  <a:lnTo>
                    <a:pt x="182" y="184"/>
                  </a:lnTo>
                  <a:lnTo>
                    <a:pt x="148" y="82"/>
                  </a:lnTo>
                  <a:lnTo>
                    <a:pt x="115" y="184"/>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62" name="Freeform 14"/>
            <p:cNvSpPr>
              <a:spLocks noEditPoints="1"/>
            </p:cNvSpPr>
            <p:nvPr/>
          </p:nvSpPr>
          <p:spPr bwMode="auto">
            <a:xfrm>
              <a:off x="9085094" y="6692294"/>
              <a:ext cx="53219" cy="60125"/>
            </a:xfrm>
            <a:custGeom>
              <a:avLst/>
              <a:gdLst/>
              <a:ahLst/>
              <a:cxnLst>
                <a:cxn ang="0">
                  <a:pos x="0" y="0"/>
                </a:cxn>
                <a:cxn ang="0">
                  <a:pos x="151" y="0"/>
                </a:cxn>
                <a:cxn ang="0">
                  <a:pos x="173" y="1"/>
                </a:cxn>
                <a:cxn ang="0">
                  <a:pos x="194" y="5"/>
                </a:cxn>
                <a:cxn ang="0">
                  <a:pos x="214" y="14"/>
                </a:cxn>
                <a:cxn ang="0">
                  <a:pos x="231" y="25"/>
                </a:cxn>
                <a:cxn ang="0">
                  <a:pos x="243" y="40"/>
                </a:cxn>
                <a:cxn ang="0">
                  <a:pos x="252" y="60"/>
                </a:cxn>
                <a:cxn ang="0">
                  <a:pos x="254" y="84"/>
                </a:cxn>
                <a:cxn ang="0">
                  <a:pos x="253" y="102"/>
                </a:cxn>
                <a:cxn ang="0">
                  <a:pos x="248" y="120"/>
                </a:cxn>
                <a:cxn ang="0">
                  <a:pos x="238" y="135"/>
                </a:cxn>
                <a:cxn ang="0">
                  <a:pos x="224" y="148"/>
                </a:cxn>
                <a:cxn ang="0">
                  <a:pos x="207" y="156"/>
                </a:cxn>
                <a:cxn ang="0">
                  <a:pos x="207" y="158"/>
                </a:cxn>
                <a:cxn ang="0">
                  <a:pos x="221" y="163"/>
                </a:cxn>
                <a:cxn ang="0">
                  <a:pos x="232" y="173"/>
                </a:cxn>
                <a:cxn ang="0">
                  <a:pos x="239" y="184"/>
                </a:cxn>
                <a:cxn ang="0">
                  <a:pos x="245" y="198"/>
                </a:cxn>
                <a:cxn ang="0">
                  <a:pos x="249" y="213"/>
                </a:cxn>
                <a:cxn ang="0">
                  <a:pos x="250" y="227"/>
                </a:cxn>
                <a:cxn ang="0">
                  <a:pos x="252" y="239"/>
                </a:cxn>
                <a:cxn ang="0">
                  <a:pos x="253" y="253"/>
                </a:cxn>
                <a:cxn ang="0">
                  <a:pos x="254" y="269"/>
                </a:cxn>
                <a:cxn ang="0">
                  <a:pos x="257" y="285"/>
                </a:cxn>
                <a:cxn ang="0">
                  <a:pos x="263" y="294"/>
                </a:cxn>
                <a:cxn ang="0">
                  <a:pos x="187" y="294"/>
                </a:cxn>
                <a:cxn ang="0">
                  <a:pos x="183" y="285"/>
                </a:cxn>
                <a:cxn ang="0">
                  <a:pos x="180" y="271"/>
                </a:cxn>
                <a:cxn ang="0">
                  <a:pos x="179" y="257"/>
                </a:cxn>
                <a:cxn ang="0">
                  <a:pos x="179" y="247"/>
                </a:cxn>
                <a:cxn ang="0">
                  <a:pos x="178" y="233"/>
                </a:cxn>
                <a:cxn ang="0">
                  <a:pos x="175" y="219"/>
                </a:cxn>
                <a:cxn ang="0">
                  <a:pos x="169" y="206"/>
                </a:cxn>
                <a:cxn ang="0">
                  <a:pos x="162" y="195"/>
                </a:cxn>
                <a:cxn ang="0">
                  <a:pos x="151" y="190"/>
                </a:cxn>
                <a:cxn ang="0">
                  <a:pos x="136" y="187"/>
                </a:cxn>
                <a:cxn ang="0">
                  <a:pos x="77" y="187"/>
                </a:cxn>
                <a:cxn ang="0">
                  <a:pos x="77" y="294"/>
                </a:cxn>
                <a:cxn ang="0">
                  <a:pos x="0" y="294"/>
                </a:cxn>
                <a:cxn ang="0">
                  <a:pos x="0" y="0"/>
                </a:cxn>
                <a:cxn ang="0">
                  <a:pos x="77" y="128"/>
                </a:cxn>
                <a:cxn ang="0">
                  <a:pos x="141" y="128"/>
                </a:cxn>
                <a:cxn ang="0">
                  <a:pos x="157" y="125"/>
                </a:cxn>
                <a:cxn ang="0">
                  <a:pos x="168" y="118"/>
                </a:cxn>
                <a:cxn ang="0">
                  <a:pos x="175" y="109"/>
                </a:cxn>
                <a:cxn ang="0">
                  <a:pos x="178" y="93"/>
                </a:cxn>
                <a:cxn ang="0">
                  <a:pos x="176" y="81"/>
                </a:cxn>
                <a:cxn ang="0">
                  <a:pos x="169" y="72"/>
                </a:cxn>
                <a:cxn ang="0">
                  <a:pos x="161" y="65"/>
                </a:cxn>
                <a:cxn ang="0">
                  <a:pos x="151" y="63"/>
                </a:cxn>
                <a:cxn ang="0">
                  <a:pos x="139" y="61"/>
                </a:cxn>
                <a:cxn ang="0">
                  <a:pos x="77" y="61"/>
                </a:cxn>
                <a:cxn ang="0">
                  <a:pos x="77" y="128"/>
                </a:cxn>
              </a:cxnLst>
              <a:rect l="0" t="0" r="r" b="b"/>
              <a:pathLst>
                <a:path w="263" h="294">
                  <a:moveTo>
                    <a:pt x="0" y="0"/>
                  </a:moveTo>
                  <a:lnTo>
                    <a:pt x="151" y="0"/>
                  </a:lnTo>
                  <a:lnTo>
                    <a:pt x="173" y="1"/>
                  </a:lnTo>
                  <a:lnTo>
                    <a:pt x="194" y="5"/>
                  </a:lnTo>
                  <a:lnTo>
                    <a:pt x="214" y="14"/>
                  </a:lnTo>
                  <a:lnTo>
                    <a:pt x="231" y="25"/>
                  </a:lnTo>
                  <a:lnTo>
                    <a:pt x="243" y="40"/>
                  </a:lnTo>
                  <a:lnTo>
                    <a:pt x="252" y="60"/>
                  </a:lnTo>
                  <a:lnTo>
                    <a:pt x="254" y="84"/>
                  </a:lnTo>
                  <a:lnTo>
                    <a:pt x="253" y="102"/>
                  </a:lnTo>
                  <a:lnTo>
                    <a:pt x="248" y="120"/>
                  </a:lnTo>
                  <a:lnTo>
                    <a:pt x="238" y="135"/>
                  </a:lnTo>
                  <a:lnTo>
                    <a:pt x="224" y="148"/>
                  </a:lnTo>
                  <a:lnTo>
                    <a:pt x="207" y="156"/>
                  </a:lnTo>
                  <a:lnTo>
                    <a:pt x="207" y="158"/>
                  </a:lnTo>
                  <a:lnTo>
                    <a:pt x="221" y="163"/>
                  </a:lnTo>
                  <a:lnTo>
                    <a:pt x="232" y="173"/>
                  </a:lnTo>
                  <a:lnTo>
                    <a:pt x="239" y="184"/>
                  </a:lnTo>
                  <a:lnTo>
                    <a:pt x="245" y="198"/>
                  </a:lnTo>
                  <a:lnTo>
                    <a:pt x="249" y="213"/>
                  </a:lnTo>
                  <a:lnTo>
                    <a:pt x="250" y="227"/>
                  </a:lnTo>
                  <a:lnTo>
                    <a:pt x="252" y="239"/>
                  </a:lnTo>
                  <a:lnTo>
                    <a:pt x="253" y="253"/>
                  </a:lnTo>
                  <a:lnTo>
                    <a:pt x="254" y="269"/>
                  </a:lnTo>
                  <a:lnTo>
                    <a:pt x="257" y="285"/>
                  </a:lnTo>
                  <a:lnTo>
                    <a:pt x="263" y="294"/>
                  </a:lnTo>
                  <a:lnTo>
                    <a:pt x="187" y="294"/>
                  </a:lnTo>
                  <a:lnTo>
                    <a:pt x="183" y="285"/>
                  </a:lnTo>
                  <a:lnTo>
                    <a:pt x="180" y="271"/>
                  </a:lnTo>
                  <a:lnTo>
                    <a:pt x="179" y="257"/>
                  </a:lnTo>
                  <a:lnTo>
                    <a:pt x="179" y="247"/>
                  </a:lnTo>
                  <a:lnTo>
                    <a:pt x="178" y="233"/>
                  </a:lnTo>
                  <a:lnTo>
                    <a:pt x="175" y="219"/>
                  </a:lnTo>
                  <a:lnTo>
                    <a:pt x="169" y="206"/>
                  </a:lnTo>
                  <a:lnTo>
                    <a:pt x="162" y="195"/>
                  </a:lnTo>
                  <a:lnTo>
                    <a:pt x="151" y="190"/>
                  </a:lnTo>
                  <a:lnTo>
                    <a:pt x="136" y="187"/>
                  </a:lnTo>
                  <a:lnTo>
                    <a:pt x="77" y="187"/>
                  </a:lnTo>
                  <a:lnTo>
                    <a:pt x="77" y="294"/>
                  </a:lnTo>
                  <a:lnTo>
                    <a:pt x="0" y="294"/>
                  </a:lnTo>
                  <a:lnTo>
                    <a:pt x="0" y="0"/>
                  </a:lnTo>
                  <a:close/>
                  <a:moveTo>
                    <a:pt x="77" y="128"/>
                  </a:moveTo>
                  <a:lnTo>
                    <a:pt x="141" y="128"/>
                  </a:lnTo>
                  <a:lnTo>
                    <a:pt x="157" y="125"/>
                  </a:lnTo>
                  <a:lnTo>
                    <a:pt x="168" y="118"/>
                  </a:lnTo>
                  <a:lnTo>
                    <a:pt x="175" y="109"/>
                  </a:lnTo>
                  <a:lnTo>
                    <a:pt x="178" y="93"/>
                  </a:lnTo>
                  <a:lnTo>
                    <a:pt x="176" y="81"/>
                  </a:lnTo>
                  <a:lnTo>
                    <a:pt x="169" y="72"/>
                  </a:lnTo>
                  <a:lnTo>
                    <a:pt x="161" y="65"/>
                  </a:lnTo>
                  <a:lnTo>
                    <a:pt x="151" y="63"/>
                  </a:lnTo>
                  <a:lnTo>
                    <a:pt x="139" y="61"/>
                  </a:lnTo>
                  <a:lnTo>
                    <a:pt x="77" y="61"/>
                  </a:lnTo>
                  <a:lnTo>
                    <a:pt x="77" y="128"/>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63" name="Freeform 15"/>
            <p:cNvSpPr>
              <a:spLocks noEditPoints="1"/>
            </p:cNvSpPr>
            <p:nvPr/>
          </p:nvSpPr>
          <p:spPr bwMode="auto">
            <a:xfrm>
              <a:off x="9148875" y="6692294"/>
              <a:ext cx="55250" cy="60125"/>
            </a:xfrm>
            <a:custGeom>
              <a:avLst/>
              <a:gdLst/>
              <a:ahLst/>
              <a:cxnLst>
                <a:cxn ang="0">
                  <a:pos x="0" y="0"/>
                </a:cxn>
                <a:cxn ang="0">
                  <a:pos x="127" y="0"/>
                </a:cxn>
                <a:cxn ang="0">
                  <a:pos x="159" y="3"/>
                </a:cxn>
                <a:cxn ang="0">
                  <a:pos x="187" y="10"/>
                </a:cxn>
                <a:cxn ang="0">
                  <a:pos x="212" y="22"/>
                </a:cxn>
                <a:cxn ang="0">
                  <a:pos x="231" y="39"/>
                </a:cxn>
                <a:cxn ang="0">
                  <a:pos x="248" y="60"/>
                </a:cxn>
                <a:cxn ang="0">
                  <a:pos x="261" y="85"/>
                </a:cxn>
                <a:cxn ang="0">
                  <a:pos x="268" y="114"/>
                </a:cxn>
                <a:cxn ang="0">
                  <a:pos x="271" y="146"/>
                </a:cxn>
                <a:cxn ang="0">
                  <a:pos x="268" y="180"/>
                </a:cxn>
                <a:cxn ang="0">
                  <a:pos x="261" y="211"/>
                </a:cxn>
                <a:cxn ang="0">
                  <a:pos x="248" y="236"/>
                </a:cxn>
                <a:cxn ang="0">
                  <a:pos x="231" y="257"/>
                </a:cxn>
                <a:cxn ang="0">
                  <a:pos x="212" y="274"/>
                </a:cxn>
                <a:cxn ang="0">
                  <a:pos x="187" y="285"/>
                </a:cxn>
                <a:cxn ang="0">
                  <a:pos x="159" y="292"/>
                </a:cxn>
                <a:cxn ang="0">
                  <a:pos x="127" y="294"/>
                </a:cxn>
                <a:cxn ang="0">
                  <a:pos x="0" y="294"/>
                </a:cxn>
                <a:cxn ang="0">
                  <a:pos x="0" y="0"/>
                </a:cxn>
                <a:cxn ang="0">
                  <a:pos x="266" y="145"/>
                </a:cxn>
                <a:cxn ang="0">
                  <a:pos x="76" y="42"/>
                </a:cxn>
                <a:cxn ang="0">
                  <a:pos x="76" y="253"/>
                </a:cxn>
                <a:cxn ang="0">
                  <a:pos x="266" y="145"/>
                </a:cxn>
              </a:cxnLst>
              <a:rect l="0" t="0" r="r" b="b"/>
              <a:pathLst>
                <a:path w="271" h="294">
                  <a:moveTo>
                    <a:pt x="0" y="0"/>
                  </a:moveTo>
                  <a:lnTo>
                    <a:pt x="127" y="0"/>
                  </a:lnTo>
                  <a:lnTo>
                    <a:pt x="159" y="3"/>
                  </a:lnTo>
                  <a:lnTo>
                    <a:pt x="187" y="10"/>
                  </a:lnTo>
                  <a:lnTo>
                    <a:pt x="212" y="22"/>
                  </a:lnTo>
                  <a:lnTo>
                    <a:pt x="231" y="39"/>
                  </a:lnTo>
                  <a:lnTo>
                    <a:pt x="248" y="60"/>
                  </a:lnTo>
                  <a:lnTo>
                    <a:pt x="261" y="85"/>
                  </a:lnTo>
                  <a:lnTo>
                    <a:pt x="268" y="114"/>
                  </a:lnTo>
                  <a:lnTo>
                    <a:pt x="271" y="146"/>
                  </a:lnTo>
                  <a:lnTo>
                    <a:pt x="268" y="180"/>
                  </a:lnTo>
                  <a:lnTo>
                    <a:pt x="261" y="211"/>
                  </a:lnTo>
                  <a:lnTo>
                    <a:pt x="248" y="236"/>
                  </a:lnTo>
                  <a:lnTo>
                    <a:pt x="231" y="257"/>
                  </a:lnTo>
                  <a:lnTo>
                    <a:pt x="212" y="274"/>
                  </a:lnTo>
                  <a:lnTo>
                    <a:pt x="187" y="285"/>
                  </a:lnTo>
                  <a:lnTo>
                    <a:pt x="159" y="292"/>
                  </a:lnTo>
                  <a:lnTo>
                    <a:pt x="127" y="294"/>
                  </a:lnTo>
                  <a:lnTo>
                    <a:pt x="0" y="294"/>
                  </a:lnTo>
                  <a:lnTo>
                    <a:pt x="0" y="0"/>
                  </a:lnTo>
                  <a:close/>
                  <a:moveTo>
                    <a:pt x="266" y="145"/>
                  </a:moveTo>
                  <a:lnTo>
                    <a:pt x="76" y="42"/>
                  </a:lnTo>
                  <a:lnTo>
                    <a:pt x="76" y="253"/>
                  </a:lnTo>
                  <a:lnTo>
                    <a:pt x="266" y="145"/>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64" name="Freeform 16"/>
            <p:cNvSpPr>
              <a:spLocks/>
            </p:cNvSpPr>
            <p:nvPr/>
          </p:nvSpPr>
          <p:spPr bwMode="auto">
            <a:xfrm>
              <a:off x="9241094" y="6676450"/>
              <a:ext cx="28844" cy="76375"/>
            </a:xfrm>
            <a:custGeom>
              <a:avLst/>
              <a:gdLst/>
              <a:ahLst/>
              <a:cxnLst>
                <a:cxn ang="0">
                  <a:pos x="87" y="87"/>
                </a:cxn>
                <a:cxn ang="0">
                  <a:pos x="144" y="87"/>
                </a:cxn>
                <a:cxn ang="0">
                  <a:pos x="144" y="116"/>
                </a:cxn>
                <a:cxn ang="0">
                  <a:pos x="87" y="116"/>
                </a:cxn>
                <a:cxn ang="0">
                  <a:pos x="87" y="323"/>
                </a:cxn>
                <a:cxn ang="0">
                  <a:pos x="90" y="333"/>
                </a:cxn>
                <a:cxn ang="0">
                  <a:pos x="94" y="341"/>
                </a:cxn>
                <a:cxn ang="0">
                  <a:pos x="102" y="345"/>
                </a:cxn>
                <a:cxn ang="0">
                  <a:pos x="115" y="348"/>
                </a:cxn>
                <a:cxn ang="0">
                  <a:pos x="144" y="347"/>
                </a:cxn>
                <a:cxn ang="0">
                  <a:pos x="144" y="376"/>
                </a:cxn>
                <a:cxn ang="0">
                  <a:pos x="129" y="377"/>
                </a:cxn>
                <a:cxn ang="0">
                  <a:pos x="113" y="377"/>
                </a:cxn>
                <a:cxn ang="0">
                  <a:pos x="92" y="376"/>
                </a:cxn>
                <a:cxn ang="0">
                  <a:pos x="77" y="372"/>
                </a:cxn>
                <a:cxn ang="0">
                  <a:pos x="64" y="363"/>
                </a:cxn>
                <a:cxn ang="0">
                  <a:pos x="56" y="351"/>
                </a:cxn>
                <a:cxn ang="0">
                  <a:pos x="52" y="335"/>
                </a:cxn>
                <a:cxn ang="0">
                  <a:pos x="50" y="313"/>
                </a:cxn>
                <a:cxn ang="0">
                  <a:pos x="50" y="116"/>
                </a:cxn>
                <a:cxn ang="0">
                  <a:pos x="0" y="116"/>
                </a:cxn>
                <a:cxn ang="0">
                  <a:pos x="0" y="87"/>
                </a:cxn>
                <a:cxn ang="0">
                  <a:pos x="50" y="87"/>
                </a:cxn>
                <a:cxn ang="0">
                  <a:pos x="50" y="0"/>
                </a:cxn>
                <a:cxn ang="0">
                  <a:pos x="87" y="0"/>
                </a:cxn>
                <a:cxn ang="0">
                  <a:pos x="87" y="87"/>
                </a:cxn>
              </a:cxnLst>
              <a:rect l="0" t="0" r="r" b="b"/>
              <a:pathLst>
                <a:path w="144" h="377">
                  <a:moveTo>
                    <a:pt x="87" y="87"/>
                  </a:moveTo>
                  <a:lnTo>
                    <a:pt x="144" y="87"/>
                  </a:lnTo>
                  <a:lnTo>
                    <a:pt x="144" y="116"/>
                  </a:lnTo>
                  <a:lnTo>
                    <a:pt x="87" y="116"/>
                  </a:lnTo>
                  <a:lnTo>
                    <a:pt x="87" y="323"/>
                  </a:lnTo>
                  <a:lnTo>
                    <a:pt x="90" y="333"/>
                  </a:lnTo>
                  <a:lnTo>
                    <a:pt x="94" y="341"/>
                  </a:lnTo>
                  <a:lnTo>
                    <a:pt x="102" y="345"/>
                  </a:lnTo>
                  <a:lnTo>
                    <a:pt x="115" y="348"/>
                  </a:lnTo>
                  <a:lnTo>
                    <a:pt x="144" y="347"/>
                  </a:lnTo>
                  <a:lnTo>
                    <a:pt x="144" y="376"/>
                  </a:lnTo>
                  <a:lnTo>
                    <a:pt x="129" y="377"/>
                  </a:lnTo>
                  <a:lnTo>
                    <a:pt x="113" y="377"/>
                  </a:lnTo>
                  <a:lnTo>
                    <a:pt x="92" y="376"/>
                  </a:lnTo>
                  <a:lnTo>
                    <a:pt x="77" y="372"/>
                  </a:lnTo>
                  <a:lnTo>
                    <a:pt x="64" y="363"/>
                  </a:lnTo>
                  <a:lnTo>
                    <a:pt x="56" y="351"/>
                  </a:lnTo>
                  <a:lnTo>
                    <a:pt x="52" y="335"/>
                  </a:lnTo>
                  <a:lnTo>
                    <a:pt x="50" y="313"/>
                  </a:lnTo>
                  <a:lnTo>
                    <a:pt x="50" y="116"/>
                  </a:lnTo>
                  <a:lnTo>
                    <a:pt x="0" y="116"/>
                  </a:lnTo>
                  <a:lnTo>
                    <a:pt x="0" y="87"/>
                  </a:lnTo>
                  <a:lnTo>
                    <a:pt x="50" y="87"/>
                  </a:lnTo>
                  <a:lnTo>
                    <a:pt x="50" y="0"/>
                  </a:lnTo>
                  <a:lnTo>
                    <a:pt x="87" y="0"/>
                  </a:lnTo>
                  <a:lnTo>
                    <a:pt x="87" y="87"/>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65" name="Freeform 17"/>
            <p:cNvSpPr>
              <a:spLocks/>
            </p:cNvSpPr>
            <p:nvPr/>
          </p:nvSpPr>
          <p:spPr bwMode="auto">
            <a:xfrm>
              <a:off x="9291875" y="6671575"/>
              <a:ext cx="47125" cy="80844"/>
            </a:xfrm>
            <a:custGeom>
              <a:avLst/>
              <a:gdLst/>
              <a:ahLst/>
              <a:cxnLst>
                <a:cxn ang="0">
                  <a:pos x="0" y="0"/>
                </a:cxn>
                <a:cxn ang="0">
                  <a:pos x="35" y="0"/>
                </a:cxn>
                <a:cxn ang="0">
                  <a:pos x="35" y="160"/>
                </a:cxn>
                <a:cxn ang="0">
                  <a:pos x="36" y="160"/>
                </a:cxn>
                <a:cxn ang="0">
                  <a:pos x="48" y="141"/>
                </a:cxn>
                <a:cxn ang="0">
                  <a:pos x="63" y="125"/>
                </a:cxn>
                <a:cxn ang="0">
                  <a:pos x="83" y="114"/>
                </a:cxn>
                <a:cxn ang="0">
                  <a:pos x="105" y="105"/>
                </a:cxn>
                <a:cxn ang="0">
                  <a:pos x="129" y="102"/>
                </a:cxn>
                <a:cxn ang="0">
                  <a:pos x="157" y="104"/>
                </a:cxn>
                <a:cxn ang="0">
                  <a:pos x="179" y="109"/>
                </a:cxn>
                <a:cxn ang="0">
                  <a:pos x="197" y="119"/>
                </a:cxn>
                <a:cxn ang="0">
                  <a:pos x="211" y="132"/>
                </a:cxn>
                <a:cxn ang="0">
                  <a:pos x="222" y="147"/>
                </a:cxn>
                <a:cxn ang="0">
                  <a:pos x="228" y="167"/>
                </a:cxn>
                <a:cxn ang="0">
                  <a:pos x="232" y="189"/>
                </a:cxn>
                <a:cxn ang="0">
                  <a:pos x="233" y="213"/>
                </a:cxn>
                <a:cxn ang="0">
                  <a:pos x="233" y="398"/>
                </a:cxn>
                <a:cxn ang="0">
                  <a:pos x="198" y="398"/>
                </a:cxn>
                <a:cxn ang="0">
                  <a:pos x="198" y="218"/>
                </a:cxn>
                <a:cxn ang="0">
                  <a:pos x="197" y="199"/>
                </a:cxn>
                <a:cxn ang="0">
                  <a:pos x="194" y="179"/>
                </a:cxn>
                <a:cxn ang="0">
                  <a:pos x="187" y="164"/>
                </a:cxn>
                <a:cxn ang="0">
                  <a:pos x="179" y="150"/>
                </a:cxn>
                <a:cxn ang="0">
                  <a:pos x="165" y="140"/>
                </a:cxn>
                <a:cxn ang="0">
                  <a:pos x="148" y="134"/>
                </a:cxn>
                <a:cxn ang="0">
                  <a:pos x="126" y="132"/>
                </a:cxn>
                <a:cxn ang="0">
                  <a:pos x="99" y="134"/>
                </a:cxn>
                <a:cxn ang="0">
                  <a:pos x="78" y="144"/>
                </a:cxn>
                <a:cxn ang="0">
                  <a:pos x="60" y="160"/>
                </a:cxn>
                <a:cxn ang="0">
                  <a:pos x="46" y="179"/>
                </a:cxn>
                <a:cxn ang="0">
                  <a:pos x="38" y="204"/>
                </a:cxn>
                <a:cxn ang="0">
                  <a:pos x="35" y="231"/>
                </a:cxn>
                <a:cxn ang="0">
                  <a:pos x="35" y="398"/>
                </a:cxn>
                <a:cxn ang="0">
                  <a:pos x="0" y="398"/>
                </a:cxn>
                <a:cxn ang="0">
                  <a:pos x="0" y="0"/>
                </a:cxn>
              </a:cxnLst>
              <a:rect l="0" t="0" r="r" b="b"/>
              <a:pathLst>
                <a:path w="233" h="398">
                  <a:moveTo>
                    <a:pt x="0" y="0"/>
                  </a:moveTo>
                  <a:lnTo>
                    <a:pt x="35" y="0"/>
                  </a:lnTo>
                  <a:lnTo>
                    <a:pt x="35" y="160"/>
                  </a:lnTo>
                  <a:lnTo>
                    <a:pt x="36" y="160"/>
                  </a:lnTo>
                  <a:lnTo>
                    <a:pt x="48" y="141"/>
                  </a:lnTo>
                  <a:lnTo>
                    <a:pt x="63" y="125"/>
                  </a:lnTo>
                  <a:lnTo>
                    <a:pt x="83" y="114"/>
                  </a:lnTo>
                  <a:lnTo>
                    <a:pt x="105" y="105"/>
                  </a:lnTo>
                  <a:lnTo>
                    <a:pt x="129" y="102"/>
                  </a:lnTo>
                  <a:lnTo>
                    <a:pt x="157" y="104"/>
                  </a:lnTo>
                  <a:lnTo>
                    <a:pt x="179" y="109"/>
                  </a:lnTo>
                  <a:lnTo>
                    <a:pt x="197" y="119"/>
                  </a:lnTo>
                  <a:lnTo>
                    <a:pt x="211" y="132"/>
                  </a:lnTo>
                  <a:lnTo>
                    <a:pt x="222" y="147"/>
                  </a:lnTo>
                  <a:lnTo>
                    <a:pt x="228" y="167"/>
                  </a:lnTo>
                  <a:lnTo>
                    <a:pt x="232" y="189"/>
                  </a:lnTo>
                  <a:lnTo>
                    <a:pt x="233" y="213"/>
                  </a:lnTo>
                  <a:lnTo>
                    <a:pt x="233" y="398"/>
                  </a:lnTo>
                  <a:lnTo>
                    <a:pt x="198" y="398"/>
                  </a:lnTo>
                  <a:lnTo>
                    <a:pt x="198" y="218"/>
                  </a:lnTo>
                  <a:lnTo>
                    <a:pt x="197" y="199"/>
                  </a:lnTo>
                  <a:lnTo>
                    <a:pt x="194" y="179"/>
                  </a:lnTo>
                  <a:lnTo>
                    <a:pt x="187" y="164"/>
                  </a:lnTo>
                  <a:lnTo>
                    <a:pt x="179" y="150"/>
                  </a:lnTo>
                  <a:lnTo>
                    <a:pt x="165" y="140"/>
                  </a:lnTo>
                  <a:lnTo>
                    <a:pt x="148" y="134"/>
                  </a:lnTo>
                  <a:lnTo>
                    <a:pt x="126" y="132"/>
                  </a:lnTo>
                  <a:lnTo>
                    <a:pt x="99" y="134"/>
                  </a:lnTo>
                  <a:lnTo>
                    <a:pt x="78" y="144"/>
                  </a:lnTo>
                  <a:lnTo>
                    <a:pt x="60" y="160"/>
                  </a:lnTo>
                  <a:lnTo>
                    <a:pt x="46" y="179"/>
                  </a:lnTo>
                  <a:lnTo>
                    <a:pt x="38" y="204"/>
                  </a:lnTo>
                  <a:lnTo>
                    <a:pt x="35" y="231"/>
                  </a:lnTo>
                  <a:lnTo>
                    <a:pt x="35" y="398"/>
                  </a:lnTo>
                  <a:lnTo>
                    <a:pt x="0" y="398"/>
                  </a:lnTo>
                  <a:lnTo>
                    <a:pt x="0" y="0"/>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66" name="Freeform 18"/>
            <p:cNvSpPr>
              <a:spLocks noEditPoints="1"/>
            </p:cNvSpPr>
            <p:nvPr/>
          </p:nvSpPr>
          <p:spPr bwMode="auto">
            <a:xfrm>
              <a:off x="9364187" y="6671575"/>
              <a:ext cx="6906" cy="80844"/>
            </a:xfrm>
            <a:custGeom>
              <a:avLst/>
              <a:gdLst/>
              <a:ahLst/>
              <a:cxnLst>
                <a:cxn ang="0">
                  <a:pos x="0" y="0"/>
                </a:cxn>
                <a:cxn ang="0">
                  <a:pos x="35" y="0"/>
                </a:cxn>
                <a:cxn ang="0">
                  <a:pos x="35" y="56"/>
                </a:cxn>
                <a:cxn ang="0">
                  <a:pos x="0" y="56"/>
                </a:cxn>
                <a:cxn ang="0">
                  <a:pos x="0" y="0"/>
                </a:cxn>
                <a:cxn ang="0">
                  <a:pos x="0" y="111"/>
                </a:cxn>
                <a:cxn ang="0">
                  <a:pos x="35" y="111"/>
                </a:cxn>
                <a:cxn ang="0">
                  <a:pos x="35" y="398"/>
                </a:cxn>
                <a:cxn ang="0">
                  <a:pos x="0" y="398"/>
                </a:cxn>
                <a:cxn ang="0">
                  <a:pos x="0" y="111"/>
                </a:cxn>
              </a:cxnLst>
              <a:rect l="0" t="0" r="r" b="b"/>
              <a:pathLst>
                <a:path w="35" h="398">
                  <a:moveTo>
                    <a:pt x="0" y="0"/>
                  </a:moveTo>
                  <a:lnTo>
                    <a:pt x="35" y="0"/>
                  </a:lnTo>
                  <a:lnTo>
                    <a:pt x="35" y="56"/>
                  </a:lnTo>
                  <a:lnTo>
                    <a:pt x="0" y="56"/>
                  </a:lnTo>
                  <a:lnTo>
                    <a:pt x="0" y="0"/>
                  </a:lnTo>
                  <a:close/>
                  <a:moveTo>
                    <a:pt x="0" y="111"/>
                  </a:moveTo>
                  <a:lnTo>
                    <a:pt x="35" y="111"/>
                  </a:lnTo>
                  <a:lnTo>
                    <a:pt x="35" y="398"/>
                  </a:lnTo>
                  <a:lnTo>
                    <a:pt x="0" y="398"/>
                  </a:lnTo>
                  <a:lnTo>
                    <a:pt x="0" y="111"/>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67" name="Freeform 19"/>
            <p:cNvSpPr>
              <a:spLocks/>
            </p:cNvSpPr>
            <p:nvPr/>
          </p:nvSpPr>
          <p:spPr bwMode="auto">
            <a:xfrm>
              <a:off x="9396281" y="6692294"/>
              <a:ext cx="47125" cy="60125"/>
            </a:xfrm>
            <a:custGeom>
              <a:avLst/>
              <a:gdLst/>
              <a:ahLst/>
              <a:cxnLst>
                <a:cxn ang="0">
                  <a:pos x="0" y="9"/>
                </a:cxn>
                <a:cxn ang="0">
                  <a:pos x="35" y="9"/>
                </a:cxn>
                <a:cxn ang="0">
                  <a:pos x="35" y="58"/>
                </a:cxn>
                <a:cxn ang="0">
                  <a:pos x="36" y="58"/>
                </a:cxn>
                <a:cxn ang="0">
                  <a:pos x="48" y="39"/>
                </a:cxn>
                <a:cxn ang="0">
                  <a:pos x="63" y="23"/>
                </a:cxn>
                <a:cxn ang="0">
                  <a:pos x="83" y="12"/>
                </a:cxn>
                <a:cxn ang="0">
                  <a:pos x="105" y="3"/>
                </a:cxn>
                <a:cxn ang="0">
                  <a:pos x="129" y="0"/>
                </a:cxn>
                <a:cxn ang="0">
                  <a:pos x="157" y="2"/>
                </a:cxn>
                <a:cxn ang="0">
                  <a:pos x="179" y="7"/>
                </a:cxn>
                <a:cxn ang="0">
                  <a:pos x="197" y="17"/>
                </a:cxn>
                <a:cxn ang="0">
                  <a:pos x="211" y="30"/>
                </a:cxn>
                <a:cxn ang="0">
                  <a:pos x="222" y="45"/>
                </a:cxn>
                <a:cxn ang="0">
                  <a:pos x="228" y="65"/>
                </a:cxn>
                <a:cxn ang="0">
                  <a:pos x="232" y="87"/>
                </a:cxn>
                <a:cxn ang="0">
                  <a:pos x="233" y="111"/>
                </a:cxn>
                <a:cxn ang="0">
                  <a:pos x="233" y="296"/>
                </a:cxn>
                <a:cxn ang="0">
                  <a:pos x="198" y="296"/>
                </a:cxn>
                <a:cxn ang="0">
                  <a:pos x="198" y="116"/>
                </a:cxn>
                <a:cxn ang="0">
                  <a:pos x="197" y="97"/>
                </a:cxn>
                <a:cxn ang="0">
                  <a:pos x="194" y="77"/>
                </a:cxn>
                <a:cxn ang="0">
                  <a:pos x="187" y="62"/>
                </a:cxn>
                <a:cxn ang="0">
                  <a:pos x="179" y="48"/>
                </a:cxn>
                <a:cxn ang="0">
                  <a:pos x="165" y="38"/>
                </a:cxn>
                <a:cxn ang="0">
                  <a:pos x="148" y="32"/>
                </a:cxn>
                <a:cxn ang="0">
                  <a:pos x="126" y="30"/>
                </a:cxn>
                <a:cxn ang="0">
                  <a:pos x="99" y="32"/>
                </a:cxn>
                <a:cxn ang="0">
                  <a:pos x="78" y="42"/>
                </a:cxn>
                <a:cxn ang="0">
                  <a:pos x="60" y="58"/>
                </a:cxn>
                <a:cxn ang="0">
                  <a:pos x="46" y="77"/>
                </a:cxn>
                <a:cxn ang="0">
                  <a:pos x="38" y="102"/>
                </a:cxn>
                <a:cxn ang="0">
                  <a:pos x="35" y="129"/>
                </a:cxn>
                <a:cxn ang="0">
                  <a:pos x="35" y="296"/>
                </a:cxn>
                <a:cxn ang="0">
                  <a:pos x="0" y="296"/>
                </a:cxn>
                <a:cxn ang="0">
                  <a:pos x="0" y="9"/>
                </a:cxn>
              </a:cxnLst>
              <a:rect l="0" t="0" r="r" b="b"/>
              <a:pathLst>
                <a:path w="233" h="296">
                  <a:moveTo>
                    <a:pt x="0" y="9"/>
                  </a:moveTo>
                  <a:lnTo>
                    <a:pt x="35" y="9"/>
                  </a:lnTo>
                  <a:lnTo>
                    <a:pt x="35" y="58"/>
                  </a:lnTo>
                  <a:lnTo>
                    <a:pt x="36" y="58"/>
                  </a:lnTo>
                  <a:lnTo>
                    <a:pt x="48" y="39"/>
                  </a:lnTo>
                  <a:lnTo>
                    <a:pt x="63" y="23"/>
                  </a:lnTo>
                  <a:lnTo>
                    <a:pt x="83" y="12"/>
                  </a:lnTo>
                  <a:lnTo>
                    <a:pt x="105" y="3"/>
                  </a:lnTo>
                  <a:lnTo>
                    <a:pt x="129" y="0"/>
                  </a:lnTo>
                  <a:lnTo>
                    <a:pt x="157" y="2"/>
                  </a:lnTo>
                  <a:lnTo>
                    <a:pt x="179" y="7"/>
                  </a:lnTo>
                  <a:lnTo>
                    <a:pt x="197" y="17"/>
                  </a:lnTo>
                  <a:lnTo>
                    <a:pt x="211" y="30"/>
                  </a:lnTo>
                  <a:lnTo>
                    <a:pt x="222" y="45"/>
                  </a:lnTo>
                  <a:lnTo>
                    <a:pt x="228" y="65"/>
                  </a:lnTo>
                  <a:lnTo>
                    <a:pt x="232" y="87"/>
                  </a:lnTo>
                  <a:lnTo>
                    <a:pt x="233" y="111"/>
                  </a:lnTo>
                  <a:lnTo>
                    <a:pt x="233" y="296"/>
                  </a:lnTo>
                  <a:lnTo>
                    <a:pt x="198" y="296"/>
                  </a:lnTo>
                  <a:lnTo>
                    <a:pt x="198" y="116"/>
                  </a:lnTo>
                  <a:lnTo>
                    <a:pt x="197" y="97"/>
                  </a:lnTo>
                  <a:lnTo>
                    <a:pt x="194" y="77"/>
                  </a:lnTo>
                  <a:lnTo>
                    <a:pt x="187" y="62"/>
                  </a:lnTo>
                  <a:lnTo>
                    <a:pt x="179" y="48"/>
                  </a:lnTo>
                  <a:lnTo>
                    <a:pt x="165" y="38"/>
                  </a:lnTo>
                  <a:lnTo>
                    <a:pt x="148" y="32"/>
                  </a:lnTo>
                  <a:lnTo>
                    <a:pt x="126" y="30"/>
                  </a:lnTo>
                  <a:lnTo>
                    <a:pt x="99" y="32"/>
                  </a:lnTo>
                  <a:lnTo>
                    <a:pt x="78" y="42"/>
                  </a:lnTo>
                  <a:lnTo>
                    <a:pt x="60" y="58"/>
                  </a:lnTo>
                  <a:lnTo>
                    <a:pt x="46" y="77"/>
                  </a:lnTo>
                  <a:lnTo>
                    <a:pt x="38" y="102"/>
                  </a:lnTo>
                  <a:lnTo>
                    <a:pt x="35" y="129"/>
                  </a:lnTo>
                  <a:lnTo>
                    <a:pt x="35" y="296"/>
                  </a:lnTo>
                  <a:lnTo>
                    <a:pt x="0" y="296"/>
                  </a:lnTo>
                  <a:lnTo>
                    <a:pt x="0" y="9"/>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68" name="Freeform 20"/>
            <p:cNvSpPr>
              <a:spLocks/>
            </p:cNvSpPr>
            <p:nvPr/>
          </p:nvSpPr>
          <p:spPr bwMode="auto">
            <a:xfrm>
              <a:off x="9468594" y="6671575"/>
              <a:ext cx="50375" cy="80844"/>
            </a:xfrm>
            <a:custGeom>
              <a:avLst/>
              <a:gdLst/>
              <a:ahLst/>
              <a:cxnLst>
                <a:cxn ang="0">
                  <a:pos x="0" y="0"/>
                </a:cxn>
                <a:cxn ang="0">
                  <a:pos x="35" y="0"/>
                </a:cxn>
                <a:cxn ang="0">
                  <a:pos x="35" y="250"/>
                </a:cxn>
                <a:cxn ang="0">
                  <a:pos x="194" y="111"/>
                </a:cxn>
                <a:cxn ang="0">
                  <a:pos x="241" y="111"/>
                </a:cxn>
                <a:cxn ang="0">
                  <a:pos x="119" y="217"/>
                </a:cxn>
                <a:cxn ang="0">
                  <a:pos x="249" y="398"/>
                </a:cxn>
                <a:cxn ang="0">
                  <a:pos x="206" y="398"/>
                </a:cxn>
                <a:cxn ang="0">
                  <a:pos x="91" y="242"/>
                </a:cxn>
                <a:cxn ang="0">
                  <a:pos x="35" y="290"/>
                </a:cxn>
                <a:cxn ang="0">
                  <a:pos x="35" y="398"/>
                </a:cxn>
                <a:cxn ang="0">
                  <a:pos x="0" y="398"/>
                </a:cxn>
                <a:cxn ang="0">
                  <a:pos x="0" y="0"/>
                </a:cxn>
              </a:cxnLst>
              <a:rect l="0" t="0" r="r" b="b"/>
              <a:pathLst>
                <a:path w="249" h="398">
                  <a:moveTo>
                    <a:pt x="0" y="0"/>
                  </a:moveTo>
                  <a:lnTo>
                    <a:pt x="35" y="0"/>
                  </a:lnTo>
                  <a:lnTo>
                    <a:pt x="35" y="250"/>
                  </a:lnTo>
                  <a:lnTo>
                    <a:pt x="194" y="111"/>
                  </a:lnTo>
                  <a:lnTo>
                    <a:pt x="241" y="111"/>
                  </a:lnTo>
                  <a:lnTo>
                    <a:pt x="119" y="217"/>
                  </a:lnTo>
                  <a:lnTo>
                    <a:pt x="249" y="398"/>
                  </a:lnTo>
                  <a:lnTo>
                    <a:pt x="206" y="398"/>
                  </a:lnTo>
                  <a:lnTo>
                    <a:pt x="91" y="242"/>
                  </a:lnTo>
                  <a:lnTo>
                    <a:pt x="35" y="290"/>
                  </a:lnTo>
                  <a:lnTo>
                    <a:pt x="35" y="398"/>
                  </a:lnTo>
                  <a:lnTo>
                    <a:pt x="0" y="398"/>
                  </a:lnTo>
                  <a:lnTo>
                    <a:pt x="0" y="0"/>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69" name="Freeform 21"/>
            <p:cNvSpPr>
              <a:spLocks noEditPoints="1"/>
            </p:cNvSpPr>
            <p:nvPr/>
          </p:nvSpPr>
          <p:spPr bwMode="auto">
            <a:xfrm>
              <a:off x="9536437" y="6671575"/>
              <a:ext cx="7313" cy="80844"/>
            </a:xfrm>
            <a:custGeom>
              <a:avLst/>
              <a:gdLst/>
              <a:ahLst/>
              <a:cxnLst>
                <a:cxn ang="0">
                  <a:pos x="0" y="0"/>
                </a:cxn>
                <a:cxn ang="0">
                  <a:pos x="36" y="0"/>
                </a:cxn>
                <a:cxn ang="0">
                  <a:pos x="36" y="56"/>
                </a:cxn>
                <a:cxn ang="0">
                  <a:pos x="0" y="56"/>
                </a:cxn>
                <a:cxn ang="0">
                  <a:pos x="0" y="0"/>
                </a:cxn>
                <a:cxn ang="0">
                  <a:pos x="0" y="111"/>
                </a:cxn>
                <a:cxn ang="0">
                  <a:pos x="36" y="111"/>
                </a:cxn>
                <a:cxn ang="0">
                  <a:pos x="36" y="398"/>
                </a:cxn>
                <a:cxn ang="0">
                  <a:pos x="0" y="398"/>
                </a:cxn>
                <a:cxn ang="0">
                  <a:pos x="0" y="111"/>
                </a:cxn>
              </a:cxnLst>
              <a:rect l="0" t="0" r="r" b="b"/>
              <a:pathLst>
                <a:path w="36" h="398">
                  <a:moveTo>
                    <a:pt x="0" y="0"/>
                  </a:moveTo>
                  <a:lnTo>
                    <a:pt x="36" y="0"/>
                  </a:lnTo>
                  <a:lnTo>
                    <a:pt x="36" y="56"/>
                  </a:lnTo>
                  <a:lnTo>
                    <a:pt x="0" y="56"/>
                  </a:lnTo>
                  <a:lnTo>
                    <a:pt x="0" y="0"/>
                  </a:lnTo>
                  <a:close/>
                  <a:moveTo>
                    <a:pt x="0" y="111"/>
                  </a:moveTo>
                  <a:lnTo>
                    <a:pt x="36" y="111"/>
                  </a:lnTo>
                  <a:lnTo>
                    <a:pt x="36" y="398"/>
                  </a:lnTo>
                  <a:lnTo>
                    <a:pt x="0" y="398"/>
                  </a:lnTo>
                  <a:lnTo>
                    <a:pt x="0" y="111"/>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70" name="Freeform 22"/>
            <p:cNvSpPr>
              <a:spLocks/>
            </p:cNvSpPr>
            <p:nvPr/>
          </p:nvSpPr>
          <p:spPr bwMode="auto">
            <a:xfrm>
              <a:off x="9568531" y="6692294"/>
              <a:ext cx="47531" cy="60125"/>
            </a:xfrm>
            <a:custGeom>
              <a:avLst/>
              <a:gdLst/>
              <a:ahLst/>
              <a:cxnLst>
                <a:cxn ang="0">
                  <a:pos x="0" y="9"/>
                </a:cxn>
                <a:cxn ang="0">
                  <a:pos x="36" y="9"/>
                </a:cxn>
                <a:cxn ang="0">
                  <a:pos x="36" y="58"/>
                </a:cxn>
                <a:cxn ang="0">
                  <a:pos x="47" y="39"/>
                </a:cxn>
                <a:cxn ang="0">
                  <a:pos x="63" y="23"/>
                </a:cxn>
                <a:cxn ang="0">
                  <a:pos x="82" y="12"/>
                </a:cxn>
                <a:cxn ang="0">
                  <a:pos x="105" y="3"/>
                </a:cxn>
                <a:cxn ang="0">
                  <a:pos x="129" y="0"/>
                </a:cxn>
                <a:cxn ang="0">
                  <a:pos x="156" y="2"/>
                </a:cxn>
                <a:cxn ang="0">
                  <a:pos x="179" y="7"/>
                </a:cxn>
                <a:cxn ang="0">
                  <a:pos x="198" y="17"/>
                </a:cxn>
                <a:cxn ang="0">
                  <a:pos x="212" y="30"/>
                </a:cxn>
                <a:cxn ang="0">
                  <a:pos x="222" y="45"/>
                </a:cxn>
                <a:cxn ang="0">
                  <a:pos x="229" y="65"/>
                </a:cxn>
                <a:cxn ang="0">
                  <a:pos x="233" y="87"/>
                </a:cxn>
                <a:cxn ang="0">
                  <a:pos x="235" y="111"/>
                </a:cxn>
                <a:cxn ang="0">
                  <a:pos x="235" y="296"/>
                </a:cxn>
                <a:cxn ang="0">
                  <a:pos x="198" y="296"/>
                </a:cxn>
                <a:cxn ang="0">
                  <a:pos x="198" y="116"/>
                </a:cxn>
                <a:cxn ang="0">
                  <a:pos x="197" y="97"/>
                </a:cxn>
                <a:cxn ang="0">
                  <a:pos x="194" y="77"/>
                </a:cxn>
                <a:cxn ang="0">
                  <a:pos x="187" y="62"/>
                </a:cxn>
                <a:cxn ang="0">
                  <a:pos x="179" y="48"/>
                </a:cxn>
                <a:cxn ang="0">
                  <a:pos x="165" y="38"/>
                </a:cxn>
                <a:cxn ang="0">
                  <a:pos x="148" y="32"/>
                </a:cxn>
                <a:cxn ang="0">
                  <a:pos x="126" y="30"/>
                </a:cxn>
                <a:cxn ang="0">
                  <a:pos x="99" y="32"/>
                </a:cxn>
                <a:cxn ang="0">
                  <a:pos x="78" y="42"/>
                </a:cxn>
                <a:cxn ang="0">
                  <a:pos x="60" y="58"/>
                </a:cxn>
                <a:cxn ang="0">
                  <a:pos x="47" y="77"/>
                </a:cxn>
                <a:cxn ang="0">
                  <a:pos x="39" y="102"/>
                </a:cxn>
                <a:cxn ang="0">
                  <a:pos x="36" y="129"/>
                </a:cxn>
                <a:cxn ang="0">
                  <a:pos x="36" y="296"/>
                </a:cxn>
                <a:cxn ang="0">
                  <a:pos x="0" y="296"/>
                </a:cxn>
                <a:cxn ang="0">
                  <a:pos x="0" y="9"/>
                </a:cxn>
              </a:cxnLst>
              <a:rect l="0" t="0" r="r" b="b"/>
              <a:pathLst>
                <a:path w="235" h="296">
                  <a:moveTo>
                    <a:pt x="0" y="9"/>
                  </a:moveTo>
                  <a:lnTo>
                    <a:pt x="36" y="9"/>
                  </a:lnTo>
                  <a:lnTo>
                    <a:pt x="36" y="58"/>
                  </a:lnTo>
                  <a:lnTo>
                    <a:pt x="47" y="39"/>
                  </a:lnTo>
                  <a:lnTo>
                    <a:pt x="63" y="23"/>
                  </a:lnTo>
                  <a:lnTo>
                    <a:pt x="82" y="12"/>
                  </a:lnTo>
                  <a:lnTo>
                    <a:pt x="105" y="3"/>
                  </a:lnTo>
                  <a:lnTo>
                    <a:pt x="129" y="0"/>
                  </a:lnTo>
                  <a:lnTo>
                    <a:pt x="156" y="2"/>
                  </a:lnTo>
                  <a:lnTo>
                    <a:pt x="179" y="7"/>
                  </a:lnTo>
                  <a:lnTo>
                    <a:pt x="198" y="17"/>
                  </a:lnTo>
                  <a:lnTo>
                    <a:pt x="212" y="30"/>
                  </a:lnTo>
                  <a:lnTo>
                    <a:pt x="222" y="45"/>
                  </a:lnTo>
                  <a:lnTo>
                    <a:pt x="229" y="65"/>
                  </a:lnTo>
                  <a:lnTo>
                    <a:pt x="233" y="87"/>
                  </a:lnTo>
                  <a:lnTo>
                    <a:pt x="235" y="111"/>
                  </a:lnTo>
                  <a:lnTo>
                    <a:pt x="235" y="296"/>
                  </a:lnTo>
                  <a:lnTo>
                    <a:pt x="198" y="296"/>
                  </a:lnTo>
                  <a:lnTo>
                    <a:pt x="198" y="116"/>
                  </a:lnTo>
                  <a:lnTo>
                    <a:pt x="197" y="97"/>
                  </a:lnTo>
                  <a:lnTo>
                    <a:pt x="194" y="77"/>
                  </a:lnTo>
                  <a:lnTo>
                    <a:pt x="187" y="62"/>
                  </a:lnTo>
                  <a:lnTo>
                    <a:pt x="179" y="48"/>
                  </a:lnTo>
                  <a:lnTo>
                    <a:pt x="165" y="38"/>
                  </a:lnTo>
                  <a:lnTo>
                    <a:pt x="148" y="32"/>
                  </a:lnTo>
                  <a:lnTo>
                    <a:pt x="126" y="30"/>
                  </a:lnTo>
                  <a:lnTo>
                    <a:pt x="99" y="32"/>
                  </a:lnTo>
                  <a:lnTo>
                    <a:pt x="78" y="42"/>
                  </a:lnTo>
                  <a:lnTo>
                    <a:pt x="60" y="58"/>
                  </a:lnTo>
                  <a:lnTo>
                    <a:pt x="47" y="77"/>
                  </a:lnTo>
                  <a:lnTo>
                    <a:pt x="39" y="102"/>
                  </a:lnTo>
                  <a:lnTo>
                    <a:pt x="36" y="129"/>
                  </a:lnTo>
                  <a:lnTo>
                    <a:pt x="36" y="296"/>
                  </a:lnTo>
                  <a:lnTo>
                    <a:pt x="0" y="296"/>
                  </a:lnTo>
                  <a:lnTo>
                    <a:pt x="0" y="9"/>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sp>
          <p:nvSpPr>
            <p:cNvPr id="71" name="Freeform 23"/>
            <p:cNvSpPr>
              <a:spLocks noEditPoints="1"/>
            </p:cNvSpPr>
            <p:nvPr/>
          </p:nvSpPr>
          <p:spPr bwMode="auto">
            <a:xfrm>
              <a:off x="9638000" y="6692294"/>
              <a:ext cx="52000" cy="83281"/>
            </a:xfrm>
            <a:custGeom>
              <a:avLst/>
              <a:gdLst/>
              <a:ahLst/>
              <a:cxnLst>
                <a:cxn ang="0">
                  <a:pos x="256" y="303"/>
                </a:cxn>
                <a:cxn ang="0">
                  <a:pos x="242" y="355"/>
                </a:cxn>
                <a:cxn ang="0">
                  <a:pos x="211" y="390"/>
                </a:cxn>
                <a:cxn ang="0">
                  <a:pos x="162" y="408"/>
                </a:cxn>
                <a:cxn ang="0">
                  <a:pos x="105" y="410"/>
                </a:cxn>
                <a:cxn ang="0">
                  <a:pos x="60" y="396"/>
                </a:cxn>
                <a:cxn ang="0">
                  <a:pos x="25" y="369"/>
                </a:cxn>
                <a:cxn ang="0">
                  <a:pos x="10" y="324"/>
                </a:cxn>
                <a:cxn ang="0">
                  <a:pos x="52" y="343"/>
                </a:cxn>
                <a:cxn ang="0">
                  <a:pos x="76" y="369"/>
                </a:cxn>
                <a:cxn ang="0">
                  <a:pos x="111" y="380"/>
                </a:cxn>
                <a:cxn ang="0">
                  <a:pos x="155" y="379"/>
                </a:cxn>
                <a:cxn ang="0">
                  <a:pos x="193" y="361"/>
                </a:cxn>
                <a:cxn ang="0">
                  <a:pos x="215" y="324"/>
                </a:cxn>
                <a:cxn ang="0">
                  <a:pos x="222" y="273"/>
                </a:cxn>
                <a:cxn ang="0">
                  <a:pos x="221" y="234"/>
                </a:cxn>
                <a:cxn ang="0">
                  <a:pos x="193" y="270"/>
                </a:cxn>
                <a:cxn ang="0">
                  <a:pos x="154" y="290"/>
                </a:cxn>
                <a:cxn ang="0">
                  <a:pos x="101" y="290"/>
                </a:cxn>
                <a:cxn ang="0">
                  <a:pos x="56" y="273"/>
                </a:cxn>
                <a:cxn ang="0">
                  <a:pos x="24" y="241"/>
                </a:cxn>
                <a:cxn ang="0">
                  <a:pos x="6" y="197"/>
                </a:cxn>
                <a:cxn ang="0">
                  <a:pos x="0" y="146"/>
                </a:cxn>
                <a:cxn ang="0">
                  <a:pos x="9" y="90"/>
                </a:cxn>
                <a:cxn ang="0">
                  <a:pos x="34" y="44"/>
                </a:cxn>
                <a:cxn ang="0">
                  <a:pos x="74" y="12"/>
                </a:cxn>
                <a:cxn ang="0">
                  <a:pos x="130" y="0"/>
                </a:cxn>
                <a:cxn ang="0">
                  <a:pos x="176" y="12"/>
                </a:cxn>
                <a:cxn ang="0">
                  <a:pos x="210" y="39"/>
                </a:cxn>
                <a:cxn ang="0">
                  <a:pos x="222" y="58"/>
                </a:cxn>
                <a:cxn ang="0">
                  <a:pos x="257" y="9"/>
                </a:cxn>
                <a:cxn ang="0">
                  <a:pos x="222" y="150"/>
                </a:cxn>
                <a:cxn ang="0">
                  <a:pos x="217" y="107"/>
                </a:cxn>
                <a:cxn ang="0">
                  <a:pos x="201" y="69"/>
                </a:cxn>
                <a:cxn ang="0">
                  <a:pos x="172" y="41"/>
                </a:cxn>
                <a:cxn ang="0">
                  <a:pos x="130" y="30"/>
                </a:cxn>
                <a:cxn ang="0">
                  <a:pos x="87" y="39"/>
                </a:cxn>
                <a:cxn ang="0">
                  <a:pos x="57" y="67"/>
                </a:cxn>
                <a:cxn ang="0">
                  <a:pos x="41" y="105"/>
                </a:cxn>
                <a:cxn ang="0">
                  <a:pos x="35" y="150"/>
                </a:cxn>
                <a:cxn ang="0">
                  <a:pos x="41" y="192"/>
                </a:cxn>
                <a:cxn ang="0">
                  <a:pos x="57" y="228"/>
                </a:cxn>
                <a:cxn ang="0">
                  <a:pos x="88" y="253"/>
                </a:cxn>
                <a:cxn ang="0">
                  <a:pos x="130" y="263"/>
                </a:cxn>
                <a:cxn ang="0">
                  <a:pos x="175" y="250"/>
                </a:cxn>
                <a:cxn ang="0">
                  <a:pos x="206" y="218"/>
                </a:cxn>
                <a:cxn ang="0">
                  <a:pos x="221" y="174"/>
                </a:cxn>
              </a:cxnLst>
              <a:rect l="0" t="0" r="r" b="b"/>
              <a:pathLst>
                <a:path w="257" h="411">
                  <a:moveTo>
                    <a:pt x="257" y="273"/>
                  </a:moveTo>
                  <a:lnTo>
                    <a:pt x="256" y="303"/>
                  </a:lnTo>
                  <a:lnTo>
                    <a:pt x="250" y="331"/>
                  </a:lnTo>
                  <a:lnTo>
                    <a:pt x="242" y="355"/>
                  </a:lnTo>
                  <a:lnTo>
                    <a:pt x="229" y="375"/>
                  </a:lnTo>
                  <a:lnTo>
                    <a:pt x="211" y="390"/>
                  </a:lnTo>
                  <a:lnTo>
                    <a:pt x="189" y="401"/>
                  </a:lnTo>
                  <a:lnTo>
                    <a:pt x="162" y="408"/>
                  </a:lnTo>
                  <a:lnTo>
                    <a:pt x="130" y="411"/>
                  </a:lnTo>
                  <a:lnTo>
                    <a:pt x="105" y="410"/>
                  </a:lnTo>
                  <a:lnTo>
                    <a:pt x="81" y="404"/>
                  </a:lnTo>
                  <a:lnTo>
                    <a:pt x="60" y="396"/>
                  </a:lnTo>
                  <a:lnTo>
                    <a:pt x="41" y="384"/>
                  </a:lnTo>
                  <a:lnTo>
                    <a:pt x="25" y="369"/>
                  </a:lnTo>
                  <a:lnTo>
                    <a:pt x="16" y="348"/>
                  </a:lnTo>
                  <a:lnTo>
                    <a:pt x="10" y="324"/>
                  </a:lnTo>
                  <a:lnTo>
                    <a:pt x="45" y="324"/>
                  </a:lnTo>
                  <a:lnTo>
                    <a:pt x="52" y="343"/>
                  </a:lnTo>
                  <a:lnTo>
                    <a:pt x="62" y="358"/>
                  </a:lnTo>
                  <a:lnTo>
                    <a:pt x="76" y="369"/>
                  </a:lnTo>
                  <a:lnTo>
                    <a:pt x="92" y="376"/>
                  </a:lnTo>
                  <a:lnTo>
                    <a:pt x="111" y="380"/>
                  </a:lnTo>
                  <a:lnTo>
                    <a:pt x="130" y="382"/>
                  </a:lnTo>
                  <a:lnTo>
                    <a:pt x="155" y="379"/>
                  </a:lnTo>
                  <a:lnTo>
                    <a:pt x="176" y="372"/>
                  </a:lnTo>
                  <a:lnTo>
                    <a:pt x="193" y="361"/>
                  </a:lnTo>
                  <a:lnTo>
                    <a:pt x="207" y="345"/>
                  </a:lnTo>
                  <a:lnTo>
                    <a:pt x="215" y="324"/>
                  </a:lnTo>
                  <a:lnTo>
                    <a:pt x="221" y="301"/>
                  </a:lnTo>
                  <a:lnTo>
                    <a:pt x="222" y="273"/>
                  </a:lnTo>
                  <a:lnTo>
                    <a:pt x="222" y="234"/>
                  </a:lnTo>
                  <a:lnTo>
                    <a:pt x="221" y="234"/>
                  </a:lnTo>
                  <a:lnTo>
                    <a:pt x="208" y="253"/>
                  </a:lnTo>
                  <a:lnTo>
                    <a:pt x="193" y="270"/>
                  </a:lnTo>
                  <a:lnTo>
                    <a:pt x="175" y="281"/>
                  </a:lnTo>
                  <a:lnTo>
                    <a:pt x="154" y="290"/>
                  </a:lnTo>
                  <a:lnTo>
                    <a:pt x="130" y="292"/>
                  </a:lnTo>
                  <a:lnTo>
                    <a:pt x="101" y="290"/>
                  </a:lnTo>
                  <a:lnTo>
                    <a:pt x="77" y="283"/>
                  </a:lnTo>
                  <a:lnTo>
                    <a:pt x="56" y="273"/>
                  </a:lnTo>
                  <a:lnTo>
                    <a:pt x="38" y="257"/>
                  </a:lnTo>
                  <a:lnTo>
                    <a:pt x="24" y="241"/>
                  </a:lnTo>
                  <a:lnTo>
                    <a:pt x="13" y="220"/>
                  </a:lnTo>
                  <a:lnTo>
                    <a:pt x="6" y="197"/>
                  </a:lnTo>
                  <a:lnTo>
                    <a:pt x="2" y="172"/>
                  </a:lnTo>
                  <a:lnTo>
                    <a:pt x="0" y="146"/>
                  </a:lnTo>
                  <a:lnTo>
                    <a:pt x="3" y="116"/>
                  </a:lnTo>
                  <a:lnTo>
                    <a:pt x="9" y="90"/>
                  </a:lnTo>
                  <a:lnTo>
                    <a:pt x="20" y="65"/>
                  </a:lnTo>
                  <a:lnTo>
                    <a:pt x="34" y="44"/>
                  </a:lnTo>
                  <a:lnTo>
                    <a:pt x="52" y="26"/>
                  </a:lnTo>
                  <a:lnTo>
                    <a:pt x="74" y="12"/>
                  </a:lnTo>
                  <a:lnTo>
                    <a:pt x="101" y="3"/>
                  </a:lnTo>
                  <a:lnTo>
                    <a:pt x="130" y="0"/>
                  </a:lnTo>
                  <a:lnTo>
                    <a:pt x="154" y="3"/>
                  </a:lnTo>
                  <a:lnTo>
                    <a:pt x="176" y="12"/>
                  </a:lnTo>
                  <a:lnTo>
                    <a:pt x="194" y="24"/>
                  </a:lnTo>
                  <a:lnTo>
                    <a:pt x="210" y="39"/>
                  </a:lnTo>
                  <a:lnTo>
                    <a:pt x="221" y="58"/>
                  </a:lnTo>
                  <a:lnTo>
                    <a:pt x="222" y="58"/>
                  </a:lnTo>
                  <a:lnTo>
                    <a:pt x="222" y="9"/>
                  </a:lnTo>
                  <a:lnTo>
                    <a:pt x="257" y="9"/>
                  </a:lnTo>
                  <a:lnTo>
                    <a:pt x="257" y="273"/>
                  </a:lnTo>
                  <a:close/>
                  <a:moveTo>
                    <a:pt x="222" y="150"/>
                  </a:moveTo>
                  <a:lnTo>
                    <a:pt x="221" y="129"/>
                  </a:lnTo>
                  <a:lnTo>
                    <a:pt x="217" y="107"/>
                  </a:lnTo>
                  <a:lnTo>
                    <a:pt x="211" y="87"/>
                  </a:lnTo>
                  <a:lnTo>
                    <a:pt x="201" y="69"/>
                  </a:lnTo>
                  <a:lnTo>
                    <a:pt x="189" y="52"/>
                  </a:lnTo>
                  <a:lnTo>
                    <a:pt x="172" y="41"/>
                  </a:lnTo>
                  <a:lnTo>
                    <a:pt x="152" y="32"/>
                  </a:lnTo>
                  <a:lnTo>
                    <a:pt x="130" y="30"/>
                  </a:lnTo>
                  <a:lnTo>
                    <a:pt x="106" y="32"/>
                  </a:lnTo>
                  <a:lnTo>
                    <a:pt x="87" y="39"/>
                  </a:lnTo>
                  <a:lnTo>
                    <a:pt x="70" y="52"/>
                  </a:lnTo>
                  <a:lnTo>
                    <a:pt x="57" y="67"/>
                  </a:lnTo>
                  <a:lnTo>
                    <a:pt x="48" y="86"/>
                  </a:lnTo>
                  <a:lnTo>
                    <a:pt x="41" y="105"/>
                  </a:lnTo>
                  <a:lnTo>
                    <a:pt x="37" y="127"/>
                  </a:lnTo>
                  <a:lnTo>
                    <a:pt x="35" y="150"/>
                  </a:lnTo>
                  <a:lnTo>
                    <a:pt x="37" y="171"/>
                  </a:lnTo>
                  <a:lnTo>
                    <a:pt x="41" y="192"/>
                  </a:lnTo>
                  <a:lnTo>
                    <a:pt x="48" y="211"/>
                  </a:lnTo>
                  <a:lnTo>
                    <a:pt x="57" y="228"/>
                  </a:lnTo>
                  <a:lnTo>
                    <a:pt x="71" y="242"/>
                  </a:lnTo>
                  <a:lnTo>
                    <a:pt x="88" y="253"/>
                  </a:lnTo>
                  <a:lnTo>
                    <a:pt x="108" y="260"/>
                  </a:lnTo>
                  <a:lnTo>
                    <a:pt x="130" y="263"/>
                  </a:lnTo>
                  <a:lnTo>
                    <a:pt x="154" y="260"/>
                  </a:lnTo>
                  <a:lnTo>
                    <a:pt x="175" y="250"/>
                  </a:lnTo>
                  <a:lnTo>
                    <a:pt x="192" y="236"/>
                  </a:lnTo>
                  <a:lnTo>
                    <a:pt x="206" y="218"/>
                  </a:lnTo>
                  <a:lnTo>
                    <a:pt x="214" y="197"/>
                  </a:lnTo>
                  <a:lnTo>
                    <a:pt x="221" y="174"/>
                  </a:lnTo>
                  <a:lnTo>
                    <a:pt x="222" y="150"/>
                  </a:lnTo>
                  <a:close/>
                </a:path>
              </a:pathLst>
            </a:custGeom>
            <a:solidFill>
              <a:schemeClr val="bg1"/>
            </a:solidFill>
            <a:ln w="0">
              <a:noFill/>
              <a:prstDash val="solid"/>
              <a:round/>
              <a:headEnd/>
              <a:tailEnd/>
            </a:ln>
          </p:spPr>
          <p:txBody>
            <a:bodyPr vert="horz" wrap="square" lIns="0" tIns="0" rIns="0" bIns="0" numCol="1" anchor="t" anchorCtr="0" compatLnSpc="1">
              <a:prstTxWarp prst="textNoShape">
                <a:avLst/>
              </a:prstTxWarp>
            </a:bodyPr>
            <a:lstStyle/>
            <a:p>
              <a:endParaRPr lang="en-AU">
                <a:solidFill>
                  <a:schemeClr val="bg1"/>
                </a:solidFill>
              </a:endParaRPr>
            </a:p>
          </p:txBody>
        </p:sp>
      </p:grpSp>
      <p:sp>
        <p:nvSpPr>
          <p:cNvPr id="72" name="TextBox 71"/>
          <p:cNvSpPr txBox="1"/>
          <p:nvPr userDrawn="1"/>
        </p:nvSpPr>
        <p:spPr>
          <a:xfrm>
            <a:off x="186755" y="6557123"/>
            <a:ext cx="1208584" cy="298800"/>
          </a:xfrm>
          <a:prstGeom prst="rect">
            <a:avLst/>
          </a:prstGeom>
          <a:noFill/>
        </p:spPr>
        <p:txBody>
          <a:bodyPr wrap="none" lIns="36000" tIns="36000" rIns="36000" bIns="36000" rtlCol="0" anchor="ctr">
            <a:noAutofit/>
          </a:bodyPr>
          <a:lstStyle/>
          <a:p>
            <a:pPr algn="l"/>
            <a:r>
              <a:rPr lang="en-AU" sz="700" b="0" cap="all" baseline="0" dirty="0">
                <a:solidFill>
                  <a:schemeClr val="bg1"/>
                </a:solidFill>
              </a:rPr>
              <a:t>STRICTLY CONFIDENTIAL</a:t>
            </a:r>
          </a:p>
        </p:txBody>
      </p:sp>
      <p:cxnSp>
        <p:nvCxnSpPr>
          <p:cNvPr id="73" name="Straight Connector 72"/>
          <p:cNvCxnSpPr/>
          <p:nvPr userDrawn="1"/>
        </p:nvCxnSpPr>
        <p:spPr bwMode="auto">
          <a:xfrm>
            <a:off x="0" y="6555600"/>
            <a:ext cx="9906000" cy="0"/>
          </a:xfrm>
          <a:prstGeom prst="line">
            <a:avLst/>
          </a:prstGeom>
          <a:solidFill>
            <a:schemeClr val="accent1"/>
          </a:solidFill>
          <a:ln w="9525" cap="flat" cmpd="sng" algn="ctr">
            <a:solidFill>
              <a:schemeClr val="bg1"/>
            </a:solidFill>
            <a:prstDash val="solid"/>
            <a:round/>
            <a:headEnd type="none" w="med" len="med"/>
            <a:tailEnd type="none" w="med" len="med"/>
          </a:ln>
          <a:effectLst/>
        </p:spPr>
      </p:cxnSp>
      <p:cxnSp>
        <p:nvCxnSpPr>
          <p:cNvPr id="74" name="Straight Connector 73"/>
          <p:cNvCxnSpPr/>
          <p:nvPr userDrawn="1"/>
        </p:nvCxnSpPr>
        <p:spPr bwMode="auto">
          <a:xfrm>
            <a:off x="0" y="6555600"/>
            <a:ext cx="9906000" cy="0"/>
          </a:xfrm>
          <a:prstGeom prst="line">
            <a:avLst/>
          </a:prstGeom>
          <a:solidFill>
            <a:schemeClr val="accent1"/>
          </a:solidFill>
          <a:ln w="9525" cap="flat" cmpd="sng" algn="ctr">
            <a:solidFill>
              <a:schemeClr val="bg1"/>
            </a:solidFill>
            <a:prstDash val="solid"/>
            <a:round/>
            <a:headEnd type="none" w="med" len="med"/>
            <a:tailEnd type="none" w="med" len="med"/>
          </a:ln>
          <a:effectLst/>
        </p:spPr>
      </p:cxnSp>
      <p:cxnSp>
        <p:nvCxnSpPr>
          <p:cNvPr id="75" name="Straight Connector 24"/>
          <p:cNvCxnSpPr>
            <a:cxnSpLocks noChangeShapeType="1"/>
          </p:cNvCxnSpPr>
          <p:nvPr userDrawn="1">
            <p:custDataLst>
              <p:tags r:id="rId1"/>
            </p:custDataLst>
          </p:nvPr>
        </p:nvCxnSpPr>
        <p:spPr bwMode="gray">
          <a:xfrm flipH="1">
            <a:off x="632848" y="3429000"/>
            <a:ext cx="8687102" cy="0"/>
          </a:xfrm>
          <a:prstGeom prst="line">
            <a:avLst/>
          </a:prstGeom>
          <a:noFill/>
          <a:ln w="9525" algn="ctr">
            <a:solidFill>
              <a:schemeClr val="accent6"/>
            </a:solidFill>
            <a:round/>
            <a:headEnd/>
            <a:tailEnd/>
          </a:ln>
        </p:spPr>
      </p:cxnSp>
      <p:sp>
        <p:nvSpPr>
          <p:cNvPr id="3" name="Text Placeholder 2"/>
          <p:cNvSpPr>
            <a:spLocks noGrp="1"/>
          </p:cNvSpPr>
          <p:nvPr>
            <p:ph type="body" sz="quarter" idx="10" hasCustomPrompt="1"/>
          </p:nvPr>
        </p:nvSpPr>
        <p:spPr>
          <a:xfrm>
            <a:off x="7583712" y="3438116"/>
            <a:ext cx="1727200" cy="4826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Autofit/>
          </a:bodyPr>
          <a:lstStyle>
            <a:lvl1pPr algn="r">
              <a:defRPr lang="en-GB" sz="2400" b="0" i="0" dirty="0" smtClean="0">
                <a:solidFill>
                  <a:schemeClr val="accent1"/>
                </a:solidFill>
                <a:latin typeface="Roboto" panose="02000000000000000000" pitchFamily="2" charset="0"/>
                <a:ea typeface="Roboto" panose="02000000000000000000" pitchFamily="2" charset="0"/>
                <a:cs typeface="Roboto" panose="02000000000000000000" pitchFamily="2" charset="0"/>
              </a:defRPr>
            </a:lvl1pPr>
          </a:lstStyle>
          <a:p>
            <a:pPr lvl="0"/>
            <a:r>
              <a:rPr lang="en-GB" sz="2400" dirty="0">
                <a:solidFill>
                  <a:schemeClr val="tx2"/>
                </a:solidFill>
              </a:rPr>
              <a:t>Appendix</a:t>
            </a:r>
          </a:p>
        </p:txBody>
      </p:sp>
      <p:pic>
        <p:nvPicPr>
          <p:cNvPr id="2" name="Picture 1" descr="A black background with brown text&#10;&#10;Description automatically generated">
            <a:extLst>
              <a:ext uri="{FF2B5EF4-FFF2-40B4-BE49-F238E27FC236}">
                <a16:creationId xmlns:a16="http://schemas.microsoft.com/office/drawing/2014/main" id="{A1DED7B5-F1BA-2749-49EC-A9C47901243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431363" y="212455"/>
            <a:ext cx="1124571" cy="432000"/>
          </a:xfrm>
          <a:prstGeom prst="rect">
            <a:avLst/>
          </a:prstGeom>
        </p:spPr>
      </p:pic>
    </p:spTree>
    <p:extLst>
      <p:ext uri="{BB962C8B-B14F-4D97-AF65-F5344CB8AC3E}">
        <p14:creationId xmlns:p14="http://schemas.microsoft.com/office/powerpoint/2010/main" val="22327749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ASIC">
    <p:spTree>
      <p:nvGrpSpPr>
        <p:cNvPr id="1" name=""/>
        <p:cNvGrpSpPr/>
        <p:nvPr/>
      </p:nvGrpSpPr>
      <p:grpSpPr>
        <a:xfrm>
          <a:off x="0" y="0"/>
          <a:ext cx="0" cy="0"/>
          <a:chOff x="0" y="0"/>
          <a:chExt cx="0" cy="0"/>
        </a:xfrm>
      </p:grpSpPr>
      <p:sp>
        <p:nvSpPr>
          <p:cNvPr id="4" name="TextBox 2"/>
          <p:cNvSpPr txBox="1"/>
          <p:nvPr userDrawn="1"/>
        </p:nvSpPr>
        <p:spPr>
          <a:xfrm>
            <a:off x="635000" y="2897068"/>
            <a:ext cx="8763000" cy="1107996"/>
          </a:xfrm>
          <a:prstGeom prst="rect">
            <a:avLst/>
          </a:prstGeom>
          <a:noFill/>
        </p:spPr>
        <p:txBody>
          <a:bodyPr wrap="square" rtlCol="0">
            <a:spAutoFit/>
          </a:bodyPr>
          <a:lstStyle/>
          <a:p>
            <a:pPr algn="ctr"/>
            <a:r>
              <a:rPr lang="en-AU" sz="6600" b="0" i="0" dirty="0">
                <a:solidFill>
                  <a:schemeClr val="accent1"/>
                </a:solidFill>
                <a:latin typeface="Roboto" panose="02000000000000000000" pitchFamily="2" charset="0"/>
                <a:ea typeface="Roboto" panose="02000000000000000000" pitchFamily="2" charset="0"/>
                <a:cs typeface="Roboto" panose="02000000000000000000" pitchFamily="2" charset="0"/>
              </a:rPr>
              <a:t>BASIC LAYOUT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x1">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CC068B7-B5D3-F4FA-B682-C943979D56E1}"/>
              </a:ext>
            </a:extLst>
          </p:cNvPr>
          <p:cNvGraphicFramePr>
            <a:graphicFrameLocks noChangeAspect="1"/>
          </p:cNvGraphicFramePr>
          <p:nvPr userDrawn="1">
            <p:custDataLst>
              <p:tags r:id="rId1"/>
            </p:custDataLst>
            <p:extLst>
              <p:ext uri="{D42A27DB-BD31-4B8C-83A1-F6EECF244321}">
                <p14:modId xmlns:p14="http://schemas.microsoft.com/office/powerpoint/2010/main" val="107768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0CC068B7-B5D3-F4FA-B682-C943979D56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72ABE2DD-8058-4D45-8AF6-32ECA81FD264}"/>
              </a:ext>
            </a:extLst>
          </p:cNvPr>
          <p:cNvSpPr>
            <a:spLocks noGrp="1"/>
          </p:cNvSpPr>
          <p:nvPr>
            <p:ph sz="quarter" idx="31" hasCustomPrompt="1"/>
          </p:nvPr>
        </p:nvSpPr>
        <p:spPr>
          <a:xfrm>
            <a:off x="392400" y="1633397"/>
            <a:ext cx="9131300" cy="4592151"/>
          </a:xfrm>
          <a:prstGeom prst="rect">
            <a:avLst/>
          </a:prstGeom>
        </p:spPr>
        <p:txBody>
          <a:bodyPr lIns="0"/>
          <a:lstStyle>
            <a:lvl1pPr marL="171450" indent="-171450">
              <a:buClrTx/>
              <a:buSzPct val="110000"/>
              <a:buFont typeface="Wingdings"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9" name="Text Placeholder 28"/>
          <p:cNvSpPr>
            <a:spLocks noGrp="1"/>
          </p:cNvSpPr>
          <p:nvPr>
            <p:ph type="body" sz="quarter" idx="10" hasCustomPrompt="1"/>
          </p:nvPr>
        </p:nvSpPr>
        <p:spPr>
          <a:xfrm>
            <a:off x="393244" y="881289"/>
            <a:ext cx="9130455" cy="396382"/>
          </a:xfrm>
          <a:prstGeom prst="rect">
            <a:avLst/>
          </a:prstGeom>
          <a:ln w="3175">
            <a:noFill/>
          </a:ln>
        </p:spPr>
        <p:txBody>
          <a:bodyPr vert="horz" lIns="0" tIns="36000" rIns="36000" bIns="36000" rtlCol="0">
            <a:noAutofit/>
          </a:bodyPr>
          <a:lstStyle>
            <a:lvl1pPr>
              <a:lnSpc>
                <a:spcPct val="100000"/>
              </a:lnSpc>
              <a:spcBef>
                <a:spcPts val="3000"/>
              </a:spcBef>
              <a:spcAft>
                <a:spcPts val="0"/>
              </a:spcAft>
              <a:defRPr lang="en-AU" sz="1200" b="0" i="0" kern="1200" noProof="0" dirty="0" smtClean="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stStyle>
          <a:p>
            <a:pPr marL="0" lvl="0" indent="0" algn="l" defTabSz="914400" rtl="0" eaLnBrk="1" latinLnBrk="0" hangingPunct="1">
              <a:lnSpc>
                <a:spcPct val="100000"/>
              </a:lnSpc>
              <a:spcBef>
                <a:spcPts val="0"/>
              </a:spcBef>
              <a:spcAft>
                <a:spcPts val="600"/>
              </a:spcAft>
              <a:buClr>
                <a:schemeClr val="accent3"/>
              </a:buClr>
              <a:buSzPct val="80000"/>
              <a:buFont typeface="Wingdings" pitchFamily="2" charset="2"/>
              <a:buNone/>
            </a:pPr>
            <a:r>
              <a:rPr lang="en-AU" noProof="0" dirty="0"/>
              <a:t>Click to insert key message</a:t>
            </a:r>
          </a:p>
        </p:txBody>
      </p:sp>
      <p:sp>
        <p:nvSpPr>
          <p:cNvPr id="18" name="Text Placeholder 17"/>
          <p:cNvSpPr>
            <a:spLocks noGrp="1"/>
          </p:cNvSpPr>
          <p:nvPr>
            <p:ph type="body" sz="quarter" idx="24" hasCustomPrompt="1"/>
          </p:nvPr>
        </p:nvSpPr>
        <p:spPr>
          <a:xfrm>
            <a:off x="393245" y="1383643"/>
            <a:ext cx="9131755" cy="241592"/>
          </a:xfrm>
          <a:prstGeom prst="rect">
            <a:avLst/>
          </a:prstGeom>
          <a:ln w="3175">
            <a:noFill/>
          </a:ln>
        </p:spPr>
        <p:txBody>
          <a:bodyPr vert="horz" lIns="0" tIns="36000" rIns="36000" bIns="36000" rtlCol="0" anchor="b">
            <a:noAutofit/>
          </a:bodyPr>
          <a:lstStyle>
            <a:lvl1pPr marL="0" indent="0">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0" name="Title 19"/>
          <p:cNvSpPr>
            <a:spLocks noGrp="1"/>
          </p:cNvSpPr>
          <p:nvPr>
            <p:ph type="title" hasCustomPrompt="1"/>
          </p:nvPr>
        </p:nvSpPr>
        <p:spPr>
          <a:xfrm>
            <a:off x="392399" y="108000"/>
            <a:ext cx="7560000" cy="576000"/>
          </a:xfrm>
          <a:prstGeom prst="rect">
            <a:avLst/>
          </a:prstGeom>
        </p:spPr>
        <p:txBody>
          <a:bodyPr vert="horz"/>
          <a:lstStyle>
            <a:lvl1pPr>
              <a:defRPr b="0" i="0">
                <a:latin typeface="Roboto Light" panose="02000000000000000000" pitchFamily="2" charset="0"/>
                <a:ea typeface="Roboto Light" panose="02000000000000000000" pitchFamily="2" charset="0"/>
                <a:cs typeface="Roboto Light" panose="02000000000000000000" pitchFamily="2" charset="0"/>
              </a:defRPr>
            </a:lvl1pPr>
          </a:lstStyle>
          <a:p>
            <a:r>
              <a:rPr lang="en-AU" noProof="0" dirty="0"/>
              <a:t>Click to insert page title</a:t>
            </a:r>
          </a:p>
        </p:txBody>
      </p:sp>
      <p:sp>
        <p:nvSpPr>
          <p:cNvPr id="10" name="Espace réservé du texte 4">
            <a:extLst>
              <a:ext uri="{FF2B5EF4-FFF2-40B4-BE49-F238E27FC236}">
                <a16:creationId xmlns:a16="http://schemas.microsoft.com/office/drawing/2014/main" id="{0BB956CC-4C33-4F1C-B9FD-CA2558032D89}"/>
              </a:ext>
            </a:extLst>
          </p:cNvPr>
          <p:cNvSpPr>
            <a:spLocks noGrp="1"/>
          </p:cNvSpPr>
          <p:nvPr>
            <p:ph type="body" sz="quarter" idx="27" hasCustomPrompt="1"/>
          </p:nvPr>
        </p:nvSpPr>
        <p:spPr>
          <a:xfrm>
            <a:off x="393245" y="6233719"/>
            <a:ext cx="4380368" cy="276340"/>
          </a:xfrm>
          <a:prstGeom prst="rect">
            <a:avLst/>
          </a:prstGeom>
        </p:spPr>
        <p:txBody>
          <a:bodyPr lIns="0" tIns="0" rIns="0" bIns="0" anchor="b" anchorCtr="0"/>
          <a:lstStyle>
            <a:lvl1pPr>
              <a:spcAft>
                <a:spcPts val="0"/>
              </a:spcAft>
              <a:defRPr sz="6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fr-FR" dirty="0"/>
              <a:t>Source:</a:t>
            </a:r>
            <a:endParaRPr lang="en-GB" dirty="0"/>
          </a:p>
        </p:txBody>
      </p:sp>
      <p:sp>
        <p:nvSpPr>
          <p:cNvPr id="4" name="Espace réservé du numéro de diapositive 3">
            <a:extLst>
              <a:ext uri="{FF2B5EF4-FFF2-40B4-BE49-F238E27FC236}">
                <a16:creationId xmlns:a16="http://schemas.microsoft.com/office/drawing/2014/main" id="{8C9DBFFC-AF51-AE53-44EA-F5DF04810605}"/>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Tree>
  </p:cSld>
  <p:clrMapOvr>
    <a:masterClrMapping/>
  </p:clrMapOvr>
  <p:extLst>
    <p:ext uri="{DCECCB84-F9BA-43D5-87BE-67443E8EF086}">
      <p15:sldGuideLst xmlns:p15="http://schemas.microsoft.com/office/powerpoint/2012/main">
        <p15:guide id="1" orient="horz" pos="867" userDrawn="1">
          <p15:clr>
            <a:srgbClr val="FBAE40"/>
          </p15:clr>
        </p15:guide>
        <p15:guide id="2" pos="240" userDrawn="1">
          <p15:clr>
            <a:srgbClr val="FBAE40"/>
          </p15:clr>
        </p15:guide>
        <p15:guide id="3" pos="600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1x1">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5267C60-0F2F-0DF7-8E53-4B0460D03BC5}"/>
              </a:ext>
            </a:extLst>
          </p:cNvPr>
          <p:cNvGraphicFramePr>
            <a:graphicFrameLocks noChangeAspect="1"/>
          </p:cNvGraphicFramePr>
          <p:nvPr userDrawn="1">
            <p:custDataLst>
              <p:tags r:id="rId1"/>
            </p:custDataLst>
            <p:extLst>
              <p:ext uri="{D42A27DB-BD31-4B8C-83A1-F6EECF244321}">
                <p14:modId xmlns:p14="http://schemas.microsoft.com/office/powerpoint/2010/main" val="1480393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15267C60-0F2F-0DF7-8E53-4B0460D03B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ext Placeholder 28"/>
          <p:cNvSpPr>
            <a:spLocks noGrp="1"/>
          </p:cNvSpPr>
          <p:nvPr>
            <p:ph type="body" sz="quarter" idx="10" hasCustomPrompt="1"/>
          </p:nvPr>
        </p:nvSpPr>
        <p:spPr>
          <a:xfrm>
            <a:off x="393245" y="881289"/>
            <a:ext cx="9168766" cy="396382"/>
          </a:xfrm>
          <a:prstGeom prst="rect">
            <a:avLst/>
          </a:prstGeom>
          <a:ln w="3175">
            <a:noFill/>
          </a:ln>
        </p:spPr>
        <p:txBody>
          <a:bodyPr vert="horz" lIns="0" tIns="36000" rIns="36000" bIns="36000" rtlCol="0">
            <a:noAutofit/>
          </a:bodyPr>
          <a:lstStyle>
            <a:lvl1pPr>
              <a:defRPr lang="en-AU" sz="1200" noProof="0" dirty="0">
                <a:cs typeface="Roboto Light" panose="02000000000000000000" pitchFamily="2" charset="0"/>
              </a:defRPr>
            </a:lvl1pPr>
          </a:lstStyle>
          <a:p>
            <a:pPr lvl="0">
              <a:lnSpc>
                <a:spcPct val="100000"/>
              </a:lnSpc>
            </a:pPr>
            <a:r>
              <a:rPr lang="en-AU" noProof="0" dirty="0"/>
              <a:t>Click to insert key message</a:t>
            </a:r>
          </a:p>
        </p:txBody>
      </p:sp>
      <p:sp>
        <p:nvSpPr>
          <p:cNvPr id="20" name="Title 19"/>
          <p:cNvSpPr>
            <a:spLocks noGrp="1"/>
          </p:cNvSpPr>
          <p:nvPr>
            <p:ph type="title" hasCustomPrompt="1"/>
          </p:nvPr>
        </p:nvSpPr>
        <p:spPr>
          <a:xfrm>
            <a:off x="392399" y="108000"/>
            <a:ext cx="7560000" cy="576000"/>
          </a:xfrm>
          <a:prstGeom prst="rect">
            <a:avLst/>
          </a:prstGeom>
        </p:spPr>
        <p:txBody>
          <a:bodyPr vert="horz"/>
          <a:lstStyle>
            <a:lvl1pPr>
              <a:defRPr b="0" i="0">
                <a:latin typeface="Roboto Light" panose="02000000000000000000" pitchFamily="2" charset="0"/>
                <a:ea typeface="Roboto Light" panose="02000000000000000000" pitchFamily="2" charset="0"/>
                <a:cs typeface="Roboto Light" panose="02000000000000000000" pitchFamily="2" charset="0"/>
              </a:defRPr>
            </a:lvl1pPr>
          </a:lstStyle>
          <a:p>
            <a:r>
              <a:rPr lang="en-AU" noProof="0" dirty="0"/>
              <a:t>Click to insert page tile</a:t>
            </a:r>
          </a:p>
        </p:txBody>
      </p:sp>
      <p:sp>
        <p:nvSpPr>
          <p:cNvPr id="10" name="Espace réservé du texte 4">
            <a:extLst>
              <a:ext uri="{FF2B5EF4-FFF2-40B4-BE49-F238E27FC236}">
                <a16:creationId xmlns:a16="http://schemas.microsoft.com/office/drawing/2014/main" id="{0BB956CC-4C33-4F1C-B9FD-CA2558032D89}"/>
              </a:ext>
            </a:extLst>
          </p:cNvPr>
          <p:cNvSpPr>
            <a:spLocks noGrp="1"/>
          </p:cNvSpPr>
          <p:nvPr>
            <p:ph type="body" sz="quarter" idx="27" hasCustomPrompt="1"/>
          </p:nvPr>
        </p:nvSpPr>
        <p:spPr>
          <a:xfrm>
            <a:off x="393245" y="6233719"/>
            <a:ext cx="4380368" cy="276340"/>
          </a:xfrm>
          <a:prstGeom prst="rect">
            <a:avLst/>
          </a:prstGeom>
        </p:spPr>
        <p:txBody>
          <a:bodyPr lIns="0" tIns="0" rIns="0" bIns="0" anchor="b" anchorCtr="0"/>
          <a:lstStyle>
            <a:lvl1pPr>
              <a:spcAft>
                <a:spcPts val="0"/>
              </a:spcAft>
              <a:defRPr sz="6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fr-FR" dirty="0"/>
              <a:t>Source:</a:t>
            </a:r>
            <a:endParaRPr lang="en-GB" dirty="0"/>
          </a:p>
        </p:txBody>
      </p:sp>
      <p:sp>
        <p:nvSpPr>
          <p:cNvPr id="4" name="Espace réservé du numéro de diapositive 3">
            <a:extLst>
              <a:ext uri="{FF2B5EF4-FFF2-40B4-BE49-F238E27FC236}">
                <a16:creationId xmlns:a16="http://schemas.microsoft.com/office/drawing/2014/main" id="{A10FFEA0-4945-68EE-7C78-5C7898A032F9}"/>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1292331569"/>
      </p:ext>
    </p:extLst>
  </p:cSld>
  <p:clrMapOvr>
    <a:masterClrMapping/>
  </p:clrMapOvr>
  <p:extLst>
    <p:ext uri="{DCECCB84-F9BA-43D5-87BE-67443E8EF086}">
      <p15:sldGuideLst xmlns:p15="http://schemas.microsoft.com/office/powerpoint/2012/main">
        <p15:guide id="1" orient="horz" pos="867">
          <p15:clr>
            <a:srgbClr val="FBAE40"/>
          </p15:clr>
        </p15:guide>
        <p15:guide id="2" pos="240">
          <p15:clr>
            <a:srgbClr val="FBAE40"/>
          </p15:clr>
        </p15:guide>
        <p15:guide id="3" pos="600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x1">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D3226E1-C9D7-EED7-DAB5-FC75FC9713ED}"/>
              </a:ext>
            </a:extLst>
          </p:cNvPr>
          <p:cNvGraphicFramePr>
            <a:graphicFrameLocks noChangeAspect="1"/>
          </p:cNvGraphicFramePr>
          <p:nvPr userDrawn="1">
            <p:custDataLst>
              <p:tags r:id="rId1"/>
            </p:custDataLst>
            <p:extLst>
              <p:ext uri="{D42A27DB-BD31-4B8C-83A1-F6EECF244321}">
                <p14:modId xmlns:p14="http://schemas.microsoft.com/office/powerpoint/2010/main" val="4030583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DD3226E1-C9D7-EED7-DAB5-FC75FC9713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ext Placeholder 28"/>
          <p:cNvSpPr>
            <a:spLocks noGrp="1"/>
          </p:cNvSpPr>
          <p:nvPr>
            <p:ph type="body" sz="quarter" idx="10" hasCustomPrompt="1"/>
          </p:nvPr>
        </p:nvSpPr>
        <p:spPr>
          <a:xfrm>
            <a:off x="393244" y="881289"/>
            <a:ext cx="9130455" cy="396382"/>
          </a:xfrm>
          <a:prstGeom prst="rect">
            <a:avLst/>
          </a:prstGeom>
          <a:ln w="3175">
            <a:noFill/>
          </a:ln>
        </p:spPr>
        <p:txBody>
          <a:bodyPr vert="horz" lIns="0" tIns="36000" rIns="36000" bIns="36000" rtlCol="0">
            <a:noAutofit/>
          </a:bodyPr>
          <a:lstStyle>
            <a:lvl1pPr>
              <a:buClrTx/>
              <a:defRPr lang="en-AU" sz="1200" noProof="0" dirty="0">
                <a:cs typeface="Roboto Light" panose="02000000000000000000" pitchFamily="2" charset="0"/>
              </a:defRPr>
            </a:lvl1pPr>
          </a:lstStyle>
          <a:p>
            <a:pPr lvl="0">
              <a:lnSpc>
                <a:spcPct val="100000"/>
              </a:lnSpc>
            </a:pPr>
            <a:r>
              <a:rPr lang="en-AU" noProof="0" dirty="0"/>
              <a:t>Click to insert key message</a:t>
            </a:r>
          </a:p>
        </p:txBody>
      </p:sp>
      <p:sp>
        <p:nvSpPr>
          <p:cNvPr id="18" name="Text Placeholder 17"/>
          <p:cNvSpPr>
            <a:spLocks noGrp="1"/>
          </p:cNvSpPr>
          <p:nvPr>
            <p:ph type="body" sz="quarter" idx="24" hasCustomPrompt="1"/>
          </p:nvPr>
        </p:nvSpPr>
        <p:spPr>
          <a:xfrm>
            <a:off x="393245" y="1383643"/>
            <a:ext cx="9131755" cy="241592"/>
          </a:xfrm>
          <a:prstGeom prst="rect">
            <a:avLst/>
          </a:prstGeom>
          <a:ln w="3175">
            <a:noFill/>
          </a:ln>
        </p:spPr>
        <p:txBody>
          <a:bodyPr vert="horz" lIns="0" tIns="36000" rIns="36000" bIns="36000" rtlCol="0" anchor="b">
            <a:noAutofit/>
          </a:bodyPr>
          <a:lstStyle>
            <a:lvl1pPr marL="0" indent="0">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0" name="Title 19"/>
          <p:cNvSpPr>
            <a:spLocks noGrp="1"/>
          </p:cNvSpPr>
          <p:nvPr>
            <p:ph type="title" hasCustomPrompt="1"/>
          </p:nvPr>
        </p:nvSpPr>
        <p:spPr>
          <a:xfrm>
            <a:off x="392399" y="108000"/>
            <a:ext cx="7560000" cy="576000"/>
          </a:xfrm>
          <a:prstGeom prst="rect">
            <a:avLst/>
          </a:prstGeom>
        </p:spPr>
        <p:txBody>
          <a:bodyPr vert="horz"/>
          <a:lstStyle>
            <a:lvl1pPr>
              <a:buClrTx/>
              <a:defRPr b="0" i="0">
                <a:latin typeface="Roboto Light" panose="02000000000000000000" pitchFamily="2" charset="0"/>
                <a:ea typeface="Roboto Light" panose="02000000000000000000" pitchFamily="2" charset="0"/>
                <a:cs typeface="Roboto Light" panose="02000000000000000000" pitchFamily="2" charset="0"/>
              </a:defRPr>
            </a:lvl1pPr>
          </a:lstStyle>
          <a:p>
            <a:r>
              <a:rPr lang="en-AU" noProof="0" dirty="0"/>
              <a:t>Click to insert page title</a:t>
            </a:r>
          </a:p>
        </p:txBody>
      </p:sp>
      <p:sp>
        <p:nvSpPr>
          <p:cNvPr id="11" name="Text Placeholder 17"/>
          <p:cNvSpPr>
            <a:spLocks noGrp="1"/>
          </p:cNvSpPr>
          <p:nvPr>
            <p:ph type="body" sz="quarter" idx="29" hasCustomPrompt="1"/>
          </p:nvPr>
        </p:nvSpPr>
        <p:spPr>
          <a:xfrm>
            <a:off x="393245" y="3819057"/>
            <a:ext cx="9131755"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14" name="Espace réservé du texte 4">
            <a:extLst>
              <a:ext uri="{FF2B5EF4-FFF2-40B4-BE49-F238E27FC236}">
                <a16:creationId xmlns:a16="http://schemas.microsoft.com/office/drawing/2014/main" id="{5A762AB3-01E5-40CA-AEA4-47AE75F48639}"/>
              </a:ext>
            </a:extLst>
          </p:cNvPr>
          <p:cNvSpPr>
            <a:spLocks noGrp="1"/>
          </p:cNvSpPr>
          <p:nvPr>
            <p:ph type="body" sz="quarter" idx="27" hasCustomPrompt="1"/>
          </p:nvPr>
        </p:nvSpPr>
        <p:spPr>
          <a:xfrm>
            <a:off x="393245" y="6233719"/>
            <a:ext cx="4380368" cy="276340"/>
          </a:xfrm>
          <a:prstGeom prst="rect">
            <a:avLst/>
          </a:prstGeom>
        </p:spPr>
        <p:txBody>
          <a:bodyPr lIns="0" tIns="0" rIns="0" bIns="0" anchor="b" anchorCtr="0"/>
          <a:lstStyle>
            <a:lvl1pPr>
              <a:spcAft>
                <a:spcPts val="0"/>
              </a:spcAft>
              <a:buClrTx/>
              <a:defRPr sz="6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fr-FR" dirty="0"/>
              <a:t>Source:</a:t>
            </a:r>
            <a:endParaRPr lang="en-GB" dirty="0"/>
          </a:p>
        </p:txBody>
      </p:sp>
      <p:sp>
        <p:nvSpPr>
          <p:cNvPr id="19" name="Content Placeholder 6">
            <a:extLst>
              <a:ext uri="{FF2B5EF4-FFF2-40B4-BE49-F238E27FC236}">
                <a16:creationId xmlns:a16="http://schemas.microsoft.com/office/drawing/2014/main" id="{77A1BCA2-D932-40CA-A7D0-E5CEEEF04981}"/>
              </a:ext>
            </a:extLst>
          </p:cNvPr>
          <p:cNvSpPr>
            <a:spLocks noGrp="1"/>
          </p:cNvSpPr>
          <p:nvPr>
            <p:ph sz="quarter" idx="31"/>
          </p:nvPr>
        </p:nvSpPr>
        <p:spPr>
          <a:xfrm>
            <a:off x="392400" y="1633396"/>
            <a:ext cx="9131300" cy="2160000"/>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1" name="Content Placeholder 6">
            <a:extLst>
              <a:ext uri="{FF2B5EF4-FFF2-40B4-BE49-F238E27FC236}">
                <a16:creationId xmlns:a16="http://schemas.microsoft.com/office/drawing/2014/main" id="{D6DF89BE-5A32-4D74-9318-7ADF0DB5F31D}"/>
              </a:ext>
            </a:extLst>
          </p:cNvPr>
          <p:cNvSpPr>
            <a:spLocks noGrp="1"/>
          </p:cNvSpPr>
          <p:nvPr>
            <p:ph sz="quarter" idx="32"/>
          </p:nvPr>
        </p:nvSpPr>
        <p:spPr>
          <a:xfrm>
            <a:off x="392400" y="4071796"/>
            <a:ext cx="9131300" cy="2160000"/>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Espace réservé du numéro de diapositive 3">
            <a:extLst>
              <a:ext uri="{FF2B5EF4-FFF2-40B4-BE49-F238E27FC236}">
                <a16:creationId xmlns:a16="http://schemas.microsoft.com/office/drawing/2014/main" id="{E39A23F5-AE38-4CAE-A17D-882BCE8C6612}"/>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Tx/>
            </a:pPr>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buClrTx/>
              </a:pPr>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3135157974"/>
      </p:ext>
    </p:extLst>
  </p:cSld>
  <p:clrMapOvr>
    <a:masterClrMapping/>
  </p:clrMapOvr>
  <p:extLst>
    <p:ext uri="{DCECCB84-F9BA-43D5-87BE-67443E8EF086}">
      <p15:sldGuideLst xmlns:p15="http://schemas.microsoft.com/office/powerpoint/2012/main">
        <p15:guide id="0" orient="horz" pos="2568" userDrawn="1">
          <p15:clr>
            <a:srgbClr val="FBAE40"/>
          </p15:clr>
        </p15:guide>
        <p15:guide id="1" orient="horz" pos="867">
          <p15:clr>
            <a:srgbClr val="FBAE40"/>
          </p15:clr>
        </p15:guide>
        <p15:guide id="2" pos="240">
          <p15:clr>
            <a:srgbClr val="FBAE40"/>
          </p15:clr>
        </p15:guide>
        <p15:guide id="3" pos="600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x2 Center">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6351781-8226-F528-8423-D0AF4C2C12E0}"/>
              </a:ext>
            </a:extLst>
          </p:cNvPr>
          <p:cNvGraphicFramePr>
            <a:graphicFrameLocks noChangeAspect="1"/>
          </p:cNvGraphicFramePr>
          <p:nvPr userDrawn="1">
            <p:custDataLst>
              <p:tags r:id="rId1"/>
            </p:custDataLst>
            <p:extLst>
              <p:ext uri="{D42A27DB-BD31-4B8C-83A1-F6EECF244321}">
                <p14:modId xmlns:p14="http://schemas.microsoft.com/office/powerpoint/2010/main" val="1682089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86351781-8226-F528-8423-D0AF4C2C12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ext Placeholder 28"/>
          <p:cNvSpPr>
            <a:spLocks noGrp="1"/>
          </p:cNvSpPr>
          <p:nvPr>
            <p:ph type="body" sz="quarter" idx="10" hasCustomPrompt="1"/>
          </p:nvPr>
        </p:nvSpPr>
        <p:spPr>
          <a:xfrm>
            <a:off x="393245" y="881289"/>
            <a:ext cx="9126526" cy="396382"/>
          </a:xfrm>
          <a:prstGeom prst="rect">
            <a:avLst/>
          </a:prstGeom>
          <a:ln w="3175">
            <a:noFill/>
          </a:ln>
        </p:spPr>
        <p:txBody>
          <a:bodyPr vert="horz" lIns="0" tIns="36000" rIns="36000" bIns="36000" rtlCol="0">
            <a:noAutofit/>
          </a:bodyPr>
          <a:lstStyle>
            <a:lvl1pPr>
              <a:buClrTx/>
              <a:defRPr lang="en-AU" sz="1200" noProof="0" dirty="0">
                <a:cs typeface="Roboto Light" panose="02000000000000000000" pitchFamily="2" charset="0"/>
              </a:defRPr>
            </a:lvl1pPr>
          </a:lstStyle>
          <a:p>
            <a:pPr lvl="0">
              <a:lnSpc>
                <a:spcPct val="100000"/>
              </a:lnSpc>
            </a:pPr>
            <a:r>
              <a:rPr lang="en-AU" noProof="0" dirty="0"/>
              <a:t>Click to insert key message</a:t>
            </a:r>
          </a:p>
        </p:txBody>
      </p:sp>
      <p:sp>
        <p:nvSpPr>
          <p:cNvPr id="18" name="Text Placeholder 17"/>
          <p:cNvSpPr>
            <a:spLocks noGrp="1"/>
          </p:cNvSpPr>
          <p:nvPr>
            <p:ph type="body" sz="quarter" idx="24" hasCustomPrompt="1"/>
          </p:nvPr>
        </p:nvSpPr>
        <p:spPr>
          <a:xfrm>
            <a:off x="393246" y="1383643"/>
            <a:ext cx="4380368"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20" name="Title 19"/>
          <p:cNvSpPr>
            <a:spLocks noGrp="1"/>
          </p:cNvSpPr>
          <p:nvPr>
            <p:ph type="title" hasCustomPrompt="1"/>
          </p:nvPr>
        </p:nvSpPr>
        <p:spPr>
          <a:xfrm>
            <a:off x="392399" y="108000"/>
            <a:ext cx="7560000" cy="576000"/>
          </a:xfrm>
          <a:prstGeom prst="rect">
            <a:avLst/>
          </a:prstGeom>
        </p:spPr>
        <p:txBody>
          <a:bodyPr vert="horz"/>
          <a:lstStyle>
            <a:lvl1pPr>
              <a:buClrTx/>
              <a:defRPr b="0" i="0">
                <a:latin typeface="Roboto Light" panose="02000000000000000000" pitchFamily="2" charset="0"/>
                <a:ea typeface="Roboto Light" panose="02000000000000000000" pitchFamily="2" charset="0"/>
                <a:cs typeface="Roboto Light" panose="02000000000000000000" pitchFamily="2" charset="0"/>
              </a:defRPr>
            </a:lvl1pPr>
          </a:lstStyle>
          <a:p>
            <a:r>
              <a:rPr lang="en-AU" noProof="0" dirty="0"/>
              <a:t>Click to insert page title</a:t>
            </a:r>
          </a:p>
        </p:txBody>
      </p:sp>
      <p:sp>
        <p:nvSpPr>
          <p:cNvPr id="13" name="Text Placeholder 17"/>
          <p:cNvSpPr>
            <a:spLocks noGrp="1"/>
          </p:cNvSpPr>
          <p:nvPr>
            <p:ph type="body" sz="quarter" idx="29" hasCustomPrompt="1"/>
          </p:nvPr>
        </p:nvSpPr>
        <p:spPr>
          <a:xfrm>
            <a:off x="5140552" y="1383643"/>
            <a:ext cx="4380368" cy="241592"/>
          </a:xfrm>
          <a:prstGeom prst="rect">
            <a:avLst/>
          </a:prstGeom>
          <a:ln w="3175">
            <a:noFill/>
          </a:ln>
        </p:spPr>
        <p:txBody>
          <a:bodyPr vert="horz" lIns="0" tIns="36000" rIns="36000" bIns="36000" rtlCol="0" anchor="b">
            <a:noAutofit/>
          </a:bodyPr>
          <a:lstStyle>
            <a:lvl1pPr>
              <a:buClrTx/>
              <a:defRPr lang="en-AU" sz="1000" b="0" i="0" kern="1200" noProof="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defRPr>
            </a:lvl1pPr>
          </a:lstStyle>
          <a:p>
            <a:pPr marL="0" lvl="0" indent="0" algn="l" defTabSz="914400" rtl="0" eaLnBrk="1" latinLnBrk="0" hangingPunct="1">
              <a:spcBef>
                <a:spcPts val="0"/>
              </a:spcBef>
              <a:spcAft>
                <a:spcPts val="600"/>
              </a:spcAft>
              <a:buClr>
                <a:schemeClr val="accent3"/>
              </a:buClr>
              <a:buSzPct val="80000"/>
              <a:buFont typeface="Wingdings" pitchFamily="2" charset="2"/>
              <a:buNone/>
            </a:pPr>
            <a:r>
              <a:rPr lang="en-AU" noProof="0" dirty="0"/>
              <a:t>Click to insert sub-title 1</a:t>
            </a:r>
          </a:p>
        </p:txBody>
      </p:sp>
      <p:sp>
        <p:nvSpPr>
          <p:cNvPr id="14" name="Espace réservé du texte 4">
            <a:extLst>
              <a:ext uri="{FF2B5EF4-FFF2-40B4-BE49-F238E27FC236}">
                <a16:creationId xmlns:a16="http://schemas.microsoft.com/office/drawing/2014/main" id="{A2E814B3-9FB8-4C48-BED5-63F3F76DB1ED}"/>
              </a:ext>
            </a:extLst>
          </p:cNvPr>
          <p:cNvSpPr>
            <a:spLocks noGrp="1"/>
          </p:cNvSpPr>
          <p:nvPr>
            <p:ph type="body" sz="quarter" idx="27" hasCustomPrompt="1"/>
          </p:nvPr>
        </p:nvSpPr>
        <p:spPr>
          <a:xfrm>
            <a:off x="393245" y="6233719"/>
            <a:ext cx="4380368" cy="276340"/>
          </a:xfrm>
          <a:prstGeom prst="rect">
            <a:avLst/>
          </a:prstGeom>
        </p:spPr>
        <p:txBody>
          <a:bodyPr lIns="0" tIns="0" rIns="0" bIns="0" anchor="b" anchorCtr="0"/>
          <a:lstStyle>
            <a:lvl1pPr>
              <a:spcAft>
                <a:spcPts val="0"/>
              </a:spcAft>
              <a:buClrTx/>
              <a:defRPr sz="600" b="0" i="0">
                <a:latin typeface="Roboto Light" panose="02000000000000000000" pitchFamily="2" charset="0"/>
                <a:ea typeface="Roboto Light" panose="02000000000000000000" pitchFamily="2" charset="0"/>
                <a:cs typeface="Roboto Light" panose="02000000000000000000" pitchFamily="2" charset="0"/>
              </a:defRPr>
            </a:lvl1pPr>
          </a:lstStyle>
          <a:p>
            <a:pPr lvl="0"/>
            <a:r>
              <a:rPr lang="fr-FR" dirty="0"/>
              <a:t>Source:</a:t>
            </a:r>
            <a:endParaRPr lang="en-GB" dirty="0"/>
          </a:p>
        </p:txBody>
      </p:sp>
      <p:sp>
        <p:nvSpPr>
          <p:cNvPr id="19" name="Content Placeholder 6">
            <a:extLst>
              <a:ext uri="{FF2B5EF4-FFF2-40B4-BE49-F238E27FC236}">
                <a16:creationId xmlns:a16="http://schemas.microsoft.com/office/drawing/2014/main" id="{B360C1D2-F5AE-44CC-929E-37B535C60708}"/>
              </a:ext>
            </a:extLst>
          </p:cNvPr>
          <p:cNvSpPr>
            <a:spLocks noGrp="1"/>
          </p:cNvSpPr>
          <p:nvPr>
            <p:ph sz="quarter" idx="31"/>
          </p:nvPr>
        </p:nvSpPr>
        <p:spPr>
          <a:xfrm>
            <a:off x="392400" y="1633397"/>
            <a:ext cx="4381200" cy="4592155"/>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1" name="Content Placeholder 6">
            <a:extLst>
              <a:ext uri="{FF2B5EF4-FFF2-40B4-BE49-F238E27FC236}">
                <a16:creationId xmlns:a16="http://schemas.microsoft.com/office/drawing/2014/main" id="{9F561B40-C730-495F-A8EF-2D89A0049193}"/>
              </a:ext>
            </a:extLst>
          </p:cNvPr>
          <p:cNvSpPr>
            <a:spLocks noGrp="1"/>
          </p:cNvSpPr>
          <p:nvPr>
            <p:ph sz="quarter" idx="32"/>
          </p:nvPr>
        </p:nvSpPr>
        <p:spPr>
          <a:xfrm>
            <a:off x="5138571" y="1633397"/>
            <a:ext cx="4381200" cy="4592155"/>
          </a:xfrm>
          <a:prstGeom prst="rect">
            <a:avLst/>
          </a:prstGeom>
        </p:spPr>
        <p:txBody>
          <a:bodyPr lIns="0"/>
          <a:lstStyle>
            <a:lvl1pPr marL="171450" indent="-171450">
              <a:buClrTx/>
              <a:buSzPct val="100000"/>
              <a:buFont typeface="Wingdings" panose="05000000000000000000" pitchFamily="2" charset="2"/>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buClrTx/>
              <a:buSzPct val="5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2pPr>
            <a:lvl3pPr marL="528638" indent="-171450">
              <a:buClrTx/>
              <a:buSzPct val="100000"/>
              <a:buFont typeface="Arial" panose="020B0604020202020204" pitchFamily="34" charset="0"/>
              <a:buChar char="–"/>
              <a:defRPr b="0" i="0">
                <a:latin typeface="Roboto Light" panose="02000000000000000000" pitchFamily="2" charset="0"/>
                <a:ea typeface="Roboto Light" panose="02000000000000000000" pitchFamily="2" charset="0"/>
                <a:cs typeface="Roboto Light" panose="02000000000000000000" pitchFamily="2" charset="0"/>
              </a:defRPr>
            </a:lvl3pPr>
            <a:lvl4pPr marL="719138" indent="-179388">
              <a:buClrTx/>
              <a:buSzPct val="50000"/>
              <a:buFont typeface="Arial" panose="020B0604020202020204" pitchFamily="34" charset="0"/>
              <a:buChar char="●"/>
              <a:defRPr b="0" i="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Espace réservé du numéro de diapositive 3">
            <a:extLst>
              <a:ext uri="{FF2B5EF4-FFF2-40B4-BE49-F238E27FC236}">
                <a16:creationId xmlns:a16="http://schemas.microsoft.com/office/drawing/2014/main" id="{3F9F30E1-9267-9727-A43C-67582D6E41C0}"/>
              </a:ext>
            </a:extLst>
          </p:cNvPr>
          <p:cNvSpPr txBox="1">
            <a:spLocks/>
          </p:cNvSpPr>
          <p:nvPr userDrawn="1"/>
        </p:nvSpPr>
        <p:spPr>
          <a:xfrm>
            <a:off x="392400" y="6580800"/>
            <a:ext cx="820800" cy="241200"/>
          </a:xfrm>
          <a:prstGeom prst="rect">
            <a:avLst/>
          </a:prstGeom>
        </p:spPr>
        <p:txBody>
          <a:bodyPr vert="horz" lIns="0" tIns="36000" rIns="0" bIns="36000" rtlCol="0" anchor="ctr"/>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buClrTx/>
            </a:pPr>
            <a:fld id="{EB72AD3A-2955-4B9F-A66D-679C7527B2F1}" type="slidenum">
              <a:rPr lang="en-GB" b="0" i="0" smtClean="0">
                <a:solidFill>
                  <a:schemeClr val="tx1"/>
                </a:solidFill>
                <a:latin typeface="Roboto" panose="02000000000000000000" pitchFamily="2" charset="0"/>
                <a:ea typeface="Roboto" panose="02000000000000000000" pitchFamily="2" charset="0"/>
                <a:cs typeface="Roboto" panose="02000000000000000000" pitchFamily="2" charset="0"/>
              </a:rPr>
              <a:pPr algn="l">
                <a:buClrTx/>
              </a:pPr>
              <a:t>‹#›</a:t>
            </a:fld>
            <a:endParaRPr lang="en-GB" b="0" i="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761805657"/>
      </p:ext>
    </p:extLst>
  </p:cSld>
  <p:clrMapOvr>
    <a:masterClrMapping/>
  </p:clrMapOvr>
  <p:extLst>
    <p:ext uri="{DCECCB84-F9BA-43D5-87BE-67443E8EF086}">
      <p15:sldGuideLst xmlns:p15="http://schemas.microsoft.com/office/powerpoint/2012/main">
        <p15:guide id="0" pos="3007" userDrawn="1">
          <p15:clr>
            <a:srgbClr val="FBAE40"/>
          </p15:clr>
        </p15:guide>
        <p15:guide id="1" orient="horz" pos="867">
          <p15:clr>
            <a:srgbClr val="FBAE40"/>
          </p15:clr>
        </p15:guide>
        <p15:guide id="2" pos="240">
          <p15:clr>
            <a:srgbClr val="FBAE40"/>
          </p15:clr>
        </p15:guide>
        <p15:guide id="3" pos="6000">
          <p15:clr>
            <a:srgbClr val="FBAE40"/>
          </p15:clr>
        </p15:guide>
        <p15:guide id="4" pos="3233" userDrawn="1">
          <p15:clr>
            <a:srgbClr val="FBAE40"/>
          </p15:clr>
        </p15:guide>
        <p15:guide id="5" orient="horz" pos="1026"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4.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oleObject" Target="../embeddings/oleObject28.bin"/><Relationship Id="rId5" Type="http://schemas.openxmlformats.org/officeDocument/2006/relationships/tags" Target="../tags/tag38.xml"/><Relationship Id="rId4" Type="http://schemas.openxmlformats.org/officeDocument/2006/relationships/tags" Target="../tags/tag37.xml"/><Relationship Id="rId9" Type="http://schemas.microsoft.com/office/2007/relationships/hdphoto" Target="../media/hdphoto1.wdp"/></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8FB5793-E404-A8D3-AFA8-88ACE6BD840B}"/>
              </a:ext>
            </a:extLst>
          </p:cNvPr>
          <p:cNvGraphicFramePr>
            <a:graphicFrameLocks noChangeAspect="1"/>
          </p:cNvGraphicFramePr>
          <p:nvPr userDrawn="1">
            <p:custDataLst>
              <p:tags r:id="rId33"/>
            </p:custDataLst>
            <p:extLst>
              <p:ext uri="{D42A27DB-BD31-4B8C-83A1-F6EECF244321}">
                <p14:modId xmlns:p14="http://schemas.microsoft.com/office/powerpoint/2010/main" val="2851026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25" imgH="424" progId="TCLayout.ActiveDocument.1">
                  <p:embed/>
                </p:oleObj>
              </mc:Choice>
              <mc:Fallback>
                <p:oleObj name="think-cell Slide" r:id="rId36" imgW="425" imgH="424" progId="TCLayout.ActiveDocument.1">
                  <p:embed/>
                  <p:pic>
                    <p:nvPicPr>
                      <p:cNvPr id="3" name="think-cell data - do not delete" hidden="1">
                        <a:extLst>
                          <a:ext uri="{FF2B5EF4-FFF2-40B4-BE49-F238E27FC236}">
                            <a16:creationId xmlns:a16="http://schemas.microsoft.com/office/drawing/2014/main" id="{B8FB5793-E404-A8D3-AFA8-88ACE6BD840B}"/>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3" name="Rectangle 4"/>
          <p:cNvSpPr>
            <a:spLocks noGrp="1" noChangeArrowheads="1"/>
          </p:cNvSpPr>
          <p:nvPr>
            <p:ph type="title"/>
          </p:nvPr>
        </p:nvSpPr>
        <p:spPr bwMode="auto">
          <a:xfrm>
            <a:off x="396000" y="108000"/>
            <a:ext cx="7560000" cy="571500"/>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GB" dirty="0"/>
              <a:t>Click to edit Master title style</a:t>
            </a:r>
          </a:p>
        </p:txBody>
      </p:sp>
      <p:sp>
        <p:nvSpPr>
          <p:cNvPr id="9" name="jpmDocTracker">
            <a:extLst>
              <a:ext uri="{FF2B5EF4-FFF2-40B4-BE49-F238E27FC236}">
                <a16:creationId xmlns:a16="http://schemas.microsoft.com/office/drawing/2014/main" id="{D57FD16C-FDAE-4506-AF40-8AE220593517}"/>
              </a:ext>
            </a:extLst>
          </p:cNvPr>
          <p:cNvSpPr>
            <a:spLocks noChangeArrowheads="1"/>
          </p:cNvSpPr>
          <p:nvPr userDrawn="1">
            <p:custDataLst>
              <p:tags r:id="rId34"/>
            </p:custDataLst>
          </p:nvPr>
        </p:nvSpPr>
        <p:spPr bwMode="auto">
          <a:xfrm>
            <a:off x="6131808" y="6579257"/>
            <a:ext cx="3387069" cy="241873"/>
          </a:xfrm>
          <a:prstGeom prst="rect">
            <a:avLst/>
          </a:prstGeom>
          <a:noFill/>
          <a:ln w="9525">
            <a:noFill/>
            <a:miter lim="800000"/>
            <a:headEnd/>
            <a:tailEnd/>
          </a:ln>
        </p:spPr>
        <p:txBody>
          <a:bodyPr wrap="none" lIns="0" tIns="0" rIns="0" bIns="0" anchor="ctr" anchorCtr="0"/>
          <a:lstStyle/>
          <a:p>
            <a:pPr algn="r" defTabSz="912705" eaLnBrk="0" fontAlgn="base" hangingPunct="0">
              <a:lnSpc>
                <a:spcPts val="1052"/>
              </a:lnSpc>
              <a:spcBef>
                <a:spcPct val="0"/>
              </a:spcBef>
              <a:spcAft>
                <a:spcPct val="0"/>
              </a:spcAft>
            </a:pPr>
            <a:r>
              <a:rPr lang="pt-BR" sz="600" b="0" i="0" dirty="0">
                <a:solidFill>
                  <a:srgbClr val="6D6E71"/>
                </a:solidFill>
                <a:latin typeface="Roboto" panose="02000000000000000000" pitchFamily="2" charset="0"/>
                <a:ea typeface="Roboto" panose="02000000000000000000" pitchFamily="2" charset="0"/>
                <a:cs typeface="Roboto" panose="02000000000000000000" pitchFamily="2" charset="0"/>
              </a:rPr>
              <a:t>STRICTLY PRIVATE AND CONFIDENTIAL</a:t>
            </a:r>
            <a:endParaRPr lang="en-US" sz="600" b="0" i="0" dirty="0">
              <a:solidFill>
                <a:srgbClr val="6D6E71"/>
              </a:solidFill>
              <a:latin typeface="Roboto" panose="02000000000000000000" pitchFamily="2" charset="0"/>
              <a:ea typeface="Roboto" panose="02000000000000000000" pitchFamily="2" charset="0"/>
              <a:cs typeface="Roboto" panose="02000000000000000000" pitchFamily="2" charset="0"/>
            </a:endParaRPr>
          </a:p>
        </p:txBody>
      </p:sp>
      <p:cxnSp>
        <p:nvCxnSpPr>
          <p:cNvPr id="10" name="Straight Connector 24">
            <a:extLst>
              <a:ext uri="{FF2B5EF4-FFF2-40B4-BE49-F238E27FC236}">
                <a16:creationId xmlns:a16="http://schemas.microsoft.com/office/drawing/2014/main" id="{08451A7B-15B9-49E3-BA0C-88EEC565ABEA}"/>
              </a:ext>
            </a:extLst>
          </p:cNvPr>
          <p:cNvCxnSpPr>
            <a:cxnSpLocks noChangeShapeType="1"/>
          </p:cNvCxnSpPr>
          <p:nvPr userDrawn="1">
            <p:custDataLst>
              <p:tags r:id="rId35"/>
            </p:custDataLst>
          </p:nvPr>
        </p:nvCxnSpPr>
        <p:spPr bwMode="gray">
          <a:xfrm flipH="1">
            <a:off x="387122" y="6579257"/>
            <a:ext cx="9131755" cy="0"/>
          </a:xfrm>
          <a:prstGeom prst="line">
            <a:avLst/>
          </a:prstGeom>
          <a:noFill/>
          <a:ln w="19050" algn="ctr">
            <a:solidFill>
              <a:schemeClr val="accent6"/>
            </a:solidFill>
            <a:round/>
            <a:headEnd/>
            <a:tailEnd/>
          </a:ln>
        </p:spPr>
      </p:cxnSp>
      <p:pic>
        <p:nvPicPr>
          <p:cNvPr id="4" name="Picture 3" descr="A black background with brown text&#10;&#10;Description automatically generated">
            <a:extLst>
              <a:ext uri="{FF2B5EF4-FFF2-40B4-BE49-F238E27FC236}">
                <a16:creationId xmlns:a16="http://schemas.microsoft.com/office/drawing/2014/main" id="{973785C1-4112-7EE1-A559-0C8A0A810E7A}"/>
              </a:ext>
            </a:extLst>
          </p:cNvPr>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a:off x="8431363" y="212455"/>
            <a:ext cx="1124571" cy="432000"/>
          </a:xfrm>
          <a:prstGeom prst="rect">
            <a:avLst/>
          </a:prstGeom>
        </p:spPr>
      </p:pic>
    </p:spTree>
  </p:cSld>
  <p:clrMap bg1="lt1" tx1="dk1" bg2="lt2" tx2="dk2" accent1="accent1" accent2="accent2" accent3="accent3" accent4="accent4" accent5="accent5" accent6="accent6" hlink="hlink" folHlink="folHlink"/>
  <p:sldLayoutIdLst>
    <p:sldLayoutId id="2147484112" r:id="rId1"/>
    <p:sldLayoutId id="2147484113" r:id="rId2"/>
    <p:sldLayoutId id="2147484114" r:id="rId3"/>
    <p:sldLayoutId id="2147484219" r:id="rId4"/>
    <p:sldLayoutId id="2147484116" r:id="rId5"/>
    <p:sldLayoutId id="2147484117" r:id="rId6"/>
    <p:sldLayoutId id="2147484221" r:id="rId7"/>
    <p:sldLayoutId id="2147484199" r:id="rId8"/>
    <p:sldLayoutId id="2147484200" r:id="rId9"/>
    <p:sldLayoutId id="2147484249" r:id="rId10"/>
    <p:sldLayoutId id="2147484201" r:id="rId11"/>
    <p:sldLayoutId id="2147484202" r:id="rId12"/>
    <p:sldLayoutId id="2147484203" r:id="rId13"/>
    <p:sldLayoutId id="2147484204" r:id="rId14"/>
    <p:sldLayoutId id="2147484205" r:id="rId15"/>
    <p:sldLayoutId id="2147484206" r:id="rId16"/>
    <p:sldLayoutId id="2147484207" r:id="rId17"/>
    <p:sldLayoutId id="2147484208" r:id="rId18"/>
    <p:sldLayoutId id="2147484209" r:id="rId19"/>
    <p:sldLayoutId id="2147484211" r:id="rId20"/>
    <p:sldLayoutId id="2147484212" r:id="rId21"/>
    <p:sldLayoutId id="2147484213" r:id="rId22"/>
    <p:sldLayoutId id="2147484214" r:id="rId23"/>
    <p:sldLayoutId id="2147484220" r:id="rId24"/>
    <p:sldLayoutId id="2147484250" r:id="rId25"/>
    <p:sldLayoutId id="2147484251" r:id="rId26"/>
    <p:sldLayoutId id="2147484252" r:id="rId27"/>
    <p:sldLayoutId id="2147484217" r:id="rId28"/>
    <p:sldLayoutId id="2147484218" r:id="rId29"/>
    <p:sldLayoutId id="2147484180" r:id="rId30"/>
    <p:sldLayoutId id="2147484253" r:id="rId31"/>
  </p:sldLayoutIdLst>
  <p:hf hdr="0" ftr="0" dt="0"/>
  <p:txStyles>
    <p:titleStyle>
      <a:lvl1pPr algn="l" defTabSz="914400" rtl="0" eaLnBrk="1" latinLnBrk="0" hangingPunct="1">
        <a:lnSpc>
          <a:spcPct val="90000"/>
        </a:lnSpc>
        <a:spcBef>
          <a:spcPct val="0"/>
        </a:spcBef>
        <a:buNone/>
        <a:defRPr sz="1800" b="0" i="0" kern="1200" cap="none" baseline="0">
          <a:solidFill>
            <a:schemeClr val="accent1"/>
          </a:solidFill>
          <a:latin typeface="Roboto Light" panose="02000000000000000000" pitchFamily="2" charset="0"/>
          <a:ea typeface="Roboto Light" panose="02000000000000000000" pitchFamily="2" charset="0"/>
          <a:cs typeface="Roboto Light" panose="02000000000000000000" pitchFamily="2" charset="0"/>
        </a:defRPr>
      </a:lvl1pPr>
    </p:titleStyle>
    <p:bodyStyle>
      <a:lvl1pPr marL="0" indent="0" algn="l" defTabSz="914400" rtl="0" eaLnBrk="1" latinLnBrk="0" hangingPunct="1">
        <a:spcBef>
          <a:spcPts val="0"/>
        </a:spcBef>
        <a:spcAft>
          <a:spcPts val="600"/>
        </a:spcAft>
        <a:buClr>
          <a:schemeClr val="accent3"/>
        </a:buClr>
        <a:buSzPct val="80000"/>
        <a:buFont typeface="Wingdings" pitchFamily="2" charset="2"/>
        <a:buNone/>
        <a:defRPr sz="1000" b="0" i="0" kern="1200">
          <a:solidFill>
            <a:schemeClr val="tx1"/>
          </a:solidFill>
          <a:latin typeface="Roboto Light" panose="02000000000000000000" pitchFamily="2" charset="0"/>
          <a:ea typeface="Roboto Light" panose="02000000000000000000" pitchFamily="2" charset="0"/>
          <a:cs typeface="+mn-cs"/>
        </a:defRPr>
      </a:lvl1pPr>
      <a:lvl2pPr marL="180975" indent="-180975" algn="l" defTabSz="914400" rtl="0" eaLnBrk="1" latinLnBrk="0" hangingPunct="1">
        <a:spcBef>
          <a:spcPts val="0"/>
        </a:spcBef>
        <a:spcAft>
          <a:spcPts val="600"/>
        </a:spcAft>
        <a:buClr>
          <a:schemeClr val="accent2"/>
        </a:buClr>
        <a:buSzPct val="85000"/>
        <a:buFont typeface="Wingdings" pitchFamily="2" charset="2"/>
        <a:buChar char=""/>
        <a:defRPr sz="1000" b="0" i="0" kern="1200">
          <a:solidFill>
            <a:schemeClr val="tx1"/>
          </a:solidFill>
          <a:latin typeface="Roboto Light" panose="02000000000000000000" pitchFamily="2" charset="0"/>
          <a:ea typeface="Roboto Light" panose="02000000000000000000" pitchFamily="2" charset="0"/>
          <a:cs typeface="+mn-cs"/>
        </a:defRPr>
      </a:lvl2pPr>
      <a:lvl3pPr marL="361950" indent="-180975" algn="l" defTabSz="914400" rtl="0" eaLnBrk="1" latinLnBrk="0" hangingPunct="1">
        <a:spcBef>
          <a:spcPts val="0"/>
        </a:spcBef>
        <a:spcAft>
          <a:spcPts val="600"/>
        </a:spcAft>
        <a:buClr>
          <a:schemeClr val="tx1"/>
        </a:buClr>
        <a:buSzPct val="120000"/>
        <a:buFont typeface="HelveticaNeue LT 45 Lt" pitchFamily="34" charset="0"/>
        <a:buChar char="—"/>
        <a:defRPr sz="1000" b="0" i="0" kern="1200">
          <a:solidFill>
            <a:schemeClr val="tx1"/>
          </a:solidFill>
          <a:latin typeface="Roboto Light" panose="02000000000000000000" pitchFamily="2" charset="0"/>
          <a:ea typeface="Roboto Light" panose="02000000000000000000" pitchFamily="2" charset="0"/>
          <a:cs typeface="+mn-cs"/>
        </a:defRPr>
      </a:lvl3pPr>
      <a:lvl4pPr marL="542925" indent="-180975" algn="l" defTabSz="914400" rtl="0" eaLnBrk="1" latinLnBrk="0" hangingPunct="1">
        <a:spcBef>
          <a:spcPts val="0"/>
        </a:spcBef>
        <a:spcAft>
          <a:spcPts val="600"/>
        </a:spcAft>
        <a:buClr>
          <a:schemeClr val="tx1"/>
        </a:buClr>
        <a:buSzPct val="120000"/>
        <a:buFont typeface="HelveticaNeue LT 45 Lt" pitchFamily="34" charset="0"/>
        <a:buChar char="—"/>
        <a:defRPr sz="1000" b="0" i="0" kern="1200" baseline="0">
          <a:solidFill>
            <a:schemeClr val="tx1"/>
          </a:solidFill>
          <a:latin typeface="Roboto Light" panose="02000000000000000000" pitchFamily="2" charset="0"/>
          <a:ea typeface="Roboto Light" panose="02000000000000000000" pitchFamily="2" charset="0"/>
          <a:cs typeface="+mn-cs"/>
        </a:defRPr>
      </a:lvl4pPr>
      <a:lvl5pPr marL="2057400" indent="-228600" algn="l" defTabSz="914400" rtl="0" eaLnBrk="1" latinLnBrk="0" hangingPunct="1">
        <a:spcBef>
          <a:spcPts val="0"/>
        </a:spcBef>
        <a:spcAft>
          <a:spcPts val="360"/>
        </a:spcAft>
        <a:buFont typeface="Calibri" pitchFamily="34" charset="0"/>
        <a:buChar char="—"/>
        <a:defRPr sz="1000" b="0" i="0" kern="1200">
          <a:solidFill>
            <a:srgbClr val="4D4F53"/>
          </a:solidFill>
          <a:latin typeface="Roboto Light" panose="02000000000000000000" pitchFamily="2" charset="0"/>
          <a:ea typeface="Roboto Light" panose="02000000000000000000" pitchFamily="2"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864" userDrawn="1">
          <p15:clr>
            <a:srgbClr val="F26B43"/>
          </p15:clr>
        </p15:guide>
        <p15:guide id="2" orient="horz" pos="278" userDrawn="1">
          <p15:clr>
            <a:srgbClr val="F26B43"/>
          </p15:clr>
        </p15:guide>
        <p15:guide id="3" orient="horz" pos="550" userDrawn="1">
          <p15:clr>
            <a:srgbClr val="F26B43"/>
          </p15:clr>
        </p15:guide>
        <p15:guide id="4" pos="600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A9393E2-986C-4DD7-681C-EECCA4B36FA5}"/>
              </a:ext>
            </a:extLst>
          </p:cNvPr>
          <p:cNvGraphicFramePr>
            <a:graphicFrameLocks noChangeAspect="1"/>
          </p:cNvGraphicFramePr>
          <p:nvPr userDrawn="1">
            <p:custDataLst>
              <p:tags r:id="rId4"/>
            </p:custDataLst>
            <p:extLst>
              <p:ext uri="{D42A27DB-BD31-4B8C-83A1-F6EECF244321}">
                <p14:modId xmlns:p14="http://schemas.microsoft.com/office/powerpoint/2010/main" val="383931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4" name="think-cell data - do not delete" hidden="1">
                        <a:extLst>
                          <a:ext uri="{FF2B5EF4-FFF2-40B4-BE49-F238E27FC236}">
                            <a16:creationId xmlns:a16="http://schemas.microsoft.com/office/drawing/2014/main" id="{7A9393E2-986C-4DD7-681C-EECCA4B36FA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3" name="Rectangle 4"/>
          <p:cNvSpPr>
            <a:spLocks noGrp="1" noChangeArrowheads="1"/>
          </p:cNvSpPr>
          <p:nvPr>
            <p:ph type="title"/>
          </p:nvPr>
        </p:nvSpPr>
        <p:spPr bwMode="auto">
          <a:xfrm>
            <a:off x="396000" y="108000"/>
            <a:ext cx="7200000" cy="571500"/>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GB" dirty="0"/>
              <a:t>Click to edit Master title style</a:t>
            </a:r>
          </a:p>
        </p:txBody>
      </p:sp>
      <p:sp>
        <p:nvSpPr>
          <p:cNvPr id="9" name="jpmDocTracker">
            <a:extLst>
              <a:ext uri="{FF2B5EF4-FFF2-40B4-BE49-F238E27FC236}">
                <a16:creationId xmlns:a16="http://schemas.microsoft.com/office/drawing/2014/main" id="{D57FD16C-FDAE-4506-AF40-8AE220593517}"/>
              </a:ext>
            </a:extLst>
          </p:cNvPr>
          <p:cNvSpPr>
            <a:spLocks noChangeArrowheads="1"/>
          </p:cNvSpPr>
          <p:nvPr userDrawn="1">
            <p:custDataLst>
              <p:tags r:id="rId5"/>
            </p:custDataLst>
          </p:nvPr>
        </p:nvSpPr>
        <p:spPr bwMode="auto">
          <a:xfrm>
            <a:off x="6131808" y="6579257"/>
            <a:ext cx="3387069" cy="241873"/>
          </a:xfrm>
          <a:prstGeom prst="rect">
            <a:avLst/>
          </a:prstGeom>
          <a:noFill/>
          <a:ln w="9525">
            <a:noFill/>
            <a:miter lim="800000"/>
            <a:headEnd/>
            <a:tailEnd/>
          </a:ln>
        </p:spPr>
        <p:txBody>
          <a:bodyPr wrap="none" lIns="0" tIns="0" rIns="0" bIns="0" anchor="ctr" anchorCtr="0"/>
          <a:lstStyle/>
          <a:p>
            <a:pPr algn="r" defTabSz="912705" eaLnBrk="0" fontAlgn="base" hangingPunct="0">
              <a:lnSpc>
                <a:spcPts val="1052"/>
              </a:lnSpc>
              <a:spcBef>
                <a:spcPct val="0"/>
              </a:spcBef>
              <a:spcAft>
                <a:spcPct val="0"/>
              </a:spcAft>
            </a:pPr>
            <a:r>
              <a:rPr lang="pt-BR" sz="600" b="0" i="0" dirty="0">
                <a:solidFill>
                  <a:schemeClr val="bg1"/>
                </a:solidFill>
                <a:latin typeface="Roboto" panose="02000000000000000000" pitchFamily="2" charset="0"/>
                <a:ea typeface="Roboto" panose="02000000000000000000" pitchFamily="2" charset="0"/>
                <a:cs typeface="Roboto" panose="02000000000000000000" pitchFamily="2" charset="0"/>
              </a:rPr>
              <a:t>STRICTLY PRIVATE AND CONFIDENTIAL</a:t>
            </a:r>
            <a:endParaRPr lang="en-US" sz="600" b="0" i="0" dirty="0">
              <a:solidFill>
                <a:schemeClr val="bg1"/>
              </a:solidFill>
              <a:latin typeface="Roboto" panose="02000000000000000000" pitchFamily="2" charset="0"/>
              <a:ea typeface="Roboto" panose="02000000000000000000" pitchFamily="2" charset="0"/>
              <a:cs typeface="Roboto" panose="02000000000000000000" pitchFamily="2" charset="0"/>
            </a:endParaRPr>
          </a:p>
        </p:txBody>
      </p:sp>
      <p:pic>
        <p:nvPicPr>
          <p:cNvPr id="3" name="Picture 2" descr="A black background with brown text&#10;&#10;Description automatically generated">
            <a:extLst>
              <a:ext uri="{FF2B5EF4-FFF2-40B4-BE49-F238E27FC236}">
                <a16:creationId xmlns:a16="http://schemas.microsoft.com/office/drawing/2014/main" id="{76AF6891-7477-C37B-82ED-4A9B17D62A25}"/>
              </a:ext>
            </a:extLst>
          </p:cNvPr>
          <p:cNvPicPr>
            <a:picLocks noChangeAspect="1"/>
          </p:cNvPicPr>
          <p:nvPr userDrawn="1"/>
        </p:nvPicPr>
        <p:blipFill>
          <a:blip r:embed="rId8">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val="0"/>
              </a:ext>
            </a:extLst>
          </a:blip>
          <a:stretch>
            <a:fillRect/>
          </a:stretch>
        </p:blipFill>
        <p:spPr>
          <a:xfrm>
            <a:off x="8431363" y="212455"/>
            <a:ext cx="1124571" cy="432000"/>
          </a:xfrm>
          <a:prstGeom prst="rect">
            <a:avLst/>
          </a:prstGeom>
        </p:spPr>
      </p:pic>
    </p:spTree>
    <p:extLst>
      <p:ext uri="{BB962C8B-B14F-4D97-AF65-F5344CB8AC3E}">
        <p14:creationId xmlns:p14="http://schemas.microsoft.com/office/powerpoint/2010/main" val="100304480"/>
      </p:ext>
    </p:extLst>
  </p:cSld>
  <p:clrMap bg1="lt1" tx1="dk1" bg2="lt2" tx2="dk2" accent1="accent1" accent2="accent2" accent3="accent3" accent4="accent4" accent5="accent5" accent6="accent6" hlink="hlink" folHlink="folHlink"/>
  <p:sldLayoutIdLst>
    <p:sldLayoutId id="2147484247" r:id="rId1"/>
    <p:sldLayoutId id="2147484248" r:id="rId2"/>
  </p:sldLayoutIdLst>
  <p:hf hdr="0" ftr="0" dt="0"/>
  <p:txStyles>
    <p:titleStyle>
      <a:lvl1pPr algn="l" defTabSz="914400" rtl="0" eaLnBrk="1" latinLnBrk="0" hangingPunct="1">
        <a:lnSpc>
          <a:spcPct val="90000"/>
        </a:lnSpc>
        <a:spcBef>
          <a:spcPct val="0"/>
        </a:spcBef>
        <a:buNone/>
        <a:defRPr sz="1800" b="0" i="0" kern="1200" cap="none" baseline="0">
          <a:solidFill>
            <a:schemeClr val="bg1"/>
          </a:solidFill>
          <a:latin typeface="Roboto Light" panose="02000000000000000000" pitchFamily="2" charset="0"/>
          <a:ea typeface="Roboto Light" panose="02000000000000000000" pitchFamily="2" charset="0"/>
          <a:cs typeface="Roboto Light" panose="02000000000000000000" pitchFamily="2" charset="0"/>
        </a:defRPr>
      </a:lvl1pPr>
    </p:titleStyle>
    <p:bodyStyle>
      <a:lvl1pPr marL="0" indent="0" algn="l" defTabSz="914400" rtl="0" eaLnBrk="1" latinLnBrk="0" hangingPunct="1">
        <a:spcBef>
          <a:spcPts val="0"/>
        </a:spcBef>
        <a:spcAft>
          <a:spcPts val="600"/>
        </a:spcAft>
        <a:buClr>
          <a:schemeClr val="accent3"/>
        </a:buClr>
        <a:buSzPct val="80000"/>
        <a:buFont typeface="Wingdings" pitchFamily="2" charset="2"/>
        <a:buNone/>
        <a:defRPr sz="1000" kern="1200">
          <a:solidFill>
            <a:schemeClr val="tx1"/>
          </a:solidFill>
          <a:latin typeface="+mn-lt"/>
          <a:ea typeface="+mn-ea"/>
          <a:cs typeface="+mn-cs"/>
        </a:defRPr>
      </a:lvl1pPr>
      <a:lvl2pPr marL="180975" indent="-180975" algn="l" defTabSz="914400" rtl="0" eaLnBrk="1" latinLnBrk="0" hangingPunct="1">
        <a:spcBef>
          <a:spcPts val="0"/>
        </a:spcBef>
        <a:spcAft>
          <a:spcPts val="600"/>
        </a:spcAft>
        <a:buClr>
          <a:schemeClr val="accent2"/>
        </a:buClr>
        <a:buSzPct val="85000"/>
        <a:buFont typeface="Wingdings" pitchFamily="2" charset="2"/>
        <a:buChar char=""/>
        <a:defRPr sz="1000" kern="1200">
          <a:solidFill>
            <a:schemeClr val="tx1"/>
          </a:solidFill>
          <a:latin typeface="+mn-lt"/>
          <a:ea typeface="+mn-ea"/>
          <a:cs typeface="+mn-cs"/>
        </a:defRPr>
      </a:lvl2pPr>
      <a:lvl3pPr marL="361950" indent="-180975" algn="l" defTabSz="914400" rtl="0" eaLnBrk="1" latinLnBrk="0" hangingPunct="1">
        <a:spcBef>
          <a:spcPts val="0"/>
        </a:spcBef>
        <a:spcAft>
          <a:spcPts val="600"/>
        </a:spcAft>
        <a:buClr>
          <a:schemeClr val="tx1"/>
        </a:buClr>
        <a:buSzPct val="120000"/>
        <a:buFont typeface="HelveticaNeue LT 45 Lt" pitchFamily="34" charset="0"/>
        <a:buChar char="—"/>
        <a:defRPr sz="1000" kern="1200">
          <a:solidFill>
            <a:schemeClr val="tx1"/>
          </a:solidFill>
          <a:latin typeface="+mn-lt"/>
          <a:ea typeface="+mn-ea"/>
          <a:cs typeface="+mn-cs"/>
        </a:defRPr>
      </a:lvl3pPr>
      <a:lvl4pPr marL="542925" indent="-180975" algn="l" defTabSz="914400" rtl="0" eaLnBrk="1" latinLnBrk="0" hangingPunct="1">
        <a:spcBef>
          <a:spcPts val="0"/>
        </a:spcBef>
        <a:spcAft>
          <a:spcPts val="600"/>
        </a:spcAft>
        <a:buClr>
          <a:schemeClr val="tx1"/>
        </a:buClr>
        <a:buSzPct val="120000"/>
        <a:buFont typeface="HelveticaNeue LT 45 Lt" pitchFamily="34" charset="0"/>
        <a:buChar char="—"/>
        <a:defRPr sz="1000" kern="1200" baseline="0">
          <a:solidFill>
            <a:schemeClr val="tx1"/>
          </a:solidFill>
          <a:latin typeface="+mn-lt"/>
          <a:ea typeface="+mn-ea"/>
          <a:cs typeface="+mn-cs"/>
        </a:defRPr>
      </a:lvl4pPr>
      <a:lvl5pPr marL="2057400" indent="-228600" algn="l" defTabSz="914400" rtl="0" eaLnBrk="1" latinLnBrk="0" hangingPunct="1">
        <a:spcBef>
          <a:spcPts val="0"/>
        </a:spcBef>
        <a:spcAft>
          <a:spcPts val="360"/>
        </a:spcAft>
        <a:buFont typeface="Calibri" pitchFamily="34" charset="0"/>
        <a:buChar char="—"/>
        <a:defRPr sz="1000" kern="1200">
          <a:solidFill>
            <a:srgbClr val="4D4F53"/>
          </a:solidFill>
          <a:latin typeface="HelveticaNeue LT 45 Lt"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864" userDrawn="1">
          <p15:clr>
            <a:srgbClr val="F26B43"/>
          </p15:clr>
        </p15:guide>
        <p15:guide id="2" orient="horz" pos="278" userDrawn="1">
          <p15:clr>
            <a:srgbClr val="F26B43"/>
          </p15:clr>
        </p15:guide>
        <p15:guide id="3" orient="horz" pos="550" userDrawn="1">
          <p15:clr>
            <a:srgbClr val="F26B43"/>
          </p15:clr>
        </p15:guide>
        <p15:guide id="4" pos="600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chart" Target="../charts/chart2.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chart" Target="../charts/chart3.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7.xml"/><Relationship Id="rId1" Type="http://schemas.openxmlformats.org/officeDocument/2006/relationships/tags" Target="../tags/tag47.xml"/><Relationship Id="rId5" Type="http://schemas.openxmlformats.org/officeDocument/2006/relationships/chart" Target="../charts/chart4.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38.bin"/><Relationship Id="rId7" Type="http://schemas.openxmlformats.org/officeDocument/2006/relationships/chart" Target="../charts/chart7.xml"/><Relationship Id="rId2" Type="http://schemas.openxmlformats.org/officeDocument/2006/relationships/slideLayout" Target="../slideLayouts/slideLayout12.xml"/><Relationship Id="rId1" Type="http://schemas.openxmlformats.org/officeDocument/2006/relationships/tags" Target="../tags/tag48.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9.bin"/><Relationship Id="rId7" Type="http://schemas.openxmlformats.org/officeDocument/2006/relationships/chart" Target="../charts/chart10.xml"/><Relationship Id="rId2" Type="http://schemas.openxmlformats.org/officeDocument/2006/relationships/slideLayout" Target="../slideLayouts/slideLayout18.xml"/><Relationship Id="rId1" Type="http://schemas.openxmlformats.org/officeDocument/2006/relationships/tags" Target="../tags/tag49.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7.xml"/><Relationship Id="rId1" Type="http://schemas.openxmlformats.org/officeDocument/2006/relationships/tags" Target="../tags/tag50.xml"/><Relationship Id="rId5" Type="http://schemas.openxmlformats.org/officeDocument/2006/relationships/chart" Target="../charts/chart11.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7.xml"/><Relationship Id="rId1" Type="http://schemas.openxmlformats.org/officeDocument/2006/relationships/tags" Target="../tags/tag51.xml"/><Relationship Id="rId5" Type="http://schemas.openxmlformats.org/officeDocument/2006/relationships/chart" Target="../charts/chart12.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7.xml"/><Relationship Id="rId1" Type="http://schemas.openxmlformats.org/officeDocument/2006/relationships/tags" Target="../tags/tag52.xml"/><Relationship Id="rId5" Type="http://schemas.openxmlformats.org/officeDocument/2006/relationships/image" Target="../media/image6.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6.xml"/><Relationship Id="rId1" Type="http://schemas.openxmlformats.org/officeDocument/2006/relationships/tags" Target="../tags/tag53.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8.xml"/><Relationship Id="rId1" Type="http://schemas.openxmlformats.org/officeDocument/2006/relationships/tags" Target="../tags/tag40.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6.xml"/><Relationship Id="rId1" Type="http://schemas.openxmlformats.org/officeDocument/2006/relationships/tags" Target="../tags/tag54.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55.xml"/><Relationship Id="rId5" Type="http://schemas.openxmlformats.org/officeDocument/2006/relationships/image" Target="../media/image1.emf"/><Relationship Id="rId4" Type="http://schemas.openxmlformats.org/officeDocument/2006/relationships/oleObject" Target="../embeddings/oleObject45.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9.xml"/><Relationship Id="rId1" Type="http://schemas.openxmlformats.org/officeDocument/2006/relationships/tags" Target="../tags/tag56.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9.xml"/><Relationship Id="rId1" Type="http://schemas.openxmlformats.org/officeDocument/2006/relationships/tags" Target="../tags/tag57.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7.xml"/><Relationship Id="rId1" Type="http://schemas.openxmlformats.org/officeDocument/2006/relationships/tags" Target="../tags/tag58.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7.xml"/><Relationship Id="rId1" Type="http://schemas.openxmlformats.org/officeDocument/2006/relationships/tags" Target="../tags/tag59.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7.xml"/><Relationship Id="rId1" Type="http://schemas.openxmlformats.org/officeDocument/2006/relationships/tags" Target="../tags/tag60.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51.bin"/><Relationship Id="rId7" Type="http://schemas.openxmlformats.org/officeDocument/2006/relationships/image" Target="../media/image9.png"/><Relationship Id="rId12" Type="http://schemas.openxmlformats.org/officeDocument/2006/relationships/image" Target="../media/image14.svg"/><Relationship Id="rId2" Type="http://schemas.openxmlformats.org/officeDocument/2006/relationships/slideLayout" Target="../slideLayouts/slideLayout11.xml"/><Relationship Id="rId1" Type="http://schemas.openxmlformats.org/officeDocument/2006/relationships/tags" Target="../tags/tag61.xml"/><Relationship Id="rId6" Type="http://schemas.openxmlformats.org/officeDocument/2006/relationships/image" Target="../media/image8.sv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svg"/><Relationship Id="rId4" Type="http://schemas.openxmlformats.org/officeDocument/2006/relationships/image" Target="../media/image1.emf"/><Relationship Id="rId9" Type="http://schemas.openxmlformats.org/officeDocument/2006/relationships/image" Target="../media/image11.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52.bin"/></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6.xml"/><Relationship Id="rId1" Type="http://schemas.openxmlformats.org/officeDocument/2006/relationships/tags" Target="../tags/tag6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xml"/><Relationship Id="rId1" Type="http://schemas.openxmlformats.org/officeDocument/2006/relationships/tags" Target="../tags/tag41.xml"/><Relationship Id="rId6" Type="http://schemas.openxmlformats.org/officeDocument/2006/relationships/hyperlink" Target="http://www.thenounproject.com/" TargetMode="Externa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25.xml"/><Relationship Id="rId1" Type="http://schemas.openxmlformats.org/officeDocument/2006/relationships/tags" Target="../tags/tag64.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26.xml"/><Relationship Id="rId1" Type="http://schemas.openxmlformats.org/officeDocument/2006/relationships/tags" Target="../tags/tag65.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27.xml"/><Relationship Id="rId1" Type="http://schemas.openxmlformats.org/officeDocument/2006/relationships/tags" Target="../tags/tag66.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7.xml"/><Relationship Id="rId1" Type="http://schemas.openxmlformats.org/officeDocument/2006/relationships/tags" Target="../tags/tag67.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7.xml.rels><?xml version="1.0" encoding="UTF-8" standalone="yes"?>
<Relationships xmlns="http://schemas.openxmlformats.org/package/2006/relationships"><Relationship Id="rId13" Type="http://schemas.openxmlformats.org/officeDocument/2006/relationships/image" Target="../media/image17.png"/><Relationship Id="rId18" Type="http://schemas.openxmlformats.org/officeDocument/2006/relationships/image" Target="../media/image22.png"/><Relationship Id="rId26" Type="http://schemas.openxmlformats.org/officeDocument/2006/relationships/image" Target="../media/image30.png"/><Relationship Id="rId21" Type="http://schemas.openxmlformats.org/officeDocument/2006/relationships/image" Target="../media/image25.png"/><Relationship Id="rId34" Type="http://schemas.openxmlformats.org/officeDocument/2006/relationships/image" Target="../media/image38.png"/><Relationship Id="rId7" Type="http://schemas.openxmlformats.org/officeDocument/2006/relationships/tags" Target="../tags/tag74.xml"/><Relationship Id="rId12" Type="http://schemas.openxmlformats.org/officeDocument/2006/relationships/image" Target="../media/image16.png"/><Relationship Id="rId17" Type="http://schemas.openxmlformats.org/officeDocument/2006/relationships/image" Target="../media/image21.png"/><Relationship Id="rId25" Type="http://schemas.openxmlformats.org/officeDocument/2006/relationships/image" Target="../media/image29.png"/><Relationship Id="rId33" Type="http://schemas.openxmlformats.org/officeDocument/2006/relationships/image" Target="../media/image37.png"/><Relationship Id="rId2" Type="http://schemas.openxmlformats.org/officeDocument/2006/relationships/tags" Target="../tags/tag69.xml"/><Relationship Id="rId16" Type="http://schemas.openxmlformats.org/officeDocument/2006/relationships/image" Target="../media/image20.png"/><Relationship Id="rId20" Type="http://schemas.openxmlformats.org/officeDocument/2006/relationships/image" Target="../media/image24.png"/><Relationship Id="rId29" Type="http://schemas.openxmlformats.org/officeDocument/2006/relationships/image" Target="../media/image33.png"/><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image" Target="../media/image15.png"/><Relationship Id="rId24" Type="http://schemas.openxmlformats.org/officeDocument/2006/relationships/image" Target="../media/image28.emf"/><Relationship Id="rId32" Type="http://schemas.openxmlformats.org/officeDocument/2006/relationships/image" Target="../media/image36.png"/><Relationship Id="rId37" Type="http://schemas.openxmlformats.org/officeDocument/2006/relationships/image" Target="../media/image41.emf"/><Relationship Id="rId5" Type="http://schemas.openxmlformats.org/officeDocument/2006/relationships/tags" Target="../tags/tag72.xml"/><Relationship Id="rId15" Type="http://schemas.openxmlformats.org/officeDocument/2006/relationships/image" Target="../media/image19.png"/><Relationship Id="rId23" Type="http://schemas.openxmlformats.org/officeDocument/2006/relationships/image" Target="../media/image27.emf"/><Relationship Id="rId28" Type="http://schemas.openxmlformats.org/officeDocument/2006/relationships/image" Target="../media/image32.png"/><Relationship Id="rId36" Type="http://schemas.openxmlformats.org/officeDocument/2006/relationships/image" Target="../media/image40.png"/><Relationship Id="rId10" Type="http://schemas.openxmlformats.org/officeDocument/2006/relationships/image" Target="../media/image1.emf"/><Relationship Id="rId19" Type="http://schemas.openxmlformats.org/officeDocument/2006/relationships/image" Target="../media/image23.png"/><Relationship Id="rId31" Type="http://schemas.openxmlformats.org/officeDocument/2006/relationships/image" Target="../media/image35.emf"/><Relationship Id="rId4" Type="http://schemas.openxmlformats.org/officeDocument/2006/relationships/tags" Target="../tags/tag71.xml"/><Relationship Id="rId9" Type="http://schemas.openxmlformats.org/officeDocument/2006/relationships/oleObject" Target="../embeddings/oleObject58.bin"/><Relationship Id="rId14" Type="http://schemas.openxmlformats.org/officeDocument/2006/relationships/image" Target="../media/image18.png"/><Relationship Id="rId22" Type="http://schemas.openxmlformats.org/officeDocument/2006/relationships/image" Target="../media/image26.png"/><Relationship Id="rId27" Type="http://schemas.openxmlformats.org/officeDocument/2006/relationships/image" Target="../media/image31.png"/><Relationship Id="rId30" Type="http://schemas.openxmlformats.org/officeDocument/2006/relationships/image" Target="../media/image34.png"/><Relationship Id="rId35" Type="http://schemas.openxmlformats.org/officeDocument/2006/relationships/image" Target="../media/image39.png"/><Relationship Id="rId8" Type="http://schemas.openxmlformats.org/officeDocument/2006/relationships/slideLayout" Target="../slideLayouts/slideLayout7.xml"/><Relationship Id="rId3" Type="http://schemas.openxmlformats.org/officeDocument/2006/relationships/tags" Target="../tags/tag70.xml"/></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7.xml"/><Relationship Id="rId1" Type="http://schemas.openxmlformats.org/officeDocument/2006/relationships/tags" Target="../tags/tag75.xml"/><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8" Type="http://schemas.openxmlformats.org/officeDocument/2006/relationships/image" Target="../media/image45.jpeg"/><Relationship Id="rId13" Type="http://schemas.openxmlformats.org/officeDocument/2006/relationships/image" Target="../media/image41.emf"/><Relationship Id="rId3" Type="http://schemas.openxmlformats.org/officeDocument/2006/relationships/oleObject" Target="../embeddings/oleObject60.bin"/><Relationship Id="rId7" Type="http://schemas.openxmlformats.org/officeDocument/2006/relationships/image" Target="../media/image44.jpeg"/><Relationship Id="rId12" Type="http://schemas.openxmlformats.org/officeDocument/2006/relationships/image" Target="../media/image49.png"/><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1.emf"/><Relationship Id="rId9" Type="http://schemas.openxmlformats.org/officeDocument/2006/relationships/image" Target="../media/image46.jpe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7.xml"/><Relationship Id="rId1" Type="http://schemas.openxmlformats.org/officeDocument/2006/relationships/tags" Target="../tags/tag42.xm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7.xml"/><Relationship Id="rId1" Type="http://schemas.openxmlformats.org/officeDocument/2006/relationships/tags" Target="../tags/tag77.xm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7.xml"/><Relationship Id="rId1" Type="http://schemas.openxmlformats.org/officeDocument/2006/relationships/tags" Target="../tags/tag78.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117" Type="http://schemas.openxmlformats.org/officeDocument/2006/relationships/image" Target="../media/image103.svg"/><Relationship Id="rId21" Type="http://schemas.openxmlformats.org/officeDocument/2006/relationships/tags" Target="../tags/tag99.xml"/><Relationship Id="rId42" Type="http://schemas.openxmlformats.org/officeDocument/2006/relationships/tags" Target="../tags/tag120.xml"/><Relationship Id="rId63" Type="http://schemas.openxmlformats.org/officeDocument/2006/relationships/image" Target="../media/image1.emf"/><Relationship Id="rId84" Type="http://schemas.openxmlformats.org/officeDocument/2006/relationships/image" Target="../media/image70.png"/><Relationship Id="rId138" Type="http://schemas.openxmlformats.org/officeDocument/2006/relationships/image" Target="../media/image124.png"/><Relationship Id="rId159" Type="http://schemas.openxmlformats.org/officeDocument/2006/relationships/image" Target="../media/image145.svg"/><Relationship Id="rId170" Type="http://schemas.openxmlformats.org/officeDocument/2006/relationships/image" Target="../media/image156.png"/><Relationship Id="rId107" Type="http://schemas.openxmlformats.org/officeDocument/2006/relationships/image" Target="../media/image93.svg"/><Relationship Id="rId11" Type="http://schemas.openxmlformats.org/officeDocument/2006/relationships/tags" Target="../tags/tag89.xml"/><Relationship Id="rId32" Type="http://schemas.openxmlformats.org/officeDocument/2006/relationships/tags" Target="../tags/tag110.xml"/><Relationship Id="rId53" Type="http://schemas.openxmlformats.org/officeDocument/2006/relationships/tags" Target="../tags/tag131.xml"/><Relationship Id="rId74" Type="http://schemas.openxmlformats.org/officeDocument/2006/relationships/image" Target="../media/image60.png"/><Relationship Id="rId128" Type="http://schemas.openxmlformats.org/officeDocument/2006/relationships/image" Target="../media/image114.png"/><Relationship Id="rId149" Type="http://schemas.openxmlformats.org/officeDocument/2006/relationships/image" Target="../media/image135.svg"/><Relationship Id="rId5" Type="http://schemas.openxmlformats.org/officeDocument/2006/relationships/tags" Target="../tags/tag83.xml"/><Relationship Id="rId95" Type="http://schemas.openxmlformats.org/officeDocument/2006/relationships/image" Target="../media/image81.svg"/><Relationship Id="rId160" Type="http://schemas.openxmlformats.org/officeDocument/2006/relationships/image" Target="../media/image146.png"/><Relationship Id="rId181" Type="http://schemas.openxmlformats.org/officeDocument/2006/relationships/image" Target="../media/image167.svg"/><Relationship Id="rId22" Type="http://schemas.openxmlformats.org/officeDocument/2006/relationships/tags" Target="../tags/tag100.xml"/><Relationship Id="rId43" Type="http://schemas.openxmlformats.org/officeDocument/2006/relationships/tags" Target="../tags/tag121.xml"/><Relationship Id="rId64" Type="http://schemas.openxmlformats.org/officeDocument/2006/relationships/image" Target="../media/image50.png"/><Relationship Id="rId118" Type="http://schemas.openxmlformats.org/officeDocument/2006/relationships/image" Target="../media/image104.png"/><Relationship Id="rId139" Type="http://schemas.openxmlformats.org/officeDocument/2006/relationships/image" Target="../media/image125.svg"/><Relationship Id="rId85" Type="http://schemas.openxmlformats.org/officeDocument/2006/relationships/image" Target="../media/image71.svg"/><Relationship Id="rId150" Type="http://schemas.openxmlformats.org/officeDocument/2006/relationships/image" Target="../media/image136.png"/><Relationship Id="rId171" Type="http://schemas.openxmlformats.org/officeDocument/2006/relationships/image" Target="../media/image157.svg"/><Relationship Id="rId12" Type="http://schemas.openxmlformats.org/officeDocument/2006/relationships/tags" Target="../tags/tag90.xml"/><Relationship Id="rId33" Type="http://schemas.openxmlformats.org/officeDocument/2006/relationships/tags" Target="../tags/tag111.xml"/><Relationship Id="rId108" Type="http://schemas.openxmlformats.org/officeDocument/2006/relationships/image" Target="../media/image94.png"/><Relationship Id="rId129" Type="http://schemas.openxmlformats.org/officeDocument/2006/relationships/image" Target="../media/image115.svg"/><Relationship Id="rId54" Type="http://schemas.openxmlformats.org/officeDocument/2006/relationships/tags" Target="../tags/tag132.xml"/><Relationship Id="rId75" Type="http://schemas.openxmlformats.org/officeDocument/2006/relationships/image" Target="../media/image61.svg"/><Relationship Id="rId96" Type="http://schemas.openxmlformats.org/officeDocument/2006/relationships/image" Target="../media/image82.png"/><Relationship Id="rId140" Type="http://schemas.openxmlformats.org/officeDocument/2006/relationships/image" Target="../media/image126.png"/><Relationship Id="rId161" Type="http://schemas.openxmlformats.org/officeDocument/2006/relationships/image" Target="../media/image147.svg"/><Relationship Id="rId182" Type="http://schemas.openxmlformats.org/officeDocument/2006/relationships/image" Target="../media/image168.png"/><Relationship Id="rId6" Type="http://schemas.openxmlformats.org/officeDocument/2006/relationships/tags" Target="../tags/tag84.xml"/><Relationship Id="rId23" Type="http://schemas.openxmlformats.org/officeDocument/2006/relationships/tags" Target="../tags/tag101.xml"/><Relationship Id="rId119" Type="http://schemas.openxmlformats.org/officeDocument/2006/relationships/image" Target="../media/image105.svg"/><Relationship Id="rId44" Type="http://schemas.openxmlformats.org/officeDocument/2006/relationships/tags" Target="../tags/tag122.xml"/><Relationship Id="rId60" Type="http://schemas.openxmlformats.org/officeDocument/2006/relationships/tags" Target="../tags/tag138.xml"/><Relationship Id="rId65" Type="http://schemas.openxmlformats.org/officeDocument/2006/relationships/image" Target="../media/image51.svg"/><Relationship Id="rId81" Type="http://schemas.openxmlformats.org/officeDocument/2006/relationships/image" Target="../media/image67.svg"/><Relationship Id="rId86" Type="http://schemas.openxmlformats.org/officeDocument/2006/relationships/image" Target="../media/image72.png"/><Relationship Id="rId130" Type="http://schemas.openxmlformats.org/officeDocument/2006/relationships/image" Target="../media/image116.png"/><Relationship Id="rId135" Type="http://schemas.openxmlformats.org/officeDocument/2006/relationships/image" Target="../media/image121.svg"/><Relationship Id="rId151" Type="http://schemas.openxmlformats.org/officeDocument/2006/relationships/image" Target="../media/image137.svg"/><Relationship Id="rId156" Type="http://schemas.openxmlformats.org/officeDocument/2006/relationships/image" Target="../media/image142.png"/><Relationship Id="rId177" Type="http://schemas.openxmlformats.org/officeDocument/2006/relationships/image" Target="../media/image163.svg"/><Relationship Id="rId172" Type="http://schemas.openxmlformats.org/officeDocument/2006/relationships/image" Target="../media/image158.png"/><Relationship Id="rId13" Type="http://schemas.openxmlformats.org/officeDocument/2006/relationships/tags" Target="../tags/tag91.xml"/><Relationship Id="rId18" Type="http://schemas.openxmlformats.org/officeDocument/2006/relationships/tags" Target="../tags/tag96.xml"/><Relationship Id="rId39" Type="http://schemas.openxmlformats.org/officeDocument/2006/relationships/tags" Target="../tags/tag117.xml"/><Relationship Id="rId109" Type="http://schemas.openxmlformats.org/officeDocument/2006/relationships/image" Target="../media/image95.svg"/><Relationship Id="rId34" Type="http://schemas.openxmlformats.org/officeDocument/2006/relationships/tags" Target="../tags/tag112.xml"/><Relationship Id="rId50" Type="http://schemas.openxmlformats.org/officeDocument/2006/relationships/tags" Target="../tags/tag128.xml"/><Relationship Id="rId55" Type="http://schemas.openxmlformats.org/officeDocument/2006/relationships/tags" Target="../tags/tag133.xml"/><Relationship Id="rId76" Type="http://schemas.openxmlformats.org/officeDocument/2006/relationships/image" Target="../media/image62.png"/><Relationship Id="rId97" Type="http://schemas.openxmlformats.org/officeDocument/2006/relationships/image" Target="../media/image83.svg"/><Relationship Id="rId104" Type="http://schemas.openxmlformats.org/officeDocument/2006/relationships/image" Target="../media/image90.png"/><Relationship Id="rId120" Type="http://schemas.openxmlformats.org/officeDocument/2006/relationships/image" Target="../media/image106.png"/><Relationship Id="rId125" Type="http://schemas.openxmlformats.org/officeDocument/2006/relationships/image" Target="../media/image111.svg"/><Relationship Id="rId141" Type="http://schemas.openxmlformats.org/officeDocument/2006/relationships/image" Target="../media/image127.svg"/><Relationship Id="rId146" Type="http://schemas.openxmlformats.org/officeDocument/2006/relationships/image" Target="../media/image132.png"/><Relationship Id="rId167" Type="http://schemas.openxmlformats.org/officeDocument/2006/relationships/image" Target="../media/image153.svg"/><Relationship Id="rId7" Type="http://schemas.openxmlformats.org/officeDocument/2006/relationships/tags" Target="../tags/tag85.xml"/><Relationship Id="rId71" Type="http://schemas.openxmlformats.org/officeDocument/2006/relationships/image" Target="../media/image57.svg"/><Relationship Id="rId92" Type="http://schemas.openxmlformats.org/officeDocument/2006/relationships/image" Target="../media/image78.png"/><Relationship Id="rId162" Type="http://schemas.openxmlformats.org/officeDocument/2006/relationships/image" Target="../media/image148.png"/><Relationship Id="rId183" Type="http://schemas.openxmlformats.org/officeDocument/2006/relationships/image" Target="../media/image169.svg"/><Relationship Id="rId2" Type="http://schemas.openxmlformats.org/officeDocument/2006/relationships/tags" Target="../tags/tag80.xml"/><Relationship Id="rId29" Type="http://schemas.openxmlformats.org/officeDocument/2006/relationships/tags" Target="../tags/tag107.xml"/><Relationship Id="rId24" Type="http://schemas.openxmlformats.org/officeDocument/2006/relationships/tags" Target="../tags/tag102.xml"/><Relationship Id="rId40" Type="http://schemas.openxmlformats.org/officeDocument/2006/relationships/tags" Target="../tags/tag118.xml"/><Relationship Id="rId45" Type="http://schemas.openxmlformats.org/officeDocument/2006/relationships/tags" Target="../tags/tag123.xml"/><Relationship Id="rId66" Type="http://schemas.openxmlformats.org/officeDocument/2006/relationships/image" Target="../media/image52.png"/><Relationship Id="rId87" Type="http://schemas.openxmlformats.org/officeDocument/2006/relationships/image" Target="../media/image73.svg"/><Relationship Id="rId110" Type="http://schemas.openxmlformats.org/officeDocument/2006/relationships/image" Target="../media/image96.png"/><Relationship Id="rId115" Type="http://schemas.openxmlformats.org/officeDocument/2006/relationships/image" Target="../media/image101.svg"/><Relationship Id="rId131" Type="http://schemas.openxmlformats.org/officeDocument/2006/relationships/image" Target="../media/image117.svg"/><Relationship Id="rId136" Type="http://schemas.openxmlformats.org/officeDocument/2006/relationships/image" Target="../media/image122.png"/><Relationship Id="rId157" Type="http://schemas.openxmlformats.org/officeDocument/2006/relationships/image" Target="../media/image143.svg"/><Relationship Id="rId178" Type="http://schemas.openxmlformats.org/officeDocument/2006/relationships/image" Target="../media/image164.png"/><Relationship Id="rId61" Type="http://schemas.openxmlformats.org/officeDocument/2006/relationships/slideLayout" Target="../slideLayouts/slideLayout7.xml"/><Relationship Id="rId82" Type="http://schemas.openxmlformats.org/officeDocument/2006/relationships/image" Target="../media/image68.png"/><Relationship Id="rId152" Type="http://schemas.openxmlformats.org/officeDocument/2006/relationships/image" Target="../media/image138.png"/><Relationship Id="rId173" Type="http://schemas.openxmlformats.org/officeDocument/2006/relationships/image" Target="../media/image159.svg"/><Relationship Id="rId19" Type="http://schemas.openxmlformats.org/officeDocument/2006/relationships/tags" Target="../tags/tag97.xml"/><Relationship Id="rId14" Type="http://schemas.openxmlformats.org/officeDocument/2006/relationships/tags" Target="../tags/tag92.xml"/><Relationship Id="rId30" Type="http://schemas.openxmlformats.org/officeDocument/2006/relationships/tags" Target="../tags/tag108.xml"/><Relationship Id="rId35" Type="http://schemas.openxmlformats.org/officeDocument/2006/relationships/tags" Target="../tags/tag113.xml"/><Relationship Id="rId56" Type="http://schemas.openxmlformats.org/officeDocument/2006/relationships/tags" Target="../tags/tag134.xml"/><Relationship Id="rId77" Type="http://schemas.openxmlformats.org/officeDocument/2006/relationships/image" Target="../media/image63.svg"/><Relationship Id="rId100" Type="http://schemas.openxmlformats.org/officeDocument/2006/relationships/image" Target="../media/image86.png"/><Relationship Id="rId105" Type="http://schemas.openxmlformats.org/officeDocument/2006/relationships/image" Target="../media/image91.svg"/><Relationship Id="rId126" Type="http://schemas.openxmlformats.org/officeDocument/2006/relationships/image" Target="../media/image112.png"/><Relationship Id="rId147" Type="http://schemas.openxmlformats.org/officeDocument/2006/relationships/image" Target="../media/image133.svg"/><Relationship Id="rId168" Type="http://schemas.openxmlformats.org/officeDocument/2006/relationships/image" Target="../media/image154.png"/><Relationship Id="rId8" Type="http://schemas.openxmlformats.org/officeDocument/2006/relationships/tags" Target="../tags/tag86.xml"/><Relationship Id="rId51" Type="http://schemas.openxmlformats.org/officeDocument/2006/relationships/tags" Target="../tags/tag129.xml"/><Relationship Id="rId72" Type="http://schemas.openxmlformats.org/officeDocument/2006/relationships/image" Target="../media/image58.png"/><Relationship Id="rId93" Type="http://schemas.openxmlformats.org/officeDocument/2006/relationships/image" Target="../media/image79.svg"/><Relationship Id="rId98" Type="http://schemas.openxmlformats.org/officeDocument/2006/relationships/image" Target="../media/image84.png"/><Relationship Id="rId121" Type="http://schemas.openxmlformats.org/officeDocument/2006/relationships/image" Target="../media/image107.svg"/><Relationship Id="rId142" Type="http://schemas.openxmlformats.org/officeDocument/2006/relationships/image" Target="../media/image128.png"/><Relationship Id="rId163" Type="http://schemas.openxmlformats.org/officeDocument/2006/relationships/image" Target="../media/image149.svg"/><Relationship Id="rId3" Type="http://schemas.openxmlformats.org/officeDocument/2006/relationships/tags" Target="../tags/tag81.xml"/><Relationship Id="rId25" Type="http://schemas.openxmlformats.org/officeDocument/2006/relationships/tags" Target="../tags/tag103.xml"/><Relationship Id="rId46" Type="http://schemas.openxmlformats.org/officeDocument/2006/relationships/tags" Target="../tags/tag124.xml"/><Relationship Id="rId67" Type="http://schemas.openxmlformats.org/officeDocument/2006/relationships/image" Target="../media/image53.svg"/><Relationship Id="rId116" Type="http://schemas.openxmlformats.org/officeDocument/2006/relationships/image" Target="../media/image102.png"/><Relationship Id="rId137" Type="http://schemas.openxmlformats.org/officeDocument/2006/relationships/image" Target="../media/image123.svg"/><Relationship Id="rId158" Type="http://schemas.openxmlformats.org/officeDocument/2006/relationships/image" Target="../media/image144.png"/><Relationship Id="rId20" Type="http://schemas.openxmlformats.org/officeDocument/2006/relationships/tags" Target="../tags/tag98.xml"/><Relationship Id="rId41" Type="http://schemas.openxmlformats.org/officeDocument/2006/relationships/tags" Target="../tags/tag119.xml"/><Relationship Id="rId62" Type="http://schemas.openxmlformats.org/officeDocument/2006/relationships/oleObject" Target="../embeddings/oleObject63.bin"/><Relationship Id="rId83" Type="http://schemas.openxmlformats.org/officeDocument/2006/relationships/image" Target="../media/image69.svg"/><Relationship Id="rId88" Type="http://schemas.openxmlformats.org/officeDocument/2006/relationships/image" Target="../media/image74.png"/><Relationship Id="rId111" Type="http://schemas.openxmlformats.org/officeDocument/2006/relationships/image" Target="../media/image97.svg"/><Relationship Id="rId132" Type="http://schemas.openxmlformats.org/officeDocument/2006/relationships/image" Target="../media/image118.png"/><Relationship Id="rId153" Type="http://schemas.openxmlformats.org/officeDocument/2006/relationships/image" Target="../media/image139.svg"/><Relationship Id="rId174" Type="http://schemas.openxmlformats.org/officeDocument/2006/relationships/image" Target="../media/image160.png"/><Relationship Id="rId179" Type="http://schemas.openxmlformats.org/officeDocument/2006/relationships/image" Target="../media/image165.svg"/><Relationship Id="rId15" Type="http://schemas.openxmlformats.org/officeDocument/2006/relationships/tags" Target="../tags/tag93.xml"/><Relationship Id="rId36" Type="http://schemas.openxmlformats.org/officeDocument/2006/relationships/tags" Target="../tags/tag114.xml"/><Relationship Id="rId57" Type="http://schemas.openxmlformats.org/officeDocument/2006/relationships/tags" Target="../tags/tag135.xml"/><Relationship Id="rId106" Type="http://schemas.openxmlformats.org/officeDocument/2006/relationships/image" Target="../media/image92.png"/><Relationship Id="rId127" Type="http://schemas.openxmlformats.org/officeDocument/2006/relationships/image" Target="../media/image113.svg"/><Relationship Id="rId10" Type="http://schemas.openxmlformats.org/officeDocument/2006/relationships/tags" Target="../tags/tag88.xml"/><Relationship Id="rId31" Type="http://schemas.openxmlformats.org/officeDocument/2006/relationships/tags" Target="../tags/tag109.xml"/><Relationship Id="rId52" Type="http://schemas.openxmlformats.org/officeDocument/2006/relationships/tags" Target="../tags/tag130.xml"/><Relationship Id="rId73" Type="http://schemas.openxmlformats.org/officeDocument/2006/relationships/image" Target="../media/image59.svg"/><Relationship Id="rId78" Type="http://schemas.openxmlformats.org/officeDocument/2006/relationships/image" Target="../media/image64.png"/><Relationship Id="rId94" Type="http://schemas.openxmlformats.org/officeDocument/2006/relationships/image" Target="../media/image80.png"/><Relationship Id="rId99" Type="http://schemas.openxmlformats.org/officeDocument/2006/relationships/image" Target="../media/image85.svg"/><Relationship Id="rId101" Type="http://schemas.openxmlformats.org/officeDocument/2006/relationships/image" Target="../media/image87.svg"/><Relationship Id="rId122" Type="http://schemas.openxmlformats.org/officeDocument/2006/relationships/image" Target="../media/image108.png"/><Relationship Id="rId143" Type="http://schemas.openxmlformats.org/officeDocument/2006/relationships/image" Target="../media/image129.svg"/><Relationship Id="rId148" Type="http://schemas.openxmlformats.org/officeDocument/2006/relationships/image" Target="../media/image134.png"/><Relationship Id="rId164" Type="http://schemas.openxmlformats.org/officeDocument/2006/relationships/image" Target="../media/image150.png"/><Relationship Id="rId169" Type="http://schemas.openxmlformats.org/officeDocument/2006/relationships/image" Target="../media/image155.svg"/><Relationship Id="rId4" Type="http://schemas.openxmlformats.org/officeDocument/2006/relationships/tags" Target="../tags/tag82.xml"/><Relationship Id="rId9" Type="http://schemas.openxmlformats.org/officeDocument/2006/relationships/tags" Target="../tags/tag87.xml"/><Relationship Id="rId180" Type="http://schemas.openxmlformats.org/officeDocument/2006/relationships/image" Target="../media/image166.png"/><Relationship Id="rId26" Type="http://schemas.openxmlformats.org/officeDocument/2006/relationships/tags" Target="../tags/tag104.xml"/><Relationship Id="rId47" Type="http://schemas.openxmlformats.org/officeDocument/2006/relationships/tags" Target="../tags/tag125.xml"/><Relationship Id="rId68" Type="http://schemas.openxmlformats.org/officeDocument/2006/relationships/image" Target="../media/image54.png"/><Relationship Id="rId89" Type="http://schemas.openxmlformats.org/officeDocument/2006/relationships/image" Target="../media/image75.svg"/><Relationship Id="rId112" Type="http://schemas.openxmlformats.org/officeDocument/2006/relationships/image" Target="../media/image98.png"/><Relationship Id="rId133" Type="http://schemas.openxmlformats.org/officeDocument/2006/relationships/image" Target="../media/image119.svg"/><Relationship Id="rId154" Type="http://schemas.openxmlformats.org/officeDocument/2006/relationships/image" Target="../media/image140.png"/><Relationship Id="rId175" Type="http://schemas.openxmlformats.org/officeDocument/2006/relationships/image" Target="../media/image161.svg"/><Relationship Id="rId16" Type="http://schemas.openxmlformats.org/officeDocument/2006/relationships/tags" Target="../tags/tag94.xml"/><Relationship Id="rId37" Type="http://schemas.openxmlformats.org/officeDocument/2006/relationships/tags" Target="../tags/tag115.xml"/><Relationship Id="rId58" Type="http://schemas.openxmlformats.org/officeDocument/2006/relationships/tags" Target="../tags/tag136.xml"/><Relationship Id="rId79" Type="http://schemas.openxmlformats.org/officeDocument/2006/relationships/image" Target="../media/image65.svg"/><Relationship Id="rId102" Type="http://schemas.openxmlformats.org/officeDocument/2006/relationships/image" Target="../media/image88.png"/><Relationship Id="rId123" Type="http://schemas.openxmlformats.org/officeDocument/2006/relationships/image" Target="../media/image109.svg"/><Relationship Id="rId144" Type="http://schemas.openxmlformats.org/officeDocument/2006/relationships/image" Target="../media/image130.png"/><Relationship Id="rId90" Type="http://schemas.openxmlformats.org/officeDocument/2006/relationships/image" Target="../media/image76.png"/><Relationship Id="rId165" Type="http://schemas.openxmlformats.org/officeDocument/2006/relationships/image" Target="../media/image151.svg"/><Relationship Id="rId27" Type="http://schemas.openxmlformats.org/officeDocument/2006/relationships/tags" Target="../tags/tag105.xml"/><Relationship Id="rId48" Type="http://schemas.openxmlformats.org/officeDocument/2006/relationships/tags" Target="../tags/tag126.xml"/><Relationship Id="rId69" Type="http://schemas.openxmlformats.org/officeDocument/2006/relationships/image" Target="../media/image55.svg"/><Relationship Id="rId113" Type="http://schemas.openxmlformats.org/officeDocument/2006/relationships/image" Target="../media/image99.svg"/><Relationship Id="rId134" Type="http://schemas.openxmlformats.org/officeDocument/2006/relationships/image" Target="../media/image120.png"/><Relationship Id="rId80" Type="http://schemas.openxmlformats.org/officeDocument/2006/relationships/image" Target="../media/image66.png"/><Relationship Id="rId155" Type="http://schemas.openxmlformats.org/officeDocument/2006/relationships/image" Target="../media/image141.svg"/><Relationship Id="rId176" Type="http://schemas.openxmlformats.org/officeDocument/2006/relationships/image" Target="../media/image162.png"/><Relationship Id="rId17" Type="http://schemas.openxmlformats.org/officeDocument/2006/relationships/tags" Target="../tags/tag95.xml"/><Relationship Id="rId38" Type="http://schemas.openxmlformats.org/officeDocument/2006/relationships/tags" Target="../tags/tag116.xml"/><Relationship Id="rId59" Type="http://schemas.openxmlformats.org/officeDocument/2006/relationships/tags" Target="../tags/tag137.xml"/><Relationship Id="rId103" Type="http://schemas.openxmlformats.org/officeDocument/2006/relationships/image" Target="../media/image89.svg"/><Relationship Id="rId124" Type="http://schemas.openxmlformats.org/officeDocument/2006/relationships/image" Target="../media/image110.png"/><Relationship Id="rId70" Type="http://schemas.openxmlformats.org/officeDocument/2006/relationships/image" Target="../media/image56.png"/><Relationship Id="rId91" Type="http://schemas.openxmlformats.org/officeDocument/2006/relationships/image" Target="../media/image77.svg"/><Relationship Id="rId145" Type="http://schemas.openxmlformats.org/officeDocument/2006/relationships/image" Target="../media/image131.svg"/><Relationship Id="rId166" Type="http://schemas.openxmlformats.org/officeDocument/2006/relationships/image" Target="../media/image152.png"/><Relationship Id="rId1" Type="http://schemas.openxmlformats.org/officeDocument/2006/relationships/tags" Target="../tags/tag79.xml"/><Relationship Id="rId28" Type="http://schemas.openxmlformats.org/officeDocument/2006/relationships/tags" Target="../tags/tag106.xml"/><Relationship Id="rId49" Type="http://schemas.openxmlformats.org/officeDocument/2006/relationships/tags" Target="../tags/tag127.xml"/><Relationship Id="rId114" Type="http://schemas.openxmlformats.org/officeDocument/2006/relationships/image" Target="../media/image100.png"/></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40.xml"/><Relationship Id="rId1" Type="http://schemas.openxmlformats.org/officeDocument/2006/relationships/tags" Target="../tags/tag139.x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44.xml.rels><?xml version="1.0" encoding="UTF-8" standalone="yes"?>
<Relationships xmlns="http://schemas.openxmlformats.org/package/2006/relationships"><Relationship Id="rId117" Type="http://schemas.openxmlformats.org/officeDocument/2006/relationships/image" Target="../media/image210.png"/><Relationship Id="rId21" Type="http://schemas.openxmlformats.org/officeDocument/2006/relationships/tags" Target="../tags/tag161.xml"/><Relationship Id="rId42" Type="http://schemas.openxmlformats.org/officeDocument/2006/relationships/tags" Target="../tags/tag182.xml"/><Relationship Id="rId63" Type="http://schemas.openxmlformats.org/officeDocument/2006/relationships/tags" Target="../tags/tag203.xml"/><Relationship Id="rId84" Type="http://schemas.openxmlformats.org/officeDocument/2006/relationships/image" Target="../media/image177.svg"/><Relationship Id="rId138" Type="http://schemas.openxmlformats.org/officeDocument/2006/relationships/image" Target="../media/image231.svg"/><Relationship Id="rId159" Type="http://schemas.openxmlformats.org/officeDocument/2006/relationships/image" Target="../media/image252.png"/><Relationship Id="rId170" Type="http://schemas.openxmlformats.org/officeDocument/2006/relationships/image" Target="../media/image263.svg"/><Relationship Id="rId191" Type="http://schemas.openxmlformats.org/officeDocument/2006/relationships/image" Target="../media/image284.png"/><Relationship Id="rId205" Type="http://schemas.openxmlformats.org/officeDocument/2006/relationships/image" Target="../media/image298.png"/><Relationship Id="rId107" Type="http://schemas.openxmlformats.org/officeDocument/2006/relationships/image" Target="../media/image200.png"/><Relationship Id="rId11" Type="http://schemas.openxmlformats.org/officeDocument/2006/relationships/tags" Target="../tags/tag151.xml"/><Relationship Id="rId32" Type="http://schemas.openxmlformats.org/officeDocument/2006/relationships/tags" Target="../tags/tag172.xml"/><Relationship Id="rId53" Type="http://schemas.openxmlformats.org/officeDocument/2006/relationships/tags" Target="../tags/tag193.xml"/><Relationship Id="rId74" Type="http://schemas.openxmlformats.org/officeDocument/2006/relationships/slideLayout" Target="../slideLayouts/slideLayout7.xml"/><Relationship Id="rId128" Type="http://schemas.openxmlformats.org/officeDocument/2006/relationships/image" Target="../media/image221.svg"/><Relationship Id="rId149" Type="http://schemas.openxmlformats.org/officeDocument/2006/relationships/image" Target="../media/image242.png"/><Relationship Id="rId5" Type="http://schemas.openxmlformats.org/officeDocument/2006/relationships/tags" Target="../tags/tag145.xml"/><Relationship Id="rId95" Type="http://schemas.openxmlformats.org/officeDocument/2006/relationships/image" Target="../media/image188.png"/><Relationship Id="rId160" Type="http://schemas.openxmlformats.org/officeDocument/2006/relationships/image" Target="../media/image253.svg"/><Relationship Id="rId181" Type="http://schemas.openxmlformats.org/officeDocument/2006/relationships/image" Target="../media/image274.png"/><Relationship Id="rId216" Type="http://schemas.openxmlformats.org/officeDocument/2006/relationships/image" Target="../media/image309.svg"/><Relationship Id="rId22" Type="http://schemas.openxmlformats.org/officeDocument/2006/relationships/tags" Target="../tags/tag162.xml"/><Relationship Id="rId43" Type="http://schemas.openxmlformats.org/officeDocument/2006/relationships/tags" Target="../tags/tag183.xml"/><Relationship Id="rId64" Type="http://schemas.openxmlformats.org/officeDocument/2006/relationships/tags" Target="../tags/tag204.xml"/><Relationship Id="rId118" Type="http://schemas.openxmlformats.org/officeDocument/2006/relationships/image" Target="../media/image211.svg"/><Relationship Id="rId139" Type="http://schemas.openxmlformats.org/officeDocument/2006/relationships/image" Target="../media/image232.png"/><Relationship Id="rId85" Type="http://schemas.openxmlformats.org/officeDocument/2006/relationships/image" Target="../media/image178.png"/><Relationship Id="rId150" Type="http://schemas.openxmlformats.org/officeDocument/2006/relationships/image" Target="../media/image243.svg"/><Relationship Id="rId171" Type="http://schemas.openxmlformats.org/officeDocument/2006/relationships/image" Target="../media/image264.png"/><Relationship Id="rId192" Type="http://schemas.openxmlformats.org/officeDocument/2006/relationships/image" Target="../media/image285.svg"/><Relationship Id="rId206" Type="http://schemas.openxmlformats.org/officeDocument/2006/relationships/image" Target="../media/image299.svg"/><Relationship Id="rId12" Type="http://schemas.openxmlformats.org/officeDocument/2006/relationships/tags" Target="../tags/tag152.xml"/><Relationship Id="rId33" Type="http://schemas.openxmlformats.org/officeDocument/2006/relationships/tags" Target="../tags/tag173.xml"/><Relationship Id="rId108" Type="http://schemas.openxmlformats.org/officeDocument/2006/relationships/image" Target="../media/image201.svg"/><Relationship Id="rId129" Type="http://schemas.openxmlformats.org/officeDocument/2006/relationships/image" Target="../media/image222.png"/><Relationship Id="rId54" Type="http://schemas.openxmlformats.org/officeDocument/2006/relationships/tags" Target="../tags/tag194.xml"/><Relationship Id="rId75" Type="http://schemas.openxmlformats.org/officeDocument/2006/relationships/oleObject" Target="../embeddings/oleObject65.bin"/><Relationship Id="rId96" Type="http://schemas.openxmlformats.org/officeDocument/2006/relationships/image" Target="../media/image189.svg"/><Relationship Id="rId140" Type="http://schemas.openxmlformats.org/officeDocument/2006/relationships/image" Target="../media/image233.svg"/><Relationship Id="rId161" Type="http://schemas.openxmlformats.org/officeDocument/2006/relationships/image" Target="../media/image254.png"/><Relationship Id="rId182" Type="http://schemas.openxmlformats.org/officeDocument/2006/relationships/image" Target="../media/image275.svg"/><Relationship Id="rId217" Type="http://schemas.openxmlformats.org/officeDocument/2006/relationships/image" Target="../media/image310.png"/><Relationship Id="rId6" Type="http://schemas.openxmlformats.org/officeDocument/2006/relationships/tags" Target="../tags/tag146.xml"/><Relationship Id="rId23" Type="http://schemas.openxmlformats.org/officeDocument/2006/relationships/tags" Target="../tags/tag163.xml"/><Relationship Id="rId119" Type="http://schemas.openxmlformats.org/officeDocument/2006/relationships/image" Target="../media/image212.png"/><Relationship Id="rId44" Type="http://schemas.openxmlformats.org/officeDocument/2006/relationships/tags" Target="../tags/tag184.xml"/><Relationship Id="rId65" Type="http://schemas.openxmlformats.org/officeDocument/2006/relationships/tags" Target="../tags/tag205.xml"/><Relationship Id="rId86" Type="http://schemas.openxmlformats.org/officeDocument/2006/relationships/image" Target="../media/image179.svg"/><Relationship Id="rId130" Type="http://schemas.openxmlformats.org/officeDocument/2006/relationships/image" Target="../media/image223.svg"/><Relationship Id="rId151" Type="http://schemas.openxmlformats.org/officeDocument/2006/relationships/image" Target="../media/image244.png"/><Relationship Id="rId172" Type="http://schemas.openxmlformats.org/officeDocument/2006/relationships/image" Target="../media/image265.svg"/><Relationship Id="rId193" Type="http://schemas.openxmlformats.org/officeDocument/2006/relationships/image" Target="../media/image286.png"/><Relationship Id="rId207" Type="http://schemas.openxmlformats.org/officeDocument/2006/relationships/image" Target="../media/image300.png"/><Relationship Id="rId13" Type="http://schemas.openxmlformats.org/officeDocument/2006/relationships/tags" Target="../tags/tag153.xml"/><Relationship Id="rId109" Type="http://schemas.openxmlformats.org/officeDocument/2006/relationships/image" Target="../media/image202.png"/><Relationship Id="rId34" Type="http://schemas.openxmlformats.org/officeDocument/2006/relationships/tags" Target="../tags/tag174.xml"/><Relationship Id="rId55" Type="http://schemas.openxmlformats.org/officeDocument/2006/relationships/tags" Target="../tags/tag195.xml"/><Relationship Id="rId76" Type="http://schemas.openxmlformats.org/officeDocument/2006/relationships/image" Target="../media/image1.emf"/><Relationship Id="rId97" Type="http://schemas.openxmlformats.org/officeDocument/2006/relationships/image" Target="../media/image190.png"/><Relationship Id="rId120" Type="http://schemas.openxmlformats.org/officeDocument/2006/relationships/image" Target="../media/image213.svg"/><Relationship Id="rId141" Type="http://schemas.openxmlformats.org/officeDocument/2006/relationships/image" Target="../media/image234.png"/><Relationship Id="rId7" Type="http://schemas.openxmlformats.org/officeDocument/2006/relationships/tags" Target="../tags/tag147.xml"/><Relationship Id="rId162" Type="http://schemas.openxmlformats.org/officeDocument/2006/relationships/image" Target="../media/image255.svg"/><Relationship Id="rId183" Type="http://schemas.openxmlformats.org/officeDocument/2006/relationships/image" Target="../media/image276.png"/><Relationship Id="rId218" Type="http://schemas.openxmlformats.org/officeDocument/2006/relationships/image" Target="../media/image311.svg"/><Relationship Id="rId24" Type="http://schemas.openxmlformats.org/officeDocument/2006/relationships/tags" Target="../tags/tag164.xml"/><Relationship Id="rId45" Type="http://schemas.openxmlformats.org/officeDocument/2006/relationships/tags" Target="../tags/tag185.xml"/><Relationship Id="rId66" Type="http://schemas.openxmlformats.org/officeDocument/2006/relationships/tags" Target="../tags/tag206.xml"/><Relationship Id="rId87" Type="http://schemas.openxmlformats.org/officeDocument/2006/relationships/image" Target="../media/image180.png"/><Relationship Id="rId110" Type="http://schemas.openxmlformats.org/officeDocument/2006/relationships/image" Target="../media/image203.svg"/><Relationship Id="rId131" Type="http://schemas.openxmlformats.org/officeDocument/2006/relationships/image" Target="../media/image224.png"/><Relationship Id="rId152" Type="http://schemas.openxmlformats.org/officeDocument/2006/relationships/image" Target="../media/image245.svg"/><Relationship Id="rId173" Type="http://schemas.openxmlformats.org/officeDocument/2006/relationships/image" Target="../media/image266.png"/><Relationship Id="rId194" Type="http://schemas.openxmlformats.org/officeDocument/2006/relationships/image" Target="../media/image287.svg"/><Relationship Id="rId208" Type="http://schemas.openxmlformats.org/officeDocument/2006/relationships/image" Target="../media/image301.svg"/><Relationship Id="rId14" Type="http://schemas.openxmlformats.org/officeDocument/2006/relationships/tags" Target="../tags/tag154.xml"/><Relationship Id="rId30" Type="http://schemas.openxmlformats.org/officeDocument/2006/relationships/tags" Target="../tags/tag170.xml"/><Relationship Id="rId35" Type="http://schemas.openxmlformats.org/officeDocument/2006/relationships/tags" Target="../tags/tag175.xml"/><Relationship Id="rId56" Type="http://schemas.openxmlformats.org/officeDocument/2006/relationships/tags" Target="../tags/tag196.xml"/><Relationship Id="rId77" Type="http://schemas.openxmlformats.org/officeDocument/2006/relationships/image" Target="../media/image170.png"/><Relationship Id="rId100" Type="http://schemas.openxmlformats.org/officeDocument/2006/relationships/image" Target="../media/image193.svg"/><Relationship Id="rId105" Type="http://schemas.openxmlformats.org/officeDocument/2006/relationships/image" Target="../media/image198.png"/><Relationship Id="rId126" Type="http://schemas.openxmlformats.org/officeDocument/2006/relationships/image" Target="../media/image219.svg"/><Relationship Id="rId147" Type="http://schemas.openxmlformats.org/officeDocument/2006/relationships/image" Target="../media/image240.png"/><Relationship Id="rId168" Type="http://schemas.openxmlformats.org/officeDocument/2006/relationships/image" Target="../media/image261.svg"/><Relationship Id="rId8" Type="http://schemas.openxmlformats.org/officeDocument/2006/relationships/tags" Target="../tags/tag148.xml"/><Relationship Id="rId51" Type="http://schemas.openxmlformats.org/officeDocument/2006/relationships/tags" Target="../tags/tag191.xml"/><Relationship Id="rId72" Type="http://schemas.openxmlformats.org/officeDocument/2006/relationships/tags" Target="../tags/tag212.xml"/><Relationship Id="rId93" Type="http://schemas.openxmlformats.org/officeDocument/2006/relationships/image" Target="../media/image186.png"/><Relationship Id="rId98" Type="http://schemas.openxmlformats.org/officeDocument/2006/relationships/image" Target="../media/image191.svg"/><Relationship Id="rId121" Type="http://schemas.openxmlformats.org/officeDocument/2006/relationships/image" Target="../media/image214.png"/><Relationship Id="rId142" Type="http://schemas.openxmlformats.org/officeDocument/2006/relationships/image" Target="../media/image235.svg"/><Relationship Id="rId163" Type="http://schemas.openxmlformats.org/officeDocument/2006/relationships/image" Target="../media/image256.png"/><Relationship Id="rId184" Type="http://schemas.openxmlformats.org/officeDocument/2006/relationships/image" Target="../media/image277.svg"/><Relationship Id="rId189" Type="http://schemas.openxmlformats.org/officeDocument/2006/relationships/image" Target="../media/image282.png"/><Relationship Id="rId219" Type="http://schemas.openxmlformats.org/officeDocument/2006/relationships/image" Target="../media/image312.png"/><Relationship Id="rId3" Type="http://schemas.openxmlformats.org/officeDocument/2006/relationships/tags" Target="../tags/tag143.xml"/><Relationship Id="rId214" Type="http://schemas.openxmlformats.org/officeDocument/2006/relationships/image" Target="../media/image307.svg"/><Relationship Id="rId25" Type="http://schemas.openxmlformats.org/officeDocument/2006/relationships/tags" Target="../tags/tag165.xml"/><Relationship Id="rId46" Type="http://schemas.openxmlformats.org/officeDocument/2006/relationships/tags" Target="../tags/tag186.xml"/><Relationship Id="rId67" Type="http://schemas.openxmlformats.org/officeDocument/2006/relationships/tags" Target="../tags/tag207.xml"/><Relationship Id="rId116" Type="http://schemas.openxmlformats.org/officeDocument/2006/relationships/image" Target="../media/image209.svg"/><Relationship Id="rId137" Type="http://schemas.openxmlformats.org/officeDocument/2006/relationships/image" Target="../media/image230.png"/><Relationship Id="rId158" Type="http://schemas.openxmlformats.org/officeDocument/2006/relationships/image" Target="../media/image251.svg"/><Relationship Id="rId20" Type="http://schemas.openxmlformats.org/officeDocument/2006/relationships/tags" Target="../tags/tag160.xml"/><Relationship Id="rId41" Type="http://schemas.openxmlformats.org/officeDocument/2006/relationships/tags" Target="../tags/tag181.xml"/><Relationship Id="rId62" Type="http://schemas.openxmlformats.org/officeDocument/2006/relationships/tags" Target="../tags/tag202.xml"/><Relationship Id="rId83" Type="http://schemas.openxmlformats.org/officeDocument/2006/relationships/image" Target="../media/image176.png"/><Relationship Id="rId88" Type="http://schemas.openxmlformats.org/officeDocument/2006/relationships/image" Target="../media/image181.svg"/><Relationship Id="rId111" Type="http://schemas.openxmlformats.org/officeDocument/2006/relationships/image" Target="../media/image204.png"/><Relationship Id="rId132" Type="http://schemas.openxmlformats.org/officeDocument/2006/relationships/image" Target="../media/image225.svg"/><Relationship Id="rId153" Type="http://schemas.openxmlformats.org/officeDocument/2006/relationships/image" Target="../media/image246.png"/><Relationship Id="rId174" Type="http://schemas.openxmlformats.org/officeDocument/2006/relationships/image" Target="../media/image267.svg"/><Relationship Id="rId179" Type="http://schemas.openxmlformats.org/officeDocument/2006/relationships/image" Target="../media/image272.png"/><Relationship Id="rId195" Type="http://schemas.openxmlformats.org/officeDocument/2006/relationships/image" Target="../media/image288.png"/><Relationship Id="rId209" Type="http://schemas.openxmlformats.org/officeDocument/2006/relationships/image" Target="../media/image302.png"/><Relationship Id="rId190" Type="http://schemas.openxmlformats.org/officeDocument/2006/relationships/image" Target="../media/image283.svg"/><Relationship Id="rId204" Type="http://schemas.openxmlformats.org/officeDocument/2006/relationships/image" Target="../media/image297.svg"/><Relationship Id="rId220" Type="http://schemas.openxmlformats.org/officeDocument/2006/relationships/image" Target="../media/image313.svg"/><Relationship Id="rId15" Type="http://schemas.openxmlformats.org/officeDocument/2006/relationships/tags" Target="../tags/tag155.xml"/><Relationship Id="rId36" Type="http://schemas.openxmlformats.org/officeDocument/2006/relationships/tags" Target="../tags/tag176.xml"/><Relationship Id="rId57" Type="http://schemas.openxmlformats.org/officeDocument/2006/relationships/tags" Target="../tags/tag197.xml"/><Relationship Id="rId106" Type="http://schemas.openxmlformats.org/officeDocument/2006/relationships/image" Target="../media/image199.svg"/><Relationship Id="rId127" Type="http://schemas.openxmlformats.org/officeDocument/2006/relationships/image" Target="../media/image220.png"/><Relationship Id="rId10" Type="http://schemas.openxmlformats.org/officeDocument/2006/relationships/tags" Target="../tags/tag150.xml"/><Relationship Id="rId31" Type="http://schemas.openxmlformats.org/officeDocument/2006/relationships/tags" Target="../tags/tag171.xml"/><Relationship Id="rId52" Type="http://schemas.openxmlformats.org/officeDocument/2006/relationships/tags" Target="../tags/tag192.xml"/><Relationship Id="rId73" Type="http://schemas.openxmlformats.org/officeDocument/2006/relationships/tags" Target="../tags/tag213.xml"/><Relationship Id="rId78" Type="http://schemas.openxmlformats.org/officeDocument/2006/relationships/image" Target="../media/image171.svg"/><Relationship Id="rId94" Type="http://schemas.openxmlformats.org/officeDocument/2006/relationships/image" Target="../media/image187.svg"/><Relationship Id="rId99" Type="http://schemas.openxmlformats.org/officeDocument/2006/relationships/image" Target="../media/image192.png"/><Relationship Id="rId101" Type="http://schemas.openxmlformats.org/officeDocument/2006/relationships/image" Target="../media/image194.png"/><Relationship Id="rId122" Type="http://schemas.openxmlformats.org/officeDocument/2006/relationships/image" Target="../media/image215.svg"/><Relationship Id="rId143" Type="http://schemas.openxmlformats.org/officeDocument/2006/relationships/image" Target="../media/image236.png"/><Relationship Id="rId148" Type="http://schemas.openxmlformats.org/officeDocument/2006/relationships/image" Target="../media/image241.svg"/><Relationship Id="rId164" Type="http://schemas.openxmlformats.org/officeDocument/2006/relationships/image" Target="../media/image257.svg"/><Relationship Id="rId169" Type="http://schemas.openxmlformats.org/officeDocument/2006/relationships/image" Target="../media/image262.png"/><Relationship Id="rId185" Type="http://schemas.openxmlformats.org/officeDocument/2006/relationships/image" Target="../media/image278.png"/><Relationship Id="rId4" Type="http://schemas.openxmlformats.org/officeDocument/2006/relationships/tags" Target="../tags/tag144.xml"/><Relationship Id="rId9" Type="http://schemas.openxmlformats.org/officeDocument/2006/relationships/tags" Target="../tags/tag149.xml"/><Relationship Id="rId180" Type="http://schemas.openxmlformats.org/officeDocument/2006/relationships/image" Target="../media/image273.svg"/><Relationship Id="rId210" Type="http://schemas.openxmlformats.org/officeDocument/2006/relationships/image" Target="../media/image303.svg"/><Relationship Id="rId215" Type="http://schemas.openxmlformats.org/officeDocument/2006/relationships/image" Target="../media/image308.png"/><Relationship Id="rId26" Type="http://schemas.openxmlformats.org/officeDocument/2006/relationships/tags" Target="../tags/tag166.xml"/><Relationship Id="rId47" Type="http://schemas.openxmlformats.org/officeDocument/2006/relationships/tags" Target="../tags/tag187.xml"/><Relationship Id="rId68" Type="http://schemas.openxmlformats.org/officeDocument/2006/relationships/tags" Target="../tags/tag208.xml"/><Relationship Id="rId89" Type="http://schemas.openxmlformats.org/officeDocument/2006/relationships/image" Target="../media/image182.png"/><Relationship Id="rId112" Type="http://schemas.openxmlformats.org/officeDocument/2006/relationships/image" Target="../media/image205.svg"/><Relationship Id="rId133" Type="http://schemas.openxmlformats.org/officeDocument/2006/relationships/image" Target="../media/image226.png"/><Relationship Id="rId154" Type="http://schemas.openxmlformats.org/officeDocument/2006/relationships/image" Target="../media/image247.svg"/><Relationship Id="rId175" Type="http://schemas.openxmlformats.org/officeDocument/2006/relationships/image" Target="../media/image268.png"/><Relationship Id="rId196" Type="http://schemas.openxmlformats.org/officeDocument/2006/relationships/image" Target="../media/image289.svg"/><Relationship Id="rId200" Type="http://schemas.openxmlformats.org/officeDocument/2006/relationships/image" Target="../media/image293.svg"/><Relationship Id="rId16" Type="http://schemas.openxmlformats.org/officeDocument/2006/relationships/tags" Target="../tags/tag156.xml"/><Relationship Id="rId37" Type="http://schemas.openxmlformats.org/officeDocument/2006/relationships/tags" Target="../tags/tag177.xml"/><Relationship Id="rId58" Type="http://schemas.openxmlformats.org/officeDocument/2006/relationships/tags" Target="../tags/tag198.xml"/><Relationship Id="rId79" Type="http://schemas.openxmlformats.org/officeDocument/2006/relationships/image" Target="../media/image172.png"/><Relationship Id="rId102" Type="http://schemas.openxmlformats.org/officeDocument/2006/relationships/image" Target="../media/image195.svg"/><Relationship Id="rId123" Type="http://schemas.openxmlformats.org/officeDocument/2006/relationships/image" Target="../media/image216.png"/><Relationship Id="rId144" Type="http://schemas.openxmlformats.org/officeDocument/2006/relationships/image" Target="../media/image237.svg"/><Relationship Id="rId90" Type="http://schemas.openxmlformats.org/officeDocument/2006/relationships/image" Target="../media/image183.svg"/><Relationship Id="rId165" Type="http://schemas.openxmlformats.org/officeDocument/2006/relationships/image" Target="../media/image258.png"/><Relationship Id="rId186" Type="http://schemas.openxmlformats.org/officeDocument/2006/relationships/image" Target="../media/image279.svg"/><Relationship Id="rId211" Type="http://schemas.openxmlformats.org/officeDocument/2006/relationships/image" Target="../media/image304.png"/><Relationship Id="rId27" Type="http://schemas.openxmlformats.org/officeDocument/2006/relationships/tags" Target="../tags/tag167.xml"/><Relationship Id="rId48" Type="http://schemas.openxmlformats.org/officeDocument/2006/relationships/tags" Target="../tags/tag188.xml"/><Relationship Id="rId69" Type="http://schemas.openxmlformats.org/officeDocument/2006/relationships/tags" Target="../tags/tag209.xml"/><Relationship Id="rId113" Type="http://schemas.openxmlformats.org/officeDocument/2006/relationships/image" Target="../media/image206.png"/><Relationship Id="rId134" Type="http://schemas.openxmlformats.org/officeDocument/2006/relationships/image" Target="../media/image227.svg"/><Relationship Id="rId80" Type="http://schemas.openxmlformats.org/officeDocument/2006/relationships/image" Target="../media/image173.svg"/><Relationship Id="rId155" Type="http://schemas.openxmlformats.org/officeDocument/2006/relationships/image" Target="../media/image248.png"/><Relationship Id="rId176" Type="http://schemas.openxmlformats.org/officeDocument/2006/relationships/image" Target="../media/image269.svg"/><Relationship Id="rId197" Type="http://schemas.openxmlformats.org/officeDocument/2006/relationships/image" Target="../media/image290.png"/><Relationship Id="rId201" Type="http://schemas.openxmlformats.org/officeDocument/2006/relationships/image" Target="../media/image294.png"/><Relationship Id="rId17" Type="http://schemas.openxmlformats.org/officeDocument/2006/relationships/tags" Target="../tags/tag157.xml"/><Relationship Id="rId38" Type="http://schemas.openxmlformats.org/officeDocument/2006/relationships/tags" Target="../tags/tag178.xml"/><Relationship Id="rId59" Type="http://schemas.openxmlformats.org/officeDocument/2006/relationships/tags" Target="../tags/tag199.xml"/><Relationship Id="rId103" Type="http://schemas.openxmlformats.org/officeDocument/2006/relationships/image" Target="../media/image196.png"/><Relationship Id="rId124" Type="http://schemas.openxmlformats.org/officeDocument/2006/relationships/image" Target="../media/image217.svg"/><Relationship Id="rId70" Type="http://schemas.openxmlformats.org/officeDocument/2006/relationships/tags" Target="../tags/tag210.xml"/><Relationship Id="rId91" Type="http://schemas.openxmlformats.org/officeDocument/2006/relationships/image" Target="../media/image184.png"/><Relationship Id="rId145" Type="http://schemas.openxmlformats.org/officeDocument/2006/relationships/image" Target="../media/image238.png"/><Relationship Id="rId166" Type="http://schemas.openxmlformats.org/officeDocument/2006/relationships/image" Target="../media/image259.svg"/><Relationship Id="rId187" Type="http://schemas.openxmlformats.org/officeDocument/2006/relationships/image" Target="../media/image280.png"/><Relationship Id="rId1" Type="http://schemas.openxmlformats.org/officeDocument/2006/relationships/tags" Target="../tags/tag141.xml"/><Relationship Id="rId212" Type="http://schemas.openxmlformats.org/officeDocument/2006/relationships/image" Target="../media/image305.svg"/><Relationship Id="rId28" Type="http://schemas.openxmlformats.org/officeDocument/2006/relationships/tags" Target="../tags/tag168.xml"/><Relationship Id="rId49" Type="http://schemas.openxmlformats.org/officeDocument/2006/relationships/tags" Target="../tags/tag189.xml"/><Relationship Id="rId114" Type="http://schemas.openxmlformats.org/officeDocument/2006/relationships/image" Target="../media/image207.svg"/><Relationship Id="rId60" Type="http://schemas.openxmlformats.org/officeDocument/2006/relationships/tags" Target="../tags/tag200.xml"/><Relationship Id="rId81" Type="http://schemas.openxmlformats.org/officeDocument/2006/relationships/image" Target="../media/image174.png"/><Relationship Id="rId135" Type="http://schemas.openxmlformats.org/officeDocument/2006/relationships/image" Target="../media/image228.png"/><Relationship Id="rId156" Type="http://schemas.openxmlformats.org/officeDocument/2006/relationships/image" Target="../media/image249.svg"/><Relationship Id="rId177" Type="http://schemas.openxmlformats.org/officeDocument/2006/relationships/image" Target="../media/image270.png"/><Relationship Id="rId198" Type="http://schemas.openxmlformats.org/officeDocument/2006/relationships/image" Target="../media/image291.svg"/><Relationship Id="rId202" Type="http://schemas.openxmlformats.org/officeDocument/2006/relationships/image" Target="../media/image295.svg"/><Relationship Id="rId18" Type="http://schemas.openxmlformats.org/officeDocument/2006/relationships/tags" Target="../tags/tag158.xml"/><Relationship Id="rId39" Type="http://schemas.openxmlformats.org/officeDocument/2006/relationships/tags" Target="../tags/tag179.xml"/><Relationship Id="rId50" Type="http://schemas.openxmlformats.org/officeDocument/2006/relationships/tags" Target="../tags/tag190.xml"/><Relationship Id="rId104" Type="http://schemas.openxmlformats.org/officeDocument/2006/relationships/image" Target="../media/image197.svg"/><Relationship Id="rId125" Type="http://schemas.openxmlformats.org/officeDocument/2006/relationships/image" Target="../media/image218.png"/><Relationship Id="rId146" Type="http://schemas.openxmlformats.org/officeDocument/2006/relationships/image" Target="../media/image239.svg"/><Relationship Id="rId167" Type="http://schemas.openxmlformats.org/officeDocument/2006/relationships/image" Target="../media/image260.png"/><Relationship Id="rId188" Type="http://schemas.openxmlformats.org/officeDocument/2006/relationships/image" Target="../media/image281.svg"/><Relationship Id="rId71" Type="http://schemas.openxmlformats.org/officeDocument/2006/relationships/tags" Target="../tags/tag211.xml"/><Relationship Id="rId92" Type="http://schemas.openxmlformats.org/officeDocument/2006/relationships/image" Target="../media/image185.svg"/><Relationship Id="rId213" Type="http://schemas.openxmlformats.org/officeDocument/2006/relationships/image" Target="../media/image306.png"/><Relationship Id="rId2" Type="http://schemas.openxmlformats.org/officeDocument/2006/relationships/tags" Target="../tags/tag142.xml"/><Relationship Id="rId29" Type="http://schemas.openxmlformats.org/officeDocument/2006/relationships/tags" Target="../tags/tag169.xml"/><Relationship Id="rId40" Type="http://schemas.openxmlformats.org/officeDocument/2006/relationships/tags" Target="../tags/tag180.xml"/><Relationship Id="rId115" Type="http://schemas.openxmlformats.org/officeDocument/2006/relationships/image" Target="../media/image208.png"/><Relationship Id="rId136" Type="http://schemas.openxmlformats.org/officeDocument/2006/relationships/image" Target="../media/image229.svg"/><Relationship Id="rId157" Type="http://schemas.openxmlformats.org/officeDocument/2006/relationships/image" Target="../media/image250.png"/><Relationship Id="rId178" Type="http://schemas.openxmlformats.org/officeDocument/2006/relationships/image" Target="../media/image271.svg"/><Relationship Id="rId61" Type="http://schemas.openxmlformats.org/officeDocument/2006/relationships/tags" Target="../tags/tag201.xml"/><Relationship Id="rId82" Type="http://schemas.openxmlformats.org/officeDocument/2006/relationships/image" Target="../media/image175.svg"/><Relationship Id="rId199" Type="http://schemas.openxmlformats.org/officeDocument/2006/relationships/image" Target="../media/image292.png"/><Relationship Id="rId203" Type="http://schemas.openxmlformats.org/officeDocument/2006/relationships/image" Target="../media/image296.png"/><Relationship Id="rId19" Type="http://schemas.openxmlformats.org/officeDocument/2006/relationships/tags" Target="../tags/tag159.xml"/></Relationships>
</file>

<file path=ppt/slides/_rels/slide45.xml.rels><?xml version="1.0" encoding="UTF-8" standalone="yes"?>
<Relationships xmlns="http://schemas.openxmlformats.org/package/2006/relationships"><Relationship Id="rId8" Type="http://schemas.openxmlformats.org/officeDocument/2006/relationships/image" Target="../media/image317.svg"/><Relationship Id="rId13" Type="http://schemas.openxmlformats.org/officeDocument/2006/relationships/image" Target="../media/image322.png"/><Relationship Id="rId18" Type="http://schemas.openxmlformats.org/officeDocument/2006/relationships/image" Target="../media/image327.svg"/><Relationship Id="rId26" Type="http://schemas.openxmlformats.org/officeDocument/2006/relationships/image" Target="../media/image335.svg"/><Relationship Id="rId3" Type="http://schemas.openxmlformats.org/officeDocument/2006/relationships/oleObject" Target="../embeddings/oleObject66.bin"/><Relationship Id="rId21" Type="http://schemas.openxmlformats.org/officeDocument/2006/relationships/image" Target="../media/image330.png"/><Relationship Id="rId7" Type="http://schemas.openxmlformats.org/officeDocument/2006/relationships/image" Target="../media/image316.png"/><Relationship Id="rId12" Type="http://schemas.openxmlformats.org/officeDocument/2006/relationships/image" Target="../media/image321.svg"/><Relationship Id="rId17" Type="http://schemas.openxmlformats.org/officeDocument/2006/relationships/image" Target="../media/image326.png"/><Relationship Id="rId25" Type="http://schemas.openxmlformats.org/officeDocument/2006/relationships/image" Target="../media/image334.png"/><Relationship Id="rId2" Type="http://schemas.openxmlformats.org/officeDocument/2006/relationships/slideLayout" Target="../slideLayouts/slideLayout7.xml"/><Relationship Id="rId16" Type="http://schemas.openxmlformats.org/officeDocument/2006/relationships/image" Target="../media/image325.svg"/><Relationship Id="rId20" Type="http://schemas.openxmlformats.org/officeDocument/2006/relationships/image" Target="../media/image329.svg"/><Relationship Id="rId29" Type="http://schemas.openxmlformats.org/officeDocument/2006/relationships/image" Target="../media/image338.emf"/><Relationship Id="rId1" Type="http://schemas.openxmlformats.org/officeDocument/2006/relationships/tags" Target="../tags/tag214.xml"/><Relationship Id="rId6" Type="http://schemas.openxmlformats.org/officeDocument/2006/relationships/image" Target="../media/image315.svg"/><Relationship Id="rId11" Type="http://schemas.openxmlformats.org/officeDocument/2006/relationships/image" Target="../media/image320.png"/><Relationship Id="rId24" Type="http://schemas.openxmlformats.org/officeDocument/2006/relationships/image" Target="../media/image333.svg"/><Relationship Id="rId5" Type="http://schemas.openxmlformats.org/officeDocument/2006/relationships/image" Target="../media/image314.png"/><Relationship Id="rId15" Type="http://schemas.openxmlformats.org/officeDocument/2006/relationships/image" Target="../media/image324.png"/><Relationship Id="rId23" Type="http://schemas.openxmlformats.org/officeDocument/2006/relationships/image" Target="../media/image332.png"/><Relationship Id="rId28" Type="http://schemas.openxmlformats.org/officeDocument/2006/relationships/image" Target="../media/image337.png"/><Relationship Id="rId10" Type="http://schemas.openxmlformats.org/officeDocument/2006/relationships/image" Target="../media/image319.svg"/><Relationship Id="rId19" Type="http://schemas.openxmlformats.org/officeDocument/2006/relationships/image" Target="../media/image328.png"/><Relationship Id="rId4" Type="http://schemas.openxmlformats.org/officeDocument/2006/relationships/image" Target="../media/image1.emf"/><Relationship Id="rId9" Type="http://schemas.openxmlformats.org/officeDocument/2006/relationships/image" Target="../media/image318.png"/><Relationship Id="rId14" Type="http://schemas.openxmlformats.org/officeDocument/2006/relationships/image" Target="../media/image323.svg"/><Relationship Id="rId22" Type="http://schemas.openxmlformats.org/officeDocument/2006/relationships/image" Target="../media/image331.svg"/><Relationship Id="rId27" Type="http://schemas.openxmlformats.org/officeDocument/2006/relationships/image" Target="../media/image336.png"/><Relationship Id="rId30" Type="http://schemas.openxmlformats.org/officeDocument/2006/relationships/image" Target="../media/image339.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31.xml"/><Relationship Id="rId1" Type="http://schemas.openxmlformats.org/officeDocument/2006/relationships/tags" Target="../tags/tag215.xml"/><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2" Type="http://schemas.openxmlformats.org/officeDocument/2006/relationships/image" Target="../media/image340.jpeg"/><Relationship Id="rId1" Type="http://schemas.openxmlformats.org/officeDocument/2006/relationships/slideLayout" Target="../slideLayouts/slideLayout32.xml"/></Relationships>
</file>

<file path=ppt/slides/_rels/slide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6.xml"/><Relationship Id="rId1" Type="http://schemas.openxmlformats.org/officeDocument/2006/relationships/tags" Target="../tags/tag43.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3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sz="quarter" idx="13"/>
          </p:nvPr>
        </p:nvSpPr>
        <p:spPr>
          <a:xfrm>
            <a:off x="1393404" y="4991386"/>
            <a:ext cx="8151962" cy="776283"/>
          </a:xfrm>
        </p:spPr>
        <p:txBody>
          <a:bodyPr/>
          <a:lstStyle/>
          <a:p>
            <a:r>
              <a:rPr lang="en-US" dirty="0"/>
              <a:t>Presentation template</a:t>
            </a:r>
            <a:endParaRPr lang="en-GB" dirty="0"/>
          </a:p>
        </p:txBody>
      </p:sp>
      <p:sp>
        <p:nvSpPr>
          <p:cNvPr id="4" name="Text Placeholder 3">
            <a:extLst>
              <a:ext uri="{FF2B5EF4-FFF2-40B4-BE49-F238E27FC236}">
                <a16:creationId xmlns:a16="http://schemas.microsoft.com/office/drawing/2014/main" id="{D8360871-18D0-FB41-8F18-33E4F9CC1A1E}"/>
              </a:ext>
            </a:extLst>
          </p:cNvPr>
          <p:cNvSpPr>
            <a:spLocks noGrp="1"/>
          </p:cNvSpPr>
          <p:nvPr>
            <p:ph type="body" sz="quarter" idx="14"/>
          </p:nvPr>
        </p:nvSpPr>
        <p:spPr/>
        <p:txBody>
          <a:bodyPr/>
          <a:lstStyle/>
          <a:p>
            <a:r>
              <a:rPr lang="en-US" dirty="0"/>
              <a:t>May 2024</a:t>
            </a:r>
          </a:p>
        </p:txBody>
      </p:sp>
    </p:spTree>
    <p:extLst>
      <p:ext uri="{BB962C8B-B14F-4D97-AF65-F5344CB8AC3E}">
        <p14:creationId xmlns:p14="http://schemas.microsoft.com/office/powerpoint/2010/main" val="13354375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03C6834-C050-F17B-A14D-D8A2D21742A7}"/>
              </a:ext>
            </a:extLst>
          </p:cNvPr>
          <p:cNvGraphicFramePr>
            <a:graphicFrameLocks noChangeAspect="1"/>
          </p:cNvGraphicFramePr>
          <p:nvPr>
            <p:custDataLst>
              <p:tags r:id="rId1"/>
            </p:custDataLst>
            <p:extLst>
              <p:ext uri="{D42A27DB-BD31-4B8C-83A1-F6EECF244321}">
                <p14:modId xmlns:p14="http://schemas.microsoft.com/office/powerpoint/2010/main" val="989707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think-cell data - do not delete" hidden="1">
                        <a:extLst>
                          <a:ext uri="{FF2B5EF4-FFF2-40B4-BE49-F238E27FC236}">
                            <a16:creationId xmlns:a16="http://schemas.microsoft.com/office/drawing/2014/main" id="{E03C6834-C050-F17B-A14D-D8A2D21742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37C8EBB4-2E3D-B78A-17E1-F127C435F2E0}"/>
              </a:ext>
            </a:extLst>
          </p:cNvPr>
          <p:cNvSpPr>
            <a:spLocks noGrp="1"/>
          </p:cNvSpPr>
          <p:nvPr>
            <p:ph type="body" sz="quarter" idx="10"/>
          </p:nvPr>
        </p:nvSpPr>
        <p:spPr/>
        <p:txBody>
          <a:bodyPr/>
          <a:lstStyle/>
          <a:p>
            <a:endParaRPr lang="nl-NL"/>
          </a:p>
        </p:txBody>
      </p:sp>
      <p:sp>
        <p:nvSpPr>
          <p:cNvPr id="3" name="Title 2">
            <a:extLst>
              <a:ext uri="{FF2B5EF4-FFF2-40B4-BE49-F238E27FC236}">
                <a16:creationId xmlns:a16="http://schemas.microsoft.com/office/drawing/2014/main" id="{8C457B26-0657-485F-A27E-0DB6D0537B5F}"/>
              </a:ext>
            </a:extLst>
          </p:cNvPr>
          <p:cNvSpPr>
            <a:spLocks noGrp="1"/>
          </p:cNvSpPr>
          <p:nvPr>
            <p:ph type="title"/>
          </p:nvPr>
        </p:nvSpPr>
        <p:spPr/>
        <p:txBody>
          <a:bodyPr vert="horz"/>
          <a:lstStyle/>
          <a:p>
            <a:r>
              <a:rPr lang="en-GB" dirty="0"/>
              <a:t>Stacked column chart</a:t>
            </a:r>
            <a:endParaRPr lang="en-US" dirty="0"/>
          </a:p>
        </p:txBody>
      </p:sp>
      <p:sp>
        <p:nvSpPr>
          <p:cNvPr id="4" name="Text Placeholder 3">
            <a:extLst>
              <a:ext uri="{FF2B5EF4-FFF2-40B4-BE49-F238E27FC236}">
                <a16:creationId xmlns:a16="http://schemas.microsoft.com/office/drawing/2014/main" id="{0D603221-508E-22F0-2412-C717DC5E0509}"/>
              </a:ext>
            </a:extLst>
          </p:cNvPr>
          <p:cNvSpPr>
            <a:spLocks noGrp="1"/>
          </p:cNvSpPr>
          <p:nvPr>
            <p:ph type="body" sz="quarter" idx="27"/>
          </p:nvPr>
        </p:nvSpPr>
        <p:spPr/>
        <p:txBody>
          <a:bodyPr/>
          <a:lstStyle/>
          <a:p>
            <a:endParaRPr lang="nl-NL"/>
          </a:p>
        </p:txBody>
      </p:sp>
      <p:graphicFrame>
        <p:nvGraphicFramePr>
          <p:cNvPr id="6" name="Content Placeholder 8">
            <a:extLst>
              <a:ext uri="{FF2B5EF4-FFF2-40B4-BE49-F238E27FC236}">
                <a16:creationId xmlns:a16="http://schemas.microsoft.com/office/drawing/2014/main" id="{FCF42D45-465F-4CAA-BE6A-6343BE72B775}"/>
              </a:ext>
            </a:extLst>
          </p:cNvPr>
          <p:cNvGraphicFramePr>
            <a:graphicFrameLocks/>
          </p:cNvGraphicFramePr>
          <p:nvPr>
            <p:extLst>
              <p:ext uri="{D42A27DB-BD31-4B8C-83A1-F6EECF244321}">
                <p14:modId xmlns:p14="http://schemas.microsoft.com/office/powerpoint/2010/main" val="1574070848"/>
              </p:ext>
            </p:extLst>
          </p:nvPr>
        </p:nvGraphicFramePr>
        <p:xfrm>
          <a:off x="393700" y="1376363"/>
          <a:ext cx="9131300" cy="4859337"/>
        </p:xfrm>
        <a:graphic>
          <a:graphicData uri="http://schemas.openxmlformats.org/drawingml/2006/chart">
            <c:chart xmlns:c="http://schemas.openxmlformats.org/drawingml/2006/chart" xmlns:r="http://schemas.openxmlformats.org/officeDocument/2006/relationships" r:id="rId5"/>
          </a:graphicData>
        </a:graphic>
      </p:graphicFrame>
      <p:sp>
        <p:nvSpPr>
          <p:cNvPr id="9" name="Rectangle 8">
            <a:extLst>
              <a:ext uri="{FF2B5EF4-FFF2-40B4-BE49-F238E27FC236}">
                <a16:creationId xmlns:a16="http://schemas.microsoft.com/office/drawing/2014/main" id="{C607F0E7-2005-A940-BDF8-5029B64B8497}"/>
              </a:ext>
            </a:extLst>
          </p:cNvPr>
          <p:cNvSpPr/>
          <p:nvPr/>
        </p:nvSpPr>
        <p:spPr>
          <a:xfrm>
            <a:off x="10660965" y="2607501"/>
            <a:ext cx="1385887" cy="1200329"/>
          </a:xfrm>
          <a:prstGeom prst="rect">
            <a:avLst/>
          </a:prstGeom>
          <a:solidFill>
            <a:schemeClr val="bg2"/>
          </a:solidFill>
        </p:spPr>
        <p:txBody>
          <a:bodyPr wrap="square">
            <a:spAutoFit/>
          </a:bodyPr>
          <a:lstStyle/>
          <a:p>
            <a:pPr>
              <a:spcAft>
                <a:spcPts val="0"/>
              </a:spcAft>
            </a:pPr>
            <a:r>
              <a:rPr lang="en-GB" sz="900" cap="all" baseline="0" dirty="0">
                <a:solidFill>
                  <a:schemeClr val="accent1"/>
                </a:solidFill>
                <a:latin typeface="Roboto Light" panose="02000000000000000000" pitchFamily="2" charset="0"/>
                <a:ea typeface="Roboto Light" panose="02000000000000000000" pitchFamily="2" charset="0"/>
                <a:cs typeface="Arial" panose="020B0604020202020204" pitchFamily="34" charset="0"/>
              </a:rPr>
              <a:t>NO axis lines</a:t>
            </a:r>
          </a:p>
          <a:p>
            <a:pPr marL="90488" indent="-90488">
              <a:spcAft>
                <a:spcPts val="0"/>
              </a:spcAft>
              <a:buFont typeface="Wingdings" pitchFamily="2" charset="2"/>
              <a:buChar char="§"/>
            </a:pPr>
            <a:r>
              <a:rPr lang="en-GB" sz="900" dirty="0">
                <a:latin typeface="Roboto Light" panose="02000000000000000000" pitchFamily="2" charset="0"/>
                <a:ea typeface="Roboto Light" panose="02000000000000000000" pitchFamily="2" charset="0"/>
                <a:cs typeface="Arial" panose="020B0604020202020204" pitchFamily="34" charset="0"/>
              </a:rPr>
              <a:t>No bar outlines</a:t>
            </a:r>
          </a:p>
          <a:p>
            <a:pPr marL="90488" indent="-90488">
              <a:spcAft>
                <a:spcPts val="0"/>
              </a:spcAft>
              <a:buFont typeface="Wingdings" pitchFamily="2" charset="2"/>
              <a:buChar char="§"/>
            </a:pPr>
            <a:r>
              <a:rPr lang="en-GB" sz="900" dirty="0">
                <a:latin typeface="Roboto Light" panose="02000000000000000000" pitchFamily="2" charset="0"/>
                <a:ea typeface="Roboto Light" panose="02000000000000000000" pitchFamily="2" charset="0"/>
                <a:cs typeface="Arial" panose="020B0604020202020204" pitchFamily="34" charset="0"/>
              </a:rPr>
              <a:t>All fonts Roboto Light, RGB 102-102-102</a:t>
            </a:r>
          </a:p>
          <a:p>
            <a:pPr marL="90488" indent="-90488">
              <a:spcAft>
                <a:spcPts val="0"/>
              </a:spcAft>
              <a:buFont typeface="Wingdings" pitchFamily="2" charset="2"/>
              <a:buChar char="§"/>
            </a:pPr>
            <a:r>
              <a:rPr lang="en-GB" sz="900" dirty="0">
                <a:solidFill>
                  <a:schemeClr val="tx1"/>
                </a:solidFill>
                <a:latin typeface="Roboto Light" panose="02000000000000000000" pitchFamily="2" charset="0"/>
                <a:ea typeface="Roboto Light" panose="02000000000000000000" pitchFamily="2" charset="0"/>
                <a:cs typeface="Arial" panose="020B0604020202020204" pitchFamily="34" charset="0"/>
              </a:rPr>
              <a:t>Legend on top, unless difficult</a:t>
            </a:r>
          </a:p>
          <a:p>
            <a:pPr marL="90488" indent="-90488">
              <a:spcAft>
                <a:spcPts val="0"/>
              </a:spcAft>
              <a:buFont typeface="Wingdings" pitchFamily="2" charset="2"/>
              <a:buChar char="§"/>
            </a:pPr>
            <a:r>
              <a:rPr lang="en-GB" sz="900" dirty="0">
                <a:solidFill>
                  <a:schemeClr val="tx1"/>
                </a:solidFill>
                <a:latin typeface="Roboto Light" panose="02000000000000000000" pitchFamily="2" charset="0"/>
                <a:ea typeface="Roboto Light" panose="02000000000000000000" pitchFamily="2" charset="0"/>
                <a:cs typeface="Arial" panose="020B0604020202020204" pitchFamily="34" charset="0"/>
              </a:rPr>
              <a:t>Total</a:t>
            </a:r>
            <a:r>
              <a:rPr lang="en-GB" sz="900" dirty="0">
                <a:latin typeface="Roboto Light" panose="02000000000000000000" pitchFamily="2" charset="0"/>
                <a:ea typeface="Roboto Light" panose="02000000000000000000" pitchFamily="2" charset="0"/>
                <a:cs typeface="Arial" panose="020B0604020202020204" pitchFamily="34" charset="0"/>
              </a:rPr>
              <a:t>s Roboto Medium (not bold)</a:t>
            </a:r>
            <a:endParaRPr lang="en-GB" sz="900" dirty="0">
              <a:solidFill>
                <a:schemeClr val="tx1"/>
              </a:solidFill>
              <a:latin typeface="Roboto Light" panose="02000000000000000000" pitchFamily="2" charset="0"/>
              <a:ea typeface="Roboto Light" panose="02000000000000000000" pitchFamily="2" charset="0"/>
              <a:cs typeface="Arial" panose="020B0604020202020204" pitchFamily="34" charset="0"/>
            </a:endParaRPr>
          </a:p>
        </p:txBody>
      </p:sp>
    </p:spTree>
    <p:extLst>
      <p:ext uri="{BB962C8B-B14F-4D97-AF65-F5344CB8AC3E}">
        <p14:creationId xmlns:p14="http://schemas.microsoft.com/office/powerpoint/2010/main" val="27332150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A9225A4-ED8E-0C51-0E83-D7603444D1B5}"/>
              </a:ext>
            </a:extLst>
          </p:cNvPr>
          <p:cNvGraphicFramePr>
            <a:graphicFrameLocks noChangeAspect="1"/>
          </p:cNvGraphicFramePr>
          <p:nvPr>
            <p:custDataLst>
              <p:tags r:id="rId1"/>
            </p:custDataLst>
            <p:extLst>
              <p:ext uri="{D42A27DB-BD31-4B8C-83A1-F6EECF244321}">
                <p14:modId xmlns:p14="http://schemas.microsoft.com/office/powerpoint/2010/main" val="1259251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think-cell data - do not delete" hidden="1">
                        <a:extLst>
                          <a:ext uri="{FF2B5EF4-FFF2-40B4-BE49-F238E27FC236}">
                            <a16:creationId xmlns:a16="http://schemas.microsoft.com/office/drawing/2014/main" id="{3A9225A4-ED8E-0C51-0E83-D7603444D1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30828C8-BDA2-D273-3797-008DE1D65698}"/>
              </a:ext>
            </a:extLst>
          </p:cNvPr>
          <p:cNvSpPr>
            <a:spLocks noGrp="1"/>
          </p:cNvSpPr>
          <p:nvPr>
            <p:ph type="body" sz="quarter" idx="10"/>
          </p:nvPr>
        </p:nvSpPr>
        <p:spPr/>
        <p:txBody>
          <a:bodyPr/>
          <a:lstStyle/>
          <a:p>
            <a:endParaRPr lang="nl-NL"/>
          </a:p>
        </p:txBody>
      </p:sp>
      <p:sp>
        <p:nvSpPr>
          <p:cNvPr id="3" name="Title 2">
            <a:extLst>
              <a:ext uri="{FF2B5EF4-FFF2-40B4-BE49-F238E27FC236}">
                <a16:creationId xmlns:a16="http://schemas.microsoft.com/office/drawing/2014/main" id="{50EE96D8-1876-4FDB-95D5-6E7326C92DF7}"/>
              </a:ext>
            </a:extLst>
          </p:cNvPr>
          <p:cNvSpPr>
            <a:spLocks noGrp="1"/>
          </p:cNvSpPr>
          <p:nvPr>
            <p:ph type="title"/>
          </p:nvPr>
        </p:nvSpPr>
        <p:spPr/>
        <p:txBody>
          <a:bodyPr vert="horz"/>
          <a:lstStyle/>
          <a:p>
            <a:r>
              <a:rPr lang="en-GB" dirty="0"/>
              <a:t>Line chart</a:t>
            </a:r>
            <a:endParaRPr lang="en-US" dirty="0"/>
          </a:p>
        </p:txBody>
      </p:sp>
      <p:sp>
        <p:nvSpPr>
          <p:cNvPr id="4" name="Text Placeholder 3">
            <a:extLst>
              <a:ext uri="{FF2B5EF4-FFF2-40B4-BE49-F238E27FC236}">
                <a16:creationId xmlns:a16="http://schemas.microsoft.com/office/drawing/2014/main" id="{C0D942D5-6AB0-6061-9F9D-4695513A6DBD}"/>
              </a:ext>
            </a:extLst>
          </p:cNvPr>
          <p:cNvSpPr>
            <a:spLocks noGrp="1"/>
          </p:cNvSpPr>
          <p:nvPr>
            <p:ph type="body" sz="quarter" idx="27"/>
          </p:nvPr>
        </p:nvSpPr>
        <p:spPr/>
        <p:txBody>
          <a:bodyPr/>
          <a:lstStyle/>
          <a:p>
            <a:endParaRPr lang="nl-NL"/>
          </a:p>
        </p:txBody>
      </p:sp>
      <p:graphicFrame>
        <p:nvGraphicFramePr>
          <p:cNvPr id="9" name="Chart 8">
            <a:extLst>
              <a:ext uri="{FF2B5EF4-FFF2-40B4-BE49-F238E27FC236}">
                <a16:creationId xmlns:a16="http://schemas.microsoft.com/office/drawing/2014/main" id="{CF35D3D0-13D6-1243-B9A8-25EE961F20D2}"/>
              </a:ext>
            </a:extLst>
          </p:cNvPr>
          <p:cNvGraphicFramePr/>
          <p:nvPr>
            <p:extLst>
              <p:ext uri="{D42A27DB-BD31-4B8C-83A1-F6EECF244321}">
                <p14:modId xmlns:p14="http://schemas.microsoft.com/office/powerpoint/2010/main" val="788044872"/>
              </p:ext>
            </p:extLst>
          </p:nvPr>
        </p:nvGraphicFramePr>
        <p:xfrm>
          <a:off x="381000" y="1376364"/>
          <a:ext cx="9144000" cy="4857356"/>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17C02CF0-7595-D542-8E43-2E5AE42406DD}"/>
              </a:ext>
            </a:extLst>
          </p:cNvPr>
          <p:cNvSpPr/>
          <p:nvPr/>
        </p:nvSpPr>
        <p:spPr>
          <a:xfrm>
            <a:off x="10660965" y="2607501"/>
            <a:ext cx="1385887" cy="923330"/>
          </a:xfrm>
          <a:prstGeom prst="rect">
            <a:avLst/>
          </a:prstGeom>
          <a:solidFill>
            <a:schemeClr val="bg2"/>
          </a:solidFill>
        </p:spPr>
        <p:txBody>
          <a:bodyPr wrap="square">
            <a:spAutoFit/>
          </a:bodyPr>
          <a:lstStyle/>
          <a:p>
            <a:pPr>
              <a:spcAft>
                <a:spcPts val="0"/>
              </a:spcAft>
            </a:pPr>
            <a:r>
              <a:rPr lang="en-GB" sz="900" cap="all" baseline="0" dirty="0">
                <a:solidFill>
                  <a:schemeClr val="accent1"/>
                </a:solidFill>
                <a:latin typeface="Roboto Light" panose="02000000000000000000" pitchFamily="2" charset="0"/>
                <a:ea typeface="Roboto Light" panose="02000000000000000000" pitchFamily="2" charset="0"/>
                <a:cs typeface="Arial" panose="020B0604020202020204" pitchFamily="34" charset="0"/>
              </a:rPr>
              <a:t>NO axis lines</a:t>
            </a:r>
          </a:p>
          <a:p>
            <a:pPr marL="90488" indent="-90488">
              <a:spcAft>
                <a:spcPts val="0"/>
              </a:spcAft>
              <a:buFont typeface="Wingdings" pitchFamily="2" charset="2"/>
              <a:buChar char="§"/>
            </a:pPr>
            <a:r>
              <a:rPr lang="en-GB" sz="900" dirty="0">
                <a:latin typeface="Roboto Light" panose="02000000000000000000" pitchFamily="2" charset="0"/>
                <a:ea typeface="Roboto Light" panose="02000000000000000000" pitchFamily="2" charset="0"/>
                <a:cs typeface="Arial" panose="020B0604020202020204" pitchFamily="34" charset="0"/>
              </a:rPr>
              <a:t>Lines 1</a:t>
            </a:r>
            <a:r>
              <a:rPr lang="en-GB" sz="900" baseline="30000" dirty="0">
                <a:latin typeface="Roboto Light" panose="02000000000000000000" pitchFamily="2" charset="0"/>
                <a:ea typeface="Roboto Light" panose="02000000000000000000" pitchFamily="2" charset="0"/>
                <a:cs typeface="Arial" panose="020B0604020202020204" pitchFamily="34" charset="0"/>
              </a:rPr>
              <a:t>1/2</a:t>
            </a:r>
            <a:r>
              <a:rPr lang="en-GB" sz="900" dirty="0">
                <a:latin typeface="Roboto Light" panose="02000000000000000000" pitchFamily="2" charset="0"/>
                <a:ea typeface="Roboto Light" panose="02000000000000000000" pitchFamily="2" charset="0"/>
                <a:cs typeface="Arial" panose="020B0604020202020204" pitchFamily="34" charset="0"/>
              </a:rPr>
              <a:t>pt</a:t>
            </a:r>
          </a:p>
          <a:p>
            <a:pPr marL="90488" indent="-90488">
              <a:spcAft>
                <a:spcPts val="0"/>
              </a:spcAft>
              <a:buFont typeface="Wingdings" pitchFamily="2" charset="2"/>
              <a:buChar char="§"/>
            </a:pPr>
            <a:r>
              <a:rPr lang="en-GB" sz="900" dirty="0">
                <a:latin typeface="Roboto Light" panose="02000000000000000000" pitchFamily="2" charset="0"/>
                <a:ea typeface="Roboto Light" panose="02000000000000000000" pitchFamily="2" charset="0"/>
                <a:cs typeface="Arial" panose="020B0604020202020204" pitchFamily="34" charset="0"/>
              </a:rPr>
              <a:t>All fonts Roboto Light, RGB 102-102-102</a:t>
            </a:r>
          </a:p>
          <a:p>
            <a:pPr marL="90488" indent="-90488">
              <a:spcAft>
                <a:spcPts val="0"/>
              </a:spcAft>
              <a:buFont typeface="Wingdings" pitchFamily="2" charset="2"/>
              <a:buChar char="§"/>
            </a:pPr>
            <a:r>
              <a:rPr lang="en-GB" sz="900" dirty="0">
                <a:solidFill>
                  <a:schemeClr val="tx1"/>
                </a:solidFill>
                <a:latin typeface="Roboto Light" panose="02000000000000000000" pitchFamily="2" charset="0"/>
                <a:ea typeface="Roboto Light" panose="02000000000000000000" pitchFamily="2" charset="0"/>
                <a:cs typeface="Arial" panose="020B0604020202020204" pitchFamily="34" charset="0"/>
              </a:rPr>
              <a:t>Legend on top, unless difficult</a:t>
            </a:r>
          </a:p>
        </p:txBody>
      </p:sp>
    </p:spTree>
    <p:extLst>
      <p:ext uri="{BB962C8B-B14F-4D97-AF65-F5344CB8AC3E}">
        <p14:creationId xmlns:p14="http://schemas.microsoft.com/office/powerpoint/2010/main" val="7341529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7CD19A8-500B-4F3B-5100-CBDB668EAB69}"/>
              </a:ext>
            </a:extLst>
          </p:cNvPr>
          <p:cNvGraphicFramePr>
            <a:graphicFrameLocks noChangeAspect="1"/>
          </p:cNvGraphicFramePr>
          <p:nvPr>
            <p:custDataLst>
              <p:tags r:id="rId1"/>
            </p:custDataLst>
            <p:extLst>
              <p:ext uri="{D42A27DB-BD31-4B8C-83A1-F6EECF244321}">
                <p14:modId xmlns:p14="http://schemas.microsoft.com/office/powerpoint/2010/main" val="15658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think-cell data - do not delete" hidden="1">
                        <a:extLst>
                          <a:ext uri="{FF2B5EF4-FFF2-40B4-BE49-F238E27FC236}">
                            <a16:creationId xmlns:a16="http://schemas.microsoft.com/office/drawing/2014/main" id="{E7CD19A8-500B-4F3B-5100-CBDB668EAB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ED1CB0DC-4378-0CFA-81C7-BFAF9B301671}"/>
              </a:ext>
            </a:extLst>
          </p:cNvPr>
          <p:cNvSpPr>
            <a:spLocks noGrp="1"/>
          </p:cNvSpPr>
          <p:nvPr>
            <p:ph type="body" sz="quarter" idx="10"/>
          </p:nvPr>
        </p:nvSpPr>
        <p:spPr/>
        <p:txBody>
          <a:bodyPr/>
          <a:lstStyle/>
          <a:p>
            <a:endParaRPr lang="nl-NL"/>
          </a:p>
        </p:txBody>
      </p:sp>
      <p:sp>
        <p:nvSpPr>
          <p:cNvPr id="3" name="Title 2">
            <a:extLst>
              <a:ext uri="{FF2B5EF4-FFF2-40B4-BE49-F238E27FC236}">
                <a16:creationId xmlns:a16="http://schemas.microsoft.com/office/drawing/2014/main" id="{50EE96D8-1876-4FDB-95D5-6E7326C92DF7}"/>
              </a:ext>
            </a:extLst>
          </p:cNvPr>
          <p:cNvSpPr>
            <a:spLocks noGrp="1"/>
          </p:cNvSpPr>
          <p:nvPr>
            <p:ph type="title"/>
          </p:nvPr>
        </p:nvSpPr>
        <p:spPr/>
        <p:txBody>
          <a:bodyPr vert="horz"/>
          <a:lstStyle/>
          <a:p>
            <a:r>
              <a:rPr lang="en-GB" dirty="0"/>
              <a:t>Scatter chart</a:t>
            </a:r>
            <a:endParaRPr lang="en-US" dirty="0"/>
          </a:p>
        </p:txBody>
      </p:sp>
      <p:sp>
        <p:nvSpPr>
          <p:cNvPr id="4" name="Text Placeholder 3">
            <a:extLst>
              <a:ext uri="{FF2B5EF4-FFF2-40B4-BE49-F238E27FC236}">
                <a16:creationId xmlns:a16="http://schemas.microsoft.com/office/drawing/2014/main" id="{75E7EBEE-BC79-A073-655E-C4C7C184E169}"/>
              </a:ext>
            </a:extLst>
          </p:cNvPr>
          <p:cNvSpPr>
            <a:spLocks noGrp="1"/>
          </p:cNvSpPr>
          <p:nvPr>
            <p:ph type="body" sz="quarter" idx="27"/>
          </p:nvPr>
        </p:nvSpPr>
        <p:spPr/>
        <p:txBody>
          <a:bodyPr/>
          <a:lstStyle/>
          <a:p>
            <a:endParaRPr lang="nl-NL"/>
          </a:p>
        </p:txBody>
      </p:sp>
      <p:graphicFrame>
        <p:nvGraphicFramePr>
          <p:cNvPr id="9" name="Chart 8">
            <a:extLst>
              <a:ext uri="{FF2B5EF4-FFF2-40B4-BE49-F238E27FC236}">
                <a16:creationId xmlns:a16="http://schemas.microsoft.com/office/drawing/2014/main" id="{CF35D3D0-13D6-1243-B9A8-25EE961F20D2}"/>
              </a:ext>
            </a:extLst>
          </p:cNvPr>
          <p:cNvGraphicFramePr/>
          <p:nvPr>
            <p:extLst>
              <p:ext uri="{D42A27DB-BD31-4B8C-83A1-F6EECF244321}">
                <p14:modId xmlns:p14="http://schemas.microsoft.com/office/powerpoint/2010/main" val="3543488802"/>
              </p:ext>
            </p:extLst>
          </p:nvPr>
        </p:nvGraphicFramePr>
        <p:xfrm>
          <a:off x="381000" y="1376364"/>
          <a:ext cx="9144000" cy="485735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531450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86F7777-7494-568C-94FB-D0E1574C52B8}"/>
              </a:ext>
            </a:extLst>
          </p:cNvPr>
          <p:cNvGraphicFramePr>
            <a:graphicFrameLocks noChangeAspect="1"/>
          </p:cNvGraphicFramePr>
          <p:nvPr>
            <p:custDataLst>
              <p:tags r:id="rId1"/>
            </p:custDataLst>
            <p:extLst>
              <p:ext uri="{D42A27DB-BD31-4B8C-83A1-F6EECF244321}">
                <p14:modId xmlns:p14="http://schemas.microsoft.com/office/powerpoint/2010/main" val="3459701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986F7777-7494-568C-94FB-D0E1574C52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D8095726-4706-B64D-9E18-E66A40FE515D}"/>
              </a:ext>
            </a:extLst>
          </p:cNvPr>
          <p:cNvSpPr>
            <a:spLocks noGrp="1"/>
          </p:cNvSpPr>
          <p:nvPr>
            <p:ph type="body" sz="quarter" idx="10"/>
          </p:nvPr>
        </p:nvSpPr>
        <p:spPr/>
        <p:txBody>
          <a:bodyPr/>
          <a:lstStyle/>
          <a:p>
            <a:endParaRPr lang="en-US" dirty="0"/>
          </a:p>
        </p:txBody>
      </p:sp>
      <p:sp>
        <p:nvSpPr>
          <p:cNvPr id="7" name="Text Placeholder 6">
            <a:extLst>
              <a:ext uri="{FF2B5EF4-FFF2-40B4-BE49-F238E27FC236}">
                <a16:creationId xmlns:a16="http://schemas.microsoft.com/office/drawing/2014/main" id="{06AEACCD-FC61-6D44-BB0D-3A3D2CC7D658}"/>
              </a:ext>
            </a:extLst>
          </p:cNvPr>
          <p:cNvSpPr>
            <a:spLocks noGrp="1"/>
          </p:cNvSpPr>
          <p:nvPr>
            <p:ph type="body" sz="quarter" idx="24"/>
          </p:nvPr>
        </p:nvSpPr>
        <p:spPr/>
        <p:txBody>
          <a:bodyPr/>
          <a:lstStyle/>
          <a:p>
            <a:endParaRPr lang="en-US" dirty="0"/>
          </a:p>
        </p:txBody>
      </p:sp>
      <p:sp>
        <p:nvSpPr>
          <p:cNvPr id="5" name="Title 4">
            <a:extLst>
              <a:ext uri="{FF2B5EF4-FFF2-40B4-BE49-F238E27FC236}">
                <a16:creationId xmlns:a16="http://schemas.microsoft.com/office/drawing/2014/main" id="{9611BD2B-71CC-EF4E-8A2D-A395ADD682AF}"/>
              </a:ext>
            </a:extLst>
          </p:cNvPr>
          <p:cNvSpPr>
            <a:spLocks noGrp="1"/>
          </p:cNvSpPr>
          <p:nvPr>
            <p:ph type="title"/>
          </p:nvPr>
        </p:nvSpPr>
        <p:spPr/>
        <p:txBody>
          <a:bodyPr vert="horz"/>
          <a:lstStyle/>
          <a:p>
            <a:r>
              <a:rPr lang="en-US" dirty="0"/>
              <a:t>Line charts (x3)</a:t>
            </a:r>
          </a:p>
        </p:txBody>
      </p:sp>
      <p:sp>
        <p:nvSpPr>
          <p:cNvPr id="9" name="Text Placeholder 8">
            <a:extLst>
              <a:ext uri="{FF2B5EF4-FFF2-40B4-BE49-F238E27FC236}">
                <a16:creationId xmlns:a16="http://schemas.microsoft.com/office/drawing/2014/main" id="{7C0EB03D-B872-3149-AE13-0B1A1A20541F}"/>
              </a:ext>
            </a:extLst>
          </p:cNvPr>
          <p:cNvSpPr>
            <a:spLocks noGrp="1"/>
          </p:cNvSpPr>
          <p:nvPr>
            <p:ph type="body" sz="quarter" idx="29"/>
          </p:nvPr>
        </p:nvSpPr>
        <p:spPr/>
        <p:txBody>
          <a:bodyPr/>
          <a:lstStyle/>
          <a:p>
            <a:endParaRPr lang="en-US" dirty="0"/>
          </a:p>
        </p:txBody>
      </p:sp>
      <p:sp>
        <p:nvSpPr>
          <p:cNvPr id="10" name="Text Placeholder 9">
            <a:extLst>
              <a:ext uri="{FF2B5EF4-FFF2-40B4-BE49-F238E27FC236}">
                <a16:creationId xmlns:a16="http://schemas.microsoft.com/office/drawing/2014/main" id="{7B4780D9-A359-4941-9839-95D95736E729}"/>
              </a:ext>
            </a:extLst>
          </p:cNvPr>
          <p:cNvSpPr>
            <a:spLocks noGrp="1"/>
          </p:cNvSpPr>
          <p:nvPr>
            <p:ph type="body" sz="quarter" idx="31"/>
          </p:nvPr>
        </p:nvSpPr>
        <p:spPr/>
        <p:txBody>
          <a:bodyPr/>
          <a:lstStyle/>
          <a:p>
            <a:endParaRPr lang="en-US" dirty="0"/>
          </a:p>
        </p:txBody>
      </p:sp>
      <p:sp>
        <p:nvSpPr>
          <p:cNvPr id="8" name="Text Placeholder 7">
            <a:extLst>
              <a:ext uri="{FF2B5EF4-FFF2-40B4-BE49-F238E27FC236}">
                <a16:creationId xmlns:a16="http://schemas.microsoft.com/office/drawing/2014/main" id="{1EA6CA26-88A8-B449-A202-2EAD45403084}"/>
              </a:ext>
            </a:extLst>
          </p:cNvPr>
          <p:cNvSpPr>
            <a:spLocks noGrp="1"/>
          </p:cNvSpPr>
          <p:nvPr>
            <p:ph type="body" sz="quarter" idx="27"/>
          </p:nvPr>
        </p:nvSpPr>
        <p:spPr/>
        <p:txBody>
          <a:bodyPr/>
          <a:lstStyle/>
          <a:p>
            <a:endParaRPr lang="en-US"/>
          </a:p>
        </p:txBody>
      </p:sp>
      <p:graphicFrame>
        <p:nvGraphicFramePr>
          <p:cNvPr id="14" name="Content Placeholder 13">
            <a:extLst>
              <a:ext uri="{FF2B5EF4-FFF2-40B4-BE49-F238E27FC236}">
                <a16:creationId xmlns:a16="http://schemas.microsoft.com/office/drawing/2014/main" id="{9A5755E4-E38E-264F-A7CD-F61E28DC3333}"/>
              </a:ext>
            </a:extLst>
          </p:cNvPr>
          <p:cNvGraphicFramePr>
            <a:graphicFrameLocks noGrp="1"/>
          </p:cNvGraphicFramePr>
          <p:nvPr>
            <p:ph sz="quarter" idx="34"/>
            <p:extLst>
              <p:ext uri="{D42A27DB-BD31-4B8C-83A1-F6EECF244321}">
                <p14:modId xmlns:p14="http://schemas.microsoft.com/office/powerpoint/2010/main" val="2883858105"/>
              </p:ext>
            </p:extLst>
          </p:nvPr>
        </p:nvGraphicFramePr>
        <p:xfrm>
          <a:off x="392113" y="1633538"/>
          <a:ext cx="2879725" cy="4592637"/>
        </p:xfrm>
        <a:graphic>
          <a:graphicData uri="http://schemas.openxmlformats.org/drawingml/2006/chart">
            <c:chart xmlns:c="http://schemas.openxmlformats.org/drawingml/2006/chart" xmlns:r="http://schemas.openxmlformats.org/officeDocument/2006/relationships" r:id="rId5"/>
          </a:graphicData>
        </a:graphic>
      </p:graphicFrame>
      <p:sp>
        <p:nvSpPr>
          <p:cNvPr id="11" name="Rectangle 10">
            <a:extLst>
              <a:ext uri="{FF2B5EF4-FFF2-40B4-BE49-F238E27FC236}">
                <a16:creationId xmlns:a16="http://schemas.microsoft.com/office/drawing/2014/main" id="{D6FCAC31-4728-BD41-B437-31B0D013F5C6}"/>
              </a:ext>
            </a:extLst>
          </p:cNvPr>
          <p:cNvSpPr/>
          <p:nvPr/>
        </p:nvSpPr>
        <p:spPr>
          <a:xfrm>
            <a:off x="10660965" y="2607501"/>
            <a:ext cx="1385887" cy="1338828"/>
          </a:xfrm>
          <a:prstGeom prst="rect">
            <a:avLst/>
          </a:prstGeom>
          <a:solidFill>
            <a:schemeClr val="bg2"/>
          </a:solidFill>
        </p:spPr>
        <p:txBody>
          <a:bodyPr wrap="square">
            <a:spAutoFit/>
          </a:bodyPr>
          <a:lstStyle/>
          <a:p>
            <a:pPr>
              <a:spcAft>
                <a:spcPts val="0"/>
              </a:spcAft>
            </a:pPr>
            <a:r>
              <a:rPr lang="en-GB" sz="900" cap="all" baseline="0" dirty="0">
                <a:solidFill>
                  <a:schemeClr val="accent1"/>
                </a:solidFill>
                <a:latin typeface="Roboto Light" panose="02000000000000000000" pitchFamily="2" charset="0"/>
                <a:ea typeface="Roboto Light" panose="02000000000000000000" pitchFamily="2" charset="0"/>
                <a:cs typeface="Arial" panose="020B0604020202020204" pitchFamily="34" charset="0"/>
              </a:rPr>
              <a:t>NO axis lines</a:t>
            </a:r>
          </a:p>
          <a:p>
            <a:pPr marL="90488" indent="-90488">
              <a:spcAft>
                <a:spcPts val="0"/>
              </a:spcAft>
              <a:buFont typeface="Wingdings" pitchFamily="2" charset="2"/>
              <a:buChar char="§"/>
            </a:pPr>
            <a:r>
              <a:rPr lang="en-GB" sz="900" dirty="0">
                <a:latin typeface="Roboto Light" panose="02000000000000000000" pitchFamily="2" charset="0"/>
                <a:ea typeface="Roboto Light" panose="02000000000000000000" pitchFamily="2" charset="0"/>
                <a:cs typeface="Arial" panose="020B0604020202020204" pitchFamily="34" charset="0"/>
              </a:rPr>
              <a:t>Lines 1</a:t>
            </a:r>
            <a:r>
              <a:rPr lang="en-GB" sz="900" baseline="30000" dirty="0">
                <a:latin typeface="Roboto Light" panose="02000000000000000000" pitchFamily="2" charset="0"/>
                <a:ea typeface="Roboto Light" panose="02000000000000000000" pitchFamily="2" charset="0"/>
                <a:cs typeface="Arial" panose="020B0604020202020204" pitchFamily="34" charset="0"/>
              </a:rPr>
              <a:t>1/2</a:t>
            </a:r>
            <a:r>
              <a:rPr lang="en-GB" sz="900" dirty="0">
                <a:latin typeface="Roboto Light" panose="02000000000000000000" pitchFamily="2" charset="0"/>
                <a:ea typeface="Roboto Light" panose="02000000000000000000" pitchFamily="2" charset="0"/>
                <a:cs typeface="Arial" panose="020B0604020202020204" pitchFamily="34" charset="0"/>
              </a:rPr>
              <a:t>pt</a:t>
            </a:r>
          </a:p>
          <a:p>
            <a:pPr marL="90488" indent="-90488">
              <a:spcAft>
                <a:spcPts val="0"/>
              </a:spcAft>
              <a:buFont typeface="Wingdings" pitchFamily="2" charset="2"/>
              <a:buChar char="§"/>
            </a:pPr>
            <a:r>
              <a:rPr lang="en-GB" sz="900" dirty="0">
                <a:latin typeface="Roboto Light" panose="02000000000000000000" pitchFamily="2" charset="0"/>
                <a:ea typeface="Roboto Light" panose="02000000000000000000" pitchFamily="2" charset="0"/>
                <a:cs typeface="Arial" panose="020B0604020202020204" pitchFamily="34" charset="0"/>
              </a:rPr>
              <a:t>All fonts Roboto Light, RGB 102-102-102</a:t>
            </a:r>
          </a:p>
          <a:p>
            <a:pPr marL="90488" indent="-90488">
              <a:spcAft>
                <a:spcPts val="0"/>
              </a:spcAft>
              <a:buFont typeface="Wingdings" pitchFamily="2" charset="2"/>
              <a:buChar char="§"/>
            </a:pPr>
            <a:r>
              <a:rPr lang="en-GB" sz="900" dirty="0">
                <a:solidFill>
                  <a:schemeClr val="tx1"/>
                </a:solidFill>
                <a:latin typeface="Roboto Light" panose="02000000000000000000" pitchFamily="2" charset="0"/>
                <a:ea typeface="Roboto Light" panose="02000000000000000000" pitchFamily="2" charset="0"/>
                <a:cs typeface="Arial" panose="020B0604020202020204" pitchFamily="34" charset="0"/>
              </a:rPr>
              <a:t>Legend on top, unless difficult</a:t>
            </a:r>
          </a:p>
          <a:p>
            <a:pPr marL="90488" indent="-90488">
              <a:spcAft>
                <a:spcPts val="0"/>
              </a:spcAft>
              <a:buFont typeface="Wingdings" pitchFamily="2" charset="2"/>
              <a:buChar char="§"/>
            </a:pPr>
            <a:r>
              <a:rPr lang="en-GB" sz="900" dirty="0">
                <a:latin typeface="Roboto Light" panose="02000000000000000000" pitchFamily="2" charset="0"/>
                <a:ea typeface="Roboto Light" panose="02000000000000000000" pitchFamily="2" charset="0"/>
                <a:cs typeface="Arial" panose="020B0604020202020204" pitchFamily="34" charset="0"/>
              </a:rPr>
              <a:t>Guidelines only when really necessary/ adding value</a:t>
            </a:r>
            <a:endParaRPr lang="en-GB" sz="900" dirty="0">
              <a:solidFill>
                <a:schemeClr val="tx1"/>
              </a:solidFill>
              <a:latin typeface="Roboto Light" panose="02000000000000000000" pitchFamily="2" charset="0"/>
              <a:ea typeface="Roboto Light" panose="02000000000000000000" pitchFamily="2" charset="0"/>
              <a:cs typeface="Arial" panose="020B0604020202020204" pitchFamily="34" charset="0"/>
            </a:endParaRPr>
          </a:p>
        </p:txBody>
      </p:sp>
      <p:graphicFrame>
        <p:nvGraphicFramePr>
          <p:cNvPr id="21" name="Content Placeholder 13">
            <a:extLst>
              <a:ext uri="{FF2B5EF4-FFF2-40B4-BE49-F238E27FC236}">
                <a16:creationId xmlns:a16="http://schemas.microsoft.com/office/drawing/2014/main" id="{47F15F89-7338-C61B-907E-DFCA4252C6A0}"/>
              </a:ext>
            </a:extLst>
          </p:cNvPr>
          <p:cNvGraphicFramePr>
            <a:graphicFrameLocks/>
          </p:cNvGraphicFramePr>
          <p:nvPr>
            <p:extLst>
              <p:ext uri="{D42A27DB-BD31-4B8C-83A1-F6EECF244321}">
                <p14:modId xmlns:p14="http://schemas.microsoft.com/office/powerpoint/2010/main" val="1714756446"/>
              </p:ext>
            </p:extLst>
          </p:nvPr>
        </p:nvGraphicFramePr>
        <p:xfrm>
          <a:off x="3519050" y="1633538"/>
          <a:ext cx="2879725" cy="459263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Content Placeholder 13">
            <a:extLst>
              <a:ext uri="{FF2B5EF4-FFF2-40B4-BE49-F238E27FC236}">
                <a16:creationId xmlns:a16="http://schemas.microsoft.com/office/drawing/2014/main" id="{47783D88-8BF9-7F08-A2CF-6CE9F66E7AA6}"/>
              </a:ext>
            </a:extLst>
          </p:cNvPr>
          <p:cNvGraphicFramePr>
            <a:graphicFrameLocks/>
          </p:cNvGraphicFramePr>
          <p:nvPr>
            <p:extLst>
              <p:ext uri="{D42A27DB-BD31-4B8C-83A1-F6EECF244321}">
                <p14:modId xmlns:p14="http://schemas.microsoft.com/office/powerpoint/2010/main" val="1220467685"/>
              </p:ext>
            </p:extLst>
          </p:nvPr>
        </p:nvGraphicFramePr>
        <p:xfrm>
          <a:off x="6645427" y="1633538"/>
          <a:ext cx="2879725" cy="4592637"/>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1090410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AC92A13-FBA3-AF1F-C3C2-53C3FA9B247E}"/>
              </a:ext>
            </a:extLst>
          </p:cNvPr>
          <p:cNvGraphicFramePr>
            <a:graphicFrameLocks noChangeAspect="1"/>
          </p:cNvGraphicFramePr>
          <p:nvPr>
            <p:custDataLst>
              <p:tags r:id="rId1"/>
            </p:custDataLst>
            <p:extLst>
              <p:ext uri="{D42A27DB-BD31-4B8C-83A1-F6EECF244321}">
                <p14:modId xmlns:p14="http://schemas.microsoft.com/office/powerpoint/2010/main" val="4226636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think-cell data - do not delete" hidden="1">
                        <a:extLst>
                          <a:ext uri="{FF2B5EF4-FFF2-40B4-BE49-F238E27FC236}">
                            <a16:creationId xmlns:a16="http://schemas.microsoft.com/office/drawing/2014/main" id="{6AC92A13-FBA3-AF1F-C3C2-53C3FA9B24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B047785-57C8-8442-ADCB-954F8AAE1179}"/>
              </a:ext>
            </a:extLst>
          </p:cNvPr>
          <p:cNvSpPr>
            <a:spLocks noGrp="1"/>
          </p:cNvSpPr>
          <p:nvPr>
            <p:ph type="body" sz="quarter" idx="10"/>
          </p:nvPr>
        </p:nvSpPr>
        <p:spPr/>
        <p:txBody>
          <a:bodyPr/>
          <a:lstStyle/>
          <a:p>
            <a:endParaRPr lang="en-US" dirty="0"/>
          </a:p>
        </p:txBody>
      </p:sp>
      <p:sp>
        <p:nvSpPr>
          <p:cNvPr id="3" name="Text Placeholder 2">
            <a:extLst>
              <a:ext uri="{FF2B5EF4-FFF2-40B4-BE49-F238E27FC236}">
                <a16:creationId xmlns:a16="http://schemas.microsoft.com/office/drawing/2014/main" id="{0A8CD814-8FD5-0343-AC0C-9CF9B82FFE61}"/>
              </a:ext>
            </a:extLst>
          </p:cNvPr>
          <p:cNvSpPr>
            <a:spLocks noGrp="1"/>
          </p:cNvSpPr>
          <p:nvPr>
            <p:ph type="body" sz="quarter" idx="24"/>
          </p:nvPr>
        </p:nvSpPr>
        <p:spPr/>
        <p:txBody>
          <a:bodyPr/>
          <a:lstStyle/>
          <a:p>
            <a:endParaRPr lang="en-US" dirty="0"/>
          </a:p>
        </p:txBody>
      </p:sp>
      <p:sp>
        <p:nvSpPr>
          <p:cNvPr id="4" name="Title 3">
            <a:extLst>
              <a:ext uri="{FF2B5EF4-FFF2-40B4-BE49-F238E27FC236}">
                <a16:creationId xmlns:a16="http://schemas.microsoft.com/office/drawing/2014/main" id="{865CC974-3D39-314B-9E53-0F00D5A825AA}"/>
              </a:ext>
            </a:extLst>
          </p:cNvPr>
          <p:cNvSpPr>
            <a:spLocks noGrp="1"/>
          </p:cNvSpPr>
          <p:nvPr>
            <p:ph type="title"/>
          </p:nvPr>
        </p:nvSpPr>
        <p:spPr/>
        <p:txBody>
          <a:bodyPr vert="horz"/>
          <a:lstStyle/>
          <a:p>
            <a:r>
              <a:rPr lang="en-US" dirty="0"/>
              <a:t>Charts (x3)</a:t>
            </a:r>
          </a:p>
        </p:txBody>
      </p:sp>
      <p:sp>
        <p:nvSpPr>
          <p:cNvPr id="5" name="Text Placeholder 4">
            <a:extLst>
              <a:ext uri="{FF2B5EF4-FFF2-40B4-BE49-F238E27FC236}">
                <a16:creationId xmlns:a16="http://schemas.microsoft.com/office/drawing/2014/main" id="{578510D4-6380-0E4C-9871-C5C14CC03885}"/>
              </a:ext>
            </a:extLst>
          </p:cNvPr>
          <p:cNvSpPr>
            <a:spLocks noGrp="1"/>
          </p:cNvSpPr>
          <p:nvPr>
            <p:ph type="body" sz="quarter" idx="29"/>
          </p:nvPr>
        </p:nvSpPr>
        <p:spPr/>
        <p:txBody>
          <a:bodyPr/>
          <a:lstStyle/>
          <a:p>
            <a:endParaRPr lang="en-US" dirty="0"/>
          </a:p>
        </p:txBody>
      </p:sp>
      <p:sp>
        <p:nvSpPr>
          <p:cNvPr id="6" name="Text Placeholder 5">
            <a:extLst>
              <a:ext uri="{FF2B5EF4-FFF2-40B4-BE49-F238E27FC236}">
                <a16:creationId xmlns:a16="http://schemas.microsoft.com/office/drawing/2014/main" id="{936C806D-4BFA-4D4D-9E2A-9076EC7D258F}"/>
              </a:ext>
            </a:extLst>
          </p:cNvPr>
          <p:cNvSpPr>
            <a:spLocks noGrp="1"/>
          </p:cNvSpPr>
          <p:nvPr>
            <p:ph type="body" sz="quarter" idx="33"/>
          </p:nvPr>
        </p:nvSpPr>
        <p:spPr/>
        <p:txBody>
          <a:bodyPr/>
          <a:lstStyle/>
          <a:p>
            <a:endParaRPr lang="en-US"/>
          </a:p>
        </p:txBody>
      </p:sp>
      <p:sp>
        <p:nvSpPr>
          <p:cNvPr id="7" name="Text Placeholder 6">
            <a:extLst>
              <a:ext uri="{FF2B5EF4-FFF2-40B4-BE49-F238E27FC236}">
                <a16:creationId xmlns:a16="http://schemas.microsoft.com/office/drawing/2014/main" id="{B97077D0-CCD3-FC45-B3A1-79F7A1D3397E}"/>
              </a:ext>
            </a:extLst>
          </p:cNvPr>
          <p:cNvSpPr>
            <a:spLocks noGrp="1"/>
          </p:cNvSpPr>
          <p:nvPr>
            <p:ph type="body" sz="quarter" idx="27"/>
          </p:nvPr>
        </p:nvSpPr>
        <p:spPr/>
        <p:txBody>
          <a:bodyPr/>
          <a:lstStyle/>
          <a:p>
            <a:endParaRPr lang="en-US"/>
          </a:p>
        </p:txBody>
      </p:sp>
      <p:graphicFrame>
        <p:nvGraphicFramePr>
          <p:cNvPr id="12" name="Content Placeholder 11">
            <a:extLst>
              <a:ext uri="{FF2B5EF4-FFF2-40B4-BE49-F238E27FC236}">
                <a16:creationId xmlns:a16="http://schemas.microsoft.com/office/drawing/2014/main" id="{163FB56A-DCD7-774B-A509-22DFE83B06E6}"/>
              </a:ext>
            </a:extLst>
          </p:cNvPr>
          <p:cNvGraphicFramePr>
            <a:graphicFrameLocks noGrp="1"/>
          </p:cNvGraphicFramePr>
          <p:nvPr>
            <p:ph sz="quarter" idx="31"/>
            <p:extLst>
              <p:ext uri="{D42A27DB-BD31-4B8C-83A1-F6EECF244321}">
                <p14:modId xmlns:p14="http://schemas.microsoft.com/office/powerpoint/2010/main" val="1837195515"/>
              </p:ext>
            </p:extLst>
          </p:nvPr>
        </p:nvGraphicFramePr>
        <p:xfrm>
          <a:off x="392113" y="1633538"/>
          <a:ext cx="4379912" cy="459263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Content Placeholder 12">
            <a:extLst>
              <a:ext uri="{FF2B5EF4-FFF2-40B4-BE49-F238E27FC236}">
                <a16:creationId xmlns:a16="http://schemas.microsoft.com/office/drawing/2014/main" id="{68C8E5E1-A6D1-934E-BD8C-43542740B7C9}"/>
              </a:ext>
            </a:extLst>
          </p:cNvPr>
          <p:cNvGraphicFramePr>
            <a:graphicFrameLocks noGrp="1"/>
          </p:cNvGraphicFramePr>
          <p:nvPr>
            <p:ph sz="quarter" idx="34"/>
            <p:extLst>
              <p:ext uri="{D42A27DB-BD31-4B8C-83A1-F6EECF244321}">
                <p14:modId xmlns:p14="http://schemas.microsoft.com/office/powerpoint/2010/main" val="1142230079"/>
              </p:ext>
            </p:extLst>
          </p:nvPr>
        </p:nvGraphicFramePr>
        <p:xfrm>
          <a:off x="5138738" y="1633538"/>
          <a:ext cx="4379912" cy="207803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ontent Placeholder 13">
            <a:extLst>
              <a:ext uri="{FF2B5EF4-FFF2-40B4-BE49-F238E27FC236}">
                <a16:creationId xmlns:a16="http://schemas.microsoft.com/office/drawing/2014/main" id="{199639A7-8102-2F4C-AA53-FC6F691E1B12}"/>
              </a:ext>
            </a:extLst>
          </p:cNvPr>
          <p:cNvGraphicFramePr>
            <a:graphicFrameLocks noGrp="1"/>
          </p:cNvGraphicFramePr>
          <p:nvPr>
            <p:ph sz="quarter" idx="35"/>
            <p:extLst>
              <p:ext uri="{D42A27DB-BD31-4B8C-83A1-F6EECF244321}">
                <p14:modId xmlns:p14="http://schemas.microsoft.com/office/powerpoint/2010/main" val="2664216805"/>
              </p:ext>
            </p:extLst>
          </p:nvPr>
        </p:nvGraphicFramePr>
        <p:xfrm>
          <a:off x="5138738" y="4071938"/>
          <a:ext cx="4379912" cy="2154237"/>
        </p:xfrm>
        <a:graphic>
          <a:graphicData uri="http://schemas.openxmlformats.org/drawingml/2006/chart">
            <c:chart xmlns:c="http://schemas.openxmlformats.org/drawingml/2006/chart" xmlns:r="http://schemas.openxmlformats.org/officeDocument/2006/relationships" r:id="rId7"/>
          </a:graphicData>
        </a:graphic>
      </p:graphicFrame>
      <p:sp>
        <p:nvSpPr>
          <p:cNvPr id="15" name="Rectangle 14">
            <a:extLst>
              <a:ext uri="{FF2B5EF4-FFF2-40B4-BE49-F238E27FC236}">
                <a16:creationId xmlns:a16="http://schemas.microsoft.com/office/drawing/2014/main" id="{E17BDF90-B312-7F4B-A424-3168DC829188}"/>
              </a:ext>
            </a:extLst>
          </p:cNvPr>
          <p:cNvSpPr/>
          <p:nvPr/>
        </p:nvSpPr>
        <p:spPr>
          <a:xfrm>
            <a:off x="10660965" y="2607501"/>
            <a:ext cx="1385887" cy="784830"/>
          </a:xfrm>
          <a:prstGeom prst="rect">
            <a:avLst/>
          </a:prstGeom>
          <a:solidFill>
            <a:schemeClr val="bg2"/>
          </a:solidFill>
        </p:spPr>
        <p:txBody>
          <a:bodyPr wrap="square">
            <a:spAutoFit/>
          </a:bodyPr>
          <a:lstStyle/>
          <a:p>
            <a:pPr>
              <a:spcAft>
                <a:spcPts val="0"/>
              </a:spcAft>
            </a:pPr>
            <a:r>
              <a:rPr lang="en-GB" sz="900" cap="all" baseline="0" dirty="0">
                <a:solidFill>
                  <a:schemeClr val="accent1"/>
                </a:solidFill>
                <a:latin typeface="Roboto Light" panose="02000000000000000000" pitchFamily="2" charset="0"/>
                <a:ea typeface="Roboto Light" panose="02000000000000000000" pitchFamily="2" charset="0"/>
                <a:cs typeface="Arial" panose="020B0604020202020204" pitchFamily="34" charset="0"/>
              </a:rPr>
              <a:t>NO axis lines</a:t>
            </a:r>
          </a:p>
          <a:p>
            <a:pPr marL="90488" indent="-90488">
              <a:spcAft>
                <a:spcPts val="0"/>
              </a:spcAft>
              <a:buFont typeface="Wingdings" pitchFamily="2" charset="2"/>
              <a:buChar char="§"/>
            </a:pPr>
            <a:r>
              <a:rPr lang="en-GB" sz="900" dirty="0">
                <a:latin typeface="Roboto Light" panose="02000000000000000000" pitchFamily="2" charset="0"/>
                <a:ea typeface="Roboto Light" panose="02000000000000000000" pitchFamily="2" charset="0"/>
                <a:cs typeface="Arial" panose="020B0604020202020204" pitchFamily="34" charset="0"/>
              </a:rPr>
              <a:t>Pies have white 1</a:t>
            </a:r>
            <a:r>
              <a:rPr lang="en-GB" sz="900" baseline="30000" dirty="0">
                <a:latin typeface="Roboto Light" panose="02000000000000000000" pitchFamily="2" charset="0"/>
                <a:ea typeface="Roboto Light" panose="02000000000000000000" pitchFamily="2" charset="0"/>
                <a:cs typeface="Arial" panose="020B0604020202020204" pitchFamily="34" charset="0"/>
              </a:rPr>
              <a:t>1/2</a:t>
            </a:r>
            <a:r>
              <a:rPr lang="en-GB" sz="900" dirty="0">
                <a:latin typeface="Roboto Light" panose="02000000000000000000" pitchFamily="2" charset="0"/>
                <a:ea typeface="Roboto Light" panose="02000000000000000000" pitchFamily="2" charset="0"/>
                <a:cs typeface="Arial" panose="020B0604020202020204" pitchFamily="34" charset="0"/>
              </a:rPr>
              <a:t>pt outlines</a:t>
            </a:r>
          </a:p>
          <a:p>
            <a:pPr marL="90488" indent="-90488">
              <a:spcAft>
                <a:spcPts val="0"/>
              </a:spcAft>
              <a:buFont typeface="Wingdings" pitchFamily="2" charset="2"/>
              <a:buChar char="§"/>
            </a:pPr>
            <a:r>
              <a:rPr lang="en-GB" sz="900" dirty="0">
                <a:solidFill>
                  <a:schemeClr val="tx1"/>
                </a:solidFill>
                <a:latin typeface="Roboto Light" panose="02000000000000000000" pitchFamily="2" charset="0"/>
                <a:ea typeface="Roboto Light" panose="02000000000000000000" pitchFamily="2" charset="0"/>
                <a:cs typeface="Arial" panose="020B0604020202020204" pitchFamily="34" charset="0"/>
              </a:rPr>
              <a:t>Legend separated</a:t>
            </a:r>
          </a:p>
          <a:p>
            <a:pPr marL="90488" indent="-90488">
              <a:spcAft>
                <a:spcPts val="0"/>
              </a:spcAft>
              <a:buFont typeface="Wingdings" pitchFamily="2" charset="2"/>
              <a:buChar char="§"/>
            </a:pPr>
            <a:r>
              <a:rPr lang="en-GB" sz="900" dirty="0">
                <a:latin typeface="Roboto Light" panose="02000000000000000000" pitchFamily="2" charset="0"/>
                <a:ea typeface="Roboto Light" panose="02000000000000000000" pitchFamily="2" charset="0"/>
                <a:cs typeface="Arial" panose="020B0604020202020204" pitchFamily="34" charset="0"/>
              </a:rPr>
              <a:t>Doughnut hole 65% </a:t>
            </a:r>
            <a:endParaRPr lang="en-GB" sz="900" dirty="0">
              <a:solidFill>
                <a:schemeClr val="tx1"/>
              </a:solidFill>
              <a:latin typeface="Roboto Light" panose="02000000000000000000" pitchFamily="2" charset="0"/>
              <a:ea typeface="Roboto Light" panose="02000000000000000000" pitchFamily="2" charset="0"/>
              <a:cs typeface="Arial" panose="020B0604020202020204" pitchFamily="34" charset="0"/>
            </a:endParaRPr>
          </a:p>
        </p:txBody>
      </p:sp>
    </p:spTree>
    <p:extLst>
      <p:ext uri="{BB962C8B-B14F-4D97-AF65-F5344CB8AC3E}">
        <p14:creationId xmlns:p14="http://schemas.microsoft.com/office/powerpoint/2010/main" val="26414516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91662C4-E954-4235-7026-398316B4A0E1}"/>
              </a:ext>
            </a:extLst>
          </p:cNvPr>
          <p:cNvGraphicFramePr>
            <a:graphicFrameLocks noChangeAspect="1"/>
          </p:cNvGraphicFramePr>
          <p:nvPr>
            <p:custDataLst>
              <p:tags r:id="rId1"/>
            </p:custDataLst>
            <p:extLst>
              <p:ext uri="{D42A27DB-BD31-4B8C-83A1-F6EECF244321}">
                <p14:modId xmlns:p14="http://schemas.microsoft.com/office/powerpoint/2010/main" val="1196479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2" name="think-cell data - do not delete" hidden="1">
                        <a:extLst>
                          <a:ext uri="{FF2B5EF4-FFF2-40B4-BE49-F238E27FC236}">
                            <a16:creationId xmlns:a16="http://schemas.microsoft.com/office/drawing/2014/main" id="{B91662C4-E954-4235-7026-398316B4A0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BFA47539-78A7-A926-F486-9DC8811FF5BB}"/>
              </a:ext>
            </a:extLst>
          </p:cNvPr>
          <p:cNvSpPr>
            <a:spLocks noGrp="1"/>
          </p:cNvSpPr>
          <p:nvPr>
            <p:ph type="body" sz="quarter" idx="10"/>
          </p:nvPr>
        </p:nvSpPr>
        <p:spPr/>
        <p:txBody>
          <a:bodyPr/>
          <a:lstStyle/>
          <a:p>
            <a:endParaRPr lang="nl-NL"/>
          </a:p>
        </p:txBody>
      </p:sp>
      <p:sp>
        <p:nvSpPr>
          <p:cNvPr id="3" name="Title 2">
            <a:extLst>
              <a:ext uri="{FF2B5EF4-FFF2-40B4-BE49-F238E27FC236}">
                <a16:creationId xmlns:a16="http://schemas.microsoft.com/office/drawing/2014/main" id="{CCEF14A6-6FCC-42A6-833C-C1307FA22577}"/>
              </a:ext>
            </a:extLst>
          </p:cNvPr>
          <p:cNvSpPr>
            <a:spLocks noGrp="1"/>
          </p:cNvSpPr>
          <p:nvPr>
            <p:ph type="title"/>
          </p:nvPr>
        </p:nvSpPr>
        <p:spPr/>
        <p:txBody>
          <a:bodyPr vert="horz"/>
          <a:lstStyle/>
          <a:p>
            <a:r>
              <a:rPr lang="en-GB" dirty="0"/>
              <a:t>Returns waterfall</a:t>
            </a:r>
            <a:endParaRPr lang="en-US" dirty="0"/>
          </a:p>
        </p:txBody>
      </p:sp>
      <p:sp>
        <p:nvSpPr>
          <p:cNvPr id="4" name="Text Placeholder 3">
            <a:extLst>
              <a:ext uri="{FF2B5EF4-FFF2-40B4-BE49-F238E27FC236}">
                <a16:creationId xmlns:a16="http://schemas.microsoft.com/office/drawing/2014/main" id="{4027E420-B586-3E3F-2786-C46C2CA252CF}"/>
              </a:ext>
            </a:extLst>
          </p:cNvPr>
          <p:cNvSpPr>
            <a:spLocks noGrp="1"/>
          </p:cNvSpPr>
          <p:nvPr>
            <p:ph type="body" sz="quarter" idx="27"/>
          </p:nvPr>
        </p:nvSpPr>
        <p:spPr/>
        <p:txBody>
          <a:bodyPr/>
          <a:lstStyle/>
          <a:p>
            <a:endParaRPr lang="nl-NL"/>
          </a:p>
        </p:txBody>
      </p:sp>
      <p:graphicFrame>
        <p:nvGraphicFramePr>
          <p:cNvPr id="6" name="Content Placeholder 8">
            <a:extLst>
              <a:ext uri="{FF2B5EF4-FFF2-40B4-BE49-F238E27FC236}">
                <a16:creationId xmlns:a16="http://schemas.microsoft.com/office/drawing/2014/main" id="{22945438-15AF-4F00-9651-BAC73D16D005}"/>
              </a:ext>
            </a:extLst>
          </p:cNvPr>
          <p:cNvGraphicFramePr>
            <a:graphicFrameLocks/>
          </p:cNvGraphicFramePr>
          <p:nvPr>
            <p:extLst>
              <p:ext uri="{D42A27DB-BD31-4B8C-83A1-F6EECF244321}">
                <p14:modId xmlns:p14="http://schemas.microsoft.com/office/powerpoint/2010/main" val="4054952595"/>
              </p:ext>
            </p:extLst>
          </p:nvPr>
        </p:nvGraphicFramePr>
        <p:xfrm>
          <a:off x="393700" y="1376363"/>
          <a:ext cx="9131300" cy="4859337"/>
        </p:xfrm>
        <a:graphic>
          <a:graphicData uri="http://schemas.openxmlformats.org/drawingml/2006/chart">
            <c:chart xmlns:c="http://schemas.openxmlformats.org/drawingml/2006/chart" xmlns:r="http://schemas.openxmlformats.org/officeDocument/2006/relationships" r:id="rId5"/>
          </a:graphicData>
        </a:graphic>
      </p:graphicFrame>
      <p:sp>
        <p:nvSpPr>
          <p:cNvPr id="9" name="Speech Bubble: Rectangle 19">
            <a:extLst>
              <a:ext uri="{FF2B5EF4-FFF2-40B4-BE49-F238E27FC236}">
                <a16:creationId xmlns:a16="http://schemas.microsoft.com/office/drawing/2014/main" id="{2127D1AC-E455-FA44-96FA-8FEFE3132EE6}"/>
              </a:ext>
            </a:extLst>
          </p:cNvPr>
          <p:cNvSpPr/>
          <p:nvPr/>
        </p:nvSpPr>
        <p:spPr>
          <a:xfrm>
            <a:off x="2409687" y="2720793"/>
            <a:ext cx="1269877" cy="722832"/>
          </a:xfrm>
          <a:prstGeom prst="wedgeRectCallout">
            <a:avLst>
              <a:gd name="adj1" fmla="val -34601"/>
              <a:gd name="adj2" fmla="val 95869"/>
            </a:avLst>
          </a:prstGeom>
          <a:solidFill>
            <a:schemeClr val="bg2"/>
          </a:solidFill>
          <a:ln w="9525">
            <a:no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800" dirty="0">
                <a:solidFill>
                  <a:schemeClr val="tx1"/>
                </a:solidFill>
                <a:latin typeface="Roboto Light" panose="02000000000000000000" pitchFamily="2" charset="0"/>
                <a:ea typeface="Roboto Light" panose="02000000000000000000" pitchFamily="2" charset="0"/>
                <a:cs typeface="Roboto Light" panose="02000000000000000000" pitchFamily="2" charset="0"/>
              </a:rPr>
              <a:t>Callout</a:t>
            </a:r>
            <a:endParaRPr lang="en-US" sz="80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
        <p:nvSpPr>
          <p:cNvPr id="10" name="Star: 5 Points 39">
            <a:extLst>
              <a:ext uri="{FF2B5EF4-FFF2-40B4-BE49-F238E27FC236}">
                <a16:creationId xmlns:a16="http://schemas.microsoft.com/office/drawing/2014/main" id="{2E529DA7-00F0-FE45-8615-1F6425845CD4}"/>
              </a:ext>
            </a:extLst>
          </p:cNvPr>
          <p:cNvSpPr/>
          <p:nvPr/>
        </p:nvSpPr>
        <p:spPr>
          <a:xfrm>
            <a:off x="2533006" y="4001070"/>
            <a:ext cx="211629" cy="211629"/>
          </a:xfrm>
          <a:prstGeom prst="star5">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000" dirty="0" err="1">
              <a:solidFill>
                <a:schemeClr val="bg1"/>
              </a:solidFill>
              <a:latin typeface="Roboto Light" panose="02000000000000000000" pitchFamily="2" charset="0"/>
              <a:ea typeface="Roboto Light" panose="02000000000000000000" pitchFamily="2" charset="0"/>
              <a:cs typeface="Roboto Light" panose="02000000000000000000" pitchFamily="2" charset="0"/>
            </a:endParaRPr>
          </a:p>
        </p:txBody>
      </p:sp>
      <p:sp>
        <p:nvSpPr>
          <p:cNvPr id="11" name="TextBox 37">
            <a:extLst>
              <a:ext uri="{FF2B5EF4-FFF2-40B4-BE49-F238E27FC236}">
                <a16:creationId xmlns:a16="http://schemas.microsoft.com/office/drawing/2014/main" id="{F7E6E933-DA0B-6242-BB0C-86CF73272E45}"/>
              </a:ext>
            </a:extLst>
          </p:cNvPr>
          <p:cNvSpPr txBox="1"/>
          <p:nvPr/>
        </p:nvSpPr>
        <p:spPr>
          <a:xfrm>
            <a:off x="2409687" y="3836376"/>
            <a:ext cx="458267" cy="20005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fontAlgn="auto">
              <a:lnSpc>
                <a:spcPct val="100000"/>
              </a:lnSpc>
              <a:spcBef>
                <a:spcPts val="300"/>
              </a:spcBef>
              <a:spcAft>
                <a:spcPts val="300"/>
              </a:spcAft>
              <a:buClr>
                <a:schemeClr val="accent1"/>
              </a:buClr>
              <a:buSzPct val="100000"/>
              <a:tabLst/>
              <a:defRPr/>
            </a:pPr>
            <a:r>
              <a:rPr lang="en-GB" sz="700" dirty="0">
                <a:solidFill>
                  <a:schemeClr val="accent6"/>
                </a:solidFill>
                <a:latin typeface="Roboto Medium" pitchFamily="2" charset="0"/>
                <a:ea typeface="Roboto Medium" pitchFamily="2" charset="0"/>
                <a:cs typeface="ROBOTO LIGHT" panose="02000000000000000000" pitchFamily="2" charset="0"/>
              </a:rPr>
              <a:t>2021</a:t>
            </a:r>
          </a:p>
        </p:txBody>
      </p:sp>
    </p:spTree>
    <p:extLst>
      <p:ext uri="{BB962C8B-B14F-4D97-AF65-F5344CB8AC3E}">
        <p14:creationId xmlns:p14="http://schemas.microsoft.com/office/powerpoint/2010/main" val="17384945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28E7A85-2BFB-32C6-1FE7-D5B2162FD5AA}"/>
              </a:ext>
            </a:extLst>
          </p:cNvPr>
          <p:cNvGraphicFramePr>
            <a:graphicFrameLocks noChangeAspect="1"/>
          </p:cNvGraphicFramePr>
          <p:nvPr>
            <p:custDataLst>
              <p:tags r:id="rId1"/>
            </p:custDataLst>
            <p:extLst>
              <p:ext uri="{D42A27DB-BD31-4B8C-83A1-F6EECF244321}">
                <p14:modId xmlns:p14="http://schemas.microsoft.com/office/powerpoint/2010/main" val="1433539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think-cell data - do not delete" hidden="1">
                        <a:extLst>
                          <a:ext uri="{FF2B5EF4-FFF2-40B4-BE49-F238E27FC236}">
                            <a16:creationId xmlns:a16="http://schemas.microsoft.com/office/drawing/2014/main" id="{028E7A85-2BFB-32C6-1FE7-D5B2162FD5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 Placeholder 15">
            <a:extLst>
              <a:ext uri="{FF2B5EF4-FFF2-40B4-BE49-F238E27FC236}">
                <a16:creationId xmlns:a16="http://schemas.microsoft.com/office/drawing/2014/main" id="{4DBBDC25-06CA-6CAE-9DF1-5667DDD9B071}"/>
              </a:ext>
            </a:extLst>
          </p:cNvPr>
          <p:cNvSpPr>
            <a:spLocks noGrp="1"/>
          </p:cNvSpPr>
          <p:nvPr>
            <p:ph type="body" sz="quarter" idx="10"/>
          </p:nvPr>
        </p:nvSpPr>
        <p:spPr/>
        <p:txBody>
          <a:bodyPr/>
          <a:lstStyle/>
          <a:p>
            <a:endParaRPr lang="nl-NL"/>
          </a:p>
        </p:txBody>
      </p:sp>
      <p:sp>
        <p:nvSpPr>
          <p:cNvPr id="3" name="Title 2">
            <a:extLst>
              <a:ext uri="{FF2B5EF4-FFF2-40B4-BE49-F238E27FC236}">
                <a16:creationId xmlns:a16="http://schemas.microsoft.com/office/drawing/2014/main" id="{67E0ED0F-E0F6-4CDB-8330-7F98EF108590}"/>
              </a:ext>
            </a:extLst>
          </p:cNvPr>
          <p:cNvSpPr>
            <a:spLocks noGrp="1"/>
          </p:cNvSpPr>
          <p:nvPr>
            <p:ph type="title"/>
          </p:nvPr>
        </p:nvSpPr>
        <p:spPr/>
        <p:txBody>
          <a:bodyPr vert="horz"/>
          <a:lstStyle/>
          <a:p>
            <a:r>
              <a:rPr lang="en-US" dirty="0"/>
              <a:t>Football field</a:t>
            </a:r>
          </a:p>
        </p:txBody>
      </p:sp>
      <p:sp>
        <p:nvSpPr>
          <p:cNvPr id="17" name="Text Placeholder 16">
            <a:extLst>
              <a:ext uri="{FF2B5EF4-FFF2-40B4-BE49-F238E27FC236}">
                <a16:creationId xmlns:a16="http://schemas.microsoft.com/office/drawing/2014/main" id="{D7104293-EE68-2CA3-161F-0AF0E2B7DB24}"/>
              </a:ext>
            </a:extLst>
          </p:cNvPr>
          <p:cNvSpPr>
            <a:spLocks noGrp="1"/>
          </p:cNvSpPr>
          <p:nvPr>
            <p:ph type="body" sz="quarter" idx="27"/>
          </p:nvPr>
        </p:nvSpPr>
        <p:spPr/>
        <p:txBody>
          <a:bodyPr/>
          <a:lstStyle/>
          <a:p>
            <a:endParaRPr lang="nl-NL"/>
          </a:p>
        </p:txBody>
      </p:sp>
      <p:graphicFrame>
        <p:nvGraphicFramePr>
          <p:cNvPr id="6" name="Content Placeholder 7">
            <a:extLst>
              <a:ext uri="{FF2B5EF4-FFF2-40B4-BE49-F238E27FC236}">
                <a16:creationId xmlns:a16="http://schemas.microsoft.com/office/drawing/2014/main" id="{9FB11CAC-CC66-4EBC-AFC7-8F092FD13C3D}"/>
              </a:ext>
            </a:extLst>
          </p:cNvPr>
          <p:cNvGraphicFramePr>
            <a:graphicFrameLocks/>
          </p:cNvGraphicFramePr>
          <p:nvPr>
            <p:extLst>
              <p:ext uri="{D42A27DB-BD31-4B8C-83A1-F6EECF244321}">
                <p14:modId xmlns:p14="http://schemas.microsoft.com/office/powerpoint/2010/main" val="4004037869"/>
              </p:ext>
            </p:extLst>
          </p:nvPr>
        </p:nvGraphicFramePr>
        <p:xfrm>
          <a:off x="2400855" y="1854926"/>
          <a:ext cx="3788228" cy="438077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Tableau 19">
            <a:extLst>
              <a:ext uri="{FF2B5EF4-FFF2-40B4-BE49-F238E27FC236}">
                <a16:creationId xmlns:a16="http://schemas.microsoft.com/office/drawing/2014/main" id="{C80699F5-BD0D-42D5-9C85-A821F2922EFD}"/>
              </a:ext>
            </a:extLst>
          </p:cNvPr>
          <p:cNvGraphicFramePr>
            <a:graphicFrameLocks noGrp="1"/>
          </p:cNvGraphicFramePr>
          <p:nvPr>
            <p:extLst>
              <p:ext uri="{D42A27DB-BD31-4B8C-83A1-F6EECF244321}">
                <p14:modId xmlns:p14="http://schemas.microsoft.com/office/powerpoint/2010/main" val="2223645779"/>
              </p:ext>
            </p:extLst>
          </p:nvPr>
        </p:nvGraphicFramePr>
        <p:xfrm>
          <a:off x="516224" y="1650958"/>
          <a:ext cx="1972203" cy="4443327"/>
        </p:xfrm>
        <a:graphic>
          <a:graphicData uri="http://schemas.openxmlformats.org/drawingml/2006/table">
            <a:tbl>
              <a:tblPr firstRow="1" bandRow="1">
                <a:tableStyleId>{5C22544A-7EE6-4342-B048-85BDC9FD1C3A}</a:tableStyleId>
              </a:tblPr>
              <a:tblGrid>
                <a:gridCol w="824607">
                  <a:extLst>
                    <a:ext uri="{9D8B030D-6E8A-4147-A177-3AD203B41FA5}">
                      <a16:colId xmlns:a16="http://schemas.microsoft.com/office/drawing/2014/main" val="20000"/>
                    </a:ext>
                  </a:extLst>
                </a:gridCol>
                <a:gridCol w="1147596">
                  <a:extLst>
                    <a:ext uri="{9D8B030D-6E8A-4147-A177-3AD203B41FA5}">
                      <a16:colId xmlns:a16="http://schemas.microsoft.com/office/drawing/2014/main" val="20001"/>
                    </a:ext>
                  </a:extLst>
                </a:gridCol>
              </a:tblGrid>
              <a:tr h="431563">
                <a:tc>
                  <a:txBody>
                    <a:bodyPr/>
                    <a:lstStyle/>
                    <a:p>
                      <a:pPr algn="ctr"/>
                      <a:endParaRPr lang="en-GB" sz="800" b="0" i="0" u="sng" dirty="0">
                        <a:solidFill>
                          <a:schemeClr val="tx1"/>
                        </a:solidFill>
                        <a:latin typeface="Roboto Medium" pitchFamily="2" charset="0"/>
                        <a:ea typeface="Roboto Medium" pitchFamily="2" charset="0"/>
                        <a:cs typeface="Roboto Light" panose="02000000000000000000" pitchFamily="2" charset="0"/>
                      </a:endParaRPr>
                    </a:p>
                  </a:txBody>
                  <a:tcPr marL="99060" marR="99060">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800" b="0" i="0" u="none" dirty="0">
                          <a:solidFill>
                            <a:schemeClr val="tx1"/>
                          </a:solidFill>
                          <a:latin typeface="Roboto Medium" pitchFamily="2" charset="0"/>
                          <a:ea typeface="Roboto Medium" pitchFamily="2" charset="0"/>
                          <a:cs typeface="Roboto Light" panose="02000000000000000000" pitchFamily="2" charset="0"/>
                        </a:rPr>
                        <a:t>Lower</a:t>
                      </a:r>
                      <a:r>
                        <a:rPr lang="en-GB" sz="800" b="0" i="0" u="none" baseline="0" dirty="0">
                          <a:solidFill>
                            <a:schemeClr val="tx1"/>
                          </a:solidFill>
                          <a:latin typeface="Roboto Medium" pitchFamily="2" charset="0"/>
                          <a:ea typeface="Roboto Medium" pitchFamily="2" charset="0"/>
                          <a:cs typeface="Roboto Light" panose="02000000000000000000" pitchFamily="2" charset="0"/>
                        </a:rPr>
                        <a:t> </a:t>
                      </a:r>
                      <a:r>
                        <a:rPr lang="en-GB" sz="800" b="0" i="0" u="none" dirty="0">
                          <a:solidFill>
                            <a:schemeClr val="tx1"/>
                          </a:solidFill>
                          <a:latin typeface="Roboto Medium" pitchFamily="2" charset="0"/>
                          <a:ea typeface="Roboto Medium" pitchFamily="2" charset="0"/>
                          <a:cs typeface="Roboto Light" panose="02000000000000000000" pitchFamily="2" charset="0"/>
                        </a:rPr>
                        <a:t>range</a:t>
                      </a:r>
                      <a:endParaRPr lang="en-GB" sz="800" b="0" i="0" u="none" baseline="0" dirty="0">
                        <a:solidFill>
                          <a:schemeClr val="tx1"/>
                        </a:solidFill>
                        <a:latin typeface="Roboto Medium" pitchFamily="2" charset="0"/>
                        <a:ea typeface="Roboto Medium" pitchFamily="2" charset="0"/>
                        <a:cs typeface="Roboto Light" panose="02000000000000000000" pitchFamily="2" charset="0"/>
                      </a:endParaRPr>
                    </a:p>
                  </a:txBody>
                  <a:tcPr marL="99060" marR="99060">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000034">
                <a:tc>
                  <a:txBody>
                    <a:bodyPr/>
                    <a:lstStyle/>
                    <a:p>
                      <a:pPr algn="l" fontAlgn="b"/>
                      <a:r>
                        <a:rPr lang="en-GB" sz="800" b="0" i="0" u="none" strike="noStrike" dirty="0">
                          <a:solidFill>
                            <a:srgbClr val="000000"/>
                          </a:solidFill>
                          <a:effectLst/>
                          <a:latin typeface="Roboto Light" panose="02000000000000000000" pitchFamily="2" charset="0"/>
                          <a:ea typeface="Roboto Light" panose="02000000000000000000" pitchFamily="2" charset="0"/>
                          <a:cs typeface="Roboto Light" panose="02000000000000000000" pitchFamily="2" charset="0"/>
                        </a:rPr>
                        <a:t>P / NPV</a:t>
                      </a: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indent="0" algn="ctr">
                        <a:buClr>
                          <a:srgbClr val="17375E"/>
                        </a:buClr>
                        <a:buSzPct val="75000"/>
                        <a:buFont typeface="Arial" panose="020B0604020202020204" pitchFamily="34" charset="0"/>
                        <a:buNone/>
                      </a:pPr>
                      <a:r>
                        <a:rPr lang="en-GB" sz="800" b="0" i="0" dirty="0">
                          <a:solidFill>
                            <a:schemeClr val="tx1"/>
                          </a:solidFill>
                          <a:latin typeface="Roboto Light" panose="02000000000000000000" pitchFamily="2" charset="0"/>
                          <a:ea typeface="Roboto Light" panose="02000000000000000000" pitchFamily="2" charset="0"/>
                          <a:cs typeface="Roboto Light" panose="02000000000000000000" pitchFamily="2" charset="0"/>
                        </a:rPr>
                        <a:t>0.25x</a:t>
                      </a:r>
                    </a:p>
                  </a:txBody>
                  <a:tcPr marL="99060" marR="9906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005848">
                <a:tc>
                  <a:txBody>
                    <a:bodyPr/>
                    <a:lstStyle/>
                    <a:p>
                      <a:pPr algn="l" fontAlgn="b"/>
                      <a:r>
                        <a:rPr lang="en-GB" sz="800" b="0" i="0" u="none" strike="noStrike" dirty="0">
                          <a:solidFill>
                            <a:srgbClr val="000000"/>
                          </a:solidFill>
                          <a:effectLst/>
                          <a:latin typeface="Roboto Light" panose="02000000000000000000" pitchFamily="2" charset="0"/>
                          <a:ea typeface="Roboto Light" panose="02000000000000000000" pitchFamily="2" charset="0"/>
                          <a:cs typeface="Roboto Light" panose="02000000000000000000" pitchFamily="2" charset="0"/>
                        </a:rPr>
                        <a:t>P / NPV</a:t>
                      </a: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indent="0" algn="ctr">
                        <a:buClr>
                          <a:srgbClr val="17375E"/>
                        </a:buClr>
                        <a:buSzPct val="75000"/>
                        <a:buFont typeface="Arial" panose="020B0604020202020204" pitchFamily="34" charset="0"/>
                        <a:buNone/>
                      </a:pPr>
                      <a:r>
                        <a:rPr lang="en-GB" sz="800" b="0" i="0" dirty="0">
                          <a:solidFill>
                            <a:schemeClr val="tx1"/>
                          </a:solidFill>
                          <a:latin typeface="Roboto Light" panose="02000000000000000000" pitchFamily="2" charset="0"/>
                          <a:ea typeface="Roboto Light" panose="02000000000000000000" pitchFamily="2" charset="0"/>
                          <a:cs typeface="Roboto Light" panose="02000000000000000000" pitchFamily="2" charset="0"/>
                        </a:rPr>
                        <a:t>0.25x</a:t>
                      </a:r>
                    </a:p>
                  </a:txBody>
                  <a:tcPr marL="99060" marR="9906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005848">
                <a:tc>
                  <a:txBody>
                    <a:bodyPr/>
                    <a:lstStyle/>
                    <a:p>
                      <a:pPr algn="l" fontAlgn="b"/>
                      <a:r>
                        <a:rPr lang="en-GB" sz="800" b="0" i="0" u="none" strike="noStrike" dirty="0">
                          <a:solidFill>
                            <a:srgbClr val="000000"/>
                          </a:solidFill>
                          <a:effectLst/>
                          <a:latin typeface="Roboto Light" panose="02000000000000000000" pitchFamily="2" charset="0"/>
                          <a:ea typeface="Roboto Light" panose="02000000000000000000" pitchFamily="2" charset="0"/>
                          <a:cs typeface="Roboto Light" panose="02000000000000000000" pitchFamily="2" charset="0"/>
                        </a:rPr>
                        <a:t>P / NPV</a:t>
                      </a: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800069" rtl="0" eaLnBrk="1" fontAlgn="auto" latinLnBrk="0" hangingPunct="1">
                        <a:lnSpc>
                          <a:spcPct val="100000"/>
                        </a:lnSpc>
                        <a:spcBef>
                          <a:spcPts val="0"/>
                        </a:spcBef>
                        <a:spcAft>
                          <a:spcPts val="0"/>
                        </a:spcAft>
                        <a:buClr>
                          <a:srgbClr val="17375E"/>
                        </a:buClr>
                        <a:buSzPct val="75000"/>
                        <a:buFont typeface="Arial" panose="020B0604020202020204" pitchFamily="34" charset="0"/>
                        <a:buNone/>
                        <a:tabLst/>
                        <a:defRPr/>
                      </a:pPr>
                      <a:r>
                        <a:rPr lang="en-GB" sz="800" b="0" i="0" dirty="0">
                          <a:solidFill>
                            <a:schemeClr val="tx1"/>
                          </a:solidFill>
                          <a:latin typeface="Roboto Light" panose="02000000000000000000" pitchFamily="2" charset="0"/>
                          <a:ea typeface="Roboto Light" panose="02000000000000000000" pitchFamily="2" charset="0"/>
                          <a:cs typeface="Roboto Light" panose="02000000000000000000" pitchFamily="2" charset="0"/>
                        </a:rPr>
                        <a:t>0.25x</a:t>
                      </a:r>
                    </a:p>
                  </a:txBody>
                  <a:tcPr marL="99060" marR="9906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000034">
                <a:tc>
                  <a:txBody>
                    <a:bodyPr/>
                    <a:lstStyle/>
                    <a:p>
                      <a:pPr algn="l" fontAlgn="b"/>
                      <a:r>
                        <a:rPr lang="en-GB" sz="800" b="0" i="0" u="none" strike="noStrike" dirty="0">
                          <a:solidFill>
                            <a:srgbClr val="000000"/>
                          </a:solidFill>
                          <a:effectLst/>
                          <a:latin typeface="Roboto Light" panose="02000000000000000000" pitchFamily="2" charset="0"/>
                          <a:ea typeface="Roboto Light" panose="02000000000000000000" pitchFamily="2" charset="0"/>
                          <a:cs typeface="Roboto Light" panose="02000000000000000000" pitchFamily="2" charset="0"/>
                        </a:rPr>
                        <a:t>P / NPV</a:t>
                      </a:r>
                    </a:p>
                  </a:txBody>
                  <a:tcPr marL="0" marR="0" marT="0" marB="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indent="0" algn="ctr">
                        <a:buClr>
                          <a:srgbClr val="17375E"/>
                        </a:buClr>
                        <a:buSzPct val="75000"/>
                        <a:buFont typeface="Arial" panose="020B0604020202020204" pitchFamily="34" charset="0"/>
                        <a:buNone/>
                      </a:pPr>
                      <a:r>
                        <a:rPr lang="en-GB" sz="800" b="0" i="0" dirty="0">
                          <a:solidFill>
                            <a:schemeClr val="tx1"/>
                          </a:solidFill>
                          <a:latin typeface="Roboto Light" panose="02000000000000000000" pitchFamily="2" charset="0"/>
                          <a:ea typeface="Roboto Light" panose="02000000000000000000" pitchFamily="2" charset="0"/>
                          <a:cs typeface="Roboto Light" panose="02000000000000000000" pitchFamily="2" charset="0"/>
                        </a:rPr>
                        <a:t>0.25x</a:t>
                      </a:r>
                    </a:p>
                  </a:txBody>
                  <a:tcPr marL="99060" marR="9906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aphicFrame>
        <p:nvGraphicFramePr>
          <p:cNvPr id="8" name="Tableau 19">
            <a:extLst>
              <a:ext uri="{FF2B5EF4-FFF2-40B4-BE49-F238E27FC236}">
                <a16:creationId xmlns:a16="http://schemas.microsoft.com/office/drawing/2014/main" id="{A31DEA60-CF44-4D6A-BF93-F74558BE3B48}"/>
              </a:ext>
            </a:extLst>
          </p:cNvPr>
          <p:cNvGraphicFramePr>
            <a:graphicFrameLocks noGrp="1"/>
          </p:cNvGraphicFramePr>
          <p:nvPr>
            <p:extLst>
              <p:ext uri="{D42A27DB-BD31-4B8C-83A1-F6EECF244321}">
                <p14:modId xmlns:p14="http://schemas.microsoft.com/office/powerpoint/2010/main" val="797881290"/>
              </p:ext>
            </p:extLst>
          </p:nvPr>
        </p:nvGraphicFramePr>
        <p:xfrm>
          <a:off x="6189083" y="1631825"/>
          <a:ext cx="3291347" cy="4462459"/>
        </p:xfrm>
        <a:graphic>
          <a:graphicData uri="http://schemas.openxmlformats.org/drawingml/2006/table">
            <a:tbl>
              <a:tblPr firstRow="1" bandRow="1">
                <a:tableStyleId>{5C22544A-7EE6-4342-B048-85BDC9FD1C3A}</a:tableStyleId>
              </a:tblPr>
              <a:tblGrid>
                <a:gridCol w="896983">
                  <a:extLst>
                    <a:ext uri="{9D8B030D-6E8A-4147-A177-3AD203B41FA5}">
                      <a16:colId xmlns:a16="http://schemas.microsoft.com/office/drawing/2014/main" val="20000"/>
                    </a:ext>
                  </a:extLst>
                </a:gridCol>
                <a:gridCol w="2394364">
                  <a:extLst>
                    <a:ext uri="{9D8B030D-6E8A-4147-A177-3AD203B41FA5}">
                      <a16:colId xmlns:a16="http://schemas.microsoft.com/office/drawing/2014/main" val="20001"/>
                    </a:ext>
                  </a:extLst>
                </a:gridCol>
              </a:tblGrid>
              <a:tr h="465109">
                <a:tc>
                  <a:txBody>
                    <a:bodyPr/>
                    <a:lstStyle/>
                    <a:p>
                      <a:pPr algn="ctr"/>
                      <a:r>
                        <a:rPr lang="en-GB" sz="800" b="0" i="0" u="none" dirty="0">
                          <a:solidFill>
                            <a:schemeClr val="tx1"/>
                          </a:solidFill>
                          <a:latin typeface="Roboto Medium" pitchFamily="2" charset="0"/>
                          <a:ea typeface="Roboto Medium" pitchFamily="2" charset="0"/>
                          <a:cs typeface="Roboto Light" panose="02000000000000000000" pitchFamily="2" charset="0"/>
                        </a:rPr>
                        <a:t>Upper Range</a:t>
                      </a:r>
                    </a:p>
                  </a:txBody>
                  <a:tcPr marL="72000" marR="0">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algn="l"/>
                      <a:r>
                        <a:rPr lang="en-GB" sz="800" b="0" i="0" u="none" dirty="0">
                          <a:solidFill>
                            <a:schemeClr val="tx1"/>
                          </a:solidFill>
                          <a:latin typeface="Roboto Medium" pitchFamily="2" charset="0"/>
                          <a:ea typeface="Roboto Medium" pitchFamily="2" charset="0"/>
                          <a:cs typeface="Roboto Light" panose="02000000000000000000" pitchFamily="2" charset="0"/>
                        </a:rPr>
                        <a:t>Comments</a:t>
                      </a:r>
                      <a:endParaRPr lang="en-GB" sz="800" b="0" i="0" u="none" baseline="0" dirty="0">
                        <a:solidFill>
                          <a:schemeClr val="tx1"/>
                        </a:solidFill>
                        <a:latin typeface="Roboto Medium" pitchFamily="2" charset="0"/>
                        <a:ea typeface="Roboto Medium" pitchFamily="2" charset="0"/>
                        <a:cs typeface="Roboto Light" panose="02000000000000000000" pitchFamily="2" charset="0"/>
                      </a:endParaRPr>
                    </a:p>
                  </a:txBody>
                  <a:tcPr marL="72000" marR="99060">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96441">
                <a:tc>
                  <a:txBody>
                    <a:bodyPr/>
                    <a:lstStyle/>
                    <a:p>
                      <a:pPr marL="0" indent="0" algn="ctr">
                        <a:buClr>
                          <a:srgbClr val="17375E"/>
                        </a:buClr>
                        <a:buSzPct val="75000"/>
                        <a:buFont typeface="Arial" panose="020B0604020202020204" pitchFamily="34" charset="0"/>
                        <a:buNone/>
                      </a:pPr>
                      <a:r>
                        <a:rPr lang="en-GB" sz="800" b="0" i="0" dirty="0">
                          <a:solidFill>
                            <a:schemeClr val="tx1"/>
                          </a:solidFill>
                          <a:latin typeface="Roboto Light" panose="02000000000000000000" pitchFamily="2" charset="0"/>
                          <a:ea typeface="Roboto Light" panose="02000000000000000000" pitchFamily="2" charset="0"/>
                          <a:cs typeface="Roboto Light" panose="02000000000000000000" pitchFamily="2" charset="0"/>
                        </a:rPr>
                        <a:t>0.25x</a:t>
                      </a:r>
                    </a:p>
                  </a:txBody>
                  <a:tcPr marL="72000" marR="9906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rgbClr val="17375E"/>
                        </a:buClr>
                        <a:buSzPct val="75000"/>
                        <a:buFont typeface="Arial" panose="020B0604020202020204" pitchFamily="34" charset="0"/>
                        <a:buNone/>
                      </a:pPr>
                      <a:r>
                        <a:rPr lang="en-GB" sz="800" b="0" i="0" dirty="0">
                          <a:solidFill>
                            <a:schemeClr val="tx1"/>
                          </a:solidFill>
                          <a:latin typeface="Roboto Light" panose="02000000000000000000" pitchFamily="2" charset="0"/>
                          <a:ea typeface="Roboto Light" panose="02000000000000000000" pitchFamily="2" charset="0"/>
                          <a:cs typeface="Roboto Light" panose="02000000000000000000" pitchFamily="2" charset="0"/>
                        </a:rPr>
                        <a:t>[COMMENTS]</a:t>
                      </a:r>
                    </a:p>
                  </a:txBody>
                  <a:tcPr marL="72000" marR="9906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002234">
                <a:tc>
                  <a:txBody>
                    <a:bodyPr/>
                    <a:lstStyle/>
                    <a:p>
                      <a:pPr marL="0" indent="0" algn="ctr">
                        <a:buClr>
                          <a:srgbClr val="17375E"/>
                        </a:buClr>
                        <a:buSzPct val="75000"/>
                        <a:buFont typeface="Arial" panose="020B0604020202020204" pitchFamily="34" charset="0"/>
                        <a:buNone/>
                      </a:pPr>
                      <a:r>
                        <a:rPr lang="en-GB" sz="800" b="0" i="0" dirty="0">
                          <a:solidFill>
                            <a:schemeClr val="tx1"/>
                          </a:solidFill>
                          <a:latin typeface="Roboto Light" panose="02000000000000000000" pitchFamily="2" charset="0"/>
                          <a:ea typeface="Roboto Light" panose="02000000000000000000" pitchFamily="2" charset="0"/>
                          <a:cs typeface="Roboto Light" panose="02000000000000000000" pitchFamily="2" charset="0"/>
                        </a:rPr>
                        <a:t>0.25x</a:t>
                      </a:r>
                    </a:p>
                  </a:txBody>
                  <a:tcPr marL="72000" marR="9906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rgbClr val="17375E"/>
                        </a:buClr>
                        <a:buSzPct val="75000"/>
                        <a:buFont typeface="Arial" panose="020B0604020202020204" pitchFamily="34" charset="0"/>
                        <a:buNone/>
                      </a:pPr>
                      <a:r>
                        <a:rPr lang="en-GB" sz="800" b="0" i="0" dirty="0">
                          <a:solidFill>
                            <a:schemeClr val="tx1"/>
                          </a:solidFill>
                          <a:latin typeface="Roboto Light" panose="02000000000000000000" pitchFamily="2" charset="0"/>
                          <a:ea typeface="Roboto Light" panose="02000000000000000000" pitchFamily="2" charset="0"/>
                          <a:cs typeface="Roboto Light" panose="02000000000000000000" pitchFamily="2" charset="0"/>
                        </a:rPr>
                        <a:t>[COMMENTS]</a:t>
                      </a:r>
                    </a:p>
                  </a:txBody>
                  <a:tcPr marL="72000" marR="9906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002234">
                <a:tc>
                  <a:txBody>
                    <a:bodyPr/>
                    <a:lstStyle/>
                    <a:p>
                      <a:pPr marL="0" marR="0" indent="0" algn="ctr" defTabSz="800069" rtl="0" eaLnBrk="1" fontAlgn="auto" latinLnBrk="0" hangingPunct="1">
                        <a:lnSpc>
                          <a:spcPct val="100000"/>
                        </a:lnSpc>
                        <a:spcBef>
                          <a:spcPts val="0"/>
                        </a:spcBef>
                        <a:spcAft>
                          <a:spcPts val="0"/>
                        </a:spcAft>
                        <a:buClr>
                          <a:srgbClr val="17375E"/>
                        </a:buClr>
                        <a:buSzPct val="75000"/>
                        <a:buFont typeface="Arial" panose="020B0604020202020204" pitchFamily="34" charset="0"/>
                        <a:buNone/>
                        <a:tabLst/>
                        <a:defRPr/>
                      </a:pPr>
                      <a:r>
                        <a:rPr lang="en-GB" sz="800" b="0" i="0" dirty="0">
                          <a:solidFill>
                            <a:schemeClr val="tx1"/>
                          </a:solidFill>
                          <a:latin typeface="Roboto Light" panose="02000000000000000000" pitchFamily="2" charset="0"/>
                          <a:ea typeface="Roboto Light" panose="02000000000000000000" pitchFamily="2" charset="0"/>
                          <a:cs typeface="Roboto Light" panose="02000000000000000000" pitchFamily="2" charset="0"/>
                        </a:rPr>
                        <a:t>0.25x</a:t>
                      </a:r>
                    </a:p>
                  </a:txBody>
                  <a:tcPr marL="72000" marR="9906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rgbClr val="17375E"/>
                        </a:buClr>
                        <a:buSzPct val="75000"/>
                        <a:buFont typeface="Arial" panose="020B0604020202020204" pitchFamily="34" charset="0"/>
                        <a:buNone/>
                      </a:pPr>
                      <a:r>
                        <a:rPr lang="en-GB" sz="800" b="0" i="0" dirty="0">
                          <a:solidFill>
                            <a:schemeClr val="tx1"/>
                          </a:solidFill>
                          <a:latin typeface="Roboto Light" panose="02000000000000000000" pitchFamily="2" charset="0"/>
                          <a:ea typeface="Roboto Light" panose="02000000000000000000" pitchFamily="2" charset="0"/>
                          <a:cs typeface="Roboto Light" panose="02000000000000000000" pitchFamily="2" charset="0"/>
                        </a:rPr>
                        <a:t>[COMMENTS]</a:t>
                      </a:r>
                    </a:p>
                  </a:txBody>
                  <a:tcPr marL="72000" marR="9906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996441">
                <a:tc>
                  <a:txBody>
                    <a:bodyPr/>
                    <a:lstStyle/>
                    <a:p>
                      <a:pPr marL="0" indent="0" algn="ctr">
                        <a:buClr>
                          <a:srgbClr val="17375E"/>
                        </a:buClr>
                        <a:buSzPct val="75000"/>
                        <a:buFont typeface="Arial" panose="020B0604020202020204" pitchFamily="34" charset="0"/>
                        <a:buNone/>
                      </a:pPr>
                      <a:r>
                        <a:rPr lang="en-GB" sz="800" b="0" i="0" dirty="0">
                          <a:solidFill>
                            <a:schemeClr val="tx1"/>
                          </a:solidFill>
                          <a:latin typeface="Roboto Light" panose="02000000000000000000" pitchFamily="2" charset="0"/>
                          <a:ea typeface="Roboto Light" panose="02000000000000000000" pitchFamily="2" charset="0"/>
                          <a:cs typeface="Roboto Light" panose="02000000000000000000" pitchFamily="2" charset="0"/>
                        </a:rPr>
                        <a:t>0.25x</a:t>
                      </a:r>
                    </a:p>
                  </a:txBody>
                  <a:tcPr marL="72000" marR="9906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indent="0" algn="l">
                        <a:buClr>
                          <a:srgbClr val="17375E"/>
                        </a:buClr>
                        <a:buSzPct val="75000"/>
                        <a:buFont typeface="Arial" panose="020B0604020202020204" pitchFamily="34" charset="0"/>
                        <a:buNone/>
                      </a:pPr>
                      <a:r>
                        <a:rPr lang="en-GB" sz="800" b="0" i="0" dirty="0">
                          <a:solidFill>
                            <a:schemeClr val="tx1"/>
                          </a:solidFill>
                          <a:latin typeface="Roboto Light" panose="02000000000000000000" pitchFamily="2" charset="0"/>
                          <a:ea typeface="Roboto Light" panose="02000000000000000000" pitchFamily="2" charset="0"/>
                          <a:cs typeface="Roboto Light" panose="02000000000000000000" pitchFamily="2" charset="0"/>
                        </a:rPr>
                        <a:t>[COMMENTS]</a:t>
                      </a:r>
                    </a:p>
                  </a:txBody>
                  <a:tcPr marL="72000" marR="99060"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9" name="TextBox 8">
            <a:extLst>
              <a:ext uri="{FF2B5EF4-FFF2-40B4-BE49-F238E27FC236}">
                <a16:creationId xmlns:a16="http://schemas.microsoft.com/office/drawing/2014/main" id="{08E9BF08-1151-4CA1-B699-DAB584B67E27}"/>
              </a:ext>
            </a:extLst>
          </p:cNvPr>
          <p:cNvSpPr txBox="1"/>
          <p:nvPr/>
        </p:nvSpPr>
        <p:spPr>
          <a:xfrm>
            <a:off x="3193334" y="1670326"/>
            <a:ext cx="1994264" cy="184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GB" sz="800" dirty="0">
                <a:solidFill>
                  <a:schemeClr val="tx1"/>
                </a:solidFill>
                <a:latin typeface="Roboto Medium" pitchFamily="2" charset="0"/>
                <a:ea typeface="Roboto Medium" pitchFamily="2" charset="0"/>
                <a:cs typeface="ROBOTO LIGHT" panose="02000000000000000000" pitchFamily="2" charset="0"/>
              </a:rPr>
              <a:t>Appian pre-money valuation [$</a:t>
            </a:r>
            <a:r>
              <a:rPr lang="en-GB" sz="800" dirty="0" err="1">
                <a:solidFill>
                  <a:schemeClr val="tx1"/>
                </a:solidFill>
                <a:latin typeface="Roboto Medium" pitchFamily="2" charset="0"/>
                <a:ea typeface="Roboto Medium" pitchFamily="2" charset="0"/>
                <a:cs typeface="ROBOTO LIGHT" panose="02000000000000000000" pitchFamily="2" charset="0"/>
              </a:rPr>
              <a:t>XX.Xm</a:t>
            </a:r>
            <a:r>
              <a:rPr lang="en-GB" sz="800" dirty="0">
                <a:solidFill>
                  <a:schemeClr val="tx1"/>
                </a:solidFill>
                <a:latin typeface="Roboto Medium" pitchFamily="2" charset="0"/>
                <a:ea typeface="Roboto Medium" pitchFamily="2" charset="0"/>
                <a:cs typeface="ROBOTO LIGHT" panose="02000000000000000000" pitchFamily="2" charset="0"/>
              </a:rPr>
              <a:t>]</a:t>
            </a:r>
          </a:p>
        </p:txBody>
      </p:sp>
      <p:cxnSp>
        <p:nvCxnSpPr>
          <p:cNvPr id="10" name="Straight Connector 9">
            <a:extLst>
              <a:ext uri="{FF2B5EF4-FFF2-40B4-BE49-F238E27FC236}">
                <a16:creationId xmlns:a16="http://schemas.microsoft.com/office/drawing/2014/main" id="{1E3F8F26-C843-4097-A49E-88E96E2EB582}"/>
              </a:ext>
            </a:extLst>
          </p:cNvPr>
          <p:cNvCxnSpPr/>
          <p:nvPr/>
        </p:nvCxnSpPr>
        <p:spPr>
          <a:xfrm>
            <a:off x="3933563" y="2107474"/>
            <a:ext cx="0" cy="3986810"/>
          </a:xfrm>
          <a:prstGeom prst="line">
            <a:avLst/>
          </a:prstGeom>
          <a:ln w="19050">
            <a:solidFill>
              <a:schemeClr val="accent6"/>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56947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74EF60A9-1E52-890A-1652-34EF64BEED0C}"/>
              </a:ext>
            </a:extLst>
          </p:cNvPr>
          <p:cNvGraphicFramePr>
            <a:graphicFrameLocks noChangeAspect="1"/>
          </p:cNvGraphicFramePr>
          <p:nvPr>
            <p:custDataLst>
              <p:tags r:id="rId1"/>
            </p:custDataLst>
            <p:extLst>
              <p:ext uri="{D42A27DB-BD31-4B8C-83A1-F6EECF244321}">
                <p14:modId xmlns:p14="http://schemas.microsoft.com/office/powerpoint/2010/main" val="2742515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think-cell data - do not delete" hidden="1">
                        <a:extLst>
                          <a:ext uri="{FF2B5EF4-FFF2-40B4-BE49-F238E27FC236}">
                            <a16:creationId xmlns:a16="http://schemas.microsoft.com/office/drawing/2014/main" id="{74EF60A9-1E52-890A-1652-34EF64BEED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BAF5A495-9D8B-0F5D-0DD8-CEE716DBF770}"/>
              </a:ext>
            </a:extLst>
          </p:cNvPr>
          <p:cNvSpPr>
            <a:spLocks noGrp="1"/>
          </p:cNvSpPr>
          <p:nvPr>
            <p:ph type="body" sz="quarter" idx="10"/>
          </p:nvPr>
        </p:nvSpPr>
        <p:spPr/>
        <p:txBody>
          <a:bodyPr/>
          <a:lstStyle/>
          <a:p>
            <a:endParaRPr lang="nl-NL"/>
          </a:p>
        </p:txBody>
      </p:sp>
      <p:sp>
        <p:nvSpPr>
          <p:cNvPr id="3" name="Title 2">
            <a:extLst>
              <a:ext uri="{FF2B5EF4-FFF2-40B4-BE49-F238E27FC236}">
                <a16:creationId xmlns:a16="http://schemas.microsoft.com/office/drawing/2014/main" id="{A21BF2E9-5D53-8546-B43B-D5C12AACFB33}"/>
              </a:ext>
            </a:extLst>
          </p:cNvPr>
          <p:cNvSpPr>
            <a:spLocks noGrp="1"/>
          </p:cNvSpPr>
          <p:nvPr>
            <p:ph type="title"/>
          </p:nvPr>
        </p:nvSpPr>
        <p:spPr/>
        <p:txBody>
          <a:bodyPr vert="horz"/>
          <a:lstStyle/>
          <a:p>
            <a:r>
              <a:rPr lang="en-US" dirty="0"/>
              <a:t>Insert an Appian formatted chart rather than copy an existing chart</a:t>
            </a:r>
          </a:p>
        </p:txBody>
      </p:sp>
      <p:sp>
        <p:nvSpPr>
          <p:cNvPr id="11" name="Text Placeholder 10">
            <a:extLst>
              <a:ext uri="{FF2B5EF4-FFF2-40B4-BE49-F238E27FC236}">
                <a16:creationId xmlns:a16="http://schemas.microsoft.com/office/drawing/2014/main" id="{B5EB010A-D0FD-97D1-B53B-196C5692A805}"/>
              </a:ext>
            </a:extLst>
          </p:cNvPr>
          <p:cNvSpPr>
            <a:spLocks noGrp="1"/>
          </p:cNvSpPr>
          <p:nvPr>
            <p:ph type="body" sz="quarter" idx="27"/>
          </p:nvPr>
        </p:nvSpPr>
        <p:spPr/>
        <p:txBody>
          <a:bodyPr/>
          <a:lstStyle/>
          <a:p>
            <a:endParaRPr lang="nl-NL"/>
          </a:p>
        </p:txBody>
      </p:sp>
      <p:pic>
        <p:nvPicPr>
          <p:cNvPr id="6" name="Picture 5" descr="Graphical user interface, text, application&#10;&#10;Description automatically generated">
            <a:extLst>
              <a:ext uri="{FF2B5EF4-FFF2-40B4-BE49-F238E27FC236}">
                <a16:creationId xmlns:a16="http://schemas.microsoft.com/office/drawing/2014/main" id="{EC87F3D3-3E5B-BA4D-B5FF-AC2FC6BBFBD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78871" y="1749626"/>
            <a:ext cx="5883140" cy="4063892"/>
          </a:xfrm>
          <a:prstGeom prst="rect">
            <a:avLst/>
          </a:prstGeom>
        </p:spPr>
      </p:pic>
      <p:sp>
        <p:nvSpPr>
          <p:cNvPr id="7" name="Oval 6">
            <a:extLst>
              <a:ext uri="{FF2B5EF4-FFF2-40B4-BE49-F238E27FC236}">
                <a16:creationId xmlns:a16="http://schemas.microsoft.com/office/drawing/2014/main" id="{1871ED55-EB83-3841-BFC2-3083B5F4F8B1}"/>
              </a:ext>
            </a:extLst>
          </p:cNvPr>
          <p:cNvSpPr/>
          <p:nvPr/>
        </p:nvSpPr>
        <p:spPr>
          <a:xfrm>
            <a:off x="5005953" y="3833144"/>
            <a:ext cx="299784" cy="299784"/>
          </a:xfrm>
          <a:prstGeom prst="ellipse">
            <a:avLst/>
          </a:prstGeom>
          <a:noFill/>
          <a:ln>
            <a:solidFill>
              <a:srgbClr val="E28C05"/>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1000" dirty="0" err="1">
              <a:solidFill>
                <a:schemeClr val="bg1"/>
              </a:solidFill>
            </a:endParaRPr>
          </a:p>
        </p:txBody>
      </p:sp>
      <p:sp>
        <p:nvSpPr>
          <p:cNvPr id="8" name="Oval 7">
            <a:extLst>
              <a:ext uri="{FF2B5EF4-FFF2-40B4-BE49-F238E27FC236}">
                <a16:creationId xmlns:a16="http://schemas.microsoft.com/office/drawing/2014/main" id="{5DD27FB0-4032-1F48-BF54-CFFE5C0FBB03}"/>
              </a:ext>
            </a:extLst>
          </p:cNvPr>
          <p:cNvSpPr/>
          <p:nvPr/>
        </p:nvSpPr>
        <p:spPr>
          <a:xfrm>
            <a:off x="4836063" y="3550015"/>
            <a:ext cx="283129" cy="283129"/>
          </a:xfrm>
          <a:prstGeom prst="ellipse">
            <a:avLst/>
          </a:prstGeom>
          <a:solidFill>
            <a:srgbClr val="E28C0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3231" tIns="33231" rIns="33231" bIns="33231" rtlCol="0" anchor="ctr" anchorCtr="0"/>
          <a:lstStyle/>
          <a:p>
            <a:pPr algn="ctr" defTabSz="422041">
              <a:defRPr/>
            </a:pPr>
            <a:r>
              <a:rPr lang="en-CA" sz="1015" b="1" dirty="0">
                <a:solidFill>
                  <a:srgbClr val="FFFFFF"/>
                </a:solidFill>
                <a:latin typeface="ROBOTO LIGHT" panose="02000000000000000000" pitchFamily="2" charset="0"/>
                <a:ea typeface="ROBOTO LIGHT" panose="02000000000000000000" pitchFamily="2" charset="0"/>
                <a:cs typeface="ROBOTO LIGHT" panose="02000000000000000000" pitchFamily="2" charset="0"/>
              </a:rPr>
              <a:t>1</a:t>
            </a:r>
            <a:endParaRPr lang="en-GB" sz="1015" b="1" dirty="0" err="1">
              <a:solidFill>
                <a:srgbClr val="FFFFFF"/>
              </a:solidFill>
              <a:latin typeface="ROBOTO LIGHT" panose="02000000000000000000" pitchFamily="2" charset="0"/>
              <a:ea typeface="ROBOTO LIGHT" panose="02000000000000000000" pitchFamily="2" charset="0"/>
              <a:cs typeface="ROBOTO LIGHT" panose="02000000000000000000" pitchFamily="2" charset="0"/>
            </a:endParaRPr>
          </a:p>
        </p:txBody>
      </p:sp>
      <p:sp>
        <p:nvSpPr>
          <p:cNvPr id="9" name="Oval 8">
            <a:extLst>
              <a:ext uri="{FF2B5EF4-FFF2-40B4-BE49-F238E27FC236}">
                <a16:creationId xmlns:a16="http://schemas.microsoft.com/office/drawing/2014/main" id="{1F0E9E26-F06D-944B-8FA0-399C2EE6BDBA}"/>
              </a:ext>
            </a:extLst>
          </p:cNvPr>
          <p:cNvSpPr/>
          <p:nvPr/>
        </p:nvSpPr>
        <p:spPr>
          <a:xfrm>
            <a:off x="6146235" y="4649795"/>
            <a:ext cx="283129" cy="283129"/>
          </a:xfrm>
          <a:prstGeom prst="ellipse">
            <a:avLst/>
          </a:prstGeom>
          <a:solidFill>
            <a:srgbClr val="E28C0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3231" tIns="33231" rIns="33231" bIns="33231" rtlCol="0" anchor="ctr" anchorCtr="0"/>
          <a:lstStyle/>
          <a:p>
            <a:pPr algn="ctr" defTabSz="422041">
              <a:defRPr/>
            </a:pPr>
            <a:r>
              <a:rPr lang="en-CA" sz="1015" b="1" dirty="0">
                <a:solidFill>
                  <a:srgbClr val="FFFFFF"/>
                </a:solidFill>
                <a:latin typeface="ROBOTO LIGHT" panose="02000000000000000000" pitchFamily="2" charset="0"/>
                <a:ea typeface="ROBOTO LIGHT" panose="02000000000000000000" pitchFamily="2" charset="0"/>
                <a:cs typeface="ROBOTO LIGHT" panose="02000000000000000000" pitchFamily="2" charset="0"/>
              </a:rPr>
              <a:t>2</a:t>
            </a:r>
            <a:endParaRPr lang="en-GB" sz="1015" b="1" dirty="0" err="1">
              <a:solidFill>
                <a:srgbClr val="FFFFFF"/>
              </a:solidFill>
              <a:latin typeface="ROBOTO LIGHT" panose="02000000000000000000" pitchFamily="2" charset="0"/>
              <a:ea typeface="ROBOTO LIGHT" panose="02000000000000000000" pitchFamily="2" charset="0"/>
              <a:cs typeface="ROBOTO LIGHT" panose="02000000000000000000" pitchFamily="2" charset="0"/>
            </a:endParaRPr>
          </a:p>
        </p:txBody>
      </p:sp>
      <p:sp>
        <p:nvSpPr>
          <p:cNvPr id="10" name="Content Placeholder 6">
            <a:extLst>
              <a:ext uri="{FF2B5EF4-FFF2-40B4-BE49-F238E27FC236}">
                <a16:creationId xmlns:a16="http://schemas.microsoft.com/office/drawing/2014/main" id="{0CA22309-FB41-D74E-94D7-E12416FEE2FC}"/>
              </a:ext>
            </a:extLst>
          </p:cNvPr>
          <p:cNvSpPr txBox="1">
            <a:spLocks/>
          </p:cNvSpPr>
          <p:nvPr/>
        </p:nvSpPr>
        <p:spPr>
          <a:xfrm>
            <a:off x="392400" y="1749626"/>
            <a:ext cx="3099926" cy="4063892"/>
          </a:xfrm>
          <a:prstGeom prst="rect">
            <a:avLst/>
          </a:prstGeom>
          <a:solidFill>
            <a:schemeClr val="bg1">
              <a:lumMod val="95000"/>
            </a:schemeClr>
          </a:solidFill>
        </p:spPr>
        <p:txBody>
          <a:bodyPr anchor="ctr"/>
          <a:lstStyle>
            <a:lvl1pPr marL="0" indent="0" algn="l" defTabSz="914400" rtl="0" eaLnBrk="1" latinLnBrk="0" hangingPunct="1">
              <a:spcBef>
                <a:spcPts val="0"/>
              </a:spcBef>
              <a:spcAft>
                <a:spcPts val="600"/>
              </a:spcAft>
              <a:buClr>
                <a:schemeClr val="accent3"/>
              </a:buClr>
              <a:buSzPct val="80000"/>
              <a:buFont typeface="Wingdings" pitchFamily="2" charset="2"/>
              <a:buNone/>
              <a:defRPr sz="1000" b="0" i="0" kern="1200">
                <a:solidFill>
                  <a:schemeClr val="tx1"/>
                </a:solidFill>
                <a:latin typeface="Roboto Light" panose="02000000000000000000" pitchFamily="2" charset="0"/>
                <a:ea typeface="Roboto Light" panose="02000000000000000000" pitchFamily="2" charset="0"/>
                <a:cs typeface="+mn-cs"/>
              </a:defRPr>
            </a:lvl1pPr>
            <a:lvl2pPr marL="180975" indent="-180975" algn="l" defTabSz="914400" rtl="0" eaLnBrk="1" latinLnBrk="0" hangingPunct="1">
              <a:spcBef>
                <a:spcPts val="0"/>
              </a:spcBef>
              <a:spcAft>
                <a:spcPts val="600"/>
              </a:spcAft>
              <a:buClr>
                <a:schemeClr val="accent2"/>
              </a:buClr>
              <a:buSzPct val="85000"/>
              <a:buFont typeface="Wingdings" pitchFamily="2" charset="2"/>
              <a:buChar char=""/>
              <a:defRPr sz="1000" b="0" i="0" kern="1200">
                <a:solidFill>
                  <a:schemeClr val="tx1"/>
                </a:solidFill>
                <a:latin typeface="Roboto Light" panose="02000000000000000000" pitchFamily="2" charset="0"/>
                <a:ea typeface="Roboto Light" panose="02000000000000000000" pitchFamily="2" charset="0"/>
                <a:cs typeface="+mn-cs"/>
              </a:defRPr>
            </a:lvl2pPr>
            <a:lvl3pPr marL="361950" indent="-180975" algn="l" defTabSz="914400" rtl="0" eaLnBrk="1" latinLnBrk="0" hangingPunct="1">
              <a:spcBef>
                <a:spcPts val="0"/>
              </a:spcBef>
              <a:spcAft>
                <a:spcPts val="600"/>
              </a:spcAft>
              <a:buClr>
                <a:schemeClr val="tx1"/>
              </a:buClr>
              <a:buSzPct val="120000"/>
              <a:buFont typeface="HelveticaNeue LT 45 Lt" pitchFamily="34" charset="0"/>
              <a:buChar char="—"/>
              <a:defRPr sz="1000" b="0" i="0" kern="1200">
                <a:solidFill>
                  <a:schemeClr val="tx1"/>
                </a:solidFill>
                <a:latin typeface="Roboto Light" panose="02000000000000000000" pitchFamily="2" charset="0"/>
                <a:ea typeface="Roboto Light" panose="02000000000000000000" pitchFamily="2" charset="0"/>
                <a:cs typeface="+mn-cs"/>
              </a:defRPr>
            </a:lvl3pPr>
            <a:lvl4pPr marL="542925" indent="-180975" algn="l" defTabSz="914400" rtl="0" eaLnBrk="1" latinLnBrk="0" hangingPunct="1">
              <a:spcBef>
                <a:spcPts val="0"/>
              </a:spcBef>
              <a:spcAft>
                <a:spcPts val="600"/>
              </a:spcAft>
              <a:buClr>
                <a:schemeClr val="tx1"/>
              </a:buClr>
              <a:buSzPct val="120000"/>
              <a:buFont typeface="HelveticaNeue LT 45 Lt" pitchFamily="34" charset="0"/>
              <a:buChar char="—"/>
              <a:defRPr sz="1000" b="0" i="0" kern="1200" baseline="0">
                <a:solidFill>
                  <a:schemeClr val="tx1"/>
                </a:solidFill>
                <a:latin typeface="Roboto Light" panose="02000000000000000000" pitchFamily="2" charset="0"/>
                <a:ea typeface="Roboto Light" panose="02000000000000000000" pitchFamily="2" charset="0"/>
                <a:cs typeface="+mn-cs"/>
              </a:defRPr>
            </a:lvl4pPr>
            <a:lvl5pPr marL="2057400" indent="-228600" algn="l" defTabSz="914400" rtl="0" eaLnBrk="1" latinLnBrk="0" hangingPunct="1">
              <a:spcBef>
                <a:spcPts val="0"/>
              </a:spcBef>
              <a:spcAft>
                <a:spcPts val="360"/>
              </a:spcAft>
              <a:buFont typeface="Calibri" pitchFamily="34" charset="0"/>
              <a:buChar char="—"/>
              <a:defRPr sz="1000" b="0" i="0" kern="1200">
                <a:solidFill>
                  <a:srgbClr val="4D4F53"/>
                </a:solidFill>
                <a:latin typeface="Roboto Light" panose="02000000000000000000" pitchFamily="2" charset="0"/>
                <a:ea typeface="Roboto Light" panose="02000000000000000000" pitchFamily="2"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GB" sz="2400" dirty="0">
                <a:solidFill>
                  <a:schemeClr val="accent1"/>
                </a:solidFill>
              </a:rPr>
              <a:t>If you need to insert </a:t>
            </a:r>
            <a:br>
              <a:rPr lang="en-GB" sz="2400" dirty="0">
                <a:solidFill>
                  <a:schemeClr val="accent1"/>
                </a:solidFill>
              </a:rPr>
            </a:br>
            <a:r>
              <a:rPr lang="en-GB" sz="2400" dirty="0">
                <a:solidFill>
                  <a:schemeClr val="accent1"/>
                </a:solidFill>
              </a:rPr>
              <a:t>a chart, there are Appian-formatted versions available</a:t>
            </a:r>
            <a:endParaRPr lang="en-US" dirty="0"/>
          </a:p>
        </p:txBody>
      </p:sp>
    </p:spTree>
    <p:extLst>
      <p:ext uri="{BB962C8B-B14F-4D97-AF65-F5344CB8AC3E}">
        <p14:creationId xmlns:p14="http://schemas.microsoft.com/office/powerpoint/2010/main" val="16209746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70FC5E0-AADB-A24D-8A55-C89B59D26CAA}"/>
              </a:ext>
            </a:extLst>
          </p:cNvPr>
          <p:cNvSpPr>
            <a:spLocks noGrp="1"/>
          </p:cNvSpPr>
          <p:nvPr>
            <p:ph type="body" sz="quarter" idx="10"/>
          </p:nvPr>
        </p:nvSpPr>
        <p:spPr/>
        <p:txBody>
          <a:bodyPr/>
          <a:lstStyle/>
          <a:p>
            <a:r>
              <a:rPr lang="en-US" dirty="0"/>
              <a:t>Tables</a:t>
            </a:r>
          </a:p>
        </p:txBody>
      </p:sp>
    </p:spTree>
    <p:extLst>
      <p:ext uri="{BB962C8B-B14F-4D97-AF65-F5344CB8AC3E}">
        <p14:creationId xmlns:p14="http://schemas.microsoft.com/office/powerpoint/2010/main" val="25149681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3DBF374-FDC1-546F-9A8D-012EF2728EDF}"/>
              </a:ext>
            </a:extLst>
          </p:cNvPr>
          <p:cNvGraphicFramePr>
            <a:graphicFrameLocks noChangeAspect="1"/>
          </p:cNvGraphicFramePr>
          <p:nvPr>
            <p:custDataLst>
              <p:tags r:id="rId1"/>
            </p:custDataLst>
            <p:extLst>
              <p:ext uri="{D42A27DB-BD31-4B8C-83A1-F6EECF244321}">
                <p14:modId xmlns:p14="http://schemas.microsoft.com/office/powerpoint/2010/main" val="326629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think-cell data - do not delete" hidden="1">
                        <a:extLst>
                          <a:ext uri="{FF2B5EF4-FFF2-40B4-BE49-F238E27FC236}">
                            <a16:creationId xmlns:a16="http://schemas.microsoft.com/office/drawing/2014/main" id="{43DBF374-FDC1-546F-9A8D-012EF2728E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8" name="Table 8">
            <a:extLst>
              <a:ext uri="{FF2B5EF4-FFF2-40B4-BE49-F238E27FC236}">
                <a16:creationId xmlns:a16="http://schemas.microsoft.com/office/drawing/2014/main" id="{D3D0E45B-E7D3-A945-AB16-A9CF28B13F74}"/>
              </a:ext>
            </a:extLst>
          </p:cNvPr>
          <p:cNvGraphicFramePr>
            <a:graphicFrameLocks noGrp="1"/>
          </p:cNvGraphicFramePr>
          <p:nvPr>
            <p:ph sz="quarter" idx="31"/>
            <p:extLst>
              <p:ext uri="{D42A27DB-BD31-4B8C-83A1-F6EECF244321}">
                <p14:modId xmlns:p14="http://schemas.microsoft.com/office/powerpoint/2010/main" val="3191934631"/>
              </p:ext>
            </p:extLst>
          </p:nvPr>
        </p:nvGraphicFramePr>
        <p:xfrm>
          <a:off x="392113" y="1631748"/>
          <a:ext cx="9131300" cy="3337560"/>
        </p:xfrm>
        <a:graphic>
          <a:graphicData uri="http://schemas.openxmlformats.org/drawingml/2006/table">
            <a:tbl>
              <a:tblPr firstRow="1" bandRow="1">
                <a:tableStyleId>{5C22544A-7EE6-4342-B048-85BDC9FD1C3A}</a:tableStyleId>
              </a:tblPr>
              <a:tblGrid>
                <a:gridCol w="1826260">
                  <a:extLst>
                    <a:ext uri="{9D8B030D-6E8A-4147-A177-3AD203B41FA5}">
                      <a16:colId xmlns:a16="http://schemas.microsoft.com/office/drawing/2014/main" val="1957724543"/>
                    </a:ext>
                  </a:extLst>
                </a:gridCol>
                <a:gridCol w="1826260">
                  <a:extLst>
                    <a:ext uri="{9D8B030D-6E8A-4147-A177-3AD203B41FA5}">
                      <a16:colId xmlns:a16="http://schemas.microsoft.com/office/drawing/2014/main" val="535220563"/>
                    </a:ext>
                  </a:extLst>
                </a:gridCol>
                <a:gridCol w="1826260">
                  <a:extLst>
                    <a:ext uri="{9D8B030D-6E8A-4147-A177-3AD203B41FA5}">
                      <a16:colId xmlns:a16="http://schemas.microsoft.com/office/drawing/2014/main" val="1644004634"/>
                    </a:ext>
                  </a:extLst>
                </a:gridCol>
                <a:gridCol w="1826260">
                  <a:extLst>
                    <a:ext uri="{9D8B030D-6E8A-4147-A177-3AD203B41FA5}">
                      <a16:colId xmlns:a16="http://schemas.microsoft.com/office/drawing/2014/main" val="3715819719"/>
                    </a:ext>
                  </a:extLst>
                </a:gridCol>
                <a:gridCol w="1826260">
                  <a:extLst>
                    <a:ext uri="{9D8B030D-6E8A-4147-A177-3AD203B41FA5}">
                      <a16:colId xmlns:a16="http://schemas.microsoft.com/office/drawing/2014/main" val="1947599546"/>
                    </a:ext>
                  </a:extLst>
                </a:gridCol>
              </a:tblGrid>
              <a:tr h="370840">
                <a:tc>
                  <a:txBody>
                    <a:bodyPr/>
                    <a:lstStyle/>
                    <a:p>
                      <a:endParaRPr lang="en-US" sz="1000" b="0" i="0" dirty="0">
                        <a:solidFill>
                          <a:schemeClr val="bg1"/>
                        </a:solidFill>
                        <a:latin typeface="Roboto Medium" panose="02000000000000000000" pitchFamily="2" charset="0"/>
                        <a:ea typeface="Roboto Medium" panose="02000000000000000000" pitchFamily="2" charset="0"/>
                        <a:cs typeface="Roboto Medium" panose="02000000000000000000" pitchFamily="2" charset="0"/>
                      </a:endParaRPr>
                    </a:p>
                  </a:txBody>
                  <a:tcPr anchor="b">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r>
                        <a:rPr lang="en-US" sz="1000" b="0" i="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Heading 1</a:t>
                      </a:r>
                    </a:p>
                  </a:txBody>
                  <a:tcPr anchor="b">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r>
                        <a:rPr lang="en-US" sz="1000" b="0" i="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Heading 2</a:t>
                      </a:r>
                    </a:p>
                  </a:txBody>
                  <a:tcPr anchor="b">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r>
                        <a:rPr lang="en-US" sz="1000" b="0" i="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Heading 3</a:t>
                      </a:r>
                    </a:p>
                  </a:txBody>
                  <a:tcPr anchor="b">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r>
                        <a:rPr lang="en-US" sz="1000" b="0" i="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Heading 4</a:t>
                      </a:r>
                    </a:p>
                  </a:txBody>
                  <a:tcPr anchor="b">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178218133"/>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1</a:t>
                      </a:r>
                    </a:p>
                  </a:txBody>
                  <a:tcPr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24884370"/>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2</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73541554"/>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3</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60532091"/>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4</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64691002"/>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5</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16006703"/>
                  </a:ext>
                </a:extLst>
              </a:tr>
              <a:tr h="370840">
                <a:tc>
                  <a:txBody>
                    <a:bodyPr/>
                    <a:lstStyle/>
                    <a:p>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96434833"/>
                  </a:ext>
                </a:extLst>
              </a:tr>
              <a:tr h="370840">
                <a:tc>
                  <a:txBody>
                    <a:bodyPr/>
                    <a:lstStyle/>
                    <a:p>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88265647"/>
                  </a:ext>
                </a:extLst>
              </a:tr>
              <a:tr h="370840">
                <a:tc>
                  <a:txBody>
                    <a:bodyPr/>
                    <a:lstStyle/>
                    <a:p>
                      <a:r>
                        <a:rPr lang="en-US" sz="1000" b="1" i="0" dirty="0">
                          <a:latin typeface="Roboto" panose="02000000000000000000" pitchFamily="2" charset="0"/>
                          <a:ea typeface="Roboto" panose="02000000000000000000" pitchFamily="2" charset="0"/>
                          <a:cs typeface="Roboto" panose="02000000000000000000" pitchFamily="2" charset="0"/>
                        </a:rPr>
                        <a:t>Total</a:t>
                      </a:r>
                    </a:p>
                  </a:txBody>
                  <a:tcPr anchor="ctr">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solidFill>
                      <a:schemeClr val="bg1">
                        <a:lumMod val="95000"/>
                      </a:schemeClr>
                    </a:solidFill>
                  </a:tcPr>
                </a:tc>
                <a:tc>
                  <a:txBody>
                    <a:bodyPr/>
                    <a:lstStyle/>
                    <a:p>
                      <a:pPr algn="r"/>
                      <a:endParaRPr lang="en-US" sz="1000" b="1" i="0" dirty="0">
                        <a:latin typeface="Roboto" panose="02000000000000000000" pitchFamily="2" charset="0"/>
                        <a:ea typeface="Roboto" panose="02000000000000000000" pitchFamily="2" charset="0"/>
                        <a:cs typeface="Roboto"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solidFill>
                      <a:schemeClr val="bg1">
                        <a:lumMod val="95000"/>
                      </a:schemeClr>
                    </a:solidFill>
                  </a:tcPr>
                </a:tc>
                <a:tc>
                  <a:txBody>
                    <a:bodyPr/>
                    <a:lstStyle/>
                    <a:p>
                      <a:pPr algn="r"/>
                      <a:endParaRPr lang="en-US" sz="1000" b="1" i="0" dirty="0">
                        <a:latin typeface="Roboto" panose="02000000000000000000" pitchFamily="2" charset="0"/>
                        <a:ea typeface="Roboto" panose="02000000000000000000" pitchFamily="2" charset="0"/>
                        <a:cs typeface="Roboto"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solidFill>
                      <a:schemeClr val="bg1">
                        <a:lumMod val="95000"/>
                      </a:schemeClr>
                    </a:solidFill>
                  </a:tcPr>
                </a:tc>
                <a:tc>
                  <a:txBody>
                    <a:bodyPr/>
                    <a:lstStyle/>
                    <a:p>
                      <a:pPr algn="r"/>
                      <a:endParaRPr lang="en-US" sz="1000" b="1" i="0" dirty="0">
                        <a:latin typeface="Roboto" panose="02000000000000000000" pitchFamily="2" charset="0"/>
                        <a:ea typeface="Roboto" panose="02000000000000000000" pitchFamily="2" charset="0"/>
                        <a:cs typeface="Roboto"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solidFill>
                      <a:schemeClr val="bg1">
                        <a:lumMod val="95000"/>
                      </a:schemeClr>
                    </a:solidFill>
                  </a:tcPr>
                </a:tc>
                <a:tc>
                  <a:txBody>
                    <a:bodyPr/>
                    <a:lstStyle/>
                    <a:p>
                      <a:pPr algn="r"/>
                      <a:endParaRPr lang="en-US" sz="1000" b="1" i="0" dirty="0">
                        <a:latin typeface="Roboto" panose="02000000000000000000" pitchFamily="2" charset="0"/>
                        <a:ea typeface="Roboto" panose="02000000000000000000" pitchFamily="2" charset="0"/>
                        <a:cs typeface="Roboto" panose="02000000000000000000" pitchFamily="2" charset="0"/>
                      </a:endParaRPr>
                    </a:p>
                  </a:txBody>
                  <a:tcPr anchor="ctr">
                    <a:lnL w="9525" cap="flat" cmpd="sng" algn="ctr">
                      <a:noFill/>
                      <a:prstDash val="solid"/>
                      <a:round/>
                      <a:headEnd type="none" w="med" len="med"/>
                      <a:tailEnd type="none" w="med" len="med"/>
                    </a:lnL>
                    <a:lnT w="9525" cap="flat" cmpd="sng" algn="ctr">
                      <a:solidFill>
                        <a:schemeClr val="bg1">
                          <a:lumMod val="85000"/>
                        </a:schemeClr>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4235403343"/>
                  </a:ext>
                </a:extLst>
              </a:tr>
            </a:tbl>
          </a:graphicData>
        </a:graphic>
      </p:graphicFrame>
      <p:sp>
        <p:nvSpPr>
          <p:cNvPr id="3" name="Text Placeholder 2">
            <a:extLst>
              <a:ext uri="{FF2B5EF4-FFF2-40B4-BE49-F238E27FC236}">
                <a16:creationId xmlns:a16="http://schemas.microsoft.com/office/drawing/2014/main" id="{EA6EB931-CC3C-954B-90FD-C2FA92693D8F}"/>
              </a:ext>
            </a:extLst>
          </p:cNvPr>
          <p:cNvSpPr>
            <a:spLocks noGrp="1"/>
          </p:cNvSpPr>
          <p:nvPr>
            <p:ph type="body" sz="quarter" idx="10"/>
          </p:nvPr>
        </p:nvSpPr>
        <p:spPr/>
        <p:txBody>
          <a:bodyPr/>
          <a:lstStyle/>
          <a:p>
            <a:endParaRPr lang="en-US" dirty="0"/>
          </a:p>
        </p:txBody>
      </p:sp>
      <p:sp>
        <p:nvSpPr>
          <p:cNvPr id="4" name="Text Placeholder 3">
            <a:extLst>
              <a:ext uri="{FF2B5EF4-FFF2-40B4-BE49-F238E27FC236}">
                <a16:creationId xmlns:a16="http://schemas.microsoft.com/office/drawing/2014/main" id="{3CE5CCE8-AEEA-4942-8260-DD125712E94B}"/>
              </a:ext>
            </a:extLst>
          </p:cNvPr>
          <p:cNvSpPr>
            <a:spLocks noGrp="1"/>
          </p:cNvSpPr>
          <p:nvPr>
            <p:ph type="body" sz="quarter" idx="24"/>
          </p:nvPr>
        </p:nvSpPr>
        <p:spPr/>
        <p:txBody>
          <a:bodyPr/>
          <a:lstStyle/>
          <a:p>
            <a:endParaRPr lang="en-US" dirty="0"/>
          </a:p>
        </p:txBody>
      </p:sp>
      <p:sp>
        <p:nvSpPr>
          <p:cNvPr id="5" name="Title 4">
            <a:extLst>
              <a:ext uri="{FF2B5EF4-FFF2-40B4-BE49-F238E27FC236}">
                <a16:creationId xmlns:a16="http://schemas.microsoft.com/office/drawing/2014/main" id="{5303CCFF-BA52-A64A-8BB6-07AD821FFC1F}"/>
              </a:ext>
            </a:extLst>
          </p:cNvPr>
          <p:cNvSpPr>
            <a:spLocks noGrp="1"/>
          </p:cNvSpPr>
          <p:nvPr>
            <p:ph type="title"/>
          </p:nvPr>
        </p:nvSpPr>
        <p:spPr/>
        <p:txBody>
          <a:bodyPr vert="horz"/>
          <a:lstStyle/>
          <a:p>
            <a:r>
              <a:rPr lang="en-US" dirty="0"/>
              <a:t>Table 1 over whole width</a:t>
            </a:r>
          </a:p>
        </p:txBody>
      </p:sp>
      <p:sp>
        <p:nvSpPr>
          <p:cNvPr id="6" name="Text Placeholder 5">
            <a:extLst>
              <a:ext uri="{FF2B5EF4-FFF2-40B4-BE49-F238E27FC236}">
                <a16:creationId xmlns:a16="http://schemas.microsoft.com/office/drawing/2014/main" id="{63E14962-9940-CA42-86B2-B9B3439764A7}"/>
              </a:ext>
            </a:extLst>
          </p:cNvPr>
          <p:cNvSpPr>
            <a:spLocks noGrp="1"/>
          </p:cNvSpPr>
          <p:nvPr>
            <p:ph type="body" sz="quarter" idx="27"/>
          </p:nvPr>
        </p:nvSpPr>
        <p:spPr/>
        <p:txBody>
          <a:bodyPr/>
          <a:lstStyle/>
          <a:p>
            <a:endParaRPr lang="en-US" dirty="0"/>
          </a:p>
        </p:txBody>
      </p:sp>
      <p:sp>
        <p:nvSpPr>
          <p:cNvPr id="9" name="Rectangle 8">
            <a:extLst>
              <a:ext uri="{FF2B5EF4-FFF2-40B4-BE49-F238E27FC236}">
                <a16:creationId xmlns:a16="http://schemas.microsoft.com/office/drawing/2014/main" id="{F07FC574-2BDA-0B41-82BC-3D3E5C51E0E2}"/>
              </a:ext>
            </a:extLst>
          </p:cNvPr>
          <p:cNvSpPr/>
          <p:nvPr/>
        </p:nvSpPr>
        <p:spPr>
          <a:xfrm>
            <a:off x="10660965" y="2607501"/>
            <a:ext cx="1385887" cy="1615827"/>
          </a:xfrm>
          <a:prstGeom prst="rect">
            <a:avLst/>
          </a:prstGeom>
          <a:solidFill>
            <a:schemeClr val="bg2"/>
          </a:solidFill>
        </p:spPr>
        <p:txBody>
          <a:bodyPr wrap="square">
            <a:spAutoFit/>
          </a:bodyPr>
          <a:lstStyle/>
          <a:p>
            <a:pPr>
              <a:spcAft>
                <a:spcPts val="0"/>
              </a:spcAft>
            </a:pPr>
            <a:r>
              <a:rPr lang="en-GB" sz="900" cap="all" baseline="0" dirty="0">
                <a:solidFill>
                  <a:schemeClr val="accent1"/>
                </a:solidFill>
                <a:latin typeface="Roboto Light" panose="02000000000000000000" pitchFamily="2" charset="0"/>
                <a:ea typeface="Roboto Light" panose="02000000000000000000" pitchFamily="2" charset="0"/>
                <a:cs typeface="Arial" panose="020B0604020202020204" pitchFamily="34" charset="0"/>
              </a:rPr>
              <a:t>TABLES</a:t>
            </a:r>
          </a:p>
          <a:p>
            <a:pPr marL="90488" indent="-90488">
              <a:spcAft>
                <a:spcPts val="0"/>
              </a:spcAft>
              <a:buFont typeface="Wingdings" pitchFamily="2" charset="2"/>
              <a:buChar char="§"/>
            </a:pPr>
            <a:r>
              <a:rPr lang="en-GB" sz="900" dirty="0">
                <a:latin typeface="Roboto Light" panose="02000000000000000000" pitchFamily="2" charset="0"/>
                <a:ea typeface="Roboto Light" panose="02000000000000000000" pitchFamily="2" charset="0"/>
                <a:cs typeface="Arial" panose="020B0604020202020204" pitchFamily="34" charset="0"/>
              </a:rPr>
              <a:t>Heading Roboto Medium, rest Light</a:t>
            </a:r>
          </a:p>
          <a:p>
            <a:pPr marL="90488" indent="-90488">
              <a:spcAft>
                <a:spcPts val="0"/>
              </a:spcAft>
              <a:buFont typeface="Wingdings" pitchFamily="2" charset="2"/>
              <a:buChar char="§"/>
            </a:pPr>
            <a:r>
              <a:rPr lang="en-GB" sz="900" dirty="0">
                <a:solidFill>
                  <a:schemeClr val="tx1"/>
                </a:solidFill>
                <a:latin typeface="Roboto Light" panose="02000000000000000000" pitchFamily="2" charset="0"/>
                <a:ea typeface="Roboto Light" panose="02000000000000000000" pitchFamily="2" charset="0"/>
                <a:cs typeface="Arial" panose="020B0604020202020204" pitchFamily="34" charset="0"/>
              </a:rPr>
              <a:t>Lines between rows 3/4pt, Light Blue accent 4 </a:t>
            </a:r>
          </a:p>
          <a:p>
            <a:pPr marL="90488" indent="-90488">
              <a:spcAft>
                <a:spcPts val="0"/>
              </a:spcAft>
              <a:buFont typeface="Wingdings" pitchFamily="2" charset="2"/>
              <a:buChar char="§"/>
            </a:pPr>
            <a:r>
              <a:rPr lang="en-GB" sz="900" dirty="0">
                <a:latin typeface="Roboto Light" panose="02000000000000000000" pitchFamily="2" charset="0"/>
                <a:ea typeface="Roboto Light" panose="02000000000000000000" pitchFamily="2" charset="0"/>
                <a:cs typeface="Arial" panose="020B0604020202020204" pitchFamily="34" charset="0"/>
              </a:rPr>
              <a:t>Total row, Light Grey Background 2, no line underneath</a:t>
            </a:r>
          </a:p>
          <a:p>
            <a:pPr marL="90488" indent="-90488">
              <a:spcAft>
                <a:spcPts val="0"/>
              </a:spcAft>
              <a:buFont typeface="Wingdings" pitchFamily="2" charset="2"/>
              <a:buChar char="§"/>
            </a:pPr>
            <a:r>
              <a:rPr lang="en-GB" sz="900" dirty="0">
                <a:solidFill>
                  <a:schemeClr val="tx1"/>
                </a:solidFill>
                <a:latin typeface="Roboto Light" panose="02000000000000000000" pitchFamily="2" charset="0"/>
                <a:ea typeface="Roboto Light" panose="02000000000000000000" pitchFamily="2" charset="0"/>
                <a:cs typeface="Arial" panose="020B0604020202020204" pitchFamily="34" charset="0"/>
              </a:rPr>
              <a:t>No line above or below shader </a:t>
            </a:r>
            <a:r>
              <a:rPr lang="en-GB" sz="900" dirty="0">
                <a:latin typeface="Roboto Light" panose="02000000000000000000" pitchFamily="2" charset="0"/>
                <a:ea typeface="Roboto Light" panose="02000000000000000000" pitchFamily="2" charset="0"/>
                <a:cs typeface="Arial" panose="020B0604020202020204" pitchFamily="34" charset="0"/>
              </a:rPr>
              <a:t>rows</a:t>
            </a:r>
            <a:endParaRPr lang="en-GB" sz="900" dirty="0">
              <a:solidFill>
                <a:schemeClr val="tx1"/>
              </a:solidFill>
              <a:latin typeface="Roboto Light" panose="02000000000000000000" pitchFamily="2" charset="0"/>
              <a:ea typeface="Roboto Light" panose="02000000000000000000" pitchFamily="2" charset="0"/>
              <a:cs typeface="Arial" panose="020B0604020202020204" pitchFamily="34" charset="0"/>
            </a:endParaRPr>
          </a:p>
        </p:txBody>
      </p:sp>
    </p:spTree>
    <p:extLst>
      <p:ext uri="{BB962C8B-B14F-4D97-AF65-F5344CB8AC3E}">
        <p14:creationId xmlns:p14="http://schemas.microsoft.com/office/powerpoint/2010/main" val="8117926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A07037A-7B66-E0BC-EDFE-119628AEC064}"/>
              </a:ext>
            </a:extLst>
          </p:cNvPr>
          <p:cNvGraphicFramePr>
            <a:graphicFrameLocks noChangeAspect="1"/>
          </p:cNvGraphicFramePr>
          <p:nvPr>
            <p:custDataLst>
              <p:tags r:id="rId1"/>
            </p:custDataLst>
            <p:extLst>
              <p:ext uri="{D42A27DB-BD31-4B8C-83A1-F6EECF244321}">
                <p14:modId xmlns:p14="http://schemas.microsoft.com/office/powerpoint/2010/main" val="2572918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think-cell data - do not delete" hidden="1">
                        <a:extLst>
                          <a:ext uri="{FF2B5EF4-FFF2-40B4-BE49-F238E27FC236}">
                            <a16:creationId xmlns:a16="http://schemas.microsoft.com/office/drawing/2014/main" id="{4A07037A-7B66-E0BC-EDFE-119628AEC0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2B5D6D4-8D4C-794F-8F9B-EC49F0DB3EA7}"/>
              </a:ext>
            </a:extLst>
          </p:cNvPr>
          <p:cNvSpPr>
            <a:spLocks noGrp="1"/>
          </p:cNvSpPr>
          <p:nvPr>
            <p:ph type="title"/>
          </p:nvPr>
        </p:nvSpPr>
        <p:spPr>
          <a:xfrm>
            <a:off x="392400" y="108000"/>
            <a:ext cx="7038000" cy="576000"/>
          </a:xfrm>
        </p:spPr>
        <p:txBody>
          <a:bodyPr vert="horz"/>
          <a:lstStyle/>
          <a:p>
            <a:r>
              <a:rPr lang="en-US" dirty="0"/>
              <a:t>Important information</a:t>
            </a:r>
          </a:p>
        </p:txBody>
      </p:sp>
    </p:spTree>
    <p:extLst>
      <p:ext uri="{BB962C8B-B14F-4D97-AF65-F5344CB8AC3E}">
        <p14:creationId xmlns:p14="http://schemas.microsoft.com/office/powerpoint/2010/main" val="2532165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8BD1613-5C92-90BA-5575-67E7E836BB2D}"/>
              </a:ext>
            </a:extLst>
          </p:cNvPr>
          <p:cNvGraphicFramePr>
            <a:graphicFrameLocks noChangeAspect="1"/>
          </p:cNvGraphicFramePr>
          <p:nvPr>
            <p:custDataLst>
              <p:tags r:id="rId1"/>
            </p:custDataLst>
            <p:extLst>
              <p:ext uri="{D42A27DB-BD31-4B8C-83A1-F6EECF244321}">
                <p14:modId xmlns:p14="http://schemas.microsoft.com/office/powerpoint/2010/main" val="1077069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think-cell data - do not delete" hidden="1">
                        <a:extLst>
                          <a:ext uri="{FF2B5EF4-FFF2-40B4-BE49-F238E27FC236}">
                            <a16:creationId xmlns:a16="http://schemas.microsoft.com/office/drawing/2014/main" id="{28BD1613-5C92-90BA-5575-67E7E836BB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8" name="Table 8">
            <a:extLst>
              <a:ext uri="{FF2B5EF4-FFF2-40B4-BE49-F238E27FC236}">
                <a16:creationId xmlns:a16="http://schemas.microsoft.com/office/drawing/2014/main" id="{D3D0E45B-E7D3-A945-AB16-A9CF28B13F74}"/>
              </a:ext>
            </a:extLst>
          </p:cNvPr>
          <p:cNvGraphicFramePr>
            <a:graphicFrameLocks noGrp="1"/>
          </p:cNvGraphicFramePr>
          <p:nvPr>
            <p:ph sz="quarter" idx="31"/>
            <p:extLst>
              <p:ext uri="{D42A27DB-BD31-4B8C-83A1-F6EECF244321}">
                <p14:modId xmlns:p14="http://schemas.microsoft.com/office/powerpoint/2010/main" val="3342856001"/>
              </p:ext>
            </p:extLst>
          </p:nvPr>
        </p:nvGraphicFramePr>
        <p:xfrm>
          <a:off x="392113" y="1631748"/>
          <a:ext cx="9131300" cy="3708400"/>
        </p:xfrm>
        <a:graphic>
          <a:graphicData uri="http://schemas.openxmlformats.org/drawingml/2006/table">
            <a:tbl>
              <a:tblPr firstRow="1" bandRow="1">
                <a:tableStyleId>{5C22544A-7EE6-4342-B048-85BDC9FD1C3A}</a:tableStyleId>
              </a:tblPr>
              <a:tblGrid>
                <a:gridCol w="1826260">
                  <a:extLst>
                    <a:ext uri="{9D8B030D-6E8A-4147-A177-3AD203B41FA5}">
                      <a16:colId xmlns:a16="http://schemas.microsoft.com/office/drawing/2014/main" val="1957724543"/>
                    </a:ext>
                  </a:extLst>
                </a:gridCol>
                <a:gridCol w="1826260">
                  <a:extLst>
                    <a:ext uri="{9D8B030D-6E8A-4147-A177-3AD203B41FA5}">
                      <a16:colId xmlns:a16="http://schemas.microsoft.com/office/drawing/2014/main" val="535220563"/>
                    </a:ext>
                  </a:extLst>
                </a:gridCol>
                <a:gridCol w="1826260">
                  <a:extLst>
                    <a:ext uri="{9D8B030D-6E8A-4147-A177-3AD203B41FA5}">
                      <a16:colId xmlns:a16="http://schemas.microsoft.com/office/drawing/2014/main" val="1644004634"/>
                    </a:ext>
                  </a:extLst>
                </a:gridCol>
                <a:gridCol w="1826260">
                  <a:extLst>
                    <a:ext uri="{9D8B030D-6E8A-4147-A177-3AD203B41FA5}">
                      <a16:colId xmlns:a16="http://schemas.microsoft.com/office/drawing/2014/main" val="3715819719"/>
                    </a:ext>
                  </a:extLst>
                </a:gridCol>
                <a:gridCol w="1826260">
                  <a:extLst>
                    <a:ext uri="{9D8B030D-6E8A-4147-A177-3AD203B41FA5}">
                      <a16:colId xmlns:a16="http://schemas.microsoft.com/office/drawing/2014/main" val="1947599546"/>
                    </a:ext>
                  </a:extLst>
                </a:gridCol>
              </a:tblGrid>
              <a:tr h="370840">
                <a:tc>
                  <a:txBody>
                    <a:bodyPr/>
                    <a:lstStyle/>
                    <a:p>
                      <a:endParaRPr lang="en-US" sz="1000" b="0" i="0" dirty="0">
                        <a:solidFill>
                          <a:schemeClr val="bg1"/>
                        </a:solidFill>
                        <a:latin typeface="Roboto Medium" panose="02000000000000000000" pitchFamily="2" charset="0"/>
                        <a:ea typeface="Roboto Medium" panose="02000000000000000000" pitchFamily="2" charset="0"/>
                        <a:cs typeface="Roboto Medium" panose="02000000000000000000" pitchFamily="2" charset="0"/>
                      </a:endParaRPr>
                    </a:p>
                  </a:txBody>
                  <a:tcPr anchor="b">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endParaRPr lang="en-US" sz="1000" b="0" i="0" dirty="0">
                        <a:solidFill>
                          <a:schemeClr val="bg1"/>
                        </a:solidFill>
                        <a:latin typeface="Roboto Medium" panose="02000000000000000000" pitchFamily="2" charset="0"/>
                        <a:ea typeface="Roboto Medium" panose="02000000000000000000" pitchFamily="2" charset="0"/>
                        <a:cs typeface="Roboto Medium" panose="02000000000000000000" pitchFamily="2" charset="0"/>
                      </a:endParaRPr>
                    </a:p>
                  </a:txBody>
                  <a:tcPr anchor="b">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endParaRPr lang="en-US" sz="1000" b="0" i="0" dirty="0">
                        <a:solidFill>
                          <a:schemeClr val="bg1"/>
                        </a:solidFill>
                        <a:latin typeface="Roboto Medium" panose="02000000000000000000" pitchFamily="2" charset="0"/>
                        <a:ea typeface="Roboto Medium" panose="02000000000000000000" pitchFamily="2" charset="0"/>
                        <a:cs typeface="Roboto Medium" panose="02000000000000000000" pitchFamily="2" charset="0"/>
                      </a:endParaRPr>
                    </a:p>
                  </a:txBody>
                  <a:tcPr anchor="b">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algn="ctr"/>
                      <a:r>
                        <a:rPr lang="en-US" sz="1000" b="0" i="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Series 2 title</a:t>
                      </a:r>
                    </a:p>
                  </a:txBody>
                  <a:tcPr anchor="b">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algn="r"/>
                      <a:endParaRPr lang="en-US" sz="1000" b="0" i="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endParaRPr>
                    </a:p>
                  </a:txBody>
                  <a:tcPr anchor="b">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868363327"/>
                  </a:ext>
                </a:extLst>
              </a:tr>
              <a:tr h="370840">
                <a:tc>
                  <a:txBody>
                    <a:bodyPr/>
                    <a:lstStyle/>
                    <a:p>
                      <a:endParaRPr lang="en-US" sz="1000" b="0" i="0" dirty="0">
                        <a:solidFill>
                          <a:schemeClr val="bg1"/>
                        </a:solidFill>
                        <a:latin typeface="Roboto Medium" panose="02000000000000000000" pitchFamily="2" charset="0"/>
                        <a:ea typeface="Roboto Medium" panose="02000000000000000000" pitchFamily="2" charset="0"/>
                        <a:cs typeface="Roboto Medium" panose="02000000000000000000" pitchFamily="2" charset="0"/>
                      </a:endParaRPr>
                    </a:p>
                  </a:txBody>
                  <a:tcPr anchor="b">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r>
                        <a:rPr lang="en-US" sz="1000" b="0" i="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Heading 1</a:t>
                      </a:r>
                    </a:p>
                  </a:txBody>
                  <a:tcPr anchor="b">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r>
                        <a:rPr lang="en-US" sz="1000" b="0" i="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Heading 2</a:t>
                      </a:r>
                    </a:p>
                  </a:txBody>
                  <a:tcPr anchor="b">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r>
                        <a:rPr lang="en-US" sz="1000" b="0" i="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Heading 3</a:t>
                      </a:r>
                    </a:p>
                  </a:txBody>
                  <a:tcPr anchor="b">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r>
                        <a:rPr lang="en-US" sz="1000" b="0" i="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Heading 4</a:t>
                      </a:r>
                    </a:p>
                  </a:txBody>
                  <a:tcPr anchor="b">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178218133"/>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1</a:t>
                      </a:r>
                    </a:p>
                  </a:txBody>
                  <a:tcPr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24884370"/>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2</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73541554"/>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3</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60532091"/>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4</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64691002"/>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5</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16006703"/>
                  </a:ext>
                </a:extLst>
              </a:tr>
              <a:tr h="370840">
                <a:tc>
                  <a:txBody>
                    <a:bodyPr/>
                    <a:lstStyle/>
                    <a:p>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96434833"/>
                  </a:ext>
                </a:extLst>
              </a:tr>
              <a:tr h="370840">
                <a:tc>
                  <a:txBody>
                    <a:bodyPr/>
                    <a:lstStyle/>
                    <a:p>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88265647"/>
                  </a:ext>
                </a:extLst>
              </a:tr>
              <a:tr h="370840">
                <a:tc>
                  <a:txBody>
                    <a:bodyPr/>
                    <a:lstStyle/>
                    <a:p>
                      <a:r>
                        <a:rPr lang="en-US" sz="1000" b="1" i="0" dirty="0">
                          <a:latin typeface="Roboto" panose="02000000000000000000" pitchFamily="2" charset="0"/>
                          <a:ea typeface="Roboto" panose="02000000000000000000" pitchFamily="2" charset="0"/>
                          <a:cs typeface="Roboto" panose="02000000000000000000" pitchFamily="2" charset="0"/>
                        </a:rPr>
                        <a:t>Total</a:t>
                      </a:r>
                    </a:p>
                  </a:txBody>
                  <a:tcPr anchor="ctr">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solidFill>
                      <a:schemeClr val="bg1">
                        <a:lumMod val="95000"/>
                      </a:schemeClr>
                    </a:solidFill>
                  </a:tcPr>
                </a:tc>
                <a:tc>
                  <a:txBody>
                    <a:bodyPr/>
                    <a:lstStyle/>
                    <a:p>
                      <a:pPr algn="r"/>
                      <a:endParaRPr lang="en-US" sz="1000" b="1" i="0" dirty="0">
                        <a:latin typeface="Roboto" panose="02000000000000000000" pitchFamily="2" charset="0"/>
                        <a:ea typeface="Roboto" panose="02000000000000000000" pitchFamily="2" charset="0"/>
                        <a:cs typeface="Roboto"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solidFill>
                      <a:schemeClr val="bg1">
                        <a:lumMod val="95000"/>
                      </a:schemeClr>
                    </a:solidFill>
                  </a:tcPr>
                </a:tc>
                <a:tc>
                  <a:txBody>
                    <a:bodyPr/>
                    <a:lstStyle/>
                    <a:p>
                      <a:pPr algn="r"/>
                      <a:endParaRPr lang="en-US" sz="1000" b="1" i="0" dirty="0">
                        <a:latin typeface="Roboto" panose="02000000000000000000" pitchFamily="2" charset="0"/>
                        <a:ea typeface="Roboto" panose="02000000000000000000" pitchFamily="2" charset="0"/>
                        <a:cs typeface="Roboto"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solidFill>
                      <a:schemeClr val="bg1">
                        <a:lumMod val="95000"/>
                      </a:schemeClr>
                    </a:solidFill>
                  </a:tcPr>
                </a:tc>
                <a:tc>
                  <a:txBody>
                    <a:bodyPr/>
                    <a:lstStyle/>
                    <a:p>
                      <a:pPr algn="r"/>
                      <a:endParaRPr lang="en-US" sz="1000" b="1" i="0" dirty="0">
                        <a:latin typeface="Roboto" panose="02000000000000000000" pitchFamily="2" charset="0"/>
                        <a:ea typeface="Roboto" panose="02000000000000000000" pitchFamily="2" charset="0"/>
                        <a:cs typeface="Roboto"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solidFill>
                      <a:schemeClr val="bg1">
                        <a:lumMod val="95000"/>
                      </a:schemeClr>
                    </a:solidFill>
                  </a:tcPr>
                </a:tc>
                <a:tc>
                  <a:txBody>
                    <a:bodyPr/>
                    <a:lstStyle/>
                    <a:p>
                      <a:pPr algn="r"/>
                      <a:endParaRPr lang="en-US" sz="1000" b="1" i="0" dirty="0">
                        <a:latin typeface="Roboto" panose="02000000000000000000" pitchFamily="2" charset="0"/>
                        <a:ea typeface="Roboto" panose="02000000000000000000" pitchFamily="2" charset="0"/>
                        <a:cs typeface="Roboto" panose="02000000000000000000" pitchFamily="2" charset="0"/>
                      </a:endParaRPr>
                    </a:p>
                  </a:txBody>
                  <a:tcPr anchor="ctr">
                    <a:lnL w="9525" cap="flat" cmpd="sng" algn="ctr">
                      <a:noFill/>
                      <a:prstDash val="solid"/>
                      <a:round/>
                      <a:headEnd type="none" w="med" len="med"/>
                      <a:tailEnd type="none" w="med" len="med"/>
                    </a:lnL>
                    <a:lnT w="9525" cap="flat" cmpd="sng" algn="ctr">
                      <a:solidFill>
                        <a:schemeClr val="bg1">
                          <a:lumMod val="85000"/>
                        </a:schemeClr>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4235403343"/>
                  </a:ext>
                </a:extLst>
              </a:tr>
            </a:tbl>
          </a:graphicData>
        </a:graphic>
      </p:graphicFrame>
      <p:sp>
        <p:nvSpPr>
          <p:cNvPr id="3" name="Text Placeholder 2">
            <a:extLst>
              <a:ext uri="{FF2B5EF4-FFF2-40B4-BE49-F238E27FC236}">
                <a16:creationId xmlns:a16="http://schemas.microsoft.com/office/drawing/2014/main" id="{EA6EB931-CC3C-954B-90FD-C2FA92693D8F}"/>
              </a:ext>
            </a:extLst>
          </p:cNvPr>
          <p:cNvSpPr>
            <a:spLocks noGrp="1"/>
          </p:cNvSpPr>
          <p:nvPr>
            <p:ph type="body" sz="quarter" idx="10"/>
          </p:nvPr>
        </p:nvSpPr>
        <p:spPr/>
        <p:txBody>
          <a:bodyPr/>
          <a:lstStyle/>
          <a:p>
            <a:endParaRPr lang="en-US" dirty="0"/>
          </a:p>
        </p:txBody>
      </p:sp>
      <p:sp>
        <p:nvSpPr>
          <p:cNvPr id="4" name="Text Placeholder 3">
            <a:extLst>
              <a:ext uri="{FF2B5EF4-FFF2-40B4-BE49-F238E27FC236}">
                <a16:creationId xmlns:a16="http://schemas.microsoft.com/office/drawing/2014/main" id="{3CE5CCE8-AEEA-4942-8260-DD125712E94B}"/>
              </a:ext>
            </a:extLst>
          </p:cNvPr>
          <p:cNvSpPr>
            <a:spLocks noGrp="1"/>
          </p:cNvSpPr>
          <p:nvPr>
            <p:ph type="body" sz="quarter" idx="24"/>
          </p:nvPr>
        </p:nvSpPr>
        <p:spPr/>
        <p:txBody>
          <a:bodyPr/>
          <a:lstStyle/>
          <a:p>
            <a:endParaRPr lang="en-US" dirty="0"/>
          </a:p>
        </p:txBody>
      </p:sp>
      <p:sp>
        <p:nvSpPr>
          <p:cNvPr id="5" name="Title 4">
            <a:extLst>
              <a:ext uri="{FF2B5EF4-FFF2-40B4-BE49-F238E27FC236}">
                <a16:creationId xmlns:a16="http://schemas.microsoft.com/office/drawing/2014/main" id="{5303CCFF-BA52-A64A-8BB6-07AD821FFC1F}"/>
              </a:ext>
            </a:extLst>
          </p:cNvPr>
          <p:cNvSpPr>
            <a:spLocks noGrp="1"/>
          </p:cNvSpPr>
          <p:nvPr>
            <p:ph type="title"/>
          </p:nvPr>
        </p:nvSpPr>
        <p:spPr/>
        <p:txBody>
          <a:bodyPr vert="horz"/>
          <a:lstStyle/>
          <a:p>
            <a:r>
              <a:rPr lang="en-US" dirty="0"/>
              <a:t>Table 2 over whole width</a:t>
            </a:r>
          </a:p>
        </p:txBody>
      </p:sp>
      <p:sp>
        <p:nvSpPr>
          <p:cNvPr id="6" name="Text Placeholder 5">
            <a:extLst>
              <a:ext uri="{FF2B5EF4-FFF2-40B4-BE49-F238E27FC236}">
                <a16:creationId xmlns:a16="http://schemas.microsoft.com/office/drawing/2014/main" id="{63E14962-9940-CA42-86B2-B9B3439764A7}"/>
              </a:ext>
            </a:extLst>
          </p:cNvPr>
          <p:cNvSpPr>
            <a:spLocks noGrp="1"/>
          </p:cNvSpPr>
          <p:nvPr>
            <p:ph type="body" sz="quarter" idx="27"/>
          </p:nvPr>
        </p:nvSpPr>
        <p:spPr/>
        <p:txBody>
          <a:bodyPr/>
          <a:lstStyle/>
          <a:p>
            <a:endParaRPr lang="en-US" dirty="0"/>
          </a:p>
        </p:txBody>
      </p:sp>
    </p:spTree>
    <p:extLst>
      <p:ext uri="{BB962C8B-B14F-4D97-AF65-F5344CB8AC3E}">
        <p14:creationId xmlns:p14="http://schemas.microsoft.com/office/powerpoint/2010/main" val="14032749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F370F6-503F-126C-DA36-887FE057C9A2}"/>
              </a:ext>
            </a:extLst>
          </p:cNvPr>
          <p:cNvGraphicFramePr>
            <a:graphicFrameLocks noChangeAspect="1"/>
          </p:cNvGraphicFramePr>
          <p:nvPr>
            <p:custDataLst>
              <p:tags r:id="rId1"/>
            </p:custDataLst>
            <p:extLst>
              <p:ext uri="{D42A27DB-BD31-4B8C-83A1-F6EECF244321}">
                <p14:modId xmlns:p14="http://schemas.microsoft.com/office/powerpoint/2010/main" val="1657978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think-cell data - do not delete" hidden="1">
                        <a:extLst>
                          <a:ext uri="{FF2B5EF4-FFF2-40B4-BE49-F238E27FC236}">
                            <a16:creationId xmlns:a16="http://schemas.microsoft.com/office/drawing/2014/main" id="{7DF370F6-503F-126C-DA36-887FE057C9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8" name="Table 8">
            <a:extLst>
              <a:ext uri="{FF2B5EF4-FFF2-40B4-BE49-F238E27FC236}">
                <a16:creationId xmlns:a16="http://schemas.microsoft.com/office/drawing/2014/main" id="{D3D0E45B-E7D3-A945-AB16-A9CF28B13F74}"/>
              </a:ext>
            </a:extLst>
          </p:cNvPr>
          <p:cNvGraphicFramePr>
            <a:graphicFrameLocks noGrp="1"/>
          </p:cNvGraphicFramePr>
          <p:nvPr>
            <p:ph sz="quarter" idx="31"/>
            <p:extLst>
              <p:ext uri="{D42A27DB-BD31-4B8C-83A1-F6EECF244321}">
                <p14:modId xmlns:p14="http://schemas.microsoft.com/office/powerpoint/2010/main" val="1018015566"/>
              </p:ext>
            </p:extLst>
          </p:nvPr>
        </p:nvGraphicFramePr>
        <p:xfrm>
          <a:off x="392113" y="1631748"/>
          <a:ext cx="9131300" cy="3337560"/>
        </p:xfrm>
        <a:graphic>
          <a:graphicData uri="http://schemas.openxmlformats.org/drawingml/2006/table">
            <a:tbl>
              <a:tblPr firstRow="1" bandRow="1">
                <a:tableStyleId>{5C22544A-7EE6-4342-B048-85BDC9FD1C3A}</a:tableStyleId>
              </a:tblPr>
              <a:tblGrid>
                <a:gridCol w="1826260">
                  <a:extLst>
                    <a:ext uri="{9D8B030D-6E8A-4147-A177-3AD203B41FA5}">
                      <a16:colId xmlns:a16="http://schemas.microsoft.com/office/drawing/2014/main" val="1957724543"/>
                    </a:ext>
                  </a:extLst>
                </a:gridCol>
                <a:gridCol w="1826260">
                  <a:extLst>
                    <a:ext uri="{9D8B030D-6E8A-4147-A177-3AD203B41FA5}">
                      <a16:colId xmlns:a16="http://schemas.microsoft.com/office/drawing/2014/main" val="535220563"/>
                    </a:ext>
                  </a:extLst>
                </a:gridCol>
                <a:gridCol w="1826260">
                  <a:extLst>
                    <a:ext uri="{9D8B030D-6E8A-4147-A177-3AD203B41FA5}">
                      <a16:colId xmlns:a16="http://schemas.microsoft.com/office/drawing/2014/main" val="1644004634"/>
                    </a:ext>
                  </a:extLst>
                </a:gridCol>
                <a:gridCol w="1826260">
                  <a:extLst>
                    <a:ext uri="{9D8B030D-6E8A-4147-A177-3AD203B41FA5}">
                      <a16:colId xmlns:a16="http://schemas.microsoft.com/office/drawing/2014/main" val="3715819719"/>
                    </a:ext>
                  </a:extLst>
                </a:gridCol>
                <a:gridCol w="1826260">
                  <a:extLst>
                    <a:ext uri="{9D8B030D-6E8A-4147-A177-3AD203B41FA5}">
                      <a16:colId xmlns:a16="http://schemas.microsoft.com/office/drawing/2014/main" val="1947599546"/>
                    </a:ext>
                  </a:extLst>
                </a:gridCol>
              </a:tblGrid>
              <a:tr h="370840">
                <a:tc>
                  <a:txBody>
                    <a:bodyPr/>
                    <a:lstStyle/>
                    <a:p>
                      <a:endParaRPr lang="en-US" sz="1000" b="0" i="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endParaRPr>
                    </a:p>
                  </a:txBody>
                  <a:tcPr anchor="b">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000" b="0" i="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rPr>
                        <a:t>Heading 1</a:t>
                      </a:r>
                    </a:p>
                  </a:txBody>
                  <a:tcPr anchor="b">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000" b="0" i="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rPr>
                        <a:t>Heading 2</a:t>
                      </a:r>
                    </a:p>
                  </a:txBody>
                  <a:tcPr anchor="b">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000" b="0" i="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rPr>
                        <a:t>Heading 3</a:t>
                      </a:r>
                    </a:p>
                  </a:txBody>
                  <a:tcPr anchor="b">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000" b="0" i="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rPr>
                        <a:t>Heading 4</a:t>
                      </a:r>
                    </a:p>
                  </a:txBody>
                  <a:tcPr anchor="b">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8218133"/>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1</a:t>
                      </a:r>
                    </a:p>
                  </a:txBody>
                  <a:tcPr anchor="ctr">
                    <a:lnT w="19050" cap="flat" cmpd="sng" algn="ctr">
                      <a:solidFill>
                        <a:schemeClr val="accent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19050" cap="flat" cmpd="sng" algn="ctr">
                      <a:solidFill>
                        <a:schemeClr val="accent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19050" cap="flat" cmpd="sng" algn="ctr">
                      <a:solidFill>
                        <a:schemeClr val="accent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19050" cap="flat" cmpd="sng" algn="ctr">
                      <a:solidFill>
                        <a:schemeClr val="accent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19050" cap="flat" cmpd="sng" algn="ctr">
                      <a:solidFill>
                        <a:schemeClr val="accent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24884370"/>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2</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73541554"/>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3</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60532091"/>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4</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64691002"/>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5</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16006703"/>
                  </a:ext>
                </a:extLst>
              </a:tr>
              <a:tr h="370840">
                <a:tc>
                  <a:txBody>
                    <a:bodyPr/>
                    <a:lstStyle/>
                    <a:p>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96434833"/>
                  </a:ext>
                </a:extLst>
              </a:tr>
              <a:tr h="370840">
                <a:tc>
                  <a:txBody>
                    <a:bodyPr/>
                    <a:lstStyle/>
                    <a:p>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88265647"/>
                  </a:ext>
                </a:extLst>
              </a:tr>
              <a:tr h="370840">
                <a:tc>
                  <a:txBody>
                    <a:bodyPr/>
                    <a:lstStyle/>
                    <a:p>
                      <a:r>
                        <a:rPr lang="en-US" sz="1000" b="1" i="0" dirty="0">
                          <a:latin typeface="Roboto" panose="02000000000000000000" pitchFamily="2" charset="0"/>
                          <a:ea typeface="Roboto" panose="02000000000000000000" pitchFamily="2" charset="0"/>
                          <a:cs typeface="Roboto" panose="02000000000000000000" pitchFamily="2" charset="0"/>
                        </a:rPr>
                        <a:t>Total</a:t>
                      </a:r>
                    </a:p>
                  </a:txBody>
                  <a:tcPr anchor="ctr">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solidFill>
                      <a:schemeClr val="bg1">
                        <a:lumMod val="95000"/>
                      </a:schemeClr>
                    </a:solidFill>
                  </a:tcPr>
                </a:tc>
                <a:tc>
                  <a:txBody>
                    <a:bodyPr/>
                    <a:lstStyle/>
                    <a:p>
                      <a:pPr algn="r"/>
                      <a:endParaRPr lang="en-US" sz="1000" b="1" i="0" dirty="0">
                        <a:latin typeface="Roboto" panose="02000000000000000000" pitchFamily="2" charset="0"/>
                        <a:ea typeface="Roboto" panose="02000000000000000000" pitchFamily="2" charset="0"/>
                        <a:cs typeface="Roboto"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solidFill>
                      <a:schemeClr val="bg1">
                        <a:lumMod val="95000"/>
                      </a:schemeClr>
                    </a:solidFill>
                  </a:tcPr>
                </a:tc>
                <a:tc>
                  <a:txBody>
                    <a:bodyPr/>
                    <a:lstStyle/>
                    <a:p>
                      <a:pPr algn="r"/>
                      <a:endParaRPr lang="en-US" sz="1000" b="1" i="0" dirty="0">
                        <a:latin typeface="Roboto" panose="02000000000000000000" pitchFamily="2" charset="0"/>
                        <a:ea typeface="Roboto" panose="02000000000000000000" pitchFamily="2" charset="0"/>
                        <a:cs typeface="Roboto"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solidFill>
                      <a:schemeClr val="bg1">
                        <a:lumMod val="95000"/>
                      </a:schemeClr>
                    </a:solidFill>
                  </a:tcPr>
                </a:tc>
                <a:tc>
                  <a:txBody>
                    <a:bodyPr/>
                    <a:lstStyle/>
                    <a:p>
                      <a:pPr algn="r"/>
                      <a:endParaRPr lang="en-US" sz="1000" b="1" i="0" dirty="0">
                        <a:latin typeface="Roboto" panose="02000000000000000000" pitchFamily="2" charset="0"/>
                        <a:ea typeface="Roboto" panose="02000000000000000000" pitchFamily="2" charset="0"/>
                        <a:cs typeface="Roboto"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solidFill>
                      <a:schemeClr val="bg1">
                        <a:lumMod val="95000"/>
                      </a:schemeClr>
                    </a:solidFill>
                  </a:tcPr>
                </a:tc>
                <a:tc>
                  <a:txBody>
                    <a:bodyPr/>
                    <a:lstStyle/>
                    <a:p>
                      <a:pPr algn="r"/>
                      <a:endParaRPr lang="en-US" sz="1000" b="1" i="0" dirty="0">
                        <a:latin typeface="Roboto" panose="02000000000000000000" pitchFamily="2" charset="0"/>
                        <a:ea typeface="Roboto" panose="02000000000000000000" pitchFamily="2" charset="0"/>
                        <a:cs typeface="Roboto" panose="02000000000000000000" pitchFamily="2" charset="0"/>
                      </a:endParaRPr>
                    </a:p>
                  </a:txBody>
                  <a:tcPr anchor="ctr">
                    <a:lnL w="9525" cap="flat" cmpd="sng" algn="ctr">
                      <a:noFill/>
                      <a:prstDash val="solid"/>
                      <a:round/>
                      <a:headEnd type="none" w="med" len="med"/>
                      <a:tailEnd type="none" w="med" len="med"/>
                    </a:lnL>
                    <a:lnT w="9525" cap="flat" cmpd="sng" algn="ctr">
                      <a:solidFill>
                        <a:schemeClr val="bg1">
                          <a:lumMod val="85000"/>
                        </a:schemeClr>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4235403343"/>
                  </a:ext>
                </a:extLst>
              </a:tr>
            </a:tbl>
          </a:graphicData>
        </a:graphic>
      </p:graphicFrame>
      <p:sp>
        <p:nvSpPr>
          <p:cNvPr id="3" name="Text Placeholder 2">
            <a:extLst>
              <a:ext uri="{FF2B5EF4-FFF2-40B4-BE49-F238E27FC236}">
                <a16:creationId xmlns:a16="http://schemas.microsoft.com/office/drawing/2014/main" id="{EA6EB931-CC3C-954B-90FD-C2FA92693D8F}"/>
              </a:ext>
            </a:extLst>
          </p:cNvPr>
          <p:cNvSpPr>
            <a:spLocks noGrp="1"/>
          </p:cNvSpPr>
          <p:nvPr>
            <p:ph type="body" sz="quarter" idx="10"/>
          </p:nvPr>
        </p:nvSpPr>
        <p:spPr/>
        <p:txBody>
          <a:bodyPr/>
          <a:lstStyle/>
          <a:p>
            <a:endParaRPr lang="en-US" dirty="0"/>
          </a:p>
        </p:txBody>
      </p:sp>
      <p:sp>
        <p:nvSpPr>
          <p:cNvPr id="4" name="Text Placeholder 3">
            <a:extLst>
              <a:ext uri="{FF2B5EF4-FFF2-40B4-BE49-F238E27FC236}">
                <a16:creationId xmlns:a16="http://schemas.microsoft.com/office/drawing/2014/main" id="{3CE5CCE8-AEEA-4942-8260-DD125712E94B}"/>
              </a:ext>
            </a:extLst>
          </p:cNvPr>
          <p:cNvSpPr>
            <a:spLocks noGrp="1"/>
          </p:cNvSpPr>
          <p:nvPr>
            <p:ph type="body" sz="quarter" idx="24"/>
          </p:nvPr>
        </p:nvSpPr>
        <p:spPr/>
        <p:txBody>
          <a:bodyPr/>
          <a:lstStyle/>
          <a:p>
            <a:endParaRPr lang="en-US" dirty="0"/>
          </a:p>
        </p:txBody>
      </p:sp>
      <p:sp>
        <p:nvSpPr>
          <p:cNvPr id="5" name="Title 4">
            <a:extLst>
              <a:ext uri="{FF2B5EF4-FFF2-40B4-BE49-F238E27FC236}">
                <a16:creationId xmlns:a16="http://schemas.microsoft.com/office/drawing/2014/main" id="{5303CCFF-BA52-A64A-8BB6-07AD821FFC1F}"/>
              </a:ext>
            </a:extLst>
          </p:cNvPr>
          <p:cNvSpPr>
            <a:spLocks noGrp="1"/>
          </p:cNvSpPr>
          <p:nvPr>
            <p:ph type="title"/>
          </p:nvPr>
        </p:nvSpPr>
        <p:spPr/>
        <p:txBody>
          <a:bodyPr vert="horz"/>
          <a:lstStyle/>
          <a:p>
            <a:r>
              <a:rPr lang="en-US" dirty="0"/>
              <a:t>Table 3 over whole width</a:t>
            </a:r>
          </a:p>
        </p:txBody>
      </p:sp>
      <p:sp>
        <p:nvSpPr>
          <p:cNvPr id="6" name="Text Placeholder 5">
            <a:extLst>
              <a:ext uri="{FF2B5EF4-FFF2-40B4-BE49-F238E27FC236}">
                <a16:creationId xmlns:a16="http://schemas.microsoft.com/office/drawing/2014/main" id="{63E14962-9940-CA42-86B2-B9B3439764A7}"/>
              </a:ext>
            </a:extLst>
          </p:cNvPr>
          <p:cNvSpPr>
            <a:spLocks noGrp="1"/>
          </p:cNvSpPr>
          <p:nvPr>
            <p:ph type="body" sz="quarter" idx="27"/>
          </p:nvPr>
        </p:nvSpPr>
        <p:spPr/>
        <p:txBody>
          <a:bodyPr/>
          <a:lstStyle/>
          <a:p>
            <a:endParaRPr lang="en-US" dirty="0"/>
          </a:p>
        </p:txBody>
      </p:sp>
      <p:sp>
        <p:nvSpPr>
          <p:cNvPr id="9" name="Rectangle 8">
            <a:extLst>
              <a:ext uri="{FF2B5EF4-FFF2-40B4-BE49-F238E27FC236}">
                <a16:creationId xmlns:a16="http://schemas.microsoft.com/office/drawing/2014/main" id="{B5163557-3071-8345-87F0-EBE0F738F68D}"/>
              </a:ext>
            </a:extLst>
          </p:cNvPr>
          <p:cNvSpPr/>
          <p:nvPr/>
        </p:nvSpPr>
        <p:spPr>
          <a:xfrm>
            <a:off x="10660965" y="2607501"/>
            <a:ext cx="1385887" cy="1892826"/>
          </a:xfrm>
          <a:prstGeom prst="rect">
            <a:avLst/>
          </a:prstGeom>
          <a:solidFill>
            <a:schemeClr val="bg2"/>
          </a:solidFill>
        </p:spPr>
        <p:txBody>
          <a:bodyPr wrap="square">
            <a:spAutoFit/>
          </a:bodyPr>
          <a:lstStyle/>
          <a:p>
            <a:pPr>
              <a:spcAft>
                <a:spcPts val="0"/>
              </a:spcAft>
            </a:pPr>
            <a:r>
              <a:rPr lang="en-GB" sz="900" cap="all" baseline="0" dirty="0">
                <a:solidFill>
                  <a:schemeClr val="accent1"/>
                </a:solidFill>
                <a:latin typeface="Roboto Light" panose="02000000000000000000" pitchFamily="2" charset="0"/>
                <a:ea typeface="Roboto Light" panose="02000000000000000000" pitchFamily="2" charset="0"/>
                <a:cs typeface="Arial" panose="020B0604020202020204" pitchFamily="34" charset="0"/>
              </a:rPr>
              <a:t>TABLES</a:t>
            </a:r>
          </a:p>
          <a:p>
            <a:pPr marL="90488" indent="-90488">
              <a:spcAft>
                <a:spcPts val="0"/>
              </a:spcAft>
              <a:buFont typeface="Wingdings" pitchFamily="2" charset="2"/>
              <a:buChar char="§"/>
            </a:pPr>
            <a:r>
              <a:rPr lang="en-GB" sz="900" dirty="0">
                <a:latin typeface="Roboto Light" panose="02000000000000000000" pitchFamily="2" charset="0"/>
                <a:ea typeface="Roboto Light" panose="02000000000000000000" pitchFamily="2" charset="0"/>
                <a:cs typeface="Arial" panose="020B0604020202020204" pitchFamily="34" charset="0"/>
              </a:rPr>
              <a:t>Heading Roboto Medium, rest Light</a:t>
            </a:r>
          </a:p>
          <a:p>
            <a:pPr marL="90488" indent="-90488">
              <a:spcAft>
                <a:spcPts val="0"/>
              </a:spcAft>
              <a:buFont typeface="Wingdings" pitchFamily="2" charset="2"/>
              <a:buChar char="§"/>
            </a:pPr>
            <a:r>
              <a:rPr lang="en-GB" sz="900" dirty="0">
                <a:solidFill>
                  <a:schemeClr val="tx1"/>
                </a:solidFill>
                <a:latin typeface="Roboto Light" panose="02000000000000000000" pitchFamily="2" charset="0"/>
                <a:ea typeface="Roboto Light" panose="02000000000000000000" pitchFamily="2" charset="0"/>
                <a:cs typeface="Arial" panose="020B0604020202020204" pitchFamily="34" charset="0"/>
              </a:rPr>
              <a:t>Top Line 1pt Dark Blue, Accent 1</a:t>
            </a:r>
          </a:p>
          <a:p>
            <a:pPr marL="90488" indent="-90488">
              <a:spcAft>
                <a:spcPts val="0"/>
              </a:spcAft>
              <a:buFont typeface="Wingdings" pitchFamily="2" charset="2"/>
              <a:buChar char="§"/>
            </a:pPr>
            <a:r>
              <a:rPr lang="en-GB" sz="900" dirty="0">
                <a:solidFill>
                  <a:schemeClr val="tx1"/>
                </a:solidFill>
                <a:latin typeface="Roboto Light" panose="02000000000000000000" pitchFamily="2" charset="0"/>
                <a:ea typeface="Roboto Light" panose="02000000000000000000" pitchFamily="2" charset="0"/>
                <a:cs typeface="Arial" panose="020B0604020202020204" pitchFamily="34" charset="0"/>
              </a:rPr>
              <a:t>Lines between rows 3/4pt, Light Blue accent 4 </a:t>
            </a:r>
          </a:p>
          <a:p>
            <a:pPr marL="90488" indent="-90488">
              <a:spcAft>
                <a:spcPts val="0"/>
              </a:spcAft>
              <a:buFont typeface="Wingdings" pitchFamily="2" charset="2"/>
              <a:buChar char="§"/>
            </a:pPr>
            <a:r>
              <a:rPr lang="en-GB" sz="900" dirty="0">
                <a:latin typeface="Roboto Light" panose="02000000000000000000" pitchFamily="2" charset="0"/>
                <a:ea typeface="Roboto Light" panose="02000000000000000000" pitchFamily="2" charset="0"/>
                <a:cs typeface="Arial" panose="020B0604020202020204" pitchFamily="34" charset="0"/>
              </a:rPr>
              <a:t>Total row, Light Grey Background 2, no line underneath</a:t>
            </a:r>
          </a:p>
          <a:p>
            <a:pPr marL="90488" indent="-90488">
              <a:spcAft>
                <a:spcPts val="0"/>
              </a:spcAft>
              <a:buFont typeface="Wingdings" pitchFamily="2" charset="2"/>
              <a:buChar char="§"/>
            </a:pPr>
            <a:r>
              <a:rPr lang="en-GB" sz="900" dirty="0">
                <a:solidFill>
                  <a:schemeClr val="tx1"/>
                </a:solidFill>
                <a:latin typeface="Roboto Light" panose="02000000000000000000" pitchFamily="2" charset="0"/>
                <a:ea typeface="Roboto Light" panose="02000000000000000000" pitchFamily="2" charset="0"/>
                <a:cs typeface="Arial" panose="020B0604020202020204" pitchFamily="34" charset="0"/>
              </a:rPr>
              <a:t>No line above or below shader </a:t>
            </a:r>
            <a:r>
              <a:rPr lang="en-GB" sz="900" dirty="0">
                <a:latin typeface="Roboto Light" panose="02000000000000000000" pitchFamily="2" charset="0"/>
                <a:ea typeface="Roboto Light" panose="02000000000000000000" pitchFamily="2" charset="0"/>
                <a:cs typeface="Arial" panose="020B0604020202020204" pitchFamily="34" charset="0"/>
              </a:rPr>
              <a:t>rows</a:t>
            </a:r>
            <a:endParaRPr lang="en-GB" sz="900" dirty="0">
              <a:solidFill>
                <a:schemeClr val="tx1"/>
              </a:solidFill>
              <a:latin typeface="Roboto Light" panose="02000000000000000000" pitchFamily="2" charset="0"/>
              <a:ea typeface="Roboto Light" panose="02000000000000000000" pitchFamily="2" charset="0"/>
              <a:cs typeface="Arial" panose="020B0604020202020204" pitchFamily="34" charset="0"/>
            </a:endParaRPr>
          </a:p>
        </p:txBody>
      </p:sp>
    </p:spTree>
    <p:extLst>
      <p:ext uri="{BB962C8B-B14F-4D97-AF65-F5344CB8AC3E}">
        <p14:creationId xmlns:p14="http://schemas.microsoft.com/office/powerpoint/2010/main" val="16768114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992D1C2-4329-8F80-CF3E-F9E7903D080F}"/>
              </a:ext>
            </a:extLst>
          </p:cNvPr>
          <p:cNvGraphicFramePr>
            <a:graphicFrameLocks noChangeAspect="1"/>
          </p:cNvGraphicFramePr>
          <p:nvPr>
            <p:custDataLst>
              <p:tags r:id="rId1"/>
            </p:custDataLst>
            <p:extLst>
              <p:ext uri="{D42A27DB-BD31-4B8C-83A1-F6EECF244321}">
                <p14:modId xmlns:p14="http://schemas.microsoft.com/office/powerpoint/2010/main" val="2510272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C992D1C2-4329-8F80-CF3E-F9E7903D08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6F182B39-3029-5B40-A2DD-1A2A88EB2AD1}"/>
              </a:ext>
            </a:extLst>
          </p:cNvPr>
          <p:cNvSpPr>
            <a:spLocks noGrp="1"/>
          </p:cNvSpPr>
          <p:nvPr>
            <p:ph type="body" sz="quarter" idx="10"/>
          </p:nvPr>
        </p:nvSpPr>
        <p:spPr/>
        <p:txBody>
          <a:bodyPr/>
          <a:lstStyle/>
          <a:p>
            <a:endParaRPr lang="en-US" dirty="0"/>
          </a:p>
        </p:txBody>
      </p:sp>
      <p:sp>
        <p:nvSpPr>
          <p:cNvPr id="11" name="Text Placeholder 10">
            <a:extLst>
              <a:ext uri="{FF2B5EF4-FFF2-40B4-BE49-F238E27FC236}">
                <a16:creationId xmlns:a16="http://schemas.microsoft.com/office/drawing/2014/main" id="{54657BC6-941D-B14B-8859-D120F10F77E1}"/>
              </a:ext>
            </a:extLst>
          </p:cNvPr>
          <p:cNvSpPr>
            <a:spLocks noGrp="1"/>
          </p:cNvSpPr>
          <p:nvPr>
            <p:ph type="body" sz="quarter" idx="24"/>
          </p:nvPr>
        </p:nvSpPr>
        <p:spPr/>
        <p:txBody>
          <a:bodyPr/>
          <a:lstStyle/>
          <a:p>
            <a:endParaRPr lang="en-US" dirty="0"/>
          </a:p>
        </p:txBody>
      </p:sp>
      <p:sp>
        <p:nvSpPr>
          <p:cNvPr id="5" name="Title 4">
            <a:extLst>
              <a:ext uri="{FF2B5EF4-FFF2-40B4-BE49-F238E27FC236}">
                <a16:creationId xmlns:a16="http://schemas.microsoft.com/office/drawing/2014/main" id="{5303CCFF-BA52-A64A-8BB6-07AD821FFC1F}"/>
              </a:ext>
            </a:extLst>
          </p:cNvPr>
          <p:cNvSpPr>
            <a:spLocks noGrp="1"/>
          </p:cNvSpPr>
          <p:nvPr>
            <p:ph type="title"/>
          </p:nvPr>
        </p:nvSpPr>
        <p:spPr/>
        <p:txBody>
          <a:bodyPr vert="horz"/>
          <a:lstStyle/>
          <a:p>
            <a:r>
              <a:rPr lang="en-US" dirty="0"/>
              <a:t>Table 1 over half width (x2)</a:t>
            </a:r>
          </a:p>
        </p:txBody>
      </p:sp>
      <p:sp>
        <p:nvSpPr>
          <p:cNvPr id="13" name="Text Placeholder 12">
            <a:extLst>
              <a:ext uri="{FF2B5EF4-FFF2-40B4-BE49-F238E27FC236}">
                <a16:creationId xmlns:a16="http://schemas.microsoft.com/office/drawing/2014/main" id="{E8367F3C-41E3-4B49-94D6-DEFDC377A520}"/>
              </a:ext>
            </a:extLst>
          </p:cNvPr>
          <p:cNvSpPr>
            <a:spLocks noGrp="1"/>
          </p:cNvSpPr>
          <p:nvPr>
            <p:ph type="body" sz="quarter" idx="29"/>
          </p:nvPr>
        </p:nvSpPr>
        <p:spPr/>
        <p:txBody>
          <a:bodyPr/>
          <a:lstStyle/>
          <a:p>
            <a:endParaRPr lang="en-US" dirty="0"/>
          </a:p>
        </p:txBody>
      </p:sp>
      <p:sp>
        <p:nvSpPr>
          <p:cNvPr id="12" name="Text Placeholder 11">
            <a:extLst>
              <a:ext uri="{FF2B5EF4-FFF2-40B4-BE49-F238E27FC236}">
                <a16:creationId xmlns:a16="http://schemas.microsoft.com/office/drawing/2014/main" id="{83097EF1-0D4A-4140-8FE9-AEB411564FDE}"/>
              </a:ext>
            </a:extLst>
          </p:cNvPr>
          <p:cNvSpPr>
            <a:spLocks noGrp="1"/>
          </p:cNvSpPr>
          <p:nvPr>
            <p:ph type="body" sz="quarter" idx="27"/>
          </p:nvPr>
        </p:nvSpPr>
        <p:spPr/>
        <p:txBody>
          <a:bodyPr/>
          <a:lstStyle/>
          <a:p>
            <a:endParaRPr lang="en-US" dirty="0"/>
          </a:p>
        </p:txBody>
      </p:sp>
      <p:graphicFrame>
        <p:nvGraphicFramePr>
          <p:cNvPr id="16" name="Table 8">
            <a:extLst>
              <a:ext uri="{FF2B5EF4-FFF2-40B4-BE49-F238E27FC236}">
                <a16:creationId xmlns:a16="http://schemas.microsoft.com/office/drawing/2014/main" id="{EC21F79C-ECDA-EA49-9AC6-78B80C48632E}"/>
              </a:ext>
            </a:extLst>
          </p:cNvPr>
          <p:cNvGraphicFramePr>
            <a:graphicFrameLocks/>
          </p:cNvGraphicFramePr>
          <p:nvPr>
            <p:extLst>
              <p:ext uri="{D42A27DB-BD31-4B8C-83A1-F6EECF244321}">
                <p14:modId xmlns:p14="http://schemas.microsoft.com/office/powerpoint/2010/main" val="472818980"/>
              </p:ext>
            </p:extLst>
          </p:nvPr>
        </p:nvGraphicFramePr>
        <p:xfrm>
          <a:off x="392113" y="1631748"/>
          <a:ext cx="4375317" cy="3337560"/>
        </p:xfrm>
        <a:graphic>
          <a:graphicData uri="http://schemas.openxmlformats.org/drawingml/2006/table">
            <a:tbl>
              <a:tblPr firstRow="1" bandRow="1">
                <a:tableStyleId>{5C22544A-7EE6-4342-B048-85BDC9FD1C3A}</a:tableStyleId>
              </a:tblPr>
              <a:tblGrid>
                <a:gridCol w="1458439">
                  <a:extLst>
                    <a:ext uri="{9D8B030D-6E8A-4147-A177-3AD203B41FA5}">
                      <a16:colId xmlns:a16="http://schemas.microsoft.com/office/drawing/2014/main" val="1957724543"/>
                    </a:ext>
                  </a:extLst>
                </a:gridCol>
                <a:gridCol w="1458439">
                  <a:extLst>
                    <a:ext uri="{9D8B030D-6E8A-4147-A177-3AD203B41FA5}">
                      <a16:colId xmlns:a16="http://schemas.microsoft.com/office/drawing/2014/main" val="535220563"/>
                    </a:ext>
                  </a:extLst>
                </a:gridCol>
                <a:gridCol w="1458439">
                  <a:extLst>
                    <a:ext uri="{9D8B030D-6E8A-4147-A177-3AD203B41FA5}">
                      <a16:colId xmlns:a16="http://schemas.microsoft.com/office/drawing/2014/main" val="1644004634"/>
                    </a:ext>
                  </a:extLst>
                </a:gridCol>
              </a:tblGrid>
              <a:tr h="370840">
                <a:tc>
                  <a:txBody>
                    <a:bodyPr/>
                    <a:lstStyle/>
                    <a:p>
                      <a:r>
                        <a:rPr lang="en-US" sz="1000" b="0" i="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US$)</a:t>
                      </a:r>
                    </a:p>
                  </a:txBody>
                  <a:tcPr anchor="b">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r>
                        <a:rPr lang="en-US" sz="1000" b="0" i="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Heading 1</a:t>
                      </a:r>
                    </a:p>
                  </a:txBody>
                  <a:tcPr anchor="b">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r>
                        <a:rPr lang="en-US" sz="1000" b="0" i="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Heading 2</a:t>
                      </a:r>
                    </a:p>
                  </a:txBody>
                  <a:tcPr anchor="b">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178218133"/>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1</a:t>
                      </a:r>
                    </a:p>
                  </a:txBody>
                  <a:tcPr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r>
                        <a:rPr lang="en-US" sz="1000" b="0" i="0" dirty="0">
                          <a:latin typeface="Roboto Light" panose="02000000000000000000" pitchFamily="2" charset="0"/>
                          <a:ea typeface="Roboto Light" panose="02000000000000000000" pitchFamily="2" charset="0"/>
                          <a:cs typeface="Roboto Light" panose="02000000000000000000" pitchFamily="2" charset="0"/>
                        </a:rPr>
                        <a:t>9,000</a:t>
                      </a:r>
                    </a:p>
                  </a:txBody>
                  <a:tcPr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r>
                        <a:rPr lang="en-US" sz="1000" b="0" i="0" dirty="0">
                          <a:latin typeface="Roboto Light" panose="02000000000000000000" pitchFamily="2" charset="0"/>
                          <a:ea typeface="Roboto Light" panose="02000000000000000000" pitchFamily="2" charset="0"/>
                          <a:cs typeface="Roboto Light" panose="02000000000000000000" pitchFamily="2" charset="0"/>
                        </a:rPr>
                        <a:t>5,000</a:t>
                      </a:r>
                    </a:p>
                  </a:txBody>
                  <a:tcPr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24884370"/>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2</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r>
                        <a:rPr lang="en-US" sz="1000" b="0" i="0" dirty="0">
                          <a:latin typeface="Roboto Light" panose="02000000000000000000" pitchFamily="2" charset="0"/>
                          <a:ea typeface="Roboto Light" panose="02000000000000000000" pitchFamily="2" charset="0"/>
                          <a:cs typeface="Roboto Light" panose="02000000000000000000" pitchFamily="2" charset="0"/>
                        </a:rPr>
                        <a:t>10,000</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r>
                        <a:rPr lang="en-US" sz="1000" b="0" i="0" dirty="0">
                          <a:latin typeface="Roboto Light" panose="02000000000000000000" pitchFamily="2" charset="0"/>
                          <a:ea typeface="Roboto Light" panose="02000000000000000000" pitchFamily="2" charset="0"/>
                          <a:cs typeface="Roboto Light" panose="02000000000000000000" pitchFamily="2" charset="0"/>
                        </a:rPr>
                        <a:t>6,000</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73541554"/>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3</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60532091"/>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4</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64691002"/>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5</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r"/>
                      <a:r>
                        <a:rPr lang="en-US" sz="1000" b="0" i="0" dirty="0">
                          <a:latin typeface="Roboto Light" panose="02000000000000000000" pitchFamily="2" charset="0"/>
                          <a:ea typeface="Roboto Light" panose="02000000000000000000" pitchFamily="2" charset="0"/>
                          <a:cs typeface="Roboto Light" panose="02000000000000000000" pitchFamily="2" charset="0"/>
                        </a:rPr>
                        <a:t>19,000</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16006703"/>
                  </a:ext>
                </a:extLst>
              </a:tr>
              <a:tr h="370840">
                <a:tc>
                  <a:txBody>
                    <a:bodyPr/>
                    <a:lstStyle/>
                    <a:p>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96434833"/>
                  </a:ext>
                </a:extLst>
              </a:tr>
              <a:tr h="370840">
                <a:tc>
                  <a:txBody>
                    <a:bodyPr/>
                    <a:lstStyle/>
                    <a:p>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88265647"/>
                  </a:ext>
                </a:extLst>
              </a:tr>
              <a:tr h="370840">
                <a:tc>
                  <a:txBody>
                    <a:bodyPr/>
                    <a:lstStyle/>
                    <a:p>
                      <a:r>
                        <a:rPr lang="en-US" sz="1000" b="1" i="0" dirty="0">
                          <a:latin typeface="Roboto" panose="02000000000000000000" pitchFamily="2" charset="0"/>
                          <a:ea typeface="Roboto" panose="02000000000000000000" pitchFamily="2" charset="0"/>
                          <a:cs typeface="Roboto" panose="02000000000000000000" pitchFamily="2" charset="0"/>
                        </a:rPr>
                        <a:t>Total</a:t>
                      </a:r>
                    </a:p>
                  </a:txBody>
                  <a:tcPr anchor="ctr">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solidFill>
                      <a:schemeClr val="bg1">
                        <a:lumMod val="95000"/>
                      </a:schemeClr>
                    </a:solidFill>
                  </a:tcPr>
                </a:tc>
                <a:tc>
                  <a:txBody>
                    <a:bodyPr/>
                    <a:lstStyle/>
                    <a:p>
                      <a:pPr algn="r"/>
                      <a:r>
                        <a:rPr lang="en-US" sz="1000" b="1" i="0" dirty="0">
                          <a:latin typeface="Roboto" panose="02000000000000000000" pitchFamily="2" charset="0"/>
                          <a:ea typeface="Roboto" panose="02000000000000000000" pitchFamily="2" charset="0"/>
                          <a:cs typeface="Roboto" panose="02000000000000000000" pitchFamily="2" charset="0"/>
                        </a:rPr>
                        <a:t>38,000</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solidFill>
                      <a:schemeClr val="bg1">
                        <a:lumMod val="95000"/>
                      </a:schemeClr>
                    </a:solidFill>
                  </a:tcPr>
                </a:tc>
                <a:tc>
                  <a:txBody>
                    <a:bodyPr/>
                    <a:lstStyle/>
                    <a:p>
                      <a:pPr algn="r"/>
                      <a:endParaRPr lang="en-US" sz="1000" b="1" i="0" dirty="0">
                        <a:latin typeface="Roboto" panose="02000000000000000000" pitchFamily="2" charset="0"/>
                        <a:ea typeface="Roboto" panose="02000000000000000000" pitchFamily="2" charset="0"/>
                        <a:cs typeface="Roboto"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4235403343"/>
                  </a:ext>
                </a:extLst>
              </a:tr>
            </a:tbl>
          </a:graphicData>
        </a:graphic>
      </p:graphicFrame>
      <p:graphicFrame>
        <p:nvGraphicFramePr>
          <p:cNvPr id="17" name="Table 8">
            <a:extLst>
              <a:ext uri="{FF2B5EF4-FFF2-40B4-BE49-F238E27FC236}">
                <a16:creationId xmlns:a16="http://schemas.microsoft.com/office/drawing/2014/main" id="{FD3C34E2-57D2-6245-A471-70042A946B30}"/>
              </a:ext>
            </a:extLst>
          </p:cNvPr>
          <p:cNvGraphicFramePr>
            <a:graphicFrameLocks/>
          </p:cNvGraphicFramePr>
          <p:nvPr>
            <p:extLst>
              <p:ext uri="{D42A27DB-BD31-4B8C-83A1-F6EECF244321}">
                <p14:modId xmlns:p14="http://schemas.microsoft.com/office/powerpoint/2010/main" val="3659680615"/>
              </p:ext>
            </p:extLst>
          </p:nvPr>
        </p:nvGraphicFramePr>
        <p:xfrm>
          <a:off x="5145603" y="1631748"/>
          <a:ext cx="4375317" cy="3337560"/>
        </p:xfrm>
        <a:graphic>
          <a:graphicData uri="http://schemas.openxmlformats.org/drawingml/2006/table">
            <a:tbl>
              <a:tblPr firstRow="1" bandRow="1">
                <a:tableStyleId>{5C22544A-7EE6-4342-B048-85BDC9FD1C3A}</a:tableStyleId>
              </a:tblPr>
              <a:tblGrid>
                <a:gridCol w="1458439">
                  <a:extLst>
                    <a:ext uri="{9D8B030D-6E8A-4147-A177-3AD203B41FA5}">
                      <a16:colId xmlns:a16="http://schemas.microsoft.com/office/drawing/2014/main" val="1957724543"/>
                    </a:ext>
                  </a:extLst>
                </a:gridCol>
                <a:gridCol w="1458439">
                  <a:extLst>
                    <a:ext uri="{9D8B030D-6E8A-4147-A177-3AD203B41FA5}">
                      <a16:colId xmlns:a16="http://schemas.microsoft.com/office/drawing/2014/main" val="535220563"/>
                    </a:ext>
                  </a:extLst>
                </a:gridCol>
                <a:gridCol w="1458439">
                  <a:extLst>
                    <a:ext uri="{9D8B030D-6E8A-4147-A177-3AD203B41FA5}">
                      <a16:colId xmlns:a16="http://schemas.microsoft.com/office/drawing/2014/main" val="1644004634"/>
                    </a:ext>
                  </a:extLst>
                </a:gridCol>
              </a:tblGrid>
              <a:tr h="370840">
                <a:tc>
                  <a:txBody>
                    <a:bodyPr/>
                    <a:lstStyle/>
                    <a:p>
                      <a:r>
                        <a:rPr lang="en-US" sz="1000" b="0" i="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kt)</a:t>
                      </a:r>
                    </a:p>
                  </a:txBody>
                  <a:tcPr anchor="b">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r>
                        <a:rPr lang="en-US" sz="1000" b="0" i="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Heading 1</a:t>
                      </a:r>
                    </a:p>
                  </a:txBody>
                  <a:tcPr anchor="b">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r"/>
                      <a:r>
                        <a:rPr lang="en-US" sz="1000" b="0" i="0" dirty="0">
                          <a:solidFill>
                            <a:schemeClr val="bg1"/>
                          </a:solidFill>
                          <a:latin typeface="Roboto Medium" panose="02000000000000000000" pitchFamily="2" charset="0"/>
                          <a:ea typeface="Roboto Medium" panose="02000000000000000000" pitchFamily="2" charset="0"/>
                          <a:cs typeface="Roboto Medium" panose="02000000000000000000" pitchFamily="2" charset="0"/>
                        </a:rPr>
                        <a:t>Heading 2</a:t>
                      </a:r>
                    </a:p>
                  </a:txBody>
                  <a:tcPr anchor="b">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178218133"/>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1</a:t>
                      </a:r>
                    </a:p>
                  </a:txBody>
                  <a:tcPr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24884370"/>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2</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73541554"/>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3</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60532091"/>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4</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64691002"/>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5</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16006703"/>
                  </a:ext>
                </a:extLst>
              </a:tr>
              <a:tr h="370840">
                <a:tc>
                  <a:txBody>
                    <a:bodyPr/>
                    <a:lstStyle/>
                    <a:p>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96434833"/>
                  </a:ext>
                </a:extLst>
              </a:tr>
              <a:tr h="370840">
                <a:tc>
                  <a:txBody>
                    <a:bodyPr/>
                    <a:lstStyle/>
                    <a:p>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88265647"/>
                  </a:ext>
                </a:extLst>
              </a:tr>
              <a:tr h="370840">
                <a:tc>
                  <a:txBody>
                    <a:bodyPr/>
                    <a:lstStyle/>
                    <a:p>
                      <a:r>
                        <a:rPr lang="en-US" sz="1000" b="1" i="0" dirty="0">
                          <a:latin typeface="Roboto" panose="02000000000000000000" pitchFamily="2" charset="0"/>
                          <a:ea typeface="Roboto" panose="02000000000000000000" pitchFamily="2" charset="0"/>
                          <a:cs typeface="Roboto" panose="02000000000000000000" pitchFamily="2" charset="0"/>
                        </a:rPr>
                        <a:t>Total</a:t>
                      </a:r>
                    </a:p>
                  </a:txBody>
                  <a:tcPr anchor="ctr">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solidFill>
                      <a:schemeClr val="bg1">
                        <a:lumMod val="95000"/>
                      </a:schemeClr>
                    </a:solidFill>
                  </a:tcPr>
                </a:tc>
                <a:tc>
                  <a:txBody>
                    <a:bodyPr/>
                    <a:lstStyle/>
                    <a:p>
                      <a:pPr algn="r"/>
                      <a:endParaRPr lang="en-US" sz="1000" b="1" i="0" dirty="0">
                        <a:latin typeface="Roboto" panose="02000000000000000000" pitchFamily="2" charset="0"/>
                        <a:ea typeface="Roboto" panose="02000000000000000000" pitchFamily="2" charset="0"/>
                        <a:cs typeface="Roboto"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solidFill>
                      <a:schemeClr val="bg1">
                        <a:lumMod val="95000"/>
                      </a:schemeClr>
                    </a:solidFill>
                  </a:tcPr>
                </a:tc>
                <a:tc>
                  <a:txBody>
                    <a:bodyPr/>
                    <a:lstStyle/>
                    <a:p>
                      <a:pPr algn="r"/>
                      <a:endParaRPr lang="en-US" sz="1000" b="1" i="0" dirty="0">
                        <a:latin typeface="Roboto" panose="02000000000000000000" pitchFamily="2" charset="0"/>
                        <a:ea typeface="Roboto" panose="02000000000000000000" pitchFamily="2" charset="0"/>
                        <a:cs typeface="Roboto"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4235403343"/>
                  </a:ext>
                </a:extLst>
              </a:tr>
            </a:tbl>
          </a:graphicData>
        </a:graphic>
      </p:graphicFrame>
    </p:spTree>
    <p:extLst>
      <p:ext uri="{BB962C8B-B14F-4D97-AF65-F5344CB8AC3E}">
        <p14:creationId xmlns:p14="http://schemas.microsoft.com/office/powerpoint/2010/main" val="11557332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21C7CB7-9470-DA26-C7C1-B25F0EC58910}"/>
              </a:ext>
            </a:extLst>
          </p:cNvPr>
          <p:cNvGraphicFramePr>
            <a:graphicFrameLocks noChangeAspect="1"/>
          </p:cNvGraphicFramePr>
          <p:nvPr>
            <p:custDataLst>
              <p:tags r:id="rId1"/>
            </p:custDataLst>
            <p:extLst>
              <p:ext uri="{D42A27DB-BD31-4B8C-83A1-F6EECF244321}">
                <p14:modId xmlns:p14="http://schemas.microsoft.com/office/powerpoint/2010/main" val="3500799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E21C7CB7-9470-DA26-C7C1-B25F0EC589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6F182B39-3029-5B40-A2DD-1A2A88EB2AD1}"/>
              </a:ext>
            </a:extLst>
          </p:cNvPr>
          <p:cNvSpPr>
            <a:spLocks noGrp="1"/>
          </p:cNvSpPr>
          <p:nvPr>
            <p:ph type="body" sz="quarter" idx="10"/>
          </p:nvPr>
        </p:nvSpPr>
        <p:spPr/>
        <p:txBody>
          <a:bodyPr/>
          <a:lstStyle/>
          <a:p>
            <a:endParaRPr lang="en-US" dirty="0"/>
          </a:p>
        </p:txBody>
      </p:sp>
      <p:sp>
        <p:nvSpPr>
          <p:cNvPr id="11" name="Text Placeholder 10">
            <a:extLst>
              <a:ext uri="{FF2B5EF4-FFF2-40B4-BE49-F238E27FC236}">
                <a16:creationId xmlns:a16="http://schemas.microsoft.com/office/drawing/2014/main" id="{54657BC6-941D-B14B-8859-D120F10F77E1}"/>
              </a:ext>
            </a:extLst>
          </p:cNvPr>
          <p:cNvSpPr>
            <a:spLocks noGrp="1"/>
          </p:cNvSpPr>
          <p:nvPr>
            <p:ph type="body" sz="quarter" idx="24"/>
          </p:nvPr>
        </p:nvSpPr>
        <p:spPr/>
        <p:txBody>
          <a:bodyPr/>
          <a:lstStyle/>
          <a:p>
            <a:endParaRPr lang="en-US" dirty="0"/>
          </a:p>
        </p:txBody>
      </p:sp>
      <p:sp>
        <p:nvSpPr>
          <p:cNvPr id="5" name="Title 4">
            <a:extLst>
              <a:ext uri="{FF2B5EF4-FFF2-40B4-BE49-F238E27FC236}">
                <a16:creationId xmlns:a16="http://schemas.microsoft.com/office/drawing/2014/main" id="{5303CCFF-BA52-A64A-8BB6-07AD821FFC1F}"/>
              </a:ext>
            </a:extLst>
          </p:cNvPr>
          <p:cNvSpPr>
            <a:spLocks noGrp="1"/>
          </p:cNvSpPr>
          <p:nvPr>
            <p:ph type="title"/>
          </p:nvPr>
        </p:nvSpPr>
        <p:spPr/>
        <p:txBody>
          <a:bodyPr vert="horz"/>
          <a:lstStyle/>
          <a:p>
            <a:r>
              <a:rPr lang="en-US" dirty="0"/>
              <a:t>Table 2 over half width (x2)</a:t>
            </a:r>
          </a:p>
        </p:txBody>
      </p:sp>
      <p:sp>
        <p:nvSpPr>
          <p:cNvPr id="13" name="Text Placeholder 12">
            <a:extLst>
              <a:ext uri="{FF2B5EF4-FFF2-40B4-BE49-F238E27FC236}">
                <a16:creationId xmlns:a16="http://schemas.microsoft.com/office/drawing/2014/main" id="{E8367F3C-41E3-4B49-94D6-DEFDC377A520}"/>
              </a:ext>
            </a:extLst>
          </p:cNvPr>
          <p:cNvSpPr>
            <a:spLocks noGrp="1"/>
          </p:cNvSpPr>
          <p:nvPr>
            <p:ph type="body" sz="quarter" idx="29"/>
          </p:nvPr>
        </p:nvSpPr>
        <p:spPr/>
        <p:txBody>
          <a:bodyPr/>
          <a:lstStyle/>
          <a:p>
            <a:endParaRPr lang="en-US" dirty="0"/>
          </a:p>
        </p:txBody>
      </p:sp>
      <p:sp>
        <p:nvSpPr>
          <p:cNvPr id="12" name="Text Placeholder 11">
            <a:extLst>
              <a:ext uri="{FF2B5EF4-FFF2-40B4-BE49-F238E27FC236}">
                <a16:creationId xmlns:a16="http://schemas.microsoft.com/office/drawing/2014/main" id="{83097EF1-0D4A-4140-8FE9-AEB411564FDE}"/>
              </a:ext>
            </a:extLst>
          </p:cNvPr>
          <p:cNvSpPr>
            <a:spLocks noGrp="1"/>
          </p:cNvSpPr>
          <p:nvPr>
            <p:ph type="body" sz="quarter" idx="27"/>
          </p:nvPr>
        </p:nvSpPr>
        <p:spPr/>
        <p:txBody>
          <a:bodyPr/>
          <a:lstStyle/>
          <a:p>
            <a:endParaRPr lang="en-US" dirty="0"/>
          </a:p>
        </p:txBody>
      </p:sp>
      <p:graphicFrame>
        <p:nvGraphicFramePr>
          <p:cNvPr id="16" name="Table 8">
            <a:extLst>
              <a:ext uri="{FF2B5EF4-FFF2-40B4-BE49-F238E27FC236}">
                <a16:creationId xmlns:a16="http://schemas.microsoft.com/office/drawing/2014/main" id="{EC21F79C-ECDA-EA49-9AC6-78B80C48632E}"/>
              </a:ext>
            </a:extLst>
          </p:cNvPr>
          <p:cNvGraphicFramePr>
            <a:graphicFrameLocks/>
          </p:cNvGraphicFramePr>
          <p:nvPr>
            <p:extLst>
              <p:ext uri="{D42A27DB-BD31-4B8C-83A1-F6EECF244321}">
                <p14:modId xmlns:p14="http://schemas.microsoft.com/office/powerpoint/2010/main" val="357724825"/>
              </p:ext>
            </p:extLst>
          </p:nvPr>
        </p:nvGraphicFramePr>
        <p:xfrm>
          <a:off x="392113" y="1631748"/>
          <a:ext cx="4375317" cy="3337560"/>
        </p:xfrm>
        <a:graphic>
          <a:graphicData uri="http://schemas.openxmlformats.org/drawingml/2006/table">
            <a:tbl>
              <a:tblPr firstRow="1" bandRow="1">
                <a:tableStyleId>{5C22544A-7EE6-4342-B048-85BDC9FD1C3A}</a:tableStyleId>
              </a:tblPr>
              <a:tblGrid>
                <a:gridCol w="1458439">
                  <a:extLst>
                    <a:ext uri="{9D8B030D-6E8A-4147-A177-3AD203B41FA5}">
                      <a16:colId xmlns:a16="http://schemas.microsoft.com/office/drawing/2014/main" val="1957724543"/>
                    </a:ext>
                  </a:extLst>
                </a:gridCol>
                <a:gridCol w="1458439">
                  <a:extLst>
                    <a:ext uri="{9D8B030D-6E8A-4147-A177-3AD203B41FA5}">
                      <a16:colId xmlns:a16="http://schemas.microsoft.com/office/drawing/2014/main" val="535220563"/>
                    </a:ext>
                  </a:extLst>
                </a:gridCol>
                <a:gridCol w="1458439">
                  <a:extLst>
                    <a:ext uri="{9D8B030D-6E8A-4147-A177-3AD203B41FA5}">
                      <a16:colId xmlns:a16="http://schemas.microsoft.com/office/drawing/2014/main" val="1644004634"/>
                    </a:ext>
                  </a:extLst>
                </a:gridCol>
              </a:tblGrid>
              <a:tr h="370840">
                <a:tc>
                  <a:txBody>
                    <a:bodyPr/>
                    <a:lstStyle/>
                    <a:p>
                      <a:r>
                        <a:rPr lang="en-US" sz="1000" b="0" i="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rPr>
                        <a:t>(US$)</a:t>
                      </a:r>
                    </a:p>
                  </a:txBody>
                  <a:tcPr anchor="b">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000" b="0" i="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rPr>
                        <a:t>Heading 1</a:t>
                      </a:r>
                    </a:p>
                  </a:txBody>
                  <a:tcPr anchor="b">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000" b="0" i="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rPr>
                        <a:t>Heading 2</a:t>
                      </a:r>
                    </a:p>
                  </a:txBody>
                  <a:tcPr anchor="b">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8218133"/>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1</a:t>
                      </a:r>
                    </a:p>
                  </a:txBody>
                  <a:tcPr anchor="ctr">
                    <a:lnT w="19050" cap="flat" cmpd="sng" algn="ctr">
                      <a:solidFill>
                        <a:schemeClr val="accent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r>
                        <a:rPr lang="en-US" sz="1000" b="0" i="0" dirty="0">
                          <a:latin typeface="Roboto Light" panose="02000000000000000000" pitchFamily="2" charset="0"/>
                          <a:ea typeface="Roboto Light" panose="02000000000000000000" pitchFamily="2" charset="0"/>
                          <a:cs typeface="Roboto Light" panose="02000000000000000000" pitchFamily="2" charset="0"/>
                        </a:rPr>
                        <a:t>9,000</a:t>
                      </a:r>
                    </a:p>
                  </a:txBody>
                  <a:tcPr anchor="ctr">
                    <a:lnT w="19050" cap="flat" cmpd="sng" algn="ctr">
                      <a:solidFill>
                        <a:schemeClr val="accent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r>
                        <a:rPr lang="en-US" sz="1000" b="0" i="0" dirty="0">
                          <a:latin typeface="Roboto Light" panose="02000000000000000000" pitchFamily="2" charset="0"/>
                          <a:ea typeface="Roboto Light" panose="02000000000000000000" pitchFamily="2" charset="0"/>
                          <a:cs typeface="Roboto Light" panose="02000000000000000000" pitchFamily="2" charset="0"/>
                        </a:rPr>
                        <a:t>5,000</a:t>
                      </a:r>
                    </a:p>
                  </a:txBody>
                  <a:tcPr anchor="ctr">
                    <a:lnT w="19050" cap="flat" cmpd="sng" algn="ctr">
                      <a:solidFill>
                        <a:schemeClr val="accent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24884370"/>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2</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r>
                        <a:rPr lang="en-US" sz="1000" b="0" i="0" dirty="0">
                          <a:latin typeface="Roboto Light" panose="02000000000000000000" pitchFamily="2" charset="0"/>
                          <a:ea typeface="Roboto Light" panose="02000000000000000000" pitchFamily="2" charset="0"/>
                          <a:cs typeface="Roboto Light" panose="02000000000000000000" pitchFamily="2" charset="0"/>
                        </a:rPr>
                        <a:t>10,000</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r>
                        <a:rPr lang="en-US" sz="1000" b="0" i="0" dirty="0">
                          <a:latin typeface="Roboto Light" panose="02000000000000000000" pitchFamily="2" charset="0"/>
                          <a:ea typeface="Roboto Light" panose="02000000000000000000" pitchFamily="2" charset="0"/>
                          <a:cs typeface="Roboto Light" panose="02000000000000000000" pitchFamily="2" charset="0"/>
                        </a:rPr>
                        <a:t>6,000</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73541554"/>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3</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60532091"/>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4</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64691002"/>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5</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r"/>
                      <a:r>
                        <a:rPr lang="en-US" sz="1000" b="0" i="0" dirty="0">
                          <a:latin typeface="Roboto Light" panose="02000000000000000000" pitchFamily="2" charset="0"/>
                          <a:ea typeface="Roboto Light" panose="02000000000000000000" pitchFamily="2" charset="0"/>
                          <a:cs typeface="Roboto Light" panose="02000000000000000000" pitchFamily="2" charset="0"/>
                        </a:rPr>
                        <a:t>19,000</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16006703"/>
                  </a:ext>
                </a:extLst>
              </a:tr>
              <a:tr h="370840">
                <a:tc>
                  <a:txBody>
                    <a:bodyPr/>
                    <a:lstStyle/>
                    <a:p>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96434833"/>
                  </a:ext>
                </a:extLst>
              </a:tr>
              <a:tr h="370840">
                <a:tc>
                  <a:txBody>
                    <a:bodyPr/>
                    <a:lstStyle/>
                    <a:p>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88265647"/>
                  </a:ext>
                </a:extLst>
              </a:tr>
              <a:tr h="370840">
                <a:tc>
                  <a:txBody>
                    <a:bodyPr/>
                    <a:lstStyle/>
                    <a:p>
                      <a:r>
                        <a:rPr lang="en-US" sz="1000" b="1" i="0" dirty="0">
                          <a:latin typeface="Roboto" panose="02000000000000000000" pitchFamily="2" charset="0"/>
                          <a:ea typeface="Roboto" panose="02000000000000000000" pitchFamily="2" charset="0"/>
                          <a:cs typeface="Roboto" panose="02000000000000000000" pitchFamily="2" charset="0"/>
                        </a:rPr>
                        <a:t>Total</a:t>
                      </a:r>
                    </a:p>
                  </a:txBody>
                  <a:tcPr anchor="ctr">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solidFill>
                      <a:schemeClr val="bg1">
                        <a:lumMod val="95000"/>
                      </a:schemeClr>
                    </a:solidFill>
                  </a:tcPr>
                </a:tc>
                <a:tc>
                  <a:txBody>
                    <a:bodyPr/>
                    <a:lstStyle/>
                    <a:p>
                      <a:pPr algn="r"/>
                      <a:r>
                        <a:rPr lang="en-US" sz="1000" b="1" i="0" dirty="0">
                          <a:latin typeface="Roboto" panose="02000000000000000000" pitchFamily="2" charset="0"/>
                          <a:ea typeface="Roboto" panose="02000000000000000000" pitchFamily="2" charset="0"/>
                          <a:cs typeface="Roboto" panose="02000000000000000000" pitchFamily="2" charset="0"/>
                        </a:rPr>
                        <a:t>38,000</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solidFill>
                      <a:schemeClr val="bg1">
                        <a:lumMod val="95000"/>
                      </a:schemeClr>
                    </a:solidFill>
                  </a:tcPr>
                </a:tc>
                <a:tc>
                  <a:txBody>
                    <a:bodyPr/>
                    <a:lstStyle/>
                    <a:p>
                      <a:pPr algn="r"/>
                      <a:endParaRPr lang="en-US" sz="1000" b="1" i="0" dirty="0">
                        <a:latin typeface="Roboto" panose="02000000000000000000" pitchFamily="2" charset="0"/>
                        <a:ea typeface="Roboto" panose="02000000000000000000" pitchFamily="2" charset="0"/>
                        <a:cs typeface="Roboto"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4235403343"/>
                  </a:ext>
                </a:extLst>
              </a:tr>
            </a:tbl>
          </a:graphicData>
        </a:graphic>
      </p:graphicFrame>
      <p:graphicFrame>
        <p:nvGraphicFramePr>
          <p:cNvPr id="17" name="Table 8">
            <a:extLst>
              <a:ext uri="{FF2B5EF4-FFF2-40B4-BE49-F238E27FC236}">
                <a16:creationId xmlns:a16="http://schemas.microsoft.com/office/drawing/2014/main" id="{FD3C34E2-57D2-6245-A471-70042A946B30}"/>
              </a:ext>
            </a:extLst>
          </p:cNvPr>
          <p:cNvGraphicFramePr>
            <a:graphicFrameLocks/>
          </p:cNvGraphicFramePr>
          <p:nvPr>
            <p:extLst>
              <p:ext uri="{D42A27DB-BD31-4B8C-83A1-F6EECF244321}">
                <p14:modId xmlns:p14="http://schemas.microsoft.com/office/powerpoint/2010/main" val="3125177875"/>
              </p:ext>
            </p:extLst>
          </p:nvPr>
        </p:nvGraphicFramePr>
        <p:xfrm>
          <a:off x="5145603" y="1631748"/>
          <a:ext cx="4375317" cy="3337560"/>
        </p:xfrm>
        <a:graphic>
          <a:graphicData uri="http://schemas.openxmlformats.org/drawingml/2006/table">
            <a:tbl>
              <a:tblPr firstRow="1" bandRow="1">
                <a:tableStyleId>{5C22544A-7EE6-4342-B048-85BDC9FD1C3A}</a:tableStyleId>
              </a:tblPr>
              <a:tblGrid>
                <a:gridCol w="1458439">
                  <a:extLst>
                    <a:ext uri="{9D8B030D-6E8A-4147-A177-3AD203B41FA5}">
                      <a16:colId xmlns:a16="http://schemas.microsoft.com/office/drawing/2014/main" val="1957724543"/>
                    </a:ext>
                  </a:extLst>
                </a:gridCol>
                <a:gridCol w="1458439">
                  <a:extLst>
                    <a:ext uri="{9D8B030D-6E8A-4147-A177-3AD203B41FA5}">
                      <a16:colId xmlns:a16="http://schemas.microsoft.com/office/drawing/2014/main" val="535220563"/>
                    </a:ext>
                  </a:extLst>
                </a:gridCol>
                <a:gridCol w="1458439">
                  <a:extLst>
                    <a:ext uri="{9D8B030D-6E8A-4147-A177-3AD203B41FA5}">
                      <a16:colId xmlns:a16="http://schemas.microsoft.com/office/drawing/2014/main" val="1644004634"/>
                    </a:ext>
                  </a:extLst>
                </a:gridCol>
              </a:tblGrid>
              <a:tr h="370840">
                <a:tc>
                  <a:txBody>
                    <a:bodyPr/>
                    <a:lstStyle/>
                    <a:p>
                      <a:r>
                        <a:rPr lang="en-US" sz="1000" b="0" i="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rPr>
                        <a:t>(kt)</a:t>
                      </a:r>
                    </a:p>
                  </a:txBody>
                  <a:tcPr anchor="b">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000" b="0" i="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rPr>
                        <a:t>Heading 1</a:t>
                      </a:r>
                    </a:p>
                  </a:txBody>
                  <a:tcPr anchor="b">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000" b="0" i="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rPr>
                        <a:t>Heading 2</a:t>
                      </a:r>
                    </a:p>
                  </a:txBody>
                  <a:tcPr anchor="b">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8218133"/>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1</a:t>
                      </a:r>
                    </a:p>
                  </a:txBody>
                  <a:tcPr anchor="ctr">
                    <a:lnT w="19050" cap="flat" cmpd="sng" algn="ctr">
                      <a:solidFill>
                        <a:schemeClr val="accent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19050" cap="flat" cmpd="sng" algn="ctr">
                      <a:solidFill>
                        <a:schemeClr val="accent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19050" cap="flat" cmpd="sng" algn="ctr">
                      <a:solidFill>
                        <a:schemeClr val="accent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24884370"/>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2</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673541554"/>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3</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60532091"/>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4</a:t>
                      </a: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64691002"/>
                  </a:ext>
                </a:extLst>
              </a:tr>
              <a:tr h="370840">
                <a:tc>
                  <a:txBody>
                    <a:bodyPr/>
                    <a:lstStyle/>
                    <a:p>
                      <a:r>
                        <a:rPr lang="en-US" sz="1000" b="0" i="0" dirty="0">
                          <a:latin typeface="Roboto Light" panose="02000000000000000000" pitchFamily="2" charset="0"/>
                          <a:ea typeface="Roboto Light" panose="02000000000000000000" pitchFamily="2" charset="0"/>
                          <a:cs typeface="Roboto Light" panose="02000000000000000000" pitchFamily="2" charset="0"/>
                        </a:rPr>
                        <a:t>Category 5</a:t>
                      </a: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16006703"/>
                  </a:ext>
                </a:extLst>
              </a:tr>
              <a:tr h="370840">
                <a:tc>
                  <a:txBody>
                    <a:bodyPr/>
                    <a:lstStyle/>
                    <a:p>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896434833"/>
                  </a:ext>
                </a:extLst>
              </a:tr>
              <a:tr h="370840">
                <a:tc>
                  <a:txBody>
                    <a:bodyPr/>
                    <a:lstStyle/>
                    <a:p>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r"/>
                      <a:endParaRPr lang="en-US" sz="1000" b="0" i="0" dirty="0">
                        <a:latin typeface="Roboto Light" panose="02000000000000000000" pitchFamily="2" charset="0"/>
                        <a:ea typeface="Roboto Light" panose="02000000000000000000" pitchFamily="2" charset="0"/>
                        <a:cs typeface="Roboto Light" panose="02000000000000000000" pitchFamily="2" charset="0"/>
                      </a:endParaRPr>
                    </a:p>
                  </a:txBody>
                  <a:tcPr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88265647"/>
                  </a:ext>
                </a:extLst>
              </a:tr>
              <a:tr h="370840">
                <a:tc>
                  <a:txBody>
                    <a:bodyPr/>
                    <a:lstStyle/>
                    <a:p>
                      <a:r>
                        <a:rPr lang="en-US" sz="1000" b="1" i="0" dirty="0">
                          <a:latin typeface="Roboto" panose="02000000000000000000" pitchFamily="2" charset="0"/>
                          <a:ea typeface="Roboto" panose="02000000000000000000" pitchFamily="2" charset="0"/>
                          <a:cs typeface="Roboto" panose="02000000000000000000" pitchFamily="2" charset="0"/>
                        </a:rPr>
                        <a:t>Total</a:t>
                      </a:r>
                    </a:p>
                  </a:txBody>
                  <a:tcPr anchor="ctr">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solidFill>
                      <a:schemeClr val="bg1">
                        <a:lumMod val="95000"/>
                      </a:schemeClr>
                    </a:solidFill>
                  </a:tcPr>
                </a:tc>
                <a:tc>
                  <a:txBody>
                    <a:bodyPr/>
                    <a:lstStyle/>
                    <a:p>
                      <a:pPr algn="r"/>
                      <a:endParaRPr lang="en-US" sz="1000" b="1" i="0" dirty="0">
                        <a:latin typeface="Roboto" panose="02000000000000000000" pitchFamily="2" charset="0"/>
                        <a:ea typeface="Roboto" panose="02000000000000000000" pitchFamily="2" charset="0"/>
                        <a:cs typeface="Roboto"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solidFill>
                      <a:schemeClr val="bg1">
                        <a:lumMod val="95000"/>
                      </a:schemeClr>
                    </a:solidFill>
                  </a:tcPr>
                </a:tc>
                <a:tc>
                  <a:txBody>
                    <a:bodyPr/>
                    <a:lstStyle/>
                    <a:p>
                      <a:pPr algn="r"/>
                      <a:endParaRPr lang="en-US" sz="1000" b="1" i="0" dirty="0">
                        <a:latin typeface="Roboto" panose="02000000000000000000" pitchFamily="2" charset="0"/>
                        <a:ea typeface="Roboto" panose="02000000000000000000" pitchFamily="2" charset="0"/>
                        <a:cs typeface="Roboto"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4235403343"/>
                  </a:ext>
                </a:extLst>
              </a:tr>
            </a:tbl>
          </a:graphicData>
        </a:graphic>
      </p:graphicFrame>
      <p:sp>
        <p:nvSpPr>
          <p:cNvPr id="9" name="Rectangle 8">
            <a:extLst>
              <a:ext uri="{FF2B5EF4-FFF2-40B4-BE49-F238E27FC236}">
                <a16:creationId xmlns:a16="http://schemas.microsoft.com/office/drawing/2014/main" id="{DC62E953-05A9-2F41-97B9-4593146B5F6D}"/>
              </a:ext>
            </a:extLst>
          </p:cNvPr>
          <p:cNvSpPr/>
          <p:nvPr/>
        </p:nvSpPr>
        <p:spPr>
          <a:xfrm>
            <a:off x="10660965" y="2607501"/>
            <a:ext cx="1385887" cy="1892826"/>
          </a:xfrm>
          <a:prstGeom prst="rect">
            <a:avLst/>
          </a:prstGeom>
          <a:solidFill>
            <a:schemeClr val="bg2"/>
          </a:solidFill>
        </p:spPr>
        <p:txBody>
          <a:bodyPr wrap="square">
            <a:spAutoFit/>
          </a:bodyPr>
          <a:lstStyle/>
          <a:p>
            <a:pPr>
              <a:spcAft>
                <a:spcPts val="0"/>
              </a:spcAft>
            </a:pPr>
            <a:r>
              <a:rPr lang="en-GB" sz="900" cap="all" baseline="0" dirty="0">
                <a:solidFill>
                  <a:schemeClr val="accent1"/>
                </a:solidFill>
                <a:latin typeface="Roboto Light" panose="02000000000000000000" pitchFamily="2" charset="0"/>
                <a:ea typeface="Roboto Light" panose="02000000000000000000" pitchFamily="2" charset="0"/>
                <a:cs typeface="Arial" panose="020B0604020202020204" pitchFamily="34" charset="0"/>
              </a:rPr>
              <a:t>TABLES</a:t>
            </a:r>
          </a:p>
          <a:p>
            <a:pPr marL="90488" indent="-90488">
              <a:spcAft>
                <a:spcPts val="0"/>
              </a:spcAft>
              <a:buFont typeface="Wingdings" pitchFamily="2" charset="2"/>
              <a:buChar char="§"/>
            </a:pPr>
            <a:r>
              <a:rPr lang="en-GB" sz="900" dirty="0">
                <a:latin typeface="Roboto Light" panose="02000000000000000000" pitchFamily="2" charset="0"/>
                <a:ea typeface="Roboto Light" panose="02000000000000000000" pitchFamily="2" charset="0"/>
                <a:cs typeface="Arial" panose="020B0604020202020204" pitchFamily="34" charset="0"/>
              </a:rPr>
              <a:t>Heading Roboto Medium, rest Light</a:t>
            </a:r>
          </a:p>
          <a:p>
            <a:pPr marL="90488" indent="-90488">
              <a:spcAft>
                <a:spcPts val="0"/>
              </a:spcAft>
              <a:buFont typeface="Wingdings" pitchFamily="2" charset="2"/>
              <a:buChar char="§"/>
            </a:pPr>
            <a:r>
              <a:rPr lang="en-GB" sz="900" dirty="0">
                <a:latin typeface="Roboto Light" panose="02000000000000000000" pitchFamily="2" charset="0"/>
                <a:ea typeface="Roboto Light" panose="02000000000000000000" pitchFamily="2" charset="0"/>
                <a:cs typeface="Arial" panose="020B0604020202020204" pitchFamily="34" charset="0"/>
              </a:rPr>
              <a:t>Top Line 1pt Dark Blue, Accent 1</a:t>
            </a:r>
          </a:p>
          <a:p>
            <a:pPr marL="90488" indent="-90488">
              <a:spcAft>
                <a:spcPts val="0"/>
              </a:spcAft>
              <a:buFont typeface="Wingdings" pitchFamily="2" charset="2"/>
              <a:buChar char="§"/>
            </a:pPr>
            <a:r>
              <a:rPr lang="en-GB" sz="900" dirty="0">
                <a:solidFill>
                  <a:schemeClr val="tx1"/>
                </a:solidFill>
                <a:latin typeface="Roboto Light" panose="02000000000000000000" pitchFamily="2" charset="0"/>
                <a:ea typeface="Roboto Light" panose="02000000000000000000" pitchFamily="2" charset="0"/>
                <a:cs typeface="Arial" panose="020B0604020202020204" pitchFamily="34" charset="0"/>
              </a:rPr>
              <a:t>Lines between rows 3/4pt, Light Blue accent 4 </a:t>
            </a:r>
          </a:p>
          <a:p>
            <a:pPr marL="90488" indent="-90488">
              <a:spcAft>
                <a:spcPts val="0"/>
              </a:spcAft>
              <a:buFont typeface="Wingdings" pitchFamily="2" charset="2"/>
              <a:buChar char="§"/>
            </a:pPr>
            <a:r>
              <a:rPr lang="en-GB" sz="900" dirty="0">
                <a:latin typeface="Roboto Light" panose="02000000000000000000" pitchFamily="2" charset="0"/>
                <a:ea typeface="Roboto Light" panose="02000000000000000000" pitchFamily="2" charset="0"/>
                <a:cs typeface="Arial" panose="020B0604020202020204" pitchFamily="34" charset="0"/>
              </a:rPr>
              <a:t>Total row, Light Grey Background 2, no line underneath</a:t>
            </a:r>
          </a:p>
          <a:p>
            <a:pPr marL="90488" indent="-90488">
              <a:spcAft>
                <a:spcPts val="0"/>
              </a:spcAft>
              <a:buFont typeface="Wingdings" pitchFamily="2" charset="2"/>
              <a:buChar char="§"/>
            </a:pPr>
            <a:r>
              <a:rPr lang="en-GB" sz="900" dirty="0">
                <a:solidFill>
                  <a:schemeClr val="tx1"/>
                </a:solidFill>
                <a:latin typeface="Roboto Light" panose="02000000000000000000" pitchFamily="2" charset="0"/>
                <a:ea typeface="Roboto Light" panose="02000000000000000000" pitchFamily="2" charset="0"/>
                <a:cs typeface="Arial" panose="020B0604020202020204" pitchFamily="34" charset="0"/>
              </a:rPr>
              <a:t>No line above or below shader </a:t>
            </a:r>
            <a:r>
              <a:rPr lang="en-GB" sz="900" dirty="0">
                <a:latin typeface="Roboto Light" panose="02000000000000000000" pitchFamily="2" charset="0"/>
                <a:ea typeface="Roboto Light" panose="02000000000000000000" pitchFamily="2" charset="0"/>
                <a:cs typeface="Arial" panose="020B0604020202020204" pitchFamily="34" charset="0"/>
              </a:rPr>
              <a:t>rows</a:t>
            </a:r>
            <a:endParaRPr lang="en-GB" sz="900" dirty="0">
              <a:solidFill>
                <a:schemeClr val="tx1"/>
              </a:solidFill>
              <a:latin typeface="Roboto Light" panose="02000000000000000000" pitchFamily="2" charset="0"/>
              <a:ea typeface="Roboto Light" panose="02000000000000000000" pitchFamily="2" charset="0"/>
              <a:cs typeface="Arial" panose="020B0604020202020204" pitchFamily="34" charset="0"/>
            </a:endParaRPr>
          </a:p>
        </p:txBody>
      </p:sp>
    </p:spTree>
    <p:extLst>
      <p:ext uri="{BB962C8B-B14F-4D97-AF65-F5344CB8AC3E}">
        <p14:creationId xmlns:p14="http://schemas.microsoft.com/office/powerpoint/2010/main" val="39464421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31DC37-5650-F9F6-C985-8230EA701E0F}"/>
              </a:ext>
            </a:extLst>
          </p:cNvPr>
          <p:cNvGraphicFramePr>
            <a:graphicFrameLocks noChangeAspect="1"/>
          </p:cNvGraphicFramePr>
          <p:nvPr>
            <p:custDataLst>
              <p:tags r:id="rId1"/>
            </p:custDataLst>
            <p:extLst>
              <p:ext uri="{D42A27DB-BD31-4B8C-83A1-F6EECF244321}">
                <p14:modId xmlns:p14="http://schemas.microsoft.com/office/powerpoint/2010/main" val="2597831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9C31DC37-5650-F9F6-C985-8230EA701E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07C80D8-B47F-E886-196D-67306F943E54}"/>
              </a:ext>
            </a:extLst>
          </p:cNvPr>
          <p:cNvSpPr>
            <a:spLocks noGrp="1"/>
          </p:cNvSpPr>
          <p:nvPr>
            <p:ph type="body" sz="quarter" idx="10"/>
          </p:nvPr>
        </p:nvSpPr>
        <p:spPr/>
        <p:txBody>
          <a:bodyPr/>
          <a:lstStyle/>
          <a:p>
            <a:endParaRPr lang="nl-NL"/>
          </a:p>
        </p:txBody>
      </p:sp>
      <p:sp>
        <p:nvSpPr>
          <p:cNvPr id="2" name="Title 1">
            <a:extLst>
              <a:ext uri="{FF2B5EF4-FFF2-40B4-BE49-F238E27FC236}">
                <a16:creationId xmlns:a16="http://schemas.microsoft.com/office/drawing/2014/main" id="{A6C496E1-AA22-8DE5-CF14-31502BFA62AE}"/>
              </a:ext>
            </a:extLst>
          </p:cNvPr>
          <p:cNvSpPr>
            <a:spLocks noGrp="1"/>
          </p:cNvSpPr>
          <p:nvPr>
            <p:ph type="title"/>
          </p:nvPr>
        </p:nvSpPr>
        <p:spPr/>
        <p:txBody>
          <a:bodyPr/>
          <a:lstStyle/>
          <a:p>
            <a:endParaRPr lang="nl-NL"/>
          </a:p>
        </p:txBody>
      </p:sp>
      <p:sp>
        <p:nvSpPr>
          <p:cNvPr id="4" name="Text Placeholder 3">
            <a:extLst>
              <a:ext uri="{FF2B5EF4-FFF2-40B4-BE49-F238E27FC236}">
                <a16:creationId xmlns:a16="http://schemas.microsoft.com/office/drawing/2014/main" id="{1C116FE5-FBAF-1BB1-5FE4-A5A73B7CDDAF}"/>
              </a:ext>
            </a:extLst>
          </p:cNvPr>
          <p:cNvSpPr>
            <a:spLocks noGrp="1"/>
          </p:cNvSpPr>
          <p:nvPr>
            <p:ph type="body" sz="quarter" idx="27"/>
          </p:nvPr>
        </p:nvSpPr>
        <p:spPr/>
        <p:txBody>
          <a:bodyPr/>
          <a:lstStyle/>
          <a:p>
            <a:endParaRPr lang="nl-NL"/>
          </a:p>
        </p:txBody>
      </p:sp>
      <p:graphicFrame>
        <p:nvGraphicFramePr>
          <p:cNvPr id="11" name="Table 10">
            <a:extLst>
              <a:ext uri="{FF2B5EF4-FFF2-40B4-BE49-F238E27FC236}">
                <a16:creationId xmlns:a16="http://schemas.microsoft.com/office/drawing/2014/main" id="{1B10AA69-5F62-D74E-B893-D6A5E6DEF222}"/>
              </a:ext>
            </a:extLst>
          </p:cNvPr>
          <p:cNvGraphicFramePr>
            <a:graphicFrameLocks noGrp="1"/>
          </p:cNvGraphicFramePr>
          <p:nvPr>
            <p:extLst>
              <p:ext uri="{D42A27DB-BD31-4B8C-83A1-F6EECF244321}">
                <p14:modId xmlns:p14="http://schemas.microsoft.com/office/powerpoint/2010/main" val="2764205955"/>
              </p:ext>
            </p:extLst>
          </p:nvPr>
        </p:nvGraphicFramePr>
        <p:xfrm>
          <a:off x="392400" y="1455047"/>
          <a:ext cx="9120354" cy="4437696"/>
        </p:xfrm>
        <a:graphic>
          <a:graphicData uri="http://schemas.openxmlformats.org/drawingml/2006/table">
            <a:tbl>
              <a:tblPr firstRow="1" firstCol="1" bandRow="1">
                <a:tableStyleId>{5C22544A-7EE6-4342-B048-85BDC9FD1C3A}</a:tableStyleId>
              </a:tblPr>
              <a:tblGrid>
                <a:gridCol w="1215420">
                  <a:extLst>
                    <a:ext uri="{9D8B030D-6E8A-4147-A177-3AD203B41FA5}">
                      <a16:colId xmlns:a16="http://schemas.microsoft.com/office/drawing/2014/main" val="3338023463"/>
                    </a:ext>
                  </a:extLst>
                </a:gridCol>
                <a:gridCol w="2634978">
                  <a:extLst>
                    <a:ext uri="{9D8B030D-6E8A-4147-A177-3AD203B41FA5}">
                      <a16:colId xmlns:a16="http://schemas.microsoft.com/office/drawing/2014/main" val="3176874791"/>
                    </a:ext>
                  </a:extLst>
                </a:gridCol>
                <a:gridCol w="2634978">
                  <a:extLst>
                    <a:ext uri="{9D8B030D-6E8A-4147-A177-3AD203B41FA5}">
                      <a16:colId xmlns:a16="http://schemas.microsoft.com/office/drawing/2014/main" val="2222778891"/>
                    </a:ext>
                  </a:extLst>
                </a:gridCol>
                <a:gridCol w="2634978">
                  <a:extLst>
                    <a:ext uri="{9D8B030D-6E8A-4147-A177-3AD203B41FA5}">
                      <a16:colId xmlns:a16="http://schemas.microsoft.com/office/drawing/2014/main" val="2463893163"/>
                    </a:ext>
                  </a:extLst>
                </a:gridCol>
              </a:tblGrid>
              <a:tr h="250653">
                <a:tc>
                  <a:txBody>
                    <a:bodyPr/>
                    <a:lstStyle/>
                    <a:p>
                      <a:pPr algn="ctr">
                        <a:lnSpc>
                          <a:spcPct val="106000"/>
                        </a:lnSpc>
                        <a:spcAft>
                          <a:spcPts val="800"/>
                        </a:spcAft>
                      </a:pPr>
                      <a:endParaRPr lang="en-AU" sz="1200" b="0" i="0" dirty="0">
                        <a:effectLst/>
                        <a:latin typeface="Roboto Medium" panose="02000000000000000000" pitchFamily="2" charset="0"/>
                        <a:ea typeface="Roboto Medium" panose="02000000000000000000" pitchFamily="2" charset="0"/>
                        <a:cs typeface="Roboto Medium" panose="02000000000000000000" pitchFamily="2" charset="0"/>
                      </a:endParaRPr>
                    </a:p>
                  </a:txBody>
                  <a:tcPr marL="56832" marR="56832" marT="0" marB="0" anchor="ctr">
                    <a:lnL w="12700" cmpd="sng">
                      <a:noFill/>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6000"/>
                        </a:lnSpc>
                        <a:spcAft>
                          <a:spcPts val="800"/>
                        </a:spcAft>
                      </a:pPr>
                      <a:r>
                        <a:rPr lang="en-AU" sz="1200" b="0" i="0" dirty="0">
                          <a:solidFill>
                            <a:schemeClr val="accent1"/>
                          </a:solidFill>
                          <a:effectLst/>
                          <a:latin typeface="Roboto Medium" panose="02000000000000000000" pitchFamily="2" charset="0"/>
                          <a:ea typeface="Roboto Medium" panose="02000000000000000000" pitchFamily="2" charset="0"/>
                          <a:cs typeface="Roboto Medium" panose="02000000000000000000" pitchFamily="2" charset="0"/>
                        </a:rPr>
                        <a:t>Title 1</a:t>
                      </a:r>
                    </a:p>
                  </a:txBody>
                  <a:tcPr marL="56832" marR="56832" marT="0" marB="0" anchor="ctr">
                    <a:lnL w="12700" cmpd="sng">
                      <a:noFill/>
                    </a:lnL>
                    <a:lnR w="12700" cap="flat" cmpd="sng" algn="ctr">
                      <a:solidFill>
                        <a:schemeClr val="bg1"/>
                      </a:solidFill>
                      <a:prstDash val="solid"/>
                      <a:round/>
                      <a:headEnd type="none" w="med" len="med"/>
                      <a:tailEnd type="none" w="med" len="med"/>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6000"/>
                        </a:lnSpc>
                        <a:spcAft>
                          <a:spcPts val="800"/>
                        </a:spcAft>
                      </a:pPr>
                      <a:r>
                        <a:rPr lang="en-AU" sz="1200" b="0" i="0" dirty="0">
                          <a:solidFill>
                            <a:schemeClr val="accent1"/>
                          </a:solidFill>
                          <a:effectLst/>
                          <a:latin typeface="Roboto Medium" panose="02000000000000000000" pitchFamily="2" charset="0"/>
                          <a:ea typeface="Roboto Medium" panose="02000000000000000000" pitchFamily="2" charset="0"/>
                          <a:cs typeface="Roboto Medium" panose="02000000000000000000" pitchFamily="2" charset="0"/>
                        </a:rPr>
                        <a:t>Title 2</a:t>
                      </a:r>
                    </a:p>
                  </a:txBody>
                  <a:tcPr marL="56832" marR="5683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6000"/>
                        </a:lnSpc>
                        <a:spcAft>
                          <a:spcPts val="800"/>
                        </a:spcAft>
                      </a:pPr>
                      <a:r>
                        <a:rPr lang="en-AU" sz="1200" b="0" i="0" dirty="0">
                          <a:solidFill>
                            <a:schemeClr val="accent1"/>
                          </a:solidFill>
                          <a:effectLst/>
                          <a:latin typeface="Roboto Medium" panose="02000000000000000000" pitchFamily="2" charset="0"/>
                          <a:ea typeface="Roboto Medium" panose="02000000000000000000" pitchFamily="2" charset="0"/>
                          <a:cs typeface="Roboto Medium" panose="02000000000000000000" pitchFamily="2" charset="0"/>
                        </a:rPr>
                        <a:t>Title 3</a:t>
                      </a:r>
                    </a:p>
                  </a:txBody>
                  <a:tcPr marL="56832" marR="56832" marT="0" marB="0" anchor="ctr">
                    <a:lnL w="12700" cap="flat" cmpd="sng" algn="ctr">
                      <a:solidFill>
                        <a:schemeClr val="bg1"/>
                      </a:solidFill>
                      <a:prstDash val="solid"/>
                      <a:round/>
                      <a:headEnd type="none" w="med" len="med"/>
                      <a:tailEnd type="none" w="med" len="med"/>
                    </a:lnL>
                    <a:lnR w="12700" cmpd="sng">
                      <a:noFill/>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9940638"/>
                  </a:ext>
                </a:extLst>
              </a:tr>
              <a:tr h="2480975">
                <a:tc>
                  <a:txBody>
                    <a:bodyPr/>
                    <a:lstStyle/>
                    <a:p>
                      <a:pPr algn="ctr">
                        <a:lnSpc>
                          <a:spcPct val="106000"/>
                        </a:lnSpc>
                        <a:spcAft>
                          <a:spcPts val="800"/>
                        </a:spcAft>
                      </a:pPr>
                      <a:r>
                        <a:rPr lang="en-AU" sz="1200" b="0" i="0" dirty="0">
                          <a:solidFill>
                            <a:schemeClr val="tx1"/>
                          </a:solidFill>
                          <a:effectLst/>
                          <a:latin typeface="Roboto Light" panose="02000000000000000000" pitchFamily="2" charset="0"/>
                          <a:ea typeface="Roboto Light" panose="02000000000000000000" pitchFamily="2" charset="0"/>
                          <a:cs typeface="Roboto Light" panose="02000000000000000000" pitchFamily="2" charset="0"/>
                        </a:rPr>
                        <a:t>Row 1</a:t>
                      </a:r>
                    </a:p>
                  </a:txBody>
                  <a:tcPr marL="56832" marR="56832" marT="0" marB="0" anchor="ctr">
                    <a:lnL w="12700" cmpd="sng">
                      <a:noFill/>
                    </a:lnL>
                    <a:lnR w="12700" cmpd="sng">
                      <a:noFill/>
                    </a:lnR>
                    <a:lnT w="19050" cap="flat" cmpd="sng" algn="ctr">
                      <a:solidFill>
                        <a:schemeClr val="accent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180975" marR="0" lvl="1" indent="-180975" algn="l" defTabSz="914400" rtl="0" eaLnBrk="1" fontAlgn="auto" latinLnBrk="0" hangingPunct="1">
                        <a:lnSpc>
                          <a:spcPct val="100000"/>
                        </a:lnSpc>
                        <a:spcBef>
                          <a:spcPts val="600"/>
                        </a:spcBef>
                        <a:spcAft>
                          <a:spcPts val="600"/>
                        </a:spcAft>
                        <a:buClrTx/>
                        <a:buSzPct val="100000"/>
                        <a:buFont typeface="Wingdings" panose="05000000000000000000" pitchFamily="2" charset="2"/>
                        <a:buChar char="§"/>
                        <a:tabLst/>
                        <a:defRPr/>
                      </a:pPr>
                      <a:r>
                        <a:rPr kumimoji="0" lang="en-US" sz="1200" b="0" i="0" u="none" strike="noStrike" kern="1200" cap="none" spc="0" normalizeH="0" baseline="0" noProof="0" dirty="0">
                          <a:ln>
                            <a:noFill/>
                          </a:ln>
                          <a:solidFill>
                            <a:schemeClr val="tx1"/>
                          </a:solidFill>
                          <a:effectLst/>
                          <a:uLnTx/>
                          <a:uFillTx/>
                          <a:latin typeface="Roboto Light" panose="02000000000000000000" pitchFamily="2" charset="0"/>
                          <a:ea typeface="Roboto Light" panose="02000000000000000000" pitchFamily="2" charset="0"/>
                          <a:cs typeface="Roboto Light" panose="02000000000000000000" pitchFamily="2" charset="0"/>
                        </a:rPr>
                        <a:t>[Text to come]</a:t>
                      </a:r>
                    </a:p>
                    <a:p>
                      <a:pPr marL="361950" marR="0" lvl="2" indent="-182563" algn="l" defTabSz="914400" rtl="0" eaLnBrk="1" fontAlgn="auto" latinLnBrk="0" hangingPunct="1">
                        <a:lnSpc>
                          <a:spcPct val="100000"/>
                        </a:lnSpc>
                        <a:spcBef>
                          <a:spcPts val="600"/>
                        </a:spcBef>
                        <a:spcAft>
                          <a:spcPts val="500"/>
                        </a:spcAft>
                        <a:buClrTx/>
                        <a:buSzPct val="50000"/>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Roboto Light" panose="02000000000000000000" pitchFamily="2" charset="0"/>
                          <a:ea typeface="Roboto Light" panose="02000000000000000000" pitchFamily="2" charset="0"/>
                          <a:cs typeface="Roboto Light" panose="02000000000000000000" pitchFamily="2" charset="0"/>
                        </a:rPr>
                        <a:t>[The text to come]</a:t>
                      </a:r>
                    </a:p>
                  </a:txBody>
                  <a:tcPr marL="144000" marR="144000" marT="57600" marB="57600">
                    <a:lnL w="12700" cmpd="sng">
                      <a:noFill/>
                    </a:lnL>
                    <a:lnR w="12700" cmpd="sng">
                      <a:noFill/>
                    </a:lnR>
                    <a:lnT w="19050" cap="flat" cmpd="sng" algn="ctr">
                      <a:solidFill>
                        <a:schemeClr val="accent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marR="0" lvl="1" indent="-180975" algn="l" defTabSz="914400" rtl="0" eaLnBrk="1" fontAlgn="auto" latinLnBrk="0" hangingPunct="1">
                        <a:lnSpc>
                          <a:spcPct val="100000"/>
                        </a:lnSpc>
                        <a:spcBef>
                          <a:spcPts val="600"/>
                        </a:spcBef>
                        <a:spcAft>
                          <a:spcPts val="600"/>
                        </a:spcAft>
                        <a:buClrTx/>
                        <a:buSzPct val="100000"/>
                        <a:buFont typeface="Wingdings" panose="05000000000000000000" pitchFamily="2" charset="2"/>
                        <a:buChar char="§"/>
                        <a:tabLst/>
                        <a:defRPr/>
                      </a:pPr>
                      <a:r>
                        <a:rPr kumimoji="0" lang="en-US" sz="1200" b="0" i="0" u="none" strike="noStrike" kern="1200" cap="none" spc="0" normalizeH="0" baseline="0" noProof="0" dirty="0">
                          <a:ln>
                            <a:noFill/>
                          </a:ln>
                          <a:solidFill>
                            <a:schemeClr val="tx1"/>
                          </a:solidFill>
                          <a:effectLst/>
                          <a:uLnTx/>
                          <a:uFillTx/>
                          <a:latin typeface="Roboto Light" panose="02000000000000000000" pitchFamily="2" charset="0"/>
                          <a:ea typeface="Roboto Light" panose="02000000000000000000" pitchFamily="2" charset="0"/>
                          <a:cs typeface="Roboto Light" panose="02000000000000000000" pitchFamily="2" charset="0"/>
                        </a:rPr>
                        <a:t>[Text to come]</a:t>
                      </a:r>
                    </a:p>
                    <a:p>
                      <a:pPr marL="361950" marR="0" lvl="2" indent="-182563" algn="l" defTabSz="914400" rtl="0" eaLnBrk="1" fontAlgn="auto" latinLnBrk="0" hangingPunct="1">
                        <a:lnSpc>
                          <a:spcPct val="100000"/>
                        </a:lnSpc>
                        <a:spcBef>
                          <a:spcPts val="600"/>
                        </a:spcBef>
                        <a:spcAft>
                          <a:spcPts val="500"/>
                        </a:spcAft>
                        <a:buClrTx/>
                        <a:buSzPct val="50000"/>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Roboto Light" panose="02000000000000000000" pitchFamily="2" charset="0"/>
                          <a:ea typeface="Roboto Light" panose="02000000000000000000" pitchFamily="2" charset="0"/>
                          <a:cs typeface="Roboto Light" panose="02000000000000000000" pitchFamily="2" charset="0"/>
                        </a:rPr>
                        <a:t>[The text to come]</a:t>
                      </a:r>
                    </a:p>
                  </a:txBody>
                  <a:tcPr marL="144000" marR="144000" marT="57600" marB="57600">
                    <a:lnL w="12700" cmpd="sng">
                      <a:noFill/>
                    </a:lnL>
                    <a:lnR w="12700" cmpd="sng">
                      <a:noFill/>
                    </a:lnR>
                    <a:lnT w="19050" cap="flat" cmpd="sng" algn="ctr">
                      <a:solidFill>
                        <a:schemeClr val="accent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marR="0" lvl="1" indent="-180975" algn="l" defTabSz="914400" rtl="0" eaLnBrk="1" fontAlgn="auto" latinLnBrk="0" hangingPunct="1">
                        <a:lnSpc>
                          <a:spcPct val="100000"/>
                        </a:lnSpc>
                        <a:spcBef>
                          <a:spcPts val="600"/>
                        </a:spcBef>
                        <a:spcAft>
                          <a:spcPts val="600"/>
                        </a:spcAft>
                        <a:buClrTx/>
                        <a:buSzPct val="100000"/>
                        <a:buFont typeface="Wingdings" panose="05000000000000000000" pitchFamily="2" charset="2"/>
                        <a:buChar char="§"/>
                        <a:tabLst/>
                        <a:defRPr/>
                      </a:pPr>
                      <a:r>
                        <a:rPr kumimoji="0" lang="en-US" sz="1200" b="0" i="0" u="none" strike="noStrike" kern="1200" cap="none" spc="0" normalizeH="0" baseline="0" noProof="0" dirty="0">
                          <a:ln>
                            <a:noFill/>
                          </a:ln>
                          <a:solidFill>
                            <a:schemeClr val="tx1"/>
                          </a:solidFill>
                          <a:effectLst/>
                          <a:uLnTx/>
                          <a:uFillTx/>
                          <a:latin typeface="Roboto Light" panose="02000000000000000000" pitchFamily="2" charset="0"/>
                          <a:ea typeface="Roboto Light" panose="02000000000000000000" pitchFamily="2" charset="0"/>
                          <a:cs typeface="Roboto Light" panose="02000000000000000000" pitchFamily="2" charset="0"/>
                        </a:rPr>
                        <a:t>[Text to come]</a:t>
                      </a:r>
                    </a:p>
                    <a:p>
                      <a:pPr marL="361950" marR="0" lvl="2" indent="-182563" algn="l" defTabSz="914400" rtl="0" eaLnBrk="1" fontAlgn="auto" latinLnBrk="0" hangingPunct="1">
                        <a:lnSpc>
                          <a:spcPct val="100000"/>
                        </a:lnSpc>
                        <a:spcBef>
                          <a:spcPts val="600"/>
                        </a:spcBef>
                        <a:spcAft>
                          <a:spcPts val="500"/>
                        </a:spcAft>
                        <a:buClrTx/>
                        <a:buSzPct val="50000"/>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Roboto Light" panose="02000000000000000000" pitchFamily="2" charset="0"/>
                          <a:ea typeface="Roboto Light" panose="02000000000000000000" pitchFamily="2" charset="0"/>
                          <a:cs typeface="Roboto Light" panose="02000000000000000000" pitchFamily="2" charset="0"/>
                        </a:rPr>
                        <a:t>[The text to come]</a:t>
                      </a:r>
                    </a:p>
                  </a:txBody>
                  <a:tcPr marL="144000" marR="144000" marT="57600" marB="57600">
                    <a:lnL w="12700" cmpd="sng">
                      <a:noFill/>
                    </a:lnL>
                    <a:lnR w="12700" cmpd="sng">
                      <a:noFill/>
                    </a:lnR>
                    <a:lnT w="19050" cap="flat" cmpd="sng" algn="ctr">
                      <a:solidFill>
                        <a:schemeClr val="accent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7895897"/>
                  </a:ext>
                </a:extLst>
              </a:tr>
              <a:tr h="1706068">
                <a:tc>
                  <a:txBody>
                    <a:bodyPr/>
                    <a:lstStyle/>
                    <a:p>
                      <a:pPr algn="ctr">
                        <a:lnSpc>
                          <a:spcPct val="106000"/>
                        </a:lnSpc>
                        <a:spcAft>
                          <a:spcPts val="800"/>
                        </a:spcAft>
                      </a:pPr>
                      <a:r>
                        <a:rPr lang="en-AU" sz="1200" b="0" i="0" dirty="0">
                          <a:solidFill>
                            <a:schemeClr val="tx1"/>
                          </a:solidFill>
                          <a:effectLst/>
                          <a:latin typeface="Roboto Light" panose="02000000000000000000" pitchFamily="2" charset="0"/>
                          <a:ea typeface="Roboto Light" panose="02000000000000000000" pitchFamily="2" charset="0"/>
                          <a:cs typeface="Roboto Light" panose="02000000000000000000" pitchFamily="2" charset="0"/>
                        </a:rPr>
                        <a:t>Row 2</a:t>
                      </a:r>
                    </a:p>
                  </a:txBody>
                  <a:tcPr marL="56832" marR="56832"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180975" marR="0" lvl="1" indent="-180975" algn="l" defTabSz="914400" rtl="0" eaLnBrk="1" fontAlgn="auto" latinLnBrk="0" hangingPunct="1">
                        <a:lnSpc>
                          <a:spcPct val="100000"/>
                        </a:lnSpc>
                        <a:spcBef>
                          <a:spcPts val="600"/>
                        </a:spcBef>
                        <a:spcAft>
                          <a:spcPts val="600"/>
                        </a:spcAft>
                        <a:buClrTx/>
                        <a:buSzPct val="100000"/>
                        <a:buFont typeface="Wingdings" panose="05000000000000000000" pitchFamily="2" charset="2"/>
                        <a:buChar char="§"/>
                        <a:tabLst/>
                        <a:defRPr/>
                      </a:pPr>
                      <a:r>
                        <a:rPr kumimoji="0" lang="en-US" sz="1200" b="0" i="0" u="none" strike="noStrike" kern="1200" cap="none" spc="0" normalizeH="0" baseline="0" noProof="0">
                          <a:ln>
                            <a:noFill/>
                          </a:ln>
                          <a:solidFill>
                            <a:schemeClr val="tx1"/>
                          </a:solidFill>
                          <a:effectLst/>
                          <a:uLnTx/>
                          <a:uFillTx/>
                          <a:latin typeface="Roboto Light" panose="02000000000000000000" pitchFamily="2" charset="0"/>
                          <a:ea typeface="Roboto Light" panose="02000000000000000000" pitchFamily="2" charset="0"/>
                          <a:cs typeface="Roboto Light" panose="02000000000000000000" pitchFamily="2" charset="0"/>
                        </a:rPr>
                        <a:t>[Text to come]</a:t>
                      </a:r>
                    </a:p>
                    <a:p>
                      <a:pPr marL="361950" marR="0" lvl="2" indent="-182563" algn="l" defTabSz="914400" rtl="0" eaLnBrk="1" fontAlgn="auto" latinLnBrk="0" hangingPunct="1">
                        <a:lnSpc>
                          <a:spcPct val="100000"/>
                        </a:lnSpc>
                        <a:spcBef>
                          <a:spcPts val="600"/>
                        </a:spcBef>
                        <a:spcAft>
                          <a:spcPts val="500"/>
                        </a:spcAft>
                        <a:buClrTx/>
                        <a:buSzPct val="50000"/>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latin typeface="Roboto Light" panose="02000000000000000000" pitchFamily="2" charset="0"/>
                          <a:ea typeface="Roboto Light" panose="02000000000000000000" pitchFamily="2" charset="0"/>
                          <a:cs typeface="Roboto Light" panose="02000000000000000000" pitchFamily="2" charset="0"/>
                        </a:rPr>
                        <a:t>[The text to come]</a:t>
                      </a:r>
                      <a:endParaRPr kumimoji="0" lang="en-US" sz="1200" b="0" i="0" u="none" strike="noStrike" kern="1200" cap="none" spc="0" normalizeH="0" baseline="0" noProof="0" dirty="0">
                        <a:ln>
                          <a:noFill/>
                        </a:ln>
                        <a:solidFill>
                          <a:schemeClr val="tx1"/>
                        </a:solidFill>
                        <a:effectLst/>
                        <a:uLnTx/>
                        <a:uFillTx/>
                        <a:latin typeface="Roboto Light" panose="02000000000000000000" pitchFamily="2" charset="0"/>
                        <a:ea typeface="Roboto Light" panose="02000000000000000000" pitchFamily="2" charset="0"/>
                        <a:cs typeface="Roboto Light" panose="02000000000000000000" pitchFamily="2" charset="0"/>
                      </a:endParaRPr>
                    </a:p>
                  </a:txBody>
                  <a:tcPr marL="144000" marR="144000" marT="57600" marB="57600">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marR="0" lvl="1" indent="-180975" algn="l" defTabSz="914400" rtl="0" eaLnBrk="1" fontAlgn="auto" latinLnBrk="0" hangingPunct="1">
                        <a:lnSpc>
                          <a:spcPct val="100000"/>
                        </a:lnSpc>
                        <a:spcBef>
                          <a:spcPts val="600"/>
                        </a:spcBef>
                        <a:spcAft>
                          <a:spcPts val="600"/>
                        </a:spcAft>
                        <a:buClrTx/>
                        <a:buSzPct val="100000"/>
                        <a:buFont typeface="Wingdings" panose="05000000000000000000" pitchFamily="2" charset="2"/>
                        <a:buChar char="§"/>
                        <a:tabLst/>
                        <a:defRPr/>
                      </a:pPr>
                      <a:r>
                        <a:rPr kumimoji="0" lang="en-US" sz="1200" b="0" i="0" u="none" strike="noStrike" kern="1200" cap="none" spc="0" normalizeH="0" baseline="0" noProof="0" dirty="0">
                          <a:ln>
                            <a:noFill/>
                          </a:ln>
                          <a:solidFill>
                            <a:schemeClr val="tx1"/>
                          </a:solidFill>
                          <a:effectLst/>
                          <a:uLnTx/>
                          <a:uFillTx/>
                          <a:latin typeface="Roboto Light" panose="02000000000000000000" pitchFamily="2" charset="0"/>
                          <a:ea typeface="Roboto Light" panose="02000000000000000000" pitchFamily="2" charset="0"/>
                          <a:cs typeface="Roboto Light" panose="02000000000000000000" pitchFamily="2" charset="0"/>
                        </a:rPr>
                        <a:t>[Text to come]</a:t>
                      </a:r>
                    </a:p>
                    <a:p>
                      <a:pPr marL="361950" marR="0" lvl="2" indent="-182563" algn="l" defTabSz="914400" rtl="0" eaLnBrk="1" fontAlgn="auto" latinLnBrk="0" hangingPunct="1">
                        <a:lnSpc>
                          <a:spcPct val="100000"/>
                        </a:lnSpc>
                        <a:spcBef>
                          <a:spcPts val="600"/>
                        </a:spcBef>
                        <a:spcAft>
                          <a:spcPts val="500"/>
                        </a:spcAft>
                        <a:buClrTx/>
                        <a:buSzPct val="50000"/>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Roboto Light" panose="02000000000000000000" pitchFamily="2" charset="0"/>
                          <a:ea typeface="Roboto Light" panose="02000000000000000000" pitchFamily="2" charset="0"/>
                          <a:cs typeface="Roboto Light" panose="02000000000000000000" pitchFamily="2" charset="0"/>
                        </a:rPr>
                        <a:t>[The text to come]</a:t>
                      </a:r>
                    </a:p>
                  </a:txBody>
                  <a:tcPr marL="144000" marR="144000" marT="57600" marB="57600">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0975" marR="0" lvl="1" indent="-180975" algn="l" defTabSz="914400" rtl="0" eaLnBrk="1" fontAlgn="auto" latinLnBrk="0" hangingPunct="1">
                        <a:lnSpc>
                          <a:spcPct val="100000"/>
                        </a:lnSpc>
                        <a:spcBef>
                          <a:spcPts val="600"/>
                        </a:spcBef>
                        <a:spcAft>
                          <a:spcPts val="600"/>
                        </a:spcAft>
                        <a:buClrTx/>
                        <a:buSzPct val="100000"/>
                        <a:buFont typeface="Wingdings" panose="05000000000000000000" pitchFamily="2" charset="2"/>
                        <a:buChar char="§"/>
                        <a:tabLst/>
                        <a:defRPr/>
                      </a:pPr>
                      <a:r>
                        <a:rPr kumimoji="0" lang="en-US" sz="1200" b="0" i="0" u="none" strike="noStrike" kern="1200" cap="none" spc="0" normalizeH="0" baseline="0" noProof="0" dirty="0">
                          <a:ln>
                            <a:noFill/>
                          </a:ln>
                          <a:solidFill>
                            <a:schemeClr val="tx1"/>
                          </a:solidFill>
                          <a:effectLst/>
                          <a:uLnTx/>
                          <a:uFillTx/>
                          <a:latin typeface="Roboto Light" panose="02000000000000000000" pitchFamily="2" charset="0"/>
                          <a:ea typeface="Roboto Light" panose="02000000000000000000" pitchFamily="2" charset="0"/>
                          <a:cs typeface="Roboto Light" panose="02000000000000000000" pitchFamily="2" charset="0"/>
                        </a:rPr>
                        <a:t>[Text to come]</a:t>
                      </a:r>
                    </a:p>
                    <a:p>
                      <a:pPr marL="361950" marR="0" lvl="2" indent="-182563" algn="l" defTabSz="914400" rtl="0" eaLnBrk="1" fontAlgn="auto" latinLnBrk="0" hangingPunct="1">
                        <a:lnSpc>
                          <a:spcPct val="100000"/>
                        </a:lnSpc>
                        <a:spcBef>
                          <a:spcPts val="600"/>
                        </a:spcBef>
                        <a:spcAft>
                          <a:spcPts val="500"/>
                        </a:spcAft>
                        <a:buClrTx/>
                        <a:buSzPct val="50000"/>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Roboto Light" panose="02000000000000000000" pitchFamily="2" charset="0"/>
                          <a:ea typeface="Roboto Light" panose="02000000000000000000" pitchFamily="2" charset="0"/>
                          <a:cs typeface="Roboto Light" panose="02000000000000000000" pitchFamily="2" charset="0"/>
                        </a:rPr>
                        <a:t>[The text to come]</a:t>
                      </a:r>
                    </a:p>
                  </a:txBody>
                  <a:tcPr marL="144000" marR="144000" marT="57600" marB="57600">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6773167"/>
                  </a:ext>
                </a:extLst>
              </a:tr>
            </a:tbl>
          </a:graphicData>
        </a:graphic>
      </p:graphicFrame>
    </p:spTree>
    <p:extLst>
      <p:ext uri="{BB962C8B-B14F-4D97-AF65-F5344CB8AC3E}">
        <p14:creationId xmlns:p14="http://schemas.microsoft.com/office/powerpoint/2010/main" val="14122843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678E00D-3488-F3E5-706C-2AE6A62886C1}"/>
              </a:ext>
            </a:extLst>
          </p:cNvPr>
          <p:cNvGraphicFramePr>
            <a:graphicFrameLocks noChangeAspect="1"/>
          </p:cNvGraphicFramePr>
          <p:nvPr>
            <p:custDataLst>
              <p:tags r:id="rId1"/>
            </p:custDataLst>
            <p:extLst>
              <p:ext uri="{D42A27DB-BD31-4B8C-83A1-F6EECF244321}">
                <p14:modId xmlns:p14="http://schemas.microsoft.com/office/powerpoint/2010/main" val="1738535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4678E00D-3488-F3E5-706C-2AE6A62886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A57A82BC-5DF8-E6E4-A695-CD6E00F51880}"/>
              </a:ext>
            </a:extLst>
          </p:cNvPr>
          <p:cNvSpPr>
            <a:spLocks noGrp="1"/>
          </p:cNvSpPr>
          <p:nvPr>
            <p:ph type="body" sz="quarter" idx="10"/>
          </p:nvPr>
        </p:nvSpPr>
        <p:spPr/>
        <p:txBody>
          <a:bodyPr/>
          <a:lstStyle/>
          <a:p>
            <a:endParaRPr lang="nl-NL"/>
          </a:p>
        </p:txBody>
      </p:sp>
      <p:sp>
        <p:nvSpPr>
          <p:cNvPr id="2" name="Title 1">
            <a:extLst>
              <a:ext uri="{FF2B5EF4-FFF2-40B4-BE49-F238E27FC236}">
                <a16:creationId xmlns:a16="http://schemas.microsoft.com/office/drawing/2014/main" id="{F9B9E482-1596-0F6D-C83F-7EE0C828DD00}"/>
              </a:ext>
            </a:extLst>
          </p:cNvPr>
          <p:cNvSpPr>
            <a:spLocks noGrp="1"/>
          </p:cNvSpPr>
          <p:nvPr>
            <p:ph type="title"/>
          </p:nvPr>
        </p:nvSpPr>
        <p:spPr/>
        <p:txBody>
          <a:bodyPr/>
          <a:lstStyle/>
          <a:p>
            <a:endParaRPr lang="nl-NL"/>
          </a:p>
        </p:txBody>
      </p:sp>
      <p:sp>
        <p:nvSpPr>
          <p:cNvPr id="4" name="Text Placeholder 3">
            <a:extLst>
              <a:ext uri="{FF2B5EF4-FFF2-40B4-BE49-F238E27FC236}">
                <a16:creationId xmlns:a16="http://schemas.microsoft.com/office/drawing/2014/main" id="{7D8AA4A9-3DBE-D389-AA74-B0737F6C02F1}"/>
              </a:ext>
            </a:extLst>
          </p:cNvPr>
          <p:cNvSpPr>
            <a:spLocks noGrp="1"/>
          </p:cNvSpPr>
          <p:nvPr>
            <p:ph type="body" sz="quarter" idx="27"/>
          </p:nvPr>
        </p:nvSpPr>
        <p:spPr/>
        <p:txBody>
          <a:bodyPr/>
          <a:lstStyle/>
          <a:p>
            <a:endParaRPr lang="nl-NL"/>
          </a:p>
        </p:txBody>
      </p:sp>
      <p:graphicFrame>
        <p:nvGraphicFramePr>
          <p:cNvPr id="6" name="Table 14">
            <a:extLst>
              <a:ext uri="{FF2B5EF4-FFF2-40B4-BE49-F238E27FC236}">
                <a16:creationId xmlns:a16="http://schemas.microsoft.com/office/drawing/2014/main" id="{5B46F154-646D-3B47-BC42-8386D548694D}"/>
              </a:ext>
            </a:extLst>
          </p:cNvPr>
          <p:cNvGraphicFramePr>
            <a:graphicFrameLocks/>
          </p:cNvGraphicFramePr>
          <p:nvPr>
            <p:extLst>
              <p:ext uri="{D42A27DB-BD31-4B8C-83A1-F6EECF244321}">
                <p14:modId xmlns:p14="http://schemas.microsoft.com/office/powerpoint/2010/main" val="4116006936"/>
              </p:ext>
            </p:extLst>
          </p:nvPr>
        </p:nvGraphicFramePr>
        <p:xfrm>
          <a:off x="387349" y="1474959"/>
          <a:ext cx="9131301" cy="4546818"/>
        </p:xfrm>
        <a:graphic>
          <a:graphicData uri="http://schemas.openxmlformats.org/drawingml/2006/table">
            <a:tbl>
              <a:tblPr firstRow="1" bandRow="1">
                <a:tableStyleId>{5C22544A-7EE6-4342-B048-85BDC9FD1C3A}</a:tableStyleId>
              </a:tblPr>
              <a:tblGrid>
                <a:gridCol w="1130299">
                  <a:extLst>
                    <a:ext uri="{9D8B030D-6E8A-4147-A177-3AD203B41FA5}">
                      <a16:colId xmlns:a16="http://schemas.microsoft.com/office/drawing/2014/main" val="588943233"/>
                    </a:ext>
                  </a:extLst>
                </a:gridCol>
                <a:gridCol w="571500">
                  <a:extLst>
                    <a:ext uri="{9D8B030D-6E8A-4147-A177-3AD203B41FA5}">
                      <a16:colId xmlns:a16="http://schemas.microsoft.com/office/drawing/2014/main" val="2107010878"/>
                    </a:ext>
                  </a:extLst>
                </a:gridCol>
                <a:gridCol w="1478280">
                  <a:extLst>
                    <a:ext uri="{9D8B030D-6E8A-4147-A177-3AD203B41FA5}">
                      <a16:colId xmlns:a16="http://schemas.microsoft.com/office/drawing/2014/main" val="1754887160"/>
                    </a:ext>
                  </a:extLst>
                </a:gridCol>
                <a:gridCol w="1578514">
                  <a:extLst>
                    <a:ext uri="{9D8B030D-6E8A-4147-A177-3AD203B41FA5}">
                      <a16:colId xmlns:a16="http://schemas.microsoft.com/office/drawing/2014/main" val="2205035286"/>
                    </a:ext>
                  </a:extLst>
                </a:gridCol>
                <a:gridCol w="2075795">
                  <a:extLst>
                    <a:ext uri="{9D8B030D-6E8A-4147-A177-3AD203B41FA5}">
                      <a16:colId xmlns:a16="http://schemas.microsoft.com/office/drawing/2014/main" val="2416797723"/>
                    </a:ext>
                  </a:extLst>
                </a:gridCol>
                <a:gridCol w="2296913">
                  <a:extLst>
                    <a:ext uri="{9D8B030D-6E8A-4147-A177-3AD203B41FA5}">
                      <a16:colId xmlns:a16="http://schemas.microsoft.com/office/drawing/2014/main" val="1322465350"/>
                    </a:ext>
                  </a:extLst>
                </a:gridCol>
              </a:tblGrid>
              <a:tr h="202093">
                <a:tc>
                  <a:txBody>
                    <a:bodyPr/>
                    <a:lstStyle/>
                    <a:p>
                      <a:pPr algn="l"/>
                      <a:r>
                        <a:rPr lang="en-GB" sz="800" b="0" i="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rPr>
                        <a:t>Tit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800" b="0" i="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rPr>
                        <a:t>Tit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800" b="0" i="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rPr>
                        <a:t>Tit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0" i="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rPr>
                        <a:t>Tit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0" i="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rPr>
                        <a:t>Tit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800" b="0" i="0" dirty="0">
                          <a:solidFill>
                            <a:schemeClr val="accent1"/>
                          </a:solidFill>
                          <a:latin typeface="Roboto Medium" panose="02000000000000000000" pitchFamily="2" charset="0"/>
                          <a:ea typeface="Roboto Medium" panose="02000000000000000000" pitchFamily="2" charset="0"/>
                          <a:cs typeface="Roboto Medium" panose="02000000000000000000" pitchFamily="2" charset="0"/>
                        </a:rPr>
                        <a:t>Tit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0483249"/>
                  </a:ext>
                </a:extLst>
              </a:tr>
              <a:tr h="202093">
                <a:tc gridSpan="6">
                  <a:txBody>
                    <a:bodyPr/>
                    <a:lstStyle/>
                    <a:p>
                      <a:pPr algn="l"/>
                      <a:endParaRPr lang="en-GB" sz="800" b="0" i="0" dirty="0">
                        <a:solidFill>
                          <a:schemeClr val="accent1"/>
                        </a:solidFill>
                        <a:latin typeface="Roboto" panose="02000000000000000000" pitchFamily="2" charset="0"/>
                        <a:ea typeface="Roboto" panose="02000000000000000000" pitchFamily="2" charset="0"/>
                        <a:cs typeface="Roboto" panose="02000000000000000000" pitchFamily="2" charset="0"/>
                      </a:endParaRPr>
                    </a:p>
                  </a:txBody>
                  <a:tcPr marL="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pPr algn="ctr"/>
                      <a:endParaRPr lang="en-GB" sz="8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GB" sz="8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8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8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GB" sz="8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953593417"/>
                  </a:ext>
                </a:extLst>
              </a:tr>
              <a:tr h="438689">
                <a:tc>
                  <a:txBody>
                    <a:bodyPr/>
                    <a:lstStyle/>
                    <a:p>
                      <a:pPr algn="l"/>
                      <a:endParaRPr lang="en-GB" sz="800" b="0" i="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Wingdings" panose="05000000000000000000" pitchFamily="2" charset="2"/>
                        <a:buNone/>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Wingdings" panose="05000000000000000000" pitchFamily="2" charset="2"/>
                        <a:buNone/>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defTabSz="914400" rtl="0" eaLnBrk="1" latinLnBrk="0" hangingPunct="1">
                        <a:buFont typeface="Wingdings" panose="05000000000000000000" pitchFamily="2" charset="2"/>
                        <a:buChar char="§"/>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0863798"/>
                  </a:ext>
                </a:extLst>
              </a:tr>
              <a:tr h="438689">
                <a:tc>
                  <a:txBody>
                    <a:bodyPr/>
                    <a:lstStyle/>
                    <a:p>
                      <a:pPr algn="l"/>
                      <a:endParaRPr lang="en-GB" sz="800" b="0" i="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Wingdings" panose="05000000000000000000" pitchFamily="2" charset="2"/>
                        <a:buNone/>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Wingdings" panose="05000000000000000000" pitchFamily="2" charset="2"/>
                        <a:buNone/>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 typeface="Wingdings" panose="05000000000000000000" pitchFamily="2" charset="2"/>
                        <a:buNone/>
                        <a:tabLst/>
                        <a:defRPr/>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 typeface="Wingdings" panose="05000000000000000000" pitchFamily="2" charset="2"/>
                        <a:buNone/>
                        <a:tabLst/>
                        <a:defRPr/>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0796290"/>
                  </a:ext>
                </a:extLst>
              </a:tr>
              <a:tr h="202093">
                <a:tc gridSpan="6">
                  <a:txBody>
                    <a:bodyPr/>
                    <a:lstStyle/>
                    <a:p>
                      <a:pPr marL="0" indent="0" algn="l">
                        <a:buFont typeface="Arial" panose="020B0604020202020204" pitchFamily="34" charset="0"/>
                        <a:buNone/>
                      </a:pPr>
                      <a:endParaRPr lang="en-GB" sz="800" b="0" i="0" dirty="0">
                        <a:solidFill>
                          <a:schemeClr val="accent1"/>
                        </a:solidFill>
                        <a:latin typeface="Roboto" panose="02000000000000000000" pitchFamily="2" charset="0"/>
                        <a:ea typeface="Roboto" panose="02000000000000000000" pitchFamily="2" charset="0"/>
                        <a:cs typeface="Roboto" panose="02000000000000000000" pitchFamily="2" charset="0"/>
                      </a:endParaRPr>
                    </a:p>
                  </a:txBody>
                  <a:tcPr marL="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pPr algn="ctr"/>
                      <a:r>
                        <a:rPr lang="en-GB" sz="800" b="1" dirty="0">
                          <a:solidFill>
                            <a:schemeClr val="bg1"/>
                          </a:solidFill>
                        </a:rPr>
                        <a:t>Date</a:t>
                      </a:r>
                      <a:endParaRPr lang="en-GB" sz="8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GB" sz="800" dirty="0"/>
                        <a:t>Asset &amp; stag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dirty="0">
                          <a:solidFill>
                            <a:schemeClr val="bg1"/>
                          </a:solidFill>
                        </a:rPr>
                        <a:t>Opportun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dirty="0">
                          <a:solidFill>
                            <a:schemeClr val="bg1"/>
                          </a:solidFill>
                        </a:rPr>
                        <a:t>Reason for decline</a:t>
                      </a:r>
                      <a:endParaRPr lang="en-GB" sz="8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GB" sz="800" b="1" dirty="0">
                          <a:solidFill>
                            <a:schemeClr val="bg1"/>
                          </a:solidFill>
                        </a:rPr>
                        <a:t>Outcome / Share price change</a:t>
                      </a:r>
                      <a:endParaRPr lang="en-GB" sz="8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015169"/>
                  </a:ext>
                </a:extLst>
              </a:tr>
              <a:tr h="490299">
                <a:tc>
                  <a:txBody>
                    <a:bodyPr/>
                    <a:lstStyle/>
                    <a:p>
                      <a:pPr marL="171450" indent="-171450" algn="l">
                        <a:buFont typeface="Arial" panose="020B0604020202020204" pitchFamily="34" charset="0"/>
                        <a:buChar char="•"/>
                      </a:pPr>
                      <a:endParaRPr lang="en-GB" sz="800" b="0" i="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Wingdings" panose="05000000000000000000" pitchFamily="2" charset="2"/>
                        <a:buNone/>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Wingdings" panose="05000000000000000000" pitchFamily="2" charset="2"/>
                        <a:buNone/>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27631096"/>
                  </a:ext>
                </a:extLst>
              </a:tr>
              <a:tr h="490299">
                <a:tc>
                  <a:txBody>
                    <a:bodyPr/>
                    <a:lstStyle/>
                    <a:p>
                      <a:pPr marL="171450" indent="-171450" algn="l">
                        <a:buFont typeface="Arial" panose="020B0604020202020204" pitchFamily="34" charset="0"/>
                        <a:buChar char="•"/>
                      </a:pPr>
                      <a:endParaRPr lang="en-GB" sz="800" b="0" i="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Wingdings" panose="05000000000000000000" pitchFamily="2" charset="2"/>
                        <a:buNone/>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fontAlgn="b" latinLnBrk="0" hangingPunct="1">
                        <a:buFont typeface="Wingdings" panose="05000000000000000000" pitchFamily="2" charset="2"/>
                        <a:buNone/>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Wingdings" panose="05000000000000000000" pitchFamily="2" charset="2"/>
                        <a:buNone/>
                      </a:pPr>
                      <a:endParaRPr lang="en-GB" sz="800" b="0" i="0" kern="1200" baseline="300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2975177"/>
                  </a:ext>
                </a:extLst>
              </a:tr>
              <a:tr h="490299">
                <a:tc>
                  <a:txBody>
                    <a:bodyPr/>
                    <a:lstStyle/>
                    <a:p>
                      <a:pPr marL="171450" indent="-171450" algn="l">
                        <a:buFont typeface="Arial" panose="020B0604020202020204" pitchFamily="34" charset="0"/>
                        <a:buChar char="•"/>
                      </a:pPr>
                      <a:endParaRPr lang="en-GB" sz="800" b="0" i="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Wingdings" panose="05000000000000000000" pitchFamily="2" charset="2"/>
                        <a:buNone/>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defTabSz="914400" rtl="0" eaLnBrk="1" fontAlgn="b" latinLnBrk="0" hangingPunct="1">
                        <a:buFont typeface="Wingdings" panose="05000000000000000000" pitchFamily="2" charset="2"/>
                        <a:buChar char="§"/>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Wingdings" panose="05000000000000000000" pitchFamily="2" charset="2"/>
                        <a:buNone/>
                      </a:pPr>
                      <a:endParaRPr lang="en-GB" sz="800" b="0" i="0" kern="1200" baseline="300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8275983"/>
                  </a:ext>
                </a:extLst>
              </a:tr>
              <a:tr h="490299">
                <a:tc>
                  <a:txBody>
                    <a:bodyPr/>
                    <a:lstStyle/>
                    <a:p>
                      <a:pPr marL="171450" indent="-171450" algn="l">
                        <a:buFont typeface="Arial" panose="020B0604020202020204" pitchFamily="34" charset="0"/>
                        <a:buChar char="•"/>
                      </a:pPr>
                      <a:endParaRPr lang="en-GB" sz="800" b="0" i="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Wingdings" panose="05000000000000000000" pitchFamily="2" charset="2"/>
                        <a:buNone/>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Wingdings" panose="05000000000000000000" pitchFamily="2" charset="2"/>
                        <a:buNone/>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0727202"/>
                  </a:ext>
                </a:extLst>
              </a:tr>
              <a:tr h="202093">
                <a:tc gridSpan="6">
                  <a:txBody>
                    <a:bodyPr/>
                    <a:lstStyle/>
                    <a:p>
                      <a:pPr marL="0" indent="0" algn="l">
                        <a:buFont typeface="Arial" panose="020B0604020202020204" pitchFamily="34" charset="0"/>
                        <a:buNone/>
                      </a:pPr>
                      <a:endParaRPr lang="en-GB" sz="800" b="0" i="0" dirty="0">
                        <a:solidFill>
                          <a:schemeClr val="accent1"/>
                        </a:solidFill>
                        <a:latin typeface="Roboto" panose="02000000000000000000" pitchFamily="2" charset="0"/>
                        <a:ea typeface="Roboto" panose="02000000000000000000" pitchFamily="2" charset="0"/>
                        <a:cs typeface="Roboto" panose="02000000000000000000" pitchFamily="2" charset="0"/>
                      </a:endParaRPr>
                    </a:p>
                  </a:txBody>
                  <a:tcPr marL="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hMerge="1">
                  <a:txBody>
                    <a:bodyPr/>
                    <a:lstStyle/>
                    <a:p>
                      <a:pPr algn="ctr"/>
                      <a:r>
                        <a:rPr lang="en-GB" sz="800" b="1" dirty="0">
                          <a:solidFill>
                            <a:schemeClr val="bg1"/>
                          </a:solidFill>
                        </a:rPr>
                        <a:t>Date</a:t>
                      </a:r>
                      <a:endParaRPr lang="en-GB" sz="8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GB" sz="800" dirty="0"/>
                        <a:t>Asset &amp; stag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dirty="0">
                          <a:solidFill>
                            <a:schemeClr val="bg1"/>
                          </a:solidFill>
                        </a:rPr>
                        <a:t>Opportun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1" dirty="0">
                          <a:solidFill>
                            <a:schemeClr val="bg1"/>
                          </a:solidFill>
                        </a:rPr>
                        <a:t>Reason for decline</a:t>
                      </a:r>
                      <a:endParaRPr lang="en-GB" sz="8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r>
                        <a:rPr lang="en-GB" sz="800" b="1" dirty="0">
                          <a:solidFill>
                            <a:schemeClr val="bg1"/>
                          </a:solidFill>
                        </a:rPr>
                        <a:t>Outcome / Share price change</a:t>
                      </a:r>
                      <a:endParaRPr lang="en-GB" sz="8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2097260"/>
                  </a:ext>
                </a:extLst>
              </a:tr>
              <a:tr h="427402">
                <a:tc>
                  <a:txBody>
                    <a:bodyPr/>
                    <a:lstStyle/>
                    <a:p>
                      <a:pPr algn="l"/>
                      <a:endParaRPr lang="en-GB" sz="800" b="0" i="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Wingdings" panose="05000000000000000000" pitchFamily="2" charset="2"/>
                        <a:buNone/>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Wingdings" panose="05000000000000000000" pitchFamily="2" charset="2"/>
                        <a:buNone/>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 typeface="Wingdings" panose="05000000000000000000" pitchFamily="2" charset="2"/>
                        <a:buNone/>
                        <a:tabLst/>
                        <a:defRPr/>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4395476"/>
                  </a:ext>
                </a:extLst>
              </a:tr>
              <a:tr h="427402">
                <a:tc>
                  <a:txBody>
                    <a:bodyPr/>
                    <a:lstStyle/>
                    <a:p>
                      <a:pPr algn="l"/>
                      <a:endParaRPr lang="en-GB" sz="800" b="0" i="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Wingdings" panose="05000000000000000000" pitchFamily="2" charset="2"/>
                        <a:buNone/>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Wingdings" panose="05000000000000000000" pitchFamily="2" charset="2"/>
                        <a:buNone/>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Wingdings" panose="05000000000000000000" pitchFamily="2" charset="2"/>
                        <a:buNone/>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800" b="0" i="0" kern="1200" dirty="0">
                        <a:solidFill>
                          <a:schemeClr val="tx1"/>
                        </a:solidFill>
                        <a:latin typeface="Roboto Light" panose="02000000000000000000" pitchFamily="2" charset="0"/>
                        <a:ea typeface="Roboto Light" panose="02000000000000000000" pitchFamily="2" charset="0"/>
                        <a:cs typeface="Roboto Light" panose="02000000000000000000" pitchFamily="2" charset="0"/>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7771917"/>
                  </a:ext>
                </a:extLst>
              </a:tr>
            </a:tbl>
          </a:graphicData>
        </a:graphic>
      </p:graphicFrame>
      <p:sp>
        <p:nvSpPr>
          <p:cNvPr id="7" name="Rectangle 6">
            <a:extLst>
              <a:ext uri="{FF2B5EF4-FFF2-40B4-BE49-F238E27FC236}">
                <a16:creationId xmlns:a16="http://schemas.microsoft.com/office/drawing/2014/main" id="{89C72C58-06A7-4545-A91B-FAE7D1D6195F}"/>
              </a:ext>
            </a:extLst>
          </p:cNvPr>
          <p:cNvSpPr/>
          <p:nvPr/>
        </p:nvSpPr>
        <p:spPr>
          <a:xfrm>
            <a:off x="10660965" y="2607501"/>
            <a:ext cx="1385887" cy="1477328"/>
          </a:xfrm>
          <a:prstGeom prst="rect">
            <a:avLst/>
          </a:prstGeom>
          <a:solidFill>
            <a:schemeClr val="bg2"/>
          </a:solidFill>
        </p:spPr>
        <p:txBody>
          <a:bodyPr wrap="square">
            <a:spAutoFit/>
          </a:bodyPr>
          <a:lstStyle/>
          <a:p>
            <a:pPr>
              <a:spcAft>
                <a:spcPts val="0"/>
              </a:spcAft>
            </a:pPr>
            <a:r>
              <a:rPr lang="en-GB" sz="900" cap="all" baseline="0" dirty="0">
                <a:solidFill>
                  <a:schemeClr val="accent1"/>
                </a:solidFill>
                <a:latin typeface="Roboto Light" panose="02000000000000000000" pitchFamily="2" charset="0"/>
                <a:ea typeface="Roboto Light" panose="02000000000000000000" pitchFamily="2" charset="0"/>
                <a:cs typeface="Arial" panose="020B0604020202020204" pitchFamily="34" charset="0"/>
              </a:rPr>
              <a:t>TABLES</a:t>
            </a:r>
          </a:p>
          <a:p>
            <a:pPr marL="90488" indent="-90488">
              <a:spcAft>
                <a:spcPts val="0"/>
              </a:spcAft>
              <a:buFont typeface="Wingdings" pitchFamily="2" charset="2"/>
              <a:buChar char="§"/>
            </a:pPr>
            <a:r>
              <a:rPr lang="en-GB" sz="900" dirty="0">
                <a:latin typeface="Roboto Light" panose="02000000000000000000" pitchFamily="2" charset="0"/>
                <a:ea typeface="Roboto Light" panose="02000000000000000000" pitchFamily="2" charset="0"/>
                <a:cs typeface="Arial" panose="020B0604020202020204" pitchFamily="34" charset="0"/>
              </a:rPr>
              <a:t>Heading Roboto Medium, rest Light</a:t>
            </a:r>
          </a:p>
          <a:p>
            <a:pPr marL="90488" indent="-90488">
              <a:spcAft>
                <a:spcPts val="0"/>
              </a:spcAft>
              <a:buFont typeface="Wingdings" pitchFamily="2" charset="2"/>
              <a:buChar char="§"/>
            </a:pPr>
            <a:r>
              <a:rPr lang="en-GB" sz="900" dirty="0">
                <a:latin typeface="Roboto Light" panose="02000000000000000000" pitchFamily="2" charset="0"/>
                <a:ea typeface="Roboto Light" panose="02000000000000000000" pitchFamily="2" charset="0"/>
                <a:cs typeface="Arial" panose="020B0604020202020204" pitchFamily="34" charset="0"/>
              </a:rPr>
              <a:t>Top Line 1pt Dark Blue, Accent 1</a:t>
            </a:r>
          </a:p>
          <a:p>
            <a:pPr marL="90488" indent="-90488">
              <a:spcAft>
                <a:spcPts val="0"/>
              </a:spcAft>
              <a:buFont typeface="Wingdings" pitchFamily="2" charset="2"/>
              <a:buChar char="§"/>
            </a:pPr>
            <a:r>
              <a:rPr lang="en-GB" sz="900" dirty="0">
                <a:solidFill>
                  <a:schemeClr val="tx1"/>
                </a:solidFill>
                <a:latin typeface="Roboto Light" panose="02000000000000000000" pitchFamily="2" charset="0"/>
                <a:ea typeface="Roboto Light" panose="02000000000000000000" pitchFamily="2" charset="0"/>
                <a:cs typeface="Arial" panose="020B0604020202020204" pitchFamily="34" charset="0"/>
              </a:rPr>
              <a:t>Lines between rows 3/4pt, Light Blue accent 4 </a:t>
            </a:r>
            <a:endParaRPr lang="en-GB" sz="900" dirty="0">
              <a:latin typeface="Roboto Light" panose="02000000000000000000" pitchFamily="2" charset="0"/>
              <a:ea typeface="Roboto Light" panose="02000000000000000000" pitchFamily="2" charset="0"/>
              <a:cs typeface="Arial" panose="020B0604020202020204" pitchFamily="34" charset="0"/>
            </a:endParaRPr>
          </a:p>
          <a:p>
            <a:pPr marL="90488" indent="-90488">
              <a:spcAft>
                <a:spcPts val="0"/>
              </a:spcAft>
              <a:buFont typeface="Wingdings" pitchFamily="2" charset="2"/>
              <a:buChar char="§"/>
            </a:pPr>
            <a:r>
              <a:rPr lang="en-GB" sz="900" dirty="0">
                <a:solidFill>
                  <a:schemeClr val="tx1"/>
                </a:solidFill>
                <a:latin typeface="Roboto Light" panose="02000000000000000000" pitchFamily="2" charset="0"/>
                <a:ea typeface="Roboto Light" panose="02000000000000000000" pitchFamily="2" charset="0"/>
                <a:cs typeface="Arial" panose="020B0604020202020204" pitchFamily="34" charset="0"/>
              </a:rPr>
              <a:t>No line above or below shader </a:t>
            </a:r>
            <a:r>
              <a:rPr lang="en-GB" sz="900" dirty="0">
                <a:latin typeface="Roboto Light" panose="02000000000000000000" pitchFamily="2" charset="0"/>
                <a:ea typeface="Roboto Light" panose="02000000000000000000" pitchFamily="2" charset="0"/>
                <a:cs typeface="Arial" panose="020B0604020202020204" pitchFamily="34" charset="0"/>
              </a:rPr>
              <a:t>rows</a:t>
            </a:r>
            <a:endParaRPr lang="en-GB" sz="900" dirty="0">
              <a:solidFill>
                <a:schemeClr val="tx1"/>
              </a:solidFill>
              <a:latin typeface="Roboto Light" panose="02000000000000000000" pitchFamily="2" charset="0"/>
              <a:ea typeface="Roboto Light" panose="02000000000000000000" pitchFamily="2" charset="0"/>
              <a:cs typeface="Arial" panose="020B0604020202020204" pitchFamily="34" charset="0"/>
            </a:endParaRPr>
          </a:p>
        </p:txBody>
      </p:sp>
    </p:spTree>
    <p:extLst>
      <p:ext uri="{BB962C8B-B14F-4D97-AF65-F5344CB8AC3E}">
        <p14:creationId xmlns:p14="http://schemas.microsoft.com/office/powerpoint/2010/main" val="16913316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ECC2F10-0EB6-693D-BB48-E48F1BB198E1}"/>
              </a:ext>
            </a:extLst>
          </p:cNvPr>
          <p:cNvGraphicFramePr>
            <a:graphicFrameLocks noChangeAspect="1"/>
          </p:cNvGraphicFramePr>
          <p:nvPr>
            <p:custDataLst>
              <p:tags r:id="rId1"/>
            </p:custDataLst>
            <p:extLst>
              <p:ext uri="{D42A27DB-BD31-4B8C-83A1-F6EECF244321}">
                <p14:modId xmlns:p14="http://schemas.microsoft.com/office/powerpoint/2010/main" val="641731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think-cell data - do not delete" hidden="1">
                        <a:extLst>
                          <a:ext uri="{FF2B5EF4-FFF2-40B4-BE49-F238E27FC236}">
                            <a16:creationId xmlns:a16="http://schemas.microsoft.com/office/drawing/2014/main" id="{CECC2F10-0EB6-693D-BB48-E48F1BB198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E02E1436-61EE-1D7F-2F89-445F086CC9A1}"/>
              </a:ext>
            </a:extLst>
          </p:cNvPr>
          <p:cNvSpPr>
            <a:spLocks noGrp="1"/>
          </p:cNvSpPr>
          <p:nvPr>
            <p:ph type="body" sz="quarter" idx="10"/>
          </p:nvPr>
        </p:nvSpPr>
        <p:spPr/>
        <p:txBody>
          <a:bodyPr/>
          <a:lstStyle/>
          <a:p>
            <a:endParaRPr lang="nl-NL"/>
          </a:p>
        </p:txBody>
      </p:sp>
      <p:sp>
        <p:nvSpPr>
          <p:cNvPr id="6" name="Title 5">
            <a:extLst>
              <a:ext uri="{FF2B5EF4-FFF2-40B4-BE49-F238E27FC236}">
                <a16:creationId xmlns:a16="http://schemas.microsoft.com/office/drawing/2014/main" id="{A7590CF9-1E82-A209-8506-09BFE976102F}"/>
              </a:ext>
            </a:extLst>
          </p:cNvPr>
          <p:cNvSpPr>
            <a:spLocks noGrp="1"/>
          </p:cNvSpPr>
          <p:nvPr>
            <p:ph type="title"/>
          </p:nvPr>
        </p:nvSpPr>
        <p:spPr/>
        <p:txBody>
          <a:bodyPr/>
          <a:lstStyle/>
          <a:p>
            <a:endParaRPr lang="nl-NL"/>
          </a:p>
        </p:txBody>
      </p:sp>
      <p:sp>
        <p:nvSpPr>
          <p:cNvPr id="8" name="Text Placeholder 7">
            <a:extLst>
              <a:ext uri="{FF2B5EF4-FFF2-40B4-BE49-F238E27FC236}">
                <a16:creationId xmlns:a16="http://schemas.microsoft.com/office/drawing/2014/main" id="{04405AC4-41DB-1F42-9222-AA0C1DA7DEF0}"/>
              </a:ext>
            </a:extLst>
          </p:cNvPr>
          <p:cNvSpPr>
            <a:spLocks noGrp="1"/>
          </p:cNvSpPr>
          <p:nvPr>
            <p:ph type="body" sz="quarter" idx="27"/>
          </p:nvPr>
        </p:nvSpPr>
        <p:spPr/>
        <p:txBody>
          <a:bodyPr/>
          <a:lstStyle/>
          <a:p>
            <a:endParaRPr lang="nl-NL"/>
          </a:p>
        </p:txBody>
      </p:sp>
      <p:graphicFrame>
        <p:nvGraphicFramePr>
          <p:cNvPr id="5" name="Table 4">
            <a:extLst>
              <a:ext uri="{FF2B5EF4-FFF2-40B4-BE49-F238E27FC236}">
                <a16:creationId xmlns:a16="http://schemas.microsoft.com/office/drawing/2014/main" id="{C4D11234-27C4-D744-AF91-37B9A9862C99}"/>
              </a:ext>
            </a:extLst>
          </p:cNvPr>
          <p:cNvGraphicFramePr>
            <a:graphicFrameLocks noGrp="1"/>
          </p:cNvGraphicFramePr>
          <p:nvPr>
            <p:extLst>
              <p:ext uri="{D42A27DB-BD31-4B8C-83A1-F6EECF244321}">
                <p14:modId xmlns:p14="http://schemas.microsoft.com/office/powerpoint/2010/main" val="3480705334"/>
              </p:ext>
            </p:extLst>
          </p:nvPr>
        </p:nvGraphicFramePr>
        <p:xfrm>
          <a:off x="392400" y="1640113"/>
          <a:ext cx="5613289" cy="3426354"/>
        </p:xfrm>
        <a:graphic>
          <a:graphicData uri="http://schemas.openxmlformats.org/drawingml/2006/table">
            <a:tbl>
              <a:tblPr firstRow="1" bandRow="1">
                <a:tableStyleId>{D7AC3CCA-C797-4891-BE02-D94E43425B78}</a:tableStyleId>
              </a:tblPr>
              <a:tblGrid>
                <a:gridCol w="958351">
                  <a:extLst>
                    <a:ext uri="{9D8B030D-6E8A-4147-A177-3AD203B41FA5}">
                      <a16:colId xmlns:a16="http://schemas.microsoft.com/office/drawing/2014/main" val="2467358012"/>
                    </a:ext>
                  </a:extLst>
                </a:gridCol>
                <a:gridCol w="4654938">
                  <a:extLst>
                    <a:ext uri="{9D8B030D-6E8A-4147-A177-3AD203B41FA5}">
                      <a16:colId xmlns:a16="http://schemas.microsoft.com/office/drawing/2014/main" val="3439281161"/>
                    </a:ext>
                  </a:extLst>
                </a:gridCol>
              </a:tblGrid>
              <a:tr h="1142118">
                <a:tc>
                  <a:txBody>
                    <a:bodyPr/>
                    <a:lstStyle/>
                    <a:p>
                      <a:pPr marL="0" marR="0" lvl="0" indent="0" algn="l" defTabSz="914400" rtl="0" eaLnBrk="1" fontAlgn="base" latinLnBrk="0" hangingPunct="1">
                        <a:lnSpc>
                          <a:spcPct val="100000"/>
                        </a:lnSpc>
                        <a:spcBef>
                          <a:spcPts val="0"/>
                        </a:spcBef>
                        <a:spcAft>
                          <a:spcPts val="0"/>
                        </a:spcAft>
                        <a:buClrTx/>
                        <a:buSzTx/>
                        <a:buFontTx/>
                        <a:buNone/>
                        <a:tabLst/>
                      </a:pPr>
                      <a:endParaRPr kumimoji="0" lang="en-US" altLang="zh-TW" sz="1000" b="0" i="0" u="none" strike="noStrike" cap="none" normalizeH="0" baseline="0" dirty="0">
                        <a:ln>
                          <a:noFill/>
                        </a:ln>
                        <a:solidFill>
                          <a:schemeClr val="accent1"/>
                        </a:solidFill>
                        <a:effectLst/>
                        <a:latin typeface="Roboto Light" panose="02000000000000000000" pitchFamily="2" charset="0"/>
                        <a:ea typeface="Roboto Light" panose="02000000000000000000" pitchFamily="2" charset="0"/>
                        <a:cs typeface="Roboto Light" panose="02000000000000000000" pitchFamily="2" charset="0"/>
                      </a:endParaRPr>
                    </a:p>
                  </a:txBody>
                  <a:tcPr marL="72000" marR="0" marT="0" marB="0" anchor="ctr" horzOverflow="overflow">
                    <a:lnL w="12700" cmpd="sng">
                      <a:noFill/>
                    </a:lnL>
                    <a:lnR w="12700" cmpd="sng">
                      <a:noFill/>
                    </a:lnR>
                    <a:lnT w="127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80975" marR="0" lvl="1" indent="-180975" algn="l" defTabSz="914400" rtl="0" eaLnBrk="1" fontAlgn="auto" latinLnBrk="0" hangingPunct="1">
                        <a:lnSpc>
                          <a:spcPct val="100000"/>
                        </a:lnSpc>
                        <a:spcBef>
                          <a:spcPts val="600"/>
                        </a:spcBef>
                        <a:spcAft>
                          <a:spcPts val="600"/>
                        </a:spcAft>
                        <a:buClrTx/>
                        <a:buSzPct val="100000"/>
                        <a:buFont typeface="Wingdings" panose="05000000000000000000" pitchFamily="2" charset="2"/>
                        <a:buChar char="§"/>
                        <a:tabLst/>
                        <a:defRPr/>
                      </a:pPr>
                      <a:r>
                        <a:rPr kumimoji="0" lang="en-US" sz="1000" b="0" i="0" u="none" strike="noStrike" kern="1200" cap="none" spc="0" normalizeH="0" baseline="0" noProof="0" dirty="0">
                          <a:ln>
                            <a:noFill/>
                          </a:ln>
                          <a:solidFill>
                            <a:srgbClr val="333333"/>
                          </a:solidFill>
                          <a:effectLst/>
                          <a:uLnTx/>
                          <a:uFillTx/>
                          <a:latin typeface="Roboto Light" panose="02000000000000000000" pitchFamily="2" charset="0"/>
                          <a:ea typeface="Roboto Light" panose="02000000000000000000" pitchFamily="2" charset="0"/>
                          <a:cs typeface="Roboto Light" panose="02000000000000000000" pitchFamily="2" charset="0"/>
                        </a:rPr>
                        <a:t>[Text to come]</a:t>
                      </a:r>
                    </a:p>
                    <a:p>
                      <a:pPr marL="361950" marR="0" lvl="2" indent="-182563" algn="l" defTabSz="914400" rtl="0" eaLnBrk="1" fontAlgn="auto" latinLnBrk="0" hangingPunct="1">
                        <a:lnSpc>
                          <a:spcPct val="100000"/>
                        </a:lnSpc>
                        <a:spcBef>
                          <a:spcPts val="600"/>
                        </a:spcBef>
                        <a:spcAft>
                          <a:spcPts val="500"/>
                        </a:spcAft>
                        <a:buClrTx/>
                        <a:buSzPct val="50000"/>
                        <a:buFont typeface="Arial" panose="020B0604020202020204" pitchFamily="34" charset="0"/>
                        <a:buChar char="►"/>
                        <a:tabLst/>
                        <a:defRPr/>
                      </a:pPr>
                      <a:r>
                        <a:rPr lang="en-US" sz="1000" b="0" i="0" kern="1200" noProof="0" dirty="0">
                          <a:solidFill>
                            <a:srgbClr val="333333"/>
                          </a:solidFill>
                          <a:latin typeface="Roboto Light" panose="02000000000000000000" pitchFamily="2" charset="0"/>
                          <a:ea typeface="Roboto Light" panose="02000000000000000000" pitchFamily="2" charset="0"/>
                          <a:cs typeface="Roboto Light" panose="02000000000000000000" pitchFamily="2" charset="0"/>
                        </a:rPr>
                        <a:t>[The text to come]</a:t>
                      </a:r>
                    </a:p>
                  </a:txBody>
                  <a:tcPr marL="72000" marR="0" marT="0" marB="0" anchor="ctr">
                    <a:lnL w="12700" cmpd="sng">
                      <a:noFill/>
                    </a:lnL>
                    <a:lnR w="12700" cmpd="sng">
                      <a:noFill/>
                    </a:lnR>
                    <a:lnT w="12700" cmpd="sng">
                      <a:noFill/>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4965845"/>
                  </a:ext>
                </a:extLst>
              </a:tr>
              <a:tr h="1142118">
                <a:tc>
                  <a:txBody>
                    <a:bodyPr/>
                    <a:lstStyle/>
                    <a:p>
                      <a:pPr marL="0" marR="0" lvl="0" indent="0" algn="l" defTabSz="914400" rtl="0" eaLnBrk="1" fontAlgn="base" latinLnBrk="0" hangingPunct="1">
                        <a:lnSpc>
                          <a:spcPct val="100000"/>
                        </a:lnSpc>
                        <a:spcBef>
                          <a:spcPts val="0"/>
                        </a:spcBef>
                        <a:spcAft>
                          <a:spcPts val="0"/>
                        </a:spcAft>
                        <a:buClr>
                          <a:srgbClr val="0D2B55"/>
                        </a:buClr>
                        <a:buSzPct val="100000"/>
                        <a:buFont typeface="Wingdings" panose="05000000000000000000" pitchFamily="2" charset="2"/>
                        <a:buNone/>
                        <a:tabLst/>
                      </a:pPr>
                      <a:endParaRPr lang="en-US" altLang="zh-TW" sz="1000" b="0" i="0" kern="1200" dirty="0">
                        <a:solidFill>
                          <a:schemeClr val="accent1"/>
                        </a:solidFill>
                        <a:latin typeface="Roboto Light" panose="02000000000000000000" pitchFamily="2" charset="0"/>
                        <a:ea typeface="Roboto Light" panose="02000000000000000000" pitchFamily="2" charset="0"/>
                        <a:cs typeface="Roboto Light" panose="02000000000000000000" pitchFamily="2" charset="0"/>
                      </a:endParaRPr>
                    </a:p>
                  </a:txBody>
                  <a:tcPr marL="72000" marR="0" marT="0" marB="0" anchor="ctr" horzOverflow="overflow">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80975" marR="0" lvl="1" indent="-180975" algn="l" defTabSz="914400" rtl="0" eaLnBrk="1" fontAlgn="auto" latinLnBrk="0" hangingPunct="1">
                        <a:lnSpc>
                          <a:spcPct val="100000"/>
                        </a:lnSpc>
                        <a:spcBef>
                          <a:spcPts val="600"/>
                        </a:spcBef>
                        <a:spcAft>
                          <a:spcPts val="600"/>
                        </a:spcAft>
                        <a:buClrTx/>
                        <a:buSzPct val="100000"/>
                        <a:buFont typeface="Wingdings" panose="05000000000000000000" pitchFamily="2" charset="2"/>
                        <a:buChar char="§"/>
                        <a:tabLst/>
                        <a:defRPr/>
                      </a:pPr>
                      <a:r>
                        <a:rPr kumimoji="0" lang="en-US" sz="1000" b="0" i="0" u="none" strike="noStrike" kern="1200" cap="none" spc="0" normalizeH="0" baseline="0" noProof="0" dirty="0">
                          <a:ln>
                            <a:noFill/>
                          </a:ln>
                          <a:solidFill>
                            <a:srgbClr val="333333"/>
                          </a:solidFill>
                          <a:effectLst/>
                          <a:uLnTx/>
                          <a:uFillTx/>
                          <a:latin typeface="Roboto Light" panose="02000000000000000000" pitchFamily="2" charset="0"/>
                          <a:ea typeface="Roboto Light" panose="02000000000000000000" pitchFamily="2" charset="0"/>
                          <a:cs typeface="Roboto Light" panose="02000000000000000000" pitchFamily="2" charset="0"/>
                        </a:rPr>
                        <a:t>[Text to come]</a:t>
                      </a:r>
                    </a:p>
                    <a:p>
                      <a:pPr marL="361950" marR="0" lvl="2" indent="-182563" algn="l" defTabSz="914400" rtl="0" eaLnBrk="1" fontAlgn="auto" latinLnBrk="0" hangingPunct="1">
                        <a:lnSpc>
                          <a:spcPct val="100000"/>
                        </a:lnSpc>
                        <a:spcBef>
                          <a:spcPts val="600"/>
                        </a:spcBef>
                        <a:spcAft>
                          <a:spcPts val="500"/>
                        </a:spcAft>
                        <a:buClrTx/>
                        <a:buSzPct val="50000"/>
                        <a:buFont typeface="Arial" panose="020B0604020202020204" pitchFamily="34" charset="0"/>
                        <a:buChar char="►"/>
                        <a:tabLst/>
                        <a:defRPr/>
                      </a:pPr>
                      <a:r>
                        <a:rPr lang="en-US" sz="1000" b="0" i="0" kern="1200" noProof="0" dirty="0">
                          <a:solidFill>
                            <a:srgbClr val="333333"/>
                          </a:solidFill>
                          <a:latin typeface="Roboto Light" panose="02000000000000000000" pitchFamily="2" charset="0"/>
                          <a:ea typeface="Roboto Light" panose="02000000000000000000" pitchFamily="2" charset="0"/>
                          <a:cs typeface="Roboto Light" panose="02000000000000000000" pitchFamily="2" charset="0"/>
                        </a:rPr>
                        <a:t>[The text to come]</a:t>
                      </a:r>
                    </a:p>
                  </a:txBody>
                  <a:tcPr marL="72000" marR="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3127598"/>
                  </a:ext>
                </a:extLst>
              </a:tr>
              <a:tr h="1142118">
                <a:tc>
                  <a:txBody>
                    <a:bodyPr/>
                    <a:lstStyle/>
                    <a:p>
                      <a:pPr marL="0" marR="0" lvl="0" indent="0" algn="l" defTabSz="914400" rtl="0" eaLnBrk="1" fontAlgn="base" latinLnBrk="0" hangingPunct="1">
                        <a:lnSpc>
                          <a:spcPct val="100000"/>
                        </a:lnSpc>
                        <a:spcBef>
                          <a:spcPts val="0"/>
                        </a:spcBef>
                        <a:spcAft>
                          <a:spcPts val="0"/>
                        </a:spcAft>
                        <a:buClr>
                          <a:srgbClr val="0D2B55"/>
                        </a:buClr>
                        <a:buSzPct val="100000"/>
                        <a:buFont typeface="Wingdings" panose="05000000000000000000" pitchFamily="2" charset="2"/>
                        <a:buNone/>
                        <a:tabLst/>
                      </a:pPr>
                      <a:endParaRPr lang="en-US" altLang="zh-TW" sz="1000" b="0" i="0" kern="1200" dirty="0">
                        <a:solidFill>
                          <a:schemeClr val="accent1"/>
                        </a:solidFill>
                        <a:latin typeface="Roboto Light" panose="02000000000000000000" pitchFamily="2" charset="0"/>
                        <a:ea typeface="Roboto Light" panose="02000000000000000000" pitchFamily="2" charset="0"/>
                        <a:cs typeface="Roboto Light" panose="02000000000000000000" pitchFamily="2" charset="0"/>
                      </a:endParaRPr>
                    </a:p>
                  </a:txBody>
                  <a:tcPr marL="72000" marR="0" marT="0" marB="0" anchor="ctr" horzOverflow="overflow">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80975" marR="0" lvl="1" indent="-180975" algn="l" defTabSz="914400" rtl="0" eaLnBrk="1" fontAlgn="auto" latinLnBrk="0" hangingPunct="1">
                        <a:lnSpc>
                          <a:spcPct val="100000"/>
                        </a:lnSpc>
                        <a:spcBef>
                          <a:spcPts val="600"/>
                        </a:spcBef>
                        <a:spcAft>
                          <a:spcPts val="600"/>
                        </a:spcAft>
                        <a:buClrTx/>
                        <a:buSzPct val="100000"/>
                        <a:buFont typeface="Wingdings" panose="05000000000000000000" pitchFamily="2" charset="2"/>
                        <a:buChar char="§"/>
                        <a:tabLst/>
                        <a:defRPr/>
                      </a:pPr>
                      <a:r>
                        <a:rPr kumimoji="0" lang="en-US" sz="1000" b="0" i="0" u="none" strike="noStrike" kern="1200" cap="none" spc="0" normalizeH="0" baseline="0" noProof="0" dirty="0">
                          <a:ln>
                            <a:noFill/>
                          </a:ln>
                          <a:solidFill>
                            <a:srgbClr val="333333"/>
                          </a:solidFill>
                          <a:effectLst/>
                          <a:uLnTx/>
                          <a:uFillTx/>
                          <a:latin typeface="Roboto Light" panose="02000000000000000000" pitchFamily="2" charset="0"/>
                          <a:ea typeface="Roboto Light" panose="02000000000000000000" pitchFamily="2" charset="0"/>
                          <a:cs typeface="Roboto Light" panose="02000000000000000000" pitchFamily="2" charset="0"/>
                        </a:rPr>
                        <a:t>[Text to come]</a:t>
                      </a:r>
                    </a:p>
                    <a:p>
                      <a:pPr marL="361950" marR="0" lvl="2" indent="-182563" algn="l" defTabSz="914400" rtl="0" eaLnBrk="1" fontAlgn="auto" latinLnBrk="0" hangingPunct="1">
                        <a:lnSpc>
                          <a:spcPct val="100000"/>
                        </a:lnSpc>
                        <a:spcBef>
                          <a:spcPts val="600"/>
                        </a:spcBef>
                        <a:spcAft>
                          <a:spcPts val="500"/>
                        </a:spcAft>
                        <a:buClrTx/>
                        <a:buSzPct val="50000"/>
                        <a:buFont typeface="Arial" panose="020B0604020202020204" pitchFamily="34" charset="0"/>
                        <a:buChar char="►"/>
                        <a:tabLst/>
                        <a:defRPr/>
                      </a:pPr>
                      <a:r>
                        <a:rPr lang="en-US" sz="1000" b="0" i="0" kern="1200" noProof="0" dirty="0">
                          <a:solidFill>
                            <a:srgbClr val="333333"/>
                          </a:solidFill>
                          <a:latin typeface="Roboto Light" panose="02000000000000000000" pitchFamily="2" charset="0"/>
                          <a:ea typeface="Roboto Light" panose="02000000000000000000" pitchFamily="2" charset="0"/>
                          <a:cs typeface="Roboto Light" panose="02000000000000000000" pitchFamily="2" charset="0"/>
                        </a:rPr>
                        <a:t>[The text to come]</a:t>
                      </a:r>
                    </a:p>
                  </a:txBody>
                  <a:tcPr marL="72000" marR="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8492331"/>
                  </a:ext>
                </a:extLst>
              </a:tr>
            </a:tbl>
          </a:graphicData>
        </a:graphic>
      </p:graphicFrame>
    </p:spTree>
    <p:extLst>
      <p:ext uri="{BB962C8B-B14F-4D97-AF65-F5344CB8AC3E}">
        <p14:creationId xmlns:p14="http://schemas.microsoft.com/office/powerpoint/2010/main" val="3078616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C429BD7-2773-E80E-585B-CE9D583D7C6B}"/>
              </a:ext>
            </a:extLst>
          </p:cNvPr>
          <p:cNvGraphicFramePr>
            <a:graphicFrameLocks noChangeAspect="1"/>
          </p:cNvGraphicFramePr>
          <p:nvPr>
            <p:custDataLst>
              <p:tags r:id="rId1"/>
            </p:custDataLst>
            <p:extLst>
              <p:ext uri="{D42A27DB-BD31-4B8C-83A1-F6EECF244321}">
                <p14:modId xmlns:p14="http://schemas.microsoft.com/office/powerpoint/2010/main" val="2348025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7C429BD7-2773-E80E-585B-CE9D583D7C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11E5248-BAC7-2548-9E0E-9528719FAEE2}"/>
              </a:ext>
            </a:extLst>
          </p:cNvPr>
          <p:cNvSpPr>
            <a:spLocks noGrp="1"/>
          </p:cNvSpPr>
          <p:nvPr>
            <p:ph type="body" sz="quarter" idx="10"/>
          </p:nvPr>
        </p:nvSpPr>
        <p:spPr/>
        <p:txBody>
          <a:bodyPr/>
          <a:lstStyle/>
          <a:p>
            <a:endParaRPr lang="en-US"/>
          </a:p>
        </p:txBody>
      </p:sp>
      <p:sp>
        <p:nvSpPr>
          <p:cNvPr id="3" name="Text Placeholder 2">
            <a:extLst>
              <a:ext uri="{FF2B5EF4-FFF2-40B4-BE49-F238E27FC236}">
                <a16:creationId xmlns:a16="http://schemas.microsoft.com/office/drawing/2014/main" id="{0D0F6DDE-7998-DD4B-A5C6-54A960D52DA4}"/>
              </a:ext>
            </a:extLst>
          </p:cNvPr>
          <p:cNvSpPr>
            <a:spLocks noGrp="1"/>
          </p:cNvSpPr>
          <p:nvPr>
            <p:ph type="body" sz="quarter" idx="24"/>
          </p:nvPr>
        </p:nvSpPr>
        <p:spPr/>
        <p:txBody>
          <a:bodyPr/>
          <a:lstStyle/>
          <a:p>
            <a:endParaRPr lang="en-US"/>
          </a:p>
        </p:txBody>
      </p:sp>
      <p:sp>
        <p:nvSpPr>
          <p:cNvPr id="4" name="Title 3">
            <a:extLst>
              <a:ext uri="{FF2B5EF4-FFF2-40B4-BE49-F238E27FC236}">
                <a16:creationId xmlns:a16="http://schemas.microsoft.com/office/drawing/2014/main" id="{741BC532-6477-914F-B6A0-6815E3887F02}"/>
              </a:ext>
            </a:extLst>
          </p:cNvPr>
          <p:cNvSpPr>
            <a:spLocks noGrp="1"/>
          </p:cNvSpPr>
          <p:nvPr>
            <p:ph type="title"/>
          </p:nvPr>
        </p:nvSpPr>
        <p:spPr/>
        <p:txBody>
          <a:bodyPr/>
          <a:lstStyle/>
          <a:p>
            <a:endParaRPr lang="en-US" dirty="0"/>
          </a:p>
        </p:txBody>
      </p:sp>
      <p:sp>
        <p:nvSpPr>
          <p:cNvPr id="6" name="Text Placeholder 5">
            <a:extLst>
              <a:ext uri="{FF2B5EF4-FFF2-40B4-BE49-F238E27FC236}">
                <a16:creationId xmlns:a16="http://schemas.microsoft.com/office/drawing/2014/main" id="{B4732DC6-3E83-754D-8A11-740FE4985AA8}"/>
              </a:ext>
            </a:extLst>
          </p:cNvPr>
          <p:cNvSpPr>
            <a:spLocks noGrp="1"/>
          </p:cNvSpPr>
          <p:nvPr>
            <p:ph type="body" sz="quarter" idx="31"/>
          </p:nvPr>
        </p:nvSpPr>
        <p:spPr/>
        <p:txBody>
          <a:bodyPr/>
          <a:lstStyle/>
          <a:p>
            <a:endParaRPr lang="en-US"/>
          </a:p>
        </p:txBody>
      </p:sp>
      <p:sp>
        <p:nvSpPr>
          <p:cNvPr id="8" name="Text Placeholder 7">
            <a:extLst>
              <a:ext uri="{FF2B5EF4-FFF2-40B4-BE49-F238E27FC236}">
                <a16:creationId xmlns:a16="http://schemas.microsoft.com/office/drawing/2014/main" id="{0FF25F32-FDB3-3346-A6EB-1508C02E216C}"/>
              </a:ext>
            </a:extLst>
          </p:cNvPr>
          <p:cNvSpPr>
            <a:spLocks noGrp="1"/>
          </p:cNvSpPr>
          <p:nvPr>
            <p:ph type="body" sz="quarter" idx="27"/>
          </p:nvPr>
        </p:nvSpPr>
        <p:spPr/>
        <p:txBody>
          <a:bodyPr/>
          <a:lstStyle/>
          <a:p>
            <a:endParaRPr lang="en-US"/>
          </a:p>
        </p:txBody>
      </p:sp>
      <p:sp>
        <p:nvSpPr>
          <p:cNvPr id="10" name="Content Placeholder 9">
            <a:extLst>
              <a:ext uri="{FF2B5EF4-FFF2-40B4-BE49-F238E27FC236}">
                <a16:creationId xmlns:a16="http://schemas.microsoft.com/office/drawing/2014/main" id="{2C5B38CB-D68C-864D-B00F-04A0141E0794}"/>
              </a:ext>
            </a:extLst>
          </p:cNvPr>
          <p:cNvSpPr>
            <a:spLocks noGrp="1"/>
          </p:cNvSpPr>
          <p:nvPr>
            <p:ph sz="quarter" idx="36"/>
          </p:nvPr>
        </p:nvSpPr>
        <p:spPr/>
        <p:txBody>
          <a:bodyPr/>
          <a:lstStyle/>
          <a:p>
            <a:endParaRPr lang="en-US"/>
          </a:p>
        </p:txBody>
      </p:sp>
      <p:graphicFrame>
        <p:nvGraphicFramePr>
          <p:cNvPr id="13" name="Content Placeholder 21">
            <a:extLst>
              <a:ext uri="{FF2B5EF4-FFF2-40B4-BE49-F238E27FC236}">
                <a16:creationId xmlns:a16="http://schemas.microsoft.com/office/drawing/2014/main" id="{30FE7AFF-FA14-F445-977B-3DD8DA45527B}"/>
              </a:ext>
            </a:extLst>
          </p:cNvPr>
          <p:cNvGraphicFramePr>
            <a:graphicFrameLocks noGrp="1"/>
          </p:cNvGraphicFramePr>
          <p:nvPr>
            <p:ph sz="quarter" idx="38"/>
            <p:extLst>
              <p:ext uri="{D42A27DB-BD31-4B8C-83A1-F6EECF244321}">
                <p14:modId xmlns:p14="http://schemas.microsoft.com/office/powerpoint/2010/main" val="643841814"/>
              </p:ext>
            </p:extLst>
          </p:nvPr>
        </p:nvGraphicFramePr>
        <p:xfrm>
          <a:off x="392113" y="1655728"/>
          <a:ext cx="4379914" cy="2008215"/>
        </p:xfrm>
        <a:graphic>
          <a:graphicData uri="http://schemas.openxmlformats.org/drawingml/2006/table">
            <a:tbl>
              <a:tblPr firstRow="1" bandRow="1">
                <a:tableStyleId>{D7AC3CCA-C797-4891-BE02-D94E43425B78}</a:tableStyleId>
              </a:tblPr>
              <a:tblGrid>
                <a:gridCol w="1518463">
                  <a:extLst>
                    <a:ext uri="{9D8B030D-6E8A-4147-A177-3AD203B41FA5}">
                      <a16:colId xmlns:a16="http://schemas.microsoft.com/office/drawing/2014/main" val="296570176"/>
                    </a:ext>
                  </a:extLst>
                </a:gridCol>
                <a:gridCol w="2861451">
                  <a:extLst>
                    <a:ext uri="{9D8B030D-6E8A-4147-A177-3AD203B41FA5}">
                      <a16:colId xmlns:a16="http://schemas.microsoft.com/office/drawing/2014/main" val="1725570811"/>
                    </a:ext>
                  </a:extLst>
                </a:gridCol>
              </a:tblGrid>
              <a:tr h="223135">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altLang="zh-TW" sz="800" b="0" i="0" u="none" strike="noStrike" kern="1200" cap="none" normalizeH="0" baseline="0" dirty="0">
                          <a:ln>
                            <a:noFill/>
                          </a:ln>
                          <a:solidFill>
                            <a:srgbClr val="F2F2F2"/>
                          </a:solidFill>
                          <a:effectLst/>
                          <a:latin typeface="Roboto Light" panose="02000000000000000000" pitchFamily="2" charset="0"/>
                          <a:ea typeface="Roboto Light" panose="02000000000000000000" pitchFamily="2" charset="0"/>
                          <a:cs typeface="Arial" charset="0"/>
                        </a:rPr>
                        <a:t>Text</a:t>
                      </a:r>
                    </a:p>
                  </a:txBody>
                  <a:tcPr marL="36000" marR="0" marT="0" marB="0" anchor="ctr" horzOverflow="overflow">
                    <a:lnL w="12700" cmpd="sng">
                      <a:noFill/>
                    </a:lnL>
                    <a:lnR w="12700" cmpd="sng">
                      <a:noFill/>
                    </a:lnR>
                    <a:lnT w="6350"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spcBef>
                          <a:spcPts val="0"/>
                        </a:spcBef>
                        <a:spcAft>
                          <a:spcPts val="0"/>
                        </a:spcAft>
                      </a:pPr>
                      <a:r>
                        <a:rPr lang="en-US" sz="800" b="0" i="0" kern="1200" baseline="0" dirty="0">
                          <a:solidFill>
                            <a:schemeClr val="tx1"/>
                          </a:solidFill>
                          <a:latin typeface="Roboto Light" panose="02000000000000000000" pitchFamily="2" charset="0"/>
                          <a:ea typeface="Roboto Light" panose="02000000000000000000" pitchFamily="2" charset="0"/>
                          <a:cs typeface="+mn-cs"/>
                        </a:rPr>
                        <a:t>Text</a:t>
                      </a:r>
                    </a:p>
                  </a:txBody>
                  <a:tcPr marL="72000" marR="0" marT="0" marB="0" anchor="ctr">
                    <a:lnL w="12700" cmpd="sng">
                      <a:noFill/>
                    </a:lnL>
                    <a:lnR w="12700" cmpd="sng">
                      <a:noFill/>
                    </a:lnR>
                    <a:lnT w="6350" cap="flat" cmpd="sng" algn="ctr">
                      <a:solidFill>
                        <a:schemeClr val="accent4"/>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529444"/>
                  </a:ext>
                </a:extLst>
              </a:tr>
              <a:tr h="223135">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altLang="zh-TW" sz="800" b="0" i="0" u="none" strike="noStrike" kern="1200" cap="none" normalizeH="0" baseline="0" dirty="0">
                          <a:ln>
                            <a:noFill/>
                          </a:ln>
                          <a:solidFill>
                            <a:srgbClr val="F2F2F2"/>
                          </a:solidFill>
                          <a:effectLst/>
                          <a:latin typeface="Roboto Light" panose="02000000000000000000" pitchFamily="2" charset="0"/>
                          <a:ea typeface="Roboto Light" panose="02000000000000000000" pitchFamily="2" charset="0"/>
                          <a:cs typeface="Arial" charset="0"/>
                        </a:rPr>
                        <a:t>Text</a:t>
                      </a:r>
                    </a:p>
                  </a:txBody>
                  <a:tcPr marL="36000" marR="0" marT="0" marB="0" anchor="ctr" horzOverflow="overflow">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spcBef>
                          <a:spcPts val="0"/>
                        </a:spcBef>
                        <a:spcAft>
                          <a:spcPts val="0"/>
                        </a:spcAft>
                      </a:pPr>
                      <a:r>
                        <a:rPr lang="en-US" sz="800" b="0" i="0" kern="1200" baseline="0" dirty="0">
                          <a:solidFill>
                            <a:schemeClr val="tx1"/>
                          </a:solidFill>
                          <a:latin typeface="Roboto Light" panose="02000000000000000000" pitchFamily="2" charset="0"/>
                          <a:ea typeface="Roboto Light" panose="02000000000000000000" pitchFamily="2" charset="0"/>
                          <a:cs typeface="+mn-cs"/>
                        </a:rPr>
                        <a:t>Text</a:t>
                      </a:r>
                    </a:p>
                  </a:txBody>
                  <a:tcPr marL="72000" marR="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2616788"/>
                  </a:ext>
                </a:extLst>
              </a:tr>
              <a:tr h="223135">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altLang="zh-TW" sz="800" b="0" i="0" u="none" strike="noStrike" kern="1200" cap="none" normalizeH="0" baseline="0" dirty="0">
                          <a:ln>
                            <a:noFill/>
                          </a:ln>
                          <a:solidFill>
                            <a:srgbClr val="F2F2F2"/>
                          </a:solidFill>
                          <a:effectLst/>
                          <a:latin typeface="Roboto Light" panose="02000000000000000000" pitchFamily="2" charset="0"/>
                          <a:ea typeface="Roboto Light" panose="02000000000000000000" pitchFamily="2" charset="0"/>
                          <a:cs typeface="Arial" charset="0"/>
                        </a:rPr>
                        <a:t>Text</a:t>
                      </a:r>
                    </a:p>
                  </a:txBody>
                  <a:tcPr marL="36000" marR="0" marT="0" marB="0" anchor="ctr" horzOverflow="overflow">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spcBef>
                          <a:spcPts val="0"/>
                        </a:spcBef>
                        <a:spcAft>
                          <a:spcPts val="0"/>
                        </a:spcAft>
                      </a:pPr>
                      <a:r>
                        <a:rPr lang="en-US" sz="800" b="0" i="0" kern="1200" baseline="0" dirty="0">
                          <a:solidFill>
                            <a:schemeClr val="tx1"/>
                          </a:solidFill>
                          <a:latin typeface="Roboto Light" panose="02000000000000000000" pitchFamily="2" charset="0"/>
                          <a:ea typeface="Roboto Light" panose="02000000000000000000" pitchFamily="2" charset="0"/>
                          <a:cs typeface="+mn-cs"/>
                        </a:rPr>
                        <a:t>Text</a:t>
                      </a:r>
                    </a:p>
                  </a:txBody>
                  <a:tcPr marL="72000" marR="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8202793"/>
                  </a:ext>
                </a:extLst>
              </a:tr>
              <a:tr h="223135">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altLang="zh-TW" sz="800" b="0" i="0" u="none" strike="noStrike" kern="1200" cap="none" normalizeH="0" baseline="0" dirty="0">
                          <a:ln>
                            <a:noFill/>
                          </a:ln>
                          <a:solidFill>
                            <a:srgbClr val="F2F2F2"/>
                          </a:solidFill>
                          <a:effectLst/>
                          <a:latin typeface="Roboto Light" panose="02000000000000000000" pitchFamily="2" charset="0"/>
                          <a:ea typeface="Roboto Light" panose="02000000000000000000" pitchFamily="2" charset="0"/>
                          <a:cs typeface="Arial" charset="0"/>
                        </a:rPr>
                        <a:t>Text</a:t>
                      </a:r>
                    </a:p>
                  </a:txBody>
                  <a:tcPr marL="36000" marR="0" marT="0" marB="0" anchor="ctr" horzOverflow="overflow">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spcBef>
                          <a:spcPts val="0"/>
                        </a:spcBef>
                        <a:spcAft>
                          <a:spcPts val="0"/>
                        </a:spcAft>
                      </a:pPr>
                      <a:r>
                        <a:rPr lang="en-US" sz="800" b="0" i="0" kern="1200" baseline="0" dirty="0">
                          <a:solidFill>
                            <a:schemeClr val="tx1"/>
                          </a:solidFill>
                          <a:latin typeface="Roboto Light" panose="02000000000000000000" pitchFamily="2" charset="0"/>
                          <a:ea typeface="Roboto Light" panose="02000000000000000000" pitchFamily="2" charset="0"/>
                          <a:cs typeface="+mn-cs"/>
                        </a:rPr>
                        <a:t>Text</a:t>
                      </a:r>
                    </a:p>
                  </a:txBody>
                  <a:tcPr marL="72000" marR="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5069612"/>
                  </a:ext>
                </a:extLst>
              </a:tr>
              <a:tr h="223135">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altLang="zh-TW" sz="800" b="0" i="0" u="none" strike="noStrike" kern="1200" cap="none" normalizeH="0" baseline="0" dirty="0">
                          <a:ln>
                            <a:noFill/>
                          </a:ln>
                          <a:solidFill>
                            <a:srgbClr val="F2F2F2"/>
                          </a:solidFill>
                          <a:effectLst/>
                          <a:latin typeface="Roboto Light" panose="02000000000000000000" pitchFamily="2" charset="0"/>
                          <a:ea typeface="Roboto Light" panose="02000000000000000000" pitchFamily="2" charset="0"/>
                          <a:cs typeface="Arial" charset="0"/>
                        </a:rPr>
                        <a:t>Text</a:t>
                      </a:r>
                    </a:p>
                  </a:txBody>
                  <a:tcPr marL="36000" marR="0" marT="0" marB="0" anchor="ctr" horzOverflow="overflow">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spcBef>
                          <a:spcPts val="0"/>
                        </a:spcBef>
                        <a:spcAft>
                          <a:spcPts val="0"/>
                        </a:spcAft>
                      </a:pPr>
                      <a:r>
                        <a:rPr lang="en-US" sz="800" b="0" i="0" kern="1200" baseline="0" dirty="0">
                          <a:solidFill>
                            <a:schemeClr val="tx1"/>
                          </a:solidFill>
                          <a:latin typeface="Roboto Light" panose="02000000000000000000" pitchFamily="2" charset="0"/>
                          <a:ea typeface="Roboto Light" panose="02000000000000000000" pitchFamily="2" charset="0"/>
                          <a:cs typeface="+mn-cs"/>
                        </a:rPr>
                        <a:t>Text</a:t>
                      </a:r>
                    </a:p>
                  </a:txBody>
                  <a:tcPr marL="72000" marR="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7417396"/>
                  </a:ext>
                </a:extLst>
              </a:tr>
              <a:tr h="223135">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altLang="zh-TW" sz="800" b="0" i="0" u="none" strike="noStrike" kern="1200" cap="none" normalizeH="0" baseline="0" dirty="0">
                          <a:ln>
                            <a:noFill/>
                          </a:ln>
                          <a:solidFill>
                            <a:srgbClr val="F2F2F2"/>
                          </a:solidFill>
                          <a:effectLst/>
                          <a:latin typeface="Roboto Light" panose="02000000000000000000" pitchFamily="2" charset="0"/>
                          <a:ea typeface="Roboto Light" panose="02000000000000000000" pitchFamily="2" charset="0"/>
                          <a:cs typeface="Arial" charset="0"/>
                        </a:rPr>
                        <a:t>Text</a:t>
                      </a:r>
                    </a:p>
                  </a:txBody>
                  <a:tcPr marL="36000" marR="0" marT="0" marB="0" anchor="ctr" horzOverflow="overflow">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spcBef>
                          <a:spcPts val="0"/>
                        </a:spcBef>
                        <a:spcAft>
                          <a:spcPts val="0"/>
                        </a:spcAft>
                      </a:pPr>
                      <a:r>
                        <a:rPr lang="en-US" sz="800" b="0" i="0" kern="1200" baseline="0" dirty="0">
                          <a:solidFill>
                            <a:schemeClr val="tx1"/>
                          </a:solidFill>
                          <a:latin typeface="Roboto Light" panose="02000000000000000000" pitchFamily="2" charset="0"/>
                          <a:ea typeface="Roboto Light" panose="02000000000000000000" pitchFamily="2" charset="0"/>
                          <a:cs typeface="+mn-cs"/>
                        </a:rPr>
                        <a:t>Text</a:t>
                      </a:r>
                    </a:p>
                  </a:txBody>
                  <a:tcPr marL="72000" marR="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347611"/>
                  </a:ext>
                </a:extLst>
              </a:tr>
              <a:tr h="223135">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altLang="zh-TW" sz="800" b="0" i="0" u="none" strike="noStrike" kern="1200" cap="none" normalizeH="0" baseline="0" dirty="0">
                          <a:ln>
                            <a:noFill/>
                          </a:ln>
                          <a:solidFill>
                            <a:srgbClr val="F2F2F2"/>
                          </a:solidFill>
                          <a:effectLst/>
                          <a:latin typeface="Roboto Light" panose="02000000000000000000" pitchFamily="2" charset="0"/>
                          <a:ea typeface="Roboto Light" panose="02000000000000000000" pitchFamily="2" charset="0"/>
                          <a:cs typeface="Arial" charset="0"/>
                        </a:rPr>
                        <a:t>Text</a:t>
                      </a:r>
                    </a:p>
                  </a:txBody>
                  <a:tcPr marL="36000" marR="0" marT="0" marB="0" anchor="ctr" horzOverflow="overflow">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spcBef>
                          <a:spcPts val="0"/>
                        </a:spcBef>
                        <a:spcAft>
                          <a:spcPts val="0"/>
                        </a:spcAft>
                      </a:pPr>
                      <a:r>
                        <a:rPr lang="en-US" sz="800" b="0" i="0" kern="1200" baseline="0" dirty="0">
                          <a:solidFill>
                            <a:schemeClr val="tx1"/>
                          </a:solidFill>
                          <a:latin typeface="Roboto Light" panose="02000000000000000000" pitchFamily="2" charset="0"/>
                          <a:ea typeface="Roboto Light" panose="02000000000000000000" pitchFamily="2" charset="0"/>
                          <a:cs typeface="+mn-cs"/>
                        </a:rPr>
                        <a:t>Text</a:t>
                      </a:r>
                    </a:p>
                  </a:txBody>
                  <a:tcPr marL="72000" marR="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1517387"/>
                  </a:ext>
                </a:extLst>
              </a:tr>
              <a:tr h="223135">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altLang="zh-TW" sz="800" b="0" i="0" u="none" strike="noStrike" kern="1200" cap="none" normalizeH="0" baseline="0" dirty="0">
                          <a:ln>
                            <a:noFill/>
                          </a:ln>
                          <a:solidFill>
                            <a:srgbClr val="F2F2F2"/>
                          </a:solidFill>
                          <a:effectLst/>
                          <a:latin typeface="Roboto Light" panose="02000000000000000000" pitchFamily="2" charset="0"/>
                          <a:ea typeface="Roboto Light" panose="02000000000000000000" pitchFamily="2" charset="0"/>
                          <a:cs typeface="Arial" charset="0"/>
                        </a:rPr>
                        <a:t>Text</a:t>
                      </a:r>
                    </a:p>
                  </a:txBody>
                  <a:tcPr marL="36000" marR="0" marT="0" marB="0" anchor="ctr" horzOverflow="overflow">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spcBef>
                          <a:spcPts val="0"/>
                        </a:spcBef>
                        <a:spcAft>
                          <a:spcPts val="0"/>
                        </a:spcAft>
                      </a:pPr>
                      <a:r>
                        <a:rPr lang="en-US" sz="800" b="0" i="0" kern="1200" baseline="0" dirty="0">
                          <a:solidFill>
                            <a:schemeClr val="tx1"/>
                          </a:solidFill>
                          <a:latin typeface="Roboto Light" panose="02000000000000000000" pitchFamily="2" charset="0"/>
                          <a:ea typeface="Roboto Light" panose="02000000000000000000" pitchFamily="2" charset="0"/>
                          <a:cs typeface="+mn-cs"/>
                        </a:rPr>
                        <a:t>Text</a:t>
                      </a:r>
                    </a:p>
                  </a:txBody>
                  <a:tcPr marL="72000" marR="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0473055"/>
                  </a:ext>
                </a:extLst>
              </a:tr>
              <a:tr h="223135">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altLang="zh-TW" sz="800" b="0" i="0" u="none" strike="noStrike" kern="1200" cap="none" normalizeH="0" baseline="0" dirty="0">
                          <a:ln>
                            <a:noFill/>
                          </a:ln>
                          <a:solidFill>
                            <a:srgbClr val="F2F2F2"/>
                          </a:solidFill>
                          <a:effectLst/>
                          <a:latin typeface="Roboto Light" panose="02000000000000000000" pitchFamily="2" charset="0"/>
                          <a:ea typeface="Roboto Light" panose="02000000000000000000" pitchFamily="2" charset="0"/>
                          <a:cs typeface="Arial" charset="0"/>
                        </a:rPr>
                        <a:t>Text</a:t>
                      </a:r>
                    </a:p>
                  </a:txBody>
                  <a:tcPr marL="36000" marR="0" marT="0" marB="0" anchor="ctr" horzOverflow="overflow">
                    <a:lnL w="12700" cmpd="sng">
                      <a:noFill/>
                    </a:lnL>
                    <a:lnR w="12700" cmpd="sng">
                      <a:noFill/>
                    </a:lnR>
                    <a:lnT w="9525"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spcBef>
                          <a:spcPts val="0"/>
                        </a:spcBef>
                        <a:spcAft>
                          <a:spcPts val="0"/>
                        </a:spcAft>
                      </a:pPr>
                      <a:r>
                        <a:rPr lang="en-US" sz="800" b="0" i="0" kern="1200" baseline="0" dirty="0">
                          <a:solidFill>
                            <a:schemeClr val="tx1"/>
                          </a:solidFill>
                          <a:latin typeface="Roboto Light" panose="02000000000000000000" pitchFamily="2" charset="0"/>
                          <a:ea typeface="Roboto Light" panose="02000000000000000000" pitchFamily="2" charset="0"/>
                          <a:cs typeface="+mn-cs"/>
                        </a:rPr>
                        <a:t>Text</a:t>
                      </a:r>
                    </a:p>
                  </a:txBody>
                  <a:tcPr marL="72000" marR="0" marT="0" marB="0" anchor="ctr">
                    <a:lnL w="12700" cmpd="sng">
                      <a:noFill/>
                    </a:lnL>
                    <a:lnR w="12700" cmpd="sng">
                      <a:noFill/>
                    </a:lnR>
                    <a:lnT w="9525" cap="flat" cmpd="sng" algn="ctr">
                      <a:solidFill>
                        <a:schemeClr val="bg1">
                          <a:lumMod val="85000"/>
                        </a:schemeClr>
                      </a:solidFill>
                      <a:prstDash val="solid"/>
                      <a:round/>
                      <a:headEnd type="none" w="med" len="med"/>
                      <a:tailEnd type="none" w="med" len="med"/>
                    </a:lnT>
                    <a:lnB w="63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362833"/>
                  </a:ext>
                </a:extLst>
              </a:tr>
            </a:tbl>
          </a:graphicData>
        </a:graphic>
      </p:graphicFrame>
      <p:grpSp>
        <p:nvGrpSpPr>
          <p:cNvPr id="37" name="Group 36">
            <a:extLst>
              <a:ext uri="{FF2B5EF4-FFF2-40B4-BE49-F238E27FC236}">
                <a16:creationId xmlns:a16="http://schemas.microsoft.com/office/drawing/2014/main" id="{DE4A98AB-BA0F-F74A-B73F-DA9F7F702167}"/>
              </a:ext>
            </a:extLst>
          </p:cNvPr>
          <p:cNvGrpSpPr/>
          <p:nvPr/>
        </p:nvGrpSpPr>
        <p:grpSpPr>
          <a:xfrm>
            <a:off x="5239657" y="1383643"/>
            <a:ext cx="4273097" cy="4838290"/>
            <a:chOff x="5723700" y="1383643"/>
            <a:chExt cx="3789054" cy="4290224"/>
          </a:xfrm>
        </p:grpSpPr>
        <p:sp>
          <p:nvSpPr>
            <p:cNvPr id="14" name="Rectangle 13">
              <a:extLst>
                <a:ext uri="{FF2B5EF4-FFF2-40B4-BE49-F238E27FC236}">
                  <a16:creationId xmlns:a16="http://schemas.microsoft.com/office/drawing/2014/main" id="{F207B0F1-5943-FC4C-BB23-6C9535B73F58}"/>
                </a:ext>
              </a:extLst>
            </p:cNvPr>
            <p:cNvSpPr/>
            <p:nvPr/>
          </p:nvSpPr>
          <p:spPr>
            <a:xfrm>
              <a:off x="5723700" y="1383643"/>
              <a:ext cx="1868942" cy="2109503"/>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1000" dirty="0" err="1">
                <a:solidFill>
                  <a:schemeClr val="bg1"/>
                </a:solidFill>
              </a:endParaRPr>
            </a:p>
          </p:txBody>
        </p:sp>
        <p:sp>
          <p:nvSpPr>
            <p:cNvPr id="15" name="Rectangle 14">
              <a:extLst>
                <a:ext uri="{FF2B5EF4-FFF2-40B4-BE49-F238E27FC236}">
                  <a16:creationId xmlns:a16="http://schemas.microsoft.com/office/drawing/2014/main" id="{6C758278-F233-CC49-8FED-43F233E4A1EF}"/>
                </a:ext>
              </a:extLst>
            </p:cNvPr>
            <p:cNvSpPr/>
            <p:nvPr/>
          </p:nvSpPr>
          <p:spPr>
            <a:xfrm>
              <a:off x="7643811" y="1383643"/>
              <a:ext cx="1868942" cy="2109503"/>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1000" dirty="0" err="1">
                <a:solidFill>
                  <a:schemeClr val="bg1"/>
                </a:solidFill>
              </a:endParaRPr>
            </a:p>
          </p:txBody>
        </p:sp>
        <p:sp>
          <p:nvSpPr>
            <p:cNvPr id="16" name="Rectangle 15">
              <a:extLst>
                <a:ext uri="{FF2B5EF4-FFF2-40B4-BE49-F238E27FC236}">
                  <a16:creationId xmlns:a16="http://schemas.microsoft.com/office/drawing/2014/main" id="{D60818A5-B315-2E43-BB4A-9F61C2018887}"/>
                </a:ext>
              </a:extLst>
            </p:cNvPr>
            <p:cNvSpPr/>
            <p:nvPr/>
          </p:nvSpPr>
          <p:spPr>
            <a:xfrm>
              <a:off x="5723700" y="3564364"/>
              <a:ext cx="1868942" cy="2109503"/>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1000" dirty="0" err="1">
                <a:solidFill>
                  <a:schemeClr val="bg1"/>
                </a:solidFill>
              </a:endParaRPr>
            </a:p>
          </p:txBody>
        </p:sp>
        <p:sp>
          <p:nvSpPr>
            <p:cNvPr id="17" name="Rectangle 16">
              <a:extLst>
                <a:ext uri="{FF2B5EF4-FFF2-40B4-BE49-F238E27FC236}">
                  <a16:creationId xmlns:a16="http://schemas.microsoft.com/office/drawing/2014/main" id="{1715F0C8-F66A-C34D-AE62-A573D77722B1}"/>
                </a:ext>
              </a:extLst>
            </p:cNvPr>
            <p:cNvSpPr/>
            <p:nvPr/>
          </p:nvSpPr>
          <p:spPr>
            <a:xfrm>
              <a:off x="7643811" y="3564364"/>
              <a:ext cx="1868942" cy="2109503"/>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1000" dirty="0" err="1">
                <a:solidFill>
                  <a:schemeClr val="bg1"/>
                </a:solidFill>
              </a:endParaRPr>
            </a:p>
          </p:txBody>
        </p:sp>
        <p:sp>
          <p:nvSpPr>
            <p:cNvPr id="18" name="object 29">
              <a:extLst>
                <a:ext uri="{FF2B5EF4-FFF2-40B4-BE49-F238E27FC236}">
                  <a16:creationId xmlns:a16="http://schemas.microsoft.com/office/drawing/2014/main" id="{0278231E-A49B-9247-86EA-1A78B21A50C9}"/>
                </a:ext>
              </a:extLst>
            </p:cNvPr>
            <p:cNvSpPr txBox="1"/>
            <p:nvPr/>
          </p:nvSpPr>
          <p:spPr bwMode="gray">
            <a:xfrm>
              <a:off x="5826928" y="1512818"/>
              <a:ext cx="1662485" cy="153888"/>
            </a:xfrm>
            <a:prstGeom prst="rect">
              <a:avLst/>
            </a:prstGeom>
          </p:spPr>
          <p:txBody>
            <a:bodyPr vert="horz"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00" u="none" strike="noStrike" kern="1200" cap="none" spc="0"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Taxes and</a:t>
              </a:r>
              <a:r>
                <a:rPr kumimoji="0" sz="1000" u="none" strike="noStrike" kern="1200" cap="none" spc="-40"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 </a:t>
              </a:r>
              <a:r>
                <a:rPr kumimoji="0" sz="1000" u="none" strike="noStrike" kern="1200" cap="none" spc="0"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royalties</a:t>
              </a:r>
              <a:r>
                <a:rPr kumimoji="0" sz="1000" u="none" strike="noStrike" kern="1200" cap="none" spc="0" normalizeH="0" baseline="27777"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 </a:t>
              </a:r>
              <a:r>
                <a:rPr kumimoji="0" lang="en-US" sz="1000" u="none" strike="noStrike" kern="1200" cap="none" spc="0" normalizeH="0" baseline="27777"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1</a:t>
              </a:r>
              <a:endParaRPr kumimoji="0" sz="1000" u="none" strike="noStrike" kern="1200" cap="none" spc="0"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19" name="object 29">
              <a:extLst>
                <a:ext uri="{FF2B5EF4-FFF2-40B4-BE49-F238E27FC236}">
                  <a16:creationId xmlns:a16="http://schemas.microsoft.com/office/drawing/2014/main" id="{DE8CA4F3-4EC6-034D-8CFA-AADCB6F042A0}"/>
                </a:ext>
              </a:extLst>
            </p:cNvPr>
            <p:cNvSpPr txBox="1"/>
            <p:nvPr/>
          </p:nvSpPr>
          <p:spPr bwMode="gray">
            <a:xfrm>
              <a:off x="5728411" y="2426699"/>
              <a:ext cx="1864231" cy="327495"/>
            </a:xfrm>
            <a:prstGeom prst="rect">
              <a:avLst/>
            </a:prstGeom>
          </p:spPr>
          <p:txBody>
            <a:bodyPr vert="horz" wrap="square" lIns="0" tIns="0" rIns="0" bIns="0" rtlCol="0" anchor="ctr">
              <a:spAutoFit/>
            </a:bodyPr>
            <a:lstStyle/>
            <a:p>
              <a:pPr marL="6350" marR="0" lvl="0" algn="ctr" defTabSz="914400" rtl="0" eaLnBrk="1" fontAlgn="auto" latinLnBrk="0" hangingPunct="1">
                <a:lnSpc>
                  <a:spcPct val="100000"/>
                </a:lnSpc>
                <a:spcBef>
                  <a:spcPts val="409"/>
                </a:spcBef>
                <a:spcAft>
                  <a:spcPts val="0"/>
                </a:spcAft>
                <a:buClrTx/>
                <a:buSzTx/>
                <a:buFontTx/>
                <a:buNone/>
                <a:defRPr/>
              </a:pPr>
              <a:r>
                <a:rPr kumimoji="0" lang="en-US" sz="2400" u="none" strike="noStrike" kern="1200" cap="none" spc="-5"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US$250m</a:t>
              </a:r>
              <a:endParaRPr kumimoji="0" lang="en-US" sz="900" u="none" strike="noStrike" kern="1200" cap="none" spc="0"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20" name="object 29">
              <a:extLst>
                <a:ext uri="{FF2B5EF4-FFF2-40B4-BE49-F238E27FC236}">
                  <a16:creationId xmlns:a16="http://schemas.microsoft.com/office/drawing/2014/main" id="{0758D0AB-7587-A14C-B76F-449C922B043F}"/>
                </a:ext>
              </a:extLst>
            </p:cNvPr>
            <p:cNvSpPr txBox="1"/>
            <p:nvPr/>
          </p:nvSpPr>
          <p:spPr bwMode="gray">
            <a:xfrm>
              <a:off x="5728411" y="3035210"/>
              <a:ext cx="1868943" cy="307777"/>
            </a:xfrm>
            <a:prstGeom prst="rect">
              <a:avLst/>
            </a:prstGeom>
          </p:spPr>
          <p:txBody>
            <a:bodyPr vert="horz"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estimated contribution </a:t>
              </a:r>
              <a:br>
                <a:rPr kumimoji="0" lang="en-US" sz="1000" u="none" strike="noStrike" kern="1200" cap="none" spc="0"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br>
              <a:r>
                <a:rPr kumimoji="0" lang="en-US" sz="1000" u="none" strike="noStrike" kern="1200" cap="none" spc="0"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over LoM</a:t>
              </a:r>
            </a:p>
          </p:txBody>
        </p:sp>
        <p:sp>
          <p:nvSpPr>
            <p:cNvPr id="21" name="TextBox 20">
              <a:extLst>
                <a:ext uri="{FF2B5EF4-FFF2-40B4-BE49-F238E27FC236}">
                  <a16:creationId xmlns:a16="http://schemas.microsoft.com/office/drawing/2014/main" id="{55E8F9D8-E1E0-B642-9D52-2FF591107F3A}"/>
                </a:ext>
              </a:extLst>
            </p:cNvPr>
            <p:cNvSpPr txBox="1"/>
            <p:nvPr/>
          </p:nvSpPr>
          <p:spPr>
            <a:xfrm>
              <a:off x="6905426" y="1872037"/>
              <a:ext cx="0" cy="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a:endParaRPr lang="en-US" sz="1000" dirty="0" err="1">
                <a:solidFill>
                  <a:schemeClr val="accent1"/>
                </a:solidFill>
              </a:endParaRPr>
            </a:p>
          </p:txBody>
        </p:sp>
        <p:sp>
          <p:nvSpPr>
            <p:cNvPr id="22" name="object 30">
              <a:extLst>
                <a:ext uri="{FF2B5EF4-FFF2-40B4-BE49-F238E27FC236}">
                  <a16:creationId xmlns:a16="http://schemas.microsoft.com/office/drawing/2014/main" id="{6CC22449-90CA-664B-B9D6-BF21777AE1A8}"/>
                </a:ext>
              </a:extLst>
            </p:cNvPr>
            <p:cNvSpPr txBox="1"/>
            <p:nvPr/>
          </p:nvSpPr>
          <p:spPr bwMode="gray">
            <a:xfrm>
              <a:off x="7643811" y="1507909"/>
              <a:ext cx="1868943" cy="153888"/>
            </a:xfrm>
            <a:prstGeom prst="rect">
              <a:avLst/>
            </a:prstGeom>
          </p:spPr>
          <p:txBody>
            <a:bodyPr vert="horz"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00" u="none" strike="noStrike" kern="1200" cap="none" spc="0" normalizeH="0" baseline="0" noProof="0" dirty="0" err="1">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Labour</a:t>
              </a:r>
              <a:r>
                <a:rPr kumimoji="0" sz="1000" u="none" strike="noStrike" kern="1200" cap="none" spc="-25"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 </a:t>
              </a:r>
              <a:r>
                <a:rPr kumimoji="0" sz="1000" u="none" strike="noStrike" kern="1200" cap="none" spc="5"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force</a:t>
              </a:r>
              <a:endParaRPr kumimoji="0" sz="1000" u="none" strike="noStrike" kern="1200" cap="none" spc="0"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23" name="object 30">
              <a:extLst>
                <a:ext uri="{FF2B5EF4-FFF2-40B4-BE49-F238E27FC236}">
                  <a16:creationId xmlns:a16="http://schemas.microsoft.com/office/drawing/2014/main" id="{CB35EF06-9520-4746-9B97-63447D063425}"/>
                </a:ext>
              </a:extLst>
            </p:cNvPr>
            <p:cNvSpPr txBox="1"/>
            <p:nvPr/>
          </p:nvSpPr>
          <p:spPr bwMode="gray">
            <a:xfrm>
              <a:off x="7643809" y="2426699"/>
              <a:ext cx="1868943" cy="327495"/>
            </a:xfrm>
            <a:prstGeom prst="rect">
              <a:avLst/>
            </a:prstGeom>
          </p:spPr>
          <p:txBody>
            <a:bodyPr vert="horz" wrap="square" lIns="0" tIns="0" rIns="0" bIns="0" rtlCol="0" anchor="ctr">
              <a:spAutoFit/>
            </a:bodyPr>
            <a:lstStyle/>
            <a:p>
              <a:pPr marL="6350" marR="0" lvl="0" algn="ctr" defTabSz="914400" rtl="0" eaLnBrk="1" fontAlgn="auto" latinLnBrk="0" hangingPunct="1">
                <a:lnSpc>
                  <a:spcPct val="100000"/>
                </a:lnSpc>
                <a:spcBef>
                  <a:spcPts val="409"/>
                </a:spcBef>
                <a:spcAft>
                  <a:spcPts val="0"/>
                </a:spcAft>
                <a:buClrTx/>
                <a:buSzTx/>
                <a:buFontTx/>
                <a:buNone/>
                <a:defRPr/>
              </a:pPr>
              <a:r>
                <a:rPr kumimoji="0" lang="en-US" sz="2400" u="none" strike="noStrike" kern="1200" cap="none" spc="-10"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gt;US$250m</a:t>
              </a:r>
              <a:endParaRPr kumimoji="0" lang="en-US" sz="900" u="none" strike="noStrike" kern="1200" cap="none" spc="0"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24" name="object 30">
              <a:extLst>
                <a:ext uri="{FF2B5EF4-FFF2-40B4-BE49-F238E27FC236}">
                  <a16:creationId xmlns:a16="http://schemas.microsoft.com/office/drawing/2014/main" id="{8BFA8BE5-6D82-4B42-BDD1-6CAFAFFF488C}"/>
                </a:ext>
              </a:extLst>
            </p:cNvPr>
            <p:cNvSpPr txBox="1"/>
            <p:nvPr/>
          </p:nvSpPr>
          <p:spPr bwMode="gray">
            <a:xfrm>
              <a:off x="7648523" y="2943970"/>
              <a:ext cx="1864229" cy="461665"/>
            </a:xfrm>
            <a:prstGeom prst="rect">
              <a:avLst/>
            </a:prstGeom>
          </p:spPr>
          <p:txBody>
            <a:bodyPr vert="horz"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for owner’s team during Lo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taxes and payments </a:t>
              </a:r>
              <a:br>
                <a:rPr kumimoji="0" lang="en-US" sz="1000" u="none" strike="noStrike" kern="1200" cap="none" spc="0"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br>
              <a:r>
                <a:rPr kumimoji="0" lang="en-US" sz="1000" u="none" strike="noStrike" kern="1200" cap="none" spc="0"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to employees</a:t>
              </a:r>
            </a:p>
          </p:txBody>
        </p:sp>
        <p:sp>
          <p:nvSpPr>
            <p:cNvPr id="25" name="object 32">
              <a:extLst>
                <a:ext uri="{FF2B5EF4-FFF2-40B4-BE49-F238E27FC236}">
                  <a16:creationId xmlns:a16="http://schemas.microsoft.com/office/drawing/2014/main" id="{2F9A54B3-ED3A-6F4C-9CFC-D8387F13AD32}"/>
                </a:ext>
              </a:extLst>
            </p:cNvPr>
            <p:cNvSpPr txBox="1"/>
            <p:nvPr/>
          </p:nvSpPr>
          <p:spPr bwMode="gray">
            <a:xfrm>
              <a:off x="7756108" y="3711910"/>
              <a:ext cx="1659944" cy="153888"/>
            </a:xfrm>
            <a:prstGeom prst="rect">
              <a:avLst/>
            </a:prstGeom>
          </p:spPr>
          <p:txBody>
            <a:bodyPr vert="horz"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00" u="none" strike="noStrike" kern="1200" cap="none" spc="0"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Local</a:t>
              </a:r>
              <a:r>
                <a:rPr kumimoji="0" sz="1000" u="none" strike="noStrike" kern="1200" cap="none" spc="-65"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 </a:t>
              </a:r>
              <a:r>
                <a:rPr kumimoji="0" sz="1000" u="none" strike="noStrike" kern="1200" cap="none" spc="0"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procurement</a:t>
              </a:r>
            </a:p>
          </p:txBody>
        </p:sp>
        <p:sp>
          <p:nvSpPr>
            <p:cNvPr id="26" name="object 32">
              <a:extLst>
                <a:ext uri="{FF2B5EF4-FFF2-40B4-BE49-F238E27FC236}">
                  <a16:creationId xmlns:a16="http://schemas.microsoft.com/office/drawing/2014/main" id="{2DF3283C-C8B3-004D-A0D2-C009D0D96EB6}"/>
                </a:ext>
              </a:extLst>
            </p:cNvPr>
            <p:cNvSpPr txBox="1"/>
            <p:nvPr/>
          </p:nvSpPr>
          <p:spPr bwMode="gray">
            <a:xfrm>
              <a:off x="7677099" y="4568430"/>
              <a:ext cx="1784674" cy="327495"/>
            </a:xfrm>
            <a:prstGeom prst="rect">
              <a:avLst/>
            </a:prstGeom>
          </p:spPr>
          <p:txBody>
            <a:bodyPr vert="horz" wrap="square" lIns="0" tIns="0" rIns="0" bIns="0" rtlCol="0" anchor="ctr">
              <a:spAutoFit/>
            </a:bodyPr>
            <a:lstStyle/>
            <a:p>
              <a:pPr marL="12700" marR="0" lvl="0" indent="0" algn="ctr" defTabSz="914400" rtl="0" eaLnBrk="1" fontAlgn="auto" latinLnBrk="0" hangingPunct="1">
                <a:lnSpc>
                  <a:spcPct val="100000"/>
                </a:lnSpc>
                <a:spcBef>
                  <a:spcPts val="70"/>
                </a:spcBef>
                <a:spcAft>
                  <a:spcPts val="0"/>
                </a:spcAft>
                <a:buClrTx/>
                <a:buSzTx/>
                <a:buFontTx/>
                <a:buNone/>
                <a:tabLst/>
                <a:defRPr/>
              </a:pPr>
              <a:r>
                <a:rPr kumimoji="0" lang="en-US" sz="2400" u="none" strike="noStrike" kern="1200" cap="none" spc="-10"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US$25m</a:t>
              </a:r>
              <a:endParaRPr kumimoji="0" lang="en-US" sz="900" u="none" strike="noStrike" kern="1200" cap="none" spc="0"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27" name="object 32">
              <a:extLst>
                <a:ext uri="{FF2B5EF4-FFF2-40B4-BE49-F238E27FC236}">
                  <a16:creationId xmlns:a16="http://schemas.microsoft.com/office/drawing/2014/main" id="{77CCC97E-2E3E-EF42-9257-362F41148918}"/>
                </a:ext>
              </a:extLst>
            </p:cNvPr>
            <p:cNvSpPr txBox="1"/>
            <p:nvPr/>
          </p:nvSpPr>
          <p:spPr bwMode="gray">
            <a:xfrm>
              <a:off x="7677099" y="5171239"/>
              <a:ext cx="1817963" cy="307777"/>
            </a:xfrm>
            <a:prstGeom prst="rect">
              <a:avLst/>
            </a:prstGeom>
          </p:spPr>
          <p:txBody>
            <a:bodyPr vert="horz"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0"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of services and goods </a:t>
              </a:r>
              <a:br>
                <a:rPr kumimoji="0" lang="en-US" sz="1000" u="none" strike="noStrike" kern="1200" cap="none" spc="0"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br>
              <a:r>
                <a:rPr kumimoji="0" lang="en-US" sz="1000" u="none" strike="noStrike" kern="1200" cap="none" spc="0"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procured locally (2018/2020)</a:t>
              </a:r>
            </a:p>
          </p:txBody>
        </p:sp>
        <p:sp>
          <p:nvSpPr>
            <p:cNvPr id="28" name="object 40">
              <a:extLst>
                <a:ext uri="{FF2B5EF4-FFF2-40B4-BE49-F238E27FC236}">
                  <a16:creationId xmlns:a16="http://schemas.microsoft.com/office/drawing/2014/main" id="{C9B8524C-66F9-0F48-B739-5BEEC495A9C5}"/>
                </a:ext>
              </a:extLst>
            </p:cNvPr>
            <p:cNvSpPr txBox="1"/>
            <p:nvPr/>
          </p:nvSpPr>
          <p:spPr bwMode="gray">
            <a:xfrm>
              <a:off x="5745713" y="3711987"/>
              <a:ext cx="1846929" cy="153810"/>
            </a:xfrm>
            <a:prstGeom prst="rect">
              <a:avLst/>
            </a:prstGeom>
          </p:spPr>
          <p:txBody>
            <a:bodyPr vert="horz"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000" u="none" strike="noStrike" kern="1200" cap="none" spc="-5"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Social</a:t>
              </a:r>
              <a:r>
                <a:rPr kumimoji="0" sz="1000" u="none" strike="noStrike" kern="1200" cap="none" spc="5"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 </a:t>
              </a:r>
              <a:r>
                <a:rPr kumimoji="0" sz="1000" u="none" strike="noStrike" kern="1200" cap="none" spc="0"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Projects</a:t>
              </a:r>
            </a:p>
          </p:txBody>
        </p:sp>
        <p:sp>
          <p:nvSpPr>
            <p:cNvPr id="29" name="object 40">
              <a:extLst>
                <a:ext uri="{FF2B5EF4-FFF2-40B4-BE49-F238E27FC236}">
                  <a16:creationId xmlns:a16="http://schemas.microsoft.com/office/drawing/2014/main" id="{6E8A6078-DABC-2A43-ADFE-E30688911738}"/>
                </a:ext>
              </a:extLst>
            </p:cNvPr>
            <p:cNvSpPr txBox="1"/>
            <p:nvPr/>
          </p:nvSpPr>
          <p:spPr bwMode="gray">
            <a:xfrm>
              <a:off x="5925202" y="4532159"/>
              <a:ext cx="1518392" cy="382078"/>
            </a:xfrm>
            <a:prstGeom prst="rect">
              <a:avLst/>
            </a:prstGeom>
          </p:spPr>
          <p:txBody>
            <a:bodyPr vert="horz" wrap="square" lIns="0" tIns="0" rIns="0" bIns="0" rtlCol="0" anchor="ctr">
              <a:spAutoFit/>
            </a:bodyPr>
            <a:lstStyle/>
            <a:p>
              <a:pPr marL="6350" marR="0" lvl="0" algn="ctr" defTabSz="914400" rtl="0" eaLnBrk="1" fontAlgn="auto" latinLnBrk="0" hangingPunct="1">
                <a:lnSpc>
                  <a:spcPct val="100000"/>
                </a:lnSpc>
                <a:spcBef>
                  <a:spcPts val="70"/>
                </a:spcBef>
                <a:spcAft>
                  <a:spcPts val="0"/>
                </a:spcAft>
                <a:buClrTx/>
                <a:buSzTx/>
                <a:buFontTx/>
                <a:buNone/>
                <a:defRPr/>
              </a:pPr>
              <a:r>
                <a:rPr kumimoji="0" lang="en-US" sz="2800" u="none" strike="noStrike" kern="1200" cap="none" spc="-5"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US$30m</a:t>
              </a:r>
              <a:endParaRPr kumimoji="0" lang="en-US" sz="1000" u="none" strike="noStrike" kern="1200" cap="none" spc="0"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30" name="object 40">
              <a:extLst>
                <a:ext uri="{FF2B5EF4-FFF2-40B4-BE49-F238E27FC236}">
                  <a16:creationId xmlns:a16="http://schemas.microsoft.com/office/drawing/2014/main" id="{07A51AAC-2CA2-0F45-AFB1-357C3B37966F}"/>
                </a:ext>
              </a:extLst>
            </p:cNvPr>
            <p:cNvSpPr txBox="1"/>
            <p:nvPr/>
          </p:nvSpPr>
          <p:spPr bwMode="gray">
            <a:xfrm>
              <a:off x="5730843" y="5171239"/>
              <a:ext cx="1856068" cy="307777"/>
            </a:xfrm>
            <a:prstGeom prst="rect">
              <a:avLst/>
            </a:prstGeom>
          </p:spPr>
          <p:txBody>
            <a:bodyPr vert="horz"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u="none" strike="noStrike" kern="1200" cap="none" spc="-5"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committed for social </a:t>
              </a:r>
              <a:br>
                <a:rPr kumimoji="0" lang="en-US" sz="1000" u="none" strike="noStrike" kern="1200" cap="none" spc="-5"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br>
              <a:r>
                <a:rPr kumimoji="0" lang="en-US" sz="1000" u="none" strike="noStrike" kern="1200" cap="none" spc="-5" normalizeH="0" baseline="0" noProof="0" dirty="0">
                  <a:ln>
                    <a:noFill/>
                  </a:ln>
                  <a:solidFill>
                    <a:schemeClr val="accent1"/>
                  </a:solidFill>
                  <a:effectLst/>
                  <a:uLnTx/>
                  <a:uFillTx/>
                  <a:latin typeface="Roboto Light" panose="02000000000000000000" pitchFamily="2" charset="0"/>
                  <a:ea typeface="Roboto Light" panose="02000000000000000000" pitchFamily="2" charset="0"/>
                  <a:cs typeface="Roboto Light" panose="02000000000000000000" pitchFamily="2" charset="0"/>
                </a:rPr>
                <a:t>projects to date</a:t>
              </a:r>
            </a:p>
          </p:txBody>
        </p:sp>
        <p:pic>
          <p:nvPicPr>
            <p:cNvPr id="31" name="Graphic 30" descr="Truck outline">
              <a:extLst>
                <a:ext uri="{FF2B5EF4-FFF2-40B4-BE49-F238E27FC236}">
                  <a16:creationId xmlns:a16="http://schemas.microsoft.com/office/drawing/2014/main" id="{1BAD3329-FA5F-BA41-921B-3E3A94D5379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66643" y="3805184"/>
              <a:ext cx="859763" cy="859763"/>
            </a:xfrm>
            <a:prstGeom prst="rect">
              <a:avLst/>
            </a:prstGeom>
          </p:spPr>
        </p:pic>
        <p:pic>
          <p:nvPicPr>
            <p:cNvPr id="32" name="Graphic 31" descr="Money outline">
              <a:extLst>
                <a:ext uri="{FF2B5EF4-FFF2-40B4-BE49-F238E27FC236}">
                  <a16:creationId xmlns:a16="http://schemas.microsoft.com/office/drawing/2014/main" id="{4B83C4DE-A99A-0446-8F70-11D9B8D149B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227198" y="1578910"/>
              <a:ext cx="914400" cy="914400"/>
            </a:xfrm>
            <a:prstGeom prst="rect">
              <a:avLst/>
            </a:prstGeom>
          </p:spPr>
        </p:pic>
        <p:pic>
          <p:nvPicPr>
            <p:cNvPr id="33" name="Graphic 32" descr="Children outline">
              <a:extLst>
                <a:ext uri="{FF2B5EF4-FFF2-40B4-BE49-F238E27FC236}">
                  <a16:creationId xmlns:a16="http://schemas.microsoft.com/office/drawing/2014/main" id="{488CA1E4-0ACE-0544-AC30-90EA2976880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166643" y="1624908"/>
              <a:ext cx="914400" cy="914400"/>
            </a:xfrm>
            <a:prstGeom prst="rect">
              <a:avLst/>
            </a:prstGeom>
          </p:spPr>
        </p:pic>
        <p:pic>
          <p:nvPicPr>
            <p:cNvPr id="34" name="Graphic 33" descr="Family with two children outline">
              <a:extLst>
                <a:ext uri="{FF2B5EF4-FFF2-40B4-BE49-F238E27FC236}">
                  <a16:creationId xmlns:a16="http://schemas.microsoft.com/office/drawing/2014/main" id="{D977BB87-E992-6145-A75F-48E4A06FE59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459776" y="3901135"/>
              <a:ext cx="571010" cy="571010"/>
            </a:xfrm>
            <a:prstGeom prst="rect">
              <a:avLst/>
            </a:prstGeom>
          </p:spPr>
        </p:pic>
        <p:sp>
          <p:nvSpPr>
            <p:cNvPr id="35" name="Freeform 34">
              <a:extLst>
                <a:ext uri="{FF2B5EF4-FFF2-40B4-BE49-F238E27FC236}">
                  <a16:creationId xmlns:a16="http://schemas.microsoft.com/office/drawing/2014/main" id="{966B64BB-4468-794F-9B3D-144CD4AC3190}"/>
                </a:ext>
              </a:extLst>
            </p:cNvPr>
            <p:cNvSpPr/>
            <p:nvPr/>
          </p:nvSpPr>
          <p:spPr>
            <a:xfrm>
              <a:off x="6474742" y="4097747"/>
              <a:ext cx="564277" cy="329728"/>
            </a:xfrm>
            <a:custGeom>
              <a:avLst/>
              <a:gdLst>
                <a:gd name="connsiteX0" fmla="*/ 0 w 564277"/>
                <a:gd name="connsiteY0" fmla="*/ 299135 h 329728"/>
                <a:gd name="connsiteX1" fmla="*/ 152967 w 564277"/>
                <a:gd name="connsiteY1" fmla="*/ 176762 h 329728"/>
                <a:gd name="connsiteX2" fmla="*/ 203955 w 564277"/>
                <a:gd name="connsiteY2" fmla="*/ 217553 h 329728"/>
                <a:gd name="connsiteX3" fmla="*/ 285538 w 564277"/>
                <a:gd name="connsiteY3" fmla="*/ 139370 h 329728"/>
                <a:gd name="connsiteX4" fmla="*/ 346724 w 564277"/>
                <a:gd name="connsiteY4" fmla="*/ 169963 h 329728"/>
                <a:gd name="connsiteX5" fmla="*/ 407911 w 564277"/>
                <a:gd name="connsiteY5" fmla="*/ 118974 h 329728"/>
                <a:gd name="connsiteX6" fmla="*/ 356922 w 564277"/>
                <a:gd name="connsiteY6" fmla="*/ 84982 h 329728"/>
                <a:gd name="connsiteX7" fmla="*/ 438504 w 564277"/>
                <a:gd name="connsiteY7" fmla="*/ 23795 h 329728"/>
                <a:gd name="connsiteX8" fmla="*/ 523486 w 564277"/>
                <a:gd name="connsiteY8" fmla="*/ 0 h 329728"/>
                <a:gd name="connsiteX9" fmla="*/ 564277 w 564277"/>
                <a:gd name="connsiteY9" fmla="*/ 217553 h 329728"/>
                <a:gd name="connsiteX10" fmla="*/ 530284 w 564277"/>
                <a:gd name="connsiteY10" fmla="*/ 329728 h 329728"/>
                <a:gd name="connsiteX11" fmla="*/ 0 w 564277"/>
                <a:gd name="connsiteY11" fmla="*/ 299135 h 32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277" h="329728">
                  <a:moveTo>
                    <a:pt x="0" y="299135"/>
                  </a:moveTo>
                  <a:lnTo>
                    <a:pt x="152967" y="176762"/>
                  </a:lnTo>
                  <a:lnTo>
                    <a:pt x="203955" y="217553"/>
                  </a:lnTo>
                  <a:lnTo>
                    <a:pt x="285538" y="139370"/>
                  </a:lnTo>
                  <a:lnTo>
                    <a:pt x="346724" y="169963"/>
                  </a:lnTo>
                  <a:lnTo>
                    <a:pt x="407911" y="118974"/>
                  </a:lnTo>
                  <a:lnTo>
                    <a:pt x="356922" y="84982"/>
                  </a:lnTo>
                  <a:lnTo>
                    <a:pt x="438504" y="23795"/>
                  </a:lnTo>
                  <a:lnTo>
                    <a:pt x="523486" y="0"/>
                  </a:lnTo>
                  <a:lnTo>
                    <a:pt x="564277" y="217553"/>
                  </a:lnTo>
                  <a:lnTo>
                    <a:pt x="530284" y="329728"/>
                  </a:lnTo>
                  <a:lnTo>
                    <a:pt x="0" y="299135"/>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1000" dirty="0" err="1">
                <a:solidFill>
                  <a:schemeClr val="bg1"/>
                </a:solidFill>
              </a:endParaRPr>
            </a:p>
          </p:txBody>
        </p:sp>
        <p:sp>
          <p:nvSpPr>
            <p:cNvPr id="36" name="Graphic 22" descr="Upward trend outline">
              <a:extLst>
                <a:ext uri="{FF2B5EF4-FFF2-40B4-BE49-F238E27FC236}">
                  <a16:creationId xmlns:a16="http://schemas.microsoft.com/office/drawing/2014/main" id="{C6001985-23FE-1343-BC9D-E3845AFAF88E}"/>
                </a:ext>
              </a:extLst>
            </p:cNvPr>
            <p:cNvSpPr/>
            <p:nvPr/>
          </p:nvSpPr>
          <p:spPr>
            <a:xfrm>
              <a:off x="6528282" y="4173595"/>
              <a:ext cx="435212" cy="282930"/>
            </a:xfrm>
            <a:custGeom>
              <a:avLst/>
              <a:gdLst>
                <a:gd name="connsiteX0" fmla="*/ 89481 w 333686"/>
                <a:gd name="connsiteY0" fmla="*/ 135496 h 216928"/>
                <a:gd name="connsiteX1" fmla="*/ 119758 w 333686"/>
                <a:gd name="connsiteY1" fmla="*/ 163647 h 216928"/>
                <a:gd name="connsiteX2" fmla="*/ 162276 w 333686"/>
                <a:gd name="connsiteY2" fmla="*/ 122311 h 216928"/>
                <a:gd name="connsiteX3" fmla="*/ 188879 w 333686"/>
                <a:gd name="connsiteY3" fmla="*/ 95782 h 216928"/>
                <a:gd name="connsiteX4" fmla="*/ 219230 w 333686"/>
                <a:gd name="connsiteY4" fmla="*/ 122563 h 216928"/>
                <a:gd name="connsiteX5" fmla="*/ 322165 w 333686"/>
                <a:gd name="connsiteY5" fmla="*/ 19588 h 216928"/>
                <a:gd name="connsiteX6" fmla="*/ 322245 w 333686"/>
                <a:gd name="connsiteY6" fmla="*/ 19589 h 216928"/>
                <a:gd name="connsiteX7" fmla="*/ 322262 w 333686"/>
                <a:gd name="connsiteY7" fmla="*/ 19628 h 216928"/>
                <a:gd name="connsiteX8" fmla="*/ 322262 w 333686"/>
                <a:gd name="connsiteY8" fmla="*/ 68551 h 216928"/>
                <a:gd name="connsiteX9" fmla="*/ 333687 w 333686"/>
                <a:gd name="connsiteY9" fmla="*/ 68551 h 216928"/>
                <a:gd name="connsiteX10" fmla="*/ 333687 w 333686"/>
                <a:gd name="connsiteY10" fmla="*/ 0 h 216928"/>
                <a:gd name="connsiteX11" fmla="*/ 265290 w 333686"/>
                <a:gd name="connsiteY11" fmla="*/ 0 h 216928"/>
                <a:gd name="connsiteX12" fmla="*/ 265290 w 333686"/>
                <a:gd name="connsiteY12" fmla="*/ 11425 h 216928"/>
                <a:gd name="connsiteX13" fmla="*/ 314024 w 333686"/>
                <a:gd name="connsiteY13" fmla="*/ 11425 h 216928"/>
                <a:gd name="connsiteX14" fmla="*/ 314086 w 333686"/>
                <a:gd name="connsiteY14" fmla="*/ 11477 h 216928"/>
                <a:gd name="connsiteX15" fmla="*/ 314070 w 333686"/>
                <a:gd name="connsiteY15" fmla="*/ 11522 h 216928"/>
                <a:gd name="connsiteX16" fmla="*/ 218728 w 333686"/>
                <a:gd name="connsiteY16" fmla="*/ 106870 h 216928"/>
                <a:gd name="connsiteX17" fmla="*/ 188377 w 333686"/>
                <a:gd name="connsiteY17" fmla="*/ 80090 h 216928"/>
                <a:gd name="connsiteX18" fmla="*/ 154290 w 333686"/>
                <a:gd name="connsiteY18" fmla="*/ 114177 h 216928"/>
                <a:gd name="connsiteX19" fmla="*/ 119621 w 333686"/>
                <a:gd name="connsiteY19" fmla="*/ 147881 h 216928"/>
                <a:gd name="connsiteX20" fmla="*/ 89218 w 333686"/>
                <a:gd name="connsiteY20" fmla="*/ 119626 h 216928"/>
                <a:gd name="connsiteX21" fmla="*/ 0 w 333686"/>
                <a:gd name="connsiteY21" fmla="*/ 208851 h 216928"/>
                <a:gd name="connsiteX22" fmla="*/ 8078 w 333686"/>
                <a:gd name="connsiteY22" fmla="*/ 216928 h 216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33686" h="216928">
                  <a:moveTo>
                    <a:pt x="89481" y="135496"/>
                  </a:moveTo>
                  <a:lnTo>
                    <a:pt x="119758" y="163647"/>
                  </a:lnTo>
                  <a:lnTo>
                    <a:pt x="162276" y="122311"/>
                  </a:lnTo>
                  <a:lnTo>
                    <a:pt x="188879" y="95782"/>
                  </a:lnTo>
                  <a:lnTo>
                    <a:pt x="219230" y="122563"/>
                  </a:lnTo>
                  <a:lnTo>
                    <a:pt x="322165" y="19588"/>
                  </a:lnTo>
                  <a:cubicBezTo>
                    <a:pt x="322187" y="19566"/>
                    <a:pt x="322223" y="19567"/>
                    <a:pt x="322245" y="19589"/>
                  </a:cubicBezTo>
                  <a:cubicBezTo>
                    <a:pt x="322255" y="19600"/>
                    <a:pt x="322262" y="19613"/>
                    <a:pt x="322262" y="19628"/>
                  </a:cubicBezTo>
                  <a:lnTo>
                    <a:pt x="322262" y="68551"/>
                  </a:lnTo>
                  <a:lnTo>
                    <a:pt x="333687" y="68551"/>
                  </a:lnTo>
                  <a:lnTo>
                    <a:pt x="333687" y="0"/>
                  </a:lnTo>
                  <a:lnTo>
                    <a:pt x="265290" y="0"/>
                  </a:lnTo>
                  <a:lnTo>
                    <a:pt x="265290" y="11425"/>
                  </a:lnTo>
                  <a:lnTo>
                    <a:pt x="314024" y="11425"/>
                  </a:lnTo>
                  <a:cubicBezTo>
                    <a:pt x="314056" y="11422"/>
                    <a:pt x="314084" y="11446"/>
                    <a:pt x="314086" y="11477"/>
                  </a:cubicBezTo>
                  <a:cubicBezTo>
                    <a:pt x="314088" y="11494"/>
                    <a:pt x="314082" y="11510"/>
                    <a:pt x="314070" y="11522"/>
                  </a:cubicBezTo>
                  <a:lnTo>
                    <a:pt x="218728" y="106870"/>
                  </a:lnTo>
                  <a:lnTo>
                    <a:pt x="188377" y="80090"/>
                  </a:lnTo>
                  <a:lnTo>
                    <a:pt x="154290" y="114177"/>
                  </a:lnTo>
                  <a:lnTo>
                    <a:pt x="119621" y="147881"/>
                  </a:lnTo>
                  <a:lnTo>
                    <a:pt x="89218" y="119626"/>
                  </a:lnTo>
                  <a:lnTo>
                    <a:pt x="0" y="208851"/>
                  </a:lnTo>
                  <a:lnTo>
                    <a:pt x="8078" y="216928"/>
                  </a:lnTo>
                  <a:close/>
                </a:path>
              </a:pathLst>
            </a:custGeom>
            <a:noFill/>
            <a:ln w="3175" cap="flat">
              <a:solidFill>
                <a:schemeClr val="accent1"/>
              </a:solidFill>
              <a:prstDash val="solid"/>
              <a:miter/>
            </a:ln>
          </p:spPr>
          <p:txBody>
            <a:bodyPr rtlCol="0" anchor="ctr"/>
            <a:lstStyle/>
            <a:p>
              <a:endParaRPr lang="en-US"/>
            </a:p>
          </p:txBody>
        </p:sp>
      </p:grpSp>
    </p:spTree>
    <p:extLst>
      <p:ext uri="{BB962C8B-B14F-4D97-AF65-F5344CB8AC3E}">
        <p14:creationId xmlns:p14="http://schemas.microsoft.com/office/powerpoint/2010/main" val="15150567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3828D6E-A261-0944-7552-262FF5660F00}"/>
              </a:ext>
            </a:extLst>
          </p:cNvPr>
          <p:cNvGraphicFramePr>
            <a:graphicFrameLocks noChangeAspect="1"/>
          </p:cNvGraphicFramePr>
          <p:nvPr>
            <p:custDataLst>
              <p:tags r:id="rId1"/>
            </p:custDataLst>
            <p:extLst>
              <p:ext uri="{D42A27DB-BD31-4B8C-83A1-F6EECF244321}">
                <p14:modId xmlns:p14="http://schemas.microsoft.com/office/powerpoint/2010/main" val="1298410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9" name="think-cell data - do not delete" hidden="1">
                        <a:extLst>
                          <a:ext uri="{FF2B5EF4-FFF2-40B4-BE49-F238E27FC236}">
                            <a16:creationId xmlns:a16="http://schemas.microsoft.com/office/drawing/2014/main" id="{C3828D6E-A261-0944-7552-262FF5660F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88CF3658-1EE2-4C54-99A5-D6616431ED07}"/>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F5E3ABB8-2B18-D386-C815-3F689E9B0994}"/>
              </a:ext>
            </a:extLst>
          </p:cNvPr>
          <p:cNvSpPr>
            <a:spLocks noGrp="1"/>
          </p:cNvSpPr>
          <p:nvPr>
            <p:ph type="body" sz="quarter" idx="10"/>
          </p:nvPr>
        </p:nvSpPr>
        <p:spPr/>
        <p:txBody>
          <a:bodyPr/>
          <a:lstStyle/>
          <a:p>
            <a:endParaRPr lang="nl-NL"/>
          </a:p>
        </p:txBody>
      </p:sp>
      <p:sp>
        <p:nvSpPr>
          <p:cNvPr id="6" name="Title 5">
            <a:extLst>
              <a:ext uri="{FF2B5EF4-FFF2-40B4-BE49-F238E27FC236}">
                <a16:creationId xmlns:a16="http://schemas.microsoft.com/office/drawing/2014/main" id="{BE071891-5883-F15F-1174-F7257CBA9FE4}"/>
              </a:ext>
            </a:extLst>
          </p:cNvPr>
          <p:cNvSpPr>
            <a:spLocks noGrp="1"/>
          </p:cNvSpPr>
          <p:nvPr>
            <p:ph type="title"/>
          </p:nvPr>
        </p:nvSpPr>
        <p:spPr/>
        <p:txBody>
          <a:bodyPr/>
          <a:lstStyle/>
          <a:p>
            <a:endParaRPr lang="nl-NL"/>
          </a:p>
        </p:txBody>
      </p:sp>
      <p:sp>
        <p:nvSpPr>
          <p:cNvPr id="8" name="Text Placeholder 7">
            <a:extLst>
              <a:ext uri="{FF2B5EF4-FFF2-40B4-BE49-F238E27FC236}">
                <a16:creationId xmlns:a16="http://schemas.microsoft.com/office/drawing/2014/main" id="{1AF2162B-534D-FDF0-242B-F18D49B2B933}"/>
              </a:ext>
            </a:extLst>
          </p:cNvPr>
          <p:cNvSpPr>
            <a:spLocks noGrp="1"/>
          </p:cNvSpPr>
          <p:nvPr>
            <p:ph type="body" sz="quarter" idx="27"/>
          </p:nvPr>
        </p:nvSpPr>
        <p:spPr/>
        <p:txBody>
          <a:bodyPr/>
          <a:lstStyle/>
          <a:p>
            <a:endParaRPr lang="nl-NL"/>
          </a:p>
        </p:txBody>
      </p:sp>
      <p:graphicFrame>
        <p:nvGraphicFramePr>
          <p:cNvPr id="5" name="Table 7">
            <a:extLst>
              <a:ext uri="{FF2B5EF4-FFF2-40B4-BE49-F238E27FC236}">
                <a16:creationId xmlns:a16="http://schemas.microsoft.com/office/drawing/2014/main" id="{BE74424B-580A-8145-82F0-632341F01F0F}"/>
              </a:ext>
            </a:extLst>
          </p:cNvPr>
          <p:cNvGraphicFramePr>
            <a:graphicFrameLocks noGrp="1"/>
          </p:cNvGraphicFramePr>
          <p:nvPr>
            <p:extLst>
              <p:ext uri="{D42A27DB-BD31-4B8C-83A1-F6EECF244321}">
                <p14:modId xmlns:p14="http://schemas.microsoft.com/office/powerpoint/2010/main" val="1763220615"/>
              </p:ext>
            </p:extLst>
          </p:nvPr>
        </p:nvGraphicFramePr>
        <p:xfrm>
          <a:off x="392400" y="1364876"/>
          <a:ext cx="9101225" cy="4760259"/>
        </p:xfrm>
        <a:graphic>
          <a:graphicData uri="http://schemas.openxmlformats.org/drawingml/2006/table">
            <a:tbl>
              <a:tblPr firstRow="1" bandRow="1">
                <a:tableStyleId>{5C22544A-7EE6-4342-B048-85BDC9FD1C3A}</a:tableStyleId>
              </a:tblPr>
              <a:tblGrid>
                <a:gridCol w="1300175">
                  <a:extLst>
                    <a:ext uri="{9D8B030D-6E8A-4147-A177-3AD203B41FA5}">
                      <a16:colId xmlns:a16="http://schemas.microsoft.com/office/drawing/2014/main" val="3719588060"/>
                    </a:ext>
                  </a:extLst>
                </a:gridCol>
                <a:gridCol w="1300175">
                  <a:extLst>
                    <a:ext uri="{9D8B030D-6E8A-4147-A177-3AD203B41FA5}">
                      <a16:colId xmlns:a16="http://schemas.microsoft.com/office/drawing/2014/main" val="3431426098"/>
                    </a:ext>
                  </a:extLst>
                </a:gridCol>
                <a:gridCol w="1300175">
                  <a:extLst>
                    <a:ext uri="{9D8B030D-6E8A-4147-A177-3AD203B41FA5}">
                      <a16:colId xmlns:a16="http://schemas.microsoft.com/office/drawing/2014/main" val="3752660088"/>
                    </a:ext>
                  </a:extLst>
                </a:gridCol>
                <a:gridCol w="1300175">
                  <a:extLst>
                    <a:ext uri="{9D8B030D-6E8A-4147-A177-3AD203B41FA5}">
                      <a16:colId xmlns:a16="http://schemas.microsoft.com/office/drawing/2014/main" val="2080604274"/>
                    </a:ext>
                  </a:extLst>
                </a:gridCol>
                <a:gridCol w="1300175">
                  <a:extLst>
                    <a:ext uri="{9D8B030D-6E8A-4147-A177-3AD203B41FA5}">
                      <a16:colId xmlns:a16="http://schemas.microsoft.com/office/drawing/2014/main" val="2319008276"/>
                    </a:ext>
                  </a:extLst>
                </a:gridCol>
                <a:gridCol w="1300175">
                  <a:extLst>
                    <a:ext uri="{9D8B030D-6E8A-4147-A177-3AD203B41FA5}">
                      <a16:colId xmlns:a16="http://schemas.microsoft.com/office/drawing/2014/main" val="4043287035"/>
                    </a:ext>
                  </a:extLst>
                </a:gridCol>
                <a:gridCol w="1300175">
                  <a:extLst>
                    <a:ext uri="{9D8B030D-6E8A-4147-A177-3AD203B41FA5}">
                      <a16:colId xmlns:a16="http://schemas.microsoft.com/office/drawing/2014/main" val="3026050922"/>
                    </a:ext>
                  </a:extLst>
                </a:gridCol>
              </a:tblGrid>
              <a:tr h="158675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rPr>
                        <a:t>Roboto Light, 10p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rPr>
                        <a:t>Dark Blue, Accent 1</a:t>
                      </a:r>
                    </a:p>
                  </a:txBody>
                  <a:tcPr anchor="ctr">
                    <a:lnL w="12700" cmpd="sng">
                      <a:noFill/>
                    </a:lnL>
                    <a:lnR w="9525" cap="flat" cmpd="sng" algn="ctr">
                      <a:noFill/>
                      <a:prstDash val="solid"/>
                      <a:round/>
                      <a:headEnd type="none" w="med" len="med"/>
                      <a:tailEnd type="none" w="med" len="med"/>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err="1">
                          <a:solidFill>
                            <a:schemeClr val="accent1"/>
                          </a:solidFill>
                          <a:latin typeface="Roboto Light" panose="02000000000000000000" pitchFamily="2" charset="0"/>
                          <a:ea typeface="Roboto Light" panose="02000000000000000000" pitchFamily="2" charset="0"/>
                          <a:cs typeface="Roboto Light" panose="02000000000000000000" pitchFamily="2" charset="0"/>
                        </a:rPr>
                        <a:t>Colour</a:t>
                      </a:r>
                      <a:r>
                        <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rPr>
                        <a:t> of square is Light Blue, Accent 3, Lighter 80%</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rPr>
                        <a:t>Or alternatively </a:t>
                      </a:r>
                      <a:br>
                        <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rPr>
                      </a:br>
                      <a:r>
                        <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rPr>
                        <a:t>Gold, Accent 6, Lighter 80%</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endParaRPr>
                    </a:p>
                  </a:txBody>
                  <a:tcPr anchor="ctr">
                    <a:lnL w="9525" cap="flat" cmpd="sng" algn="ctr">
                      <a:noFill/>
                      <a:prstDash val="solid"/>
                      <a:round/>
                      <a:headEnd type="none" w="med" len="med"/>
                      <a:tailEnd type="none" w="med" len="med"/>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4358555"/>
                  </a:ext>
                </a:extLst>
              </a:tr>
              <a:tr h="158675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rPr>
                        <a:t>Cut and stretch columns and rows across the page if required.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rPr>
                        <a:t>Or add if more squares are required. Reduce font size if too cramped.</a:t>
                      </a:r>
                    </a:p>
                  </a:txBody>
                  <a:tcPr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endParaRPr>
                    </a:p>
                  </a:txBody>
                  <a:tcPr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4013693493"/>
                  </a:ext>
                </a:extLst>
              </a:tr>
              <a:tr h="158675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endParaRPr>
                    </a:p>
                  </a:txBody>
                  <a:tcPr anchor="ctr">
                    <a:lnL w="12700" cmpd="sng">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endParaRP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i="0" dirty="0">
                        <a:solidFill>
                          <a:schemeClr val="accent1"/>
                        </a:solidFill>
                        <a:latin typeface="Roboto Light" panose="02000000000000000000" pitchFamily="2" charset="0"/>
                        <a:ea typeface="Roboto Light" panose="02000000000000000000" pitchFamily="2" charset="0"/>
                        <a:cs typeface="Roboto Light" panose="02000000000000000000" pitchFamily="2" charset="0"/>
                      </a:endParaRPr>
                    </a:p>
                  </a:txBody>
                  <a:tcPr anchor="ctr">
                    <a:lnL w="9525" cap="flat" cmpd="sng" algn="ctr">
                      <a:noFill/>
                      <a:prstDash val="solid"/>
                      <a:round/>
                      <a:headEnd type="none" w="med" len="med"/>
                      <a:tailEnd type="none" w="med" len="med"/>
                    </a:lnL>
                    <a:lnR w="12700" cmpd="sng">
                      <a:noFill/>
                    </a:lnR>
                    <a:lnT w="952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54389790"/>
                  </a:ext>
                </a:extLst>
              </a:tr>
            </a:tbl>
          </a:graphicData>
        </a:graphic>
      </p:graphicFrame>
    </p:spTree>
    <p:extLst>
      <p:ext uri="{BB962C8B-B14F-4D97-AF65-F5344CB8AC3E}">
        <p14:creationId xmlns:p14="http://schemas.microsoft.com/office/powerpoint/2010/main" val="27955217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63F35E-9621-8207-F63F-32BC655BE5A2}"/>
              </a:ext>
            </a:extLst>
          </p:cNvPr>
          <p:cNvGraphicFramePr>
            <a:graphicFrameLocks noChangeAspect="1"/>
          </p:cNvGraphicFramePr>
          <p:nvPr>
            <p:custDataLst>
              <p:tags r:id="rId1"/>
            </p:custDataLst>
            <p:extLst>
              <p:ext uri="{D42A27DB-BD31-4B8C-83A1-F6EECF244321}">
                <p14:modId xmlns:p14="http://schemas.microsoft.com/office/powerpoint/2010/main" val="2698567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EA63F35E-9621-8207-F63F-32BC655BE5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26CA9CE4-D755-0744-844F-9D2BDFAE2FD3}"/>
              </a:ext>
            </a:extLst>
          </p:cNvPr>
          <p:cNvSpPr>
            <a:spLocks noGrp="1"/>
          </p:cNvSpPr>
          <p:nvPr>
            <p:ph sz="quarter" idx="31"/>
          </p:nvPr>
        </p:nvSpPr>
        <p:spPr>
          <a:solidFill>
            <a:schemeClr val="accent5"/>
          </a:solidFill>
        </p:spPr>
        <p:txBody>
          <a:bodyPr anchor="ctr"/>
          <a:lstStyle/>
          <a:p>
            <a:pPr marL="0" indent="0" algn="ctr">
              <a:buNone/>
            </a:pPr>
            <a:r>
              <a:rPr lang="en-GB" sz="2400" dirty="0">
                <a:solidFill>
                  <a:schemeClr val="accent1"/>
                </a:solidFill>
                <a:cs typeface="+mn-cs"/>
              </a:rPr>
              <a:t>Lorem ipsum </a:t>
            </a:r>
            <a:r>
              <a:rPr lang="en-GB" sz="2400" dirty="0" err="1">
                <a:solidFill>
                  <a:schemeClr val="accent1"/>
                </a:solidFill>
                <a:cs typeface="+mn-cs"/>
              </a:rPr>
              <a:t>dolor</a:t>
            </a:r>
            <a:r>
              <a:rPr lang="en-GB" sz="2400" dirty="0">
                <a:solidFill>
                  <a:schemeClr val="accent1"/>
                </a:solidFill>
                <a:cs typeface="+mn-cs"/>
              </a:rPr>
              <a:t> sit </a:t>
            </a:r>
            <a:r>
              <a:rPr lang="en-GB" sz="2400" dirty="0" err="1">
                <a:solidFill>
                  <a:schemeClr val="accent1"/>
                </a:solidFill>
                <a:cs typeface="+mn-cs"/>
              </a:rPr>
              <a:t>amet</a:t>
            </a:r>
            <a:r>
              <a:rPr lang="en-GB" sz="2400" dirty="0">
                <a:solidFill>
                  <a:schemeClr val="accent1"/>
                </a:solidFill>
                <a:cs typeface="+mn-cs"/>
              </a:rPr>
              <a:t>, </a:t>
            </a:r>
            <a:br>
              <a:rPr lang="en-GB" sz="2400" dirty="0">
                <a:solidFill>
                  <a:schemeClr val="accent1"/>
                </a:solidFill>
                <a:cs typeface="+mn-cs"/>
              </a:rPr>
            </a:br>
            <a:r>
              <a:rPr lang="en-GB" sz="2400" dirty="0" err="1">
                <a:solidFill>
                  <a:schemeClr val="accent1"/>
                </a:solidFill>
                <a:cs typeface="+mn-cs"/>
              </a:rPr>
              <a:t>consectetur</a:t>
            </a:r>
            <a:r>
              <a:rPr lang="en-GB" sz="2400" dirty="0">
                <a:solidFill>
                  <a:schemeClr val="accent1"/>
                </a:solidFill>
                <a:cs typeface="+mn-cs"/>
              </a:rPr>
              <a:t> </a:t>
            </a:r>
            <a:r>
              <a:rPr lang="en-GB" sz="2400" dirty="0" err="1">
                <a:solidFill>
                  <a:schemeClr val="accent1"/>
                </a:solidFill>
                <a:cs typeface="+mn-cs"/>
              </a:rPr>
              <a:t>adipiscing</a:t>
            </a:r>
            <a:r>
              <a:rPr lang="en-GB" sz="2400" dirty="0">
                <a:solidFill>
                  <a:schemeClr val="accent1"/>
                </a:solidFill>
                <a:cs typeface="+mn-cs"/>
              </a:rPr>
              <a:t> </a:t>
            </a:r>
            <a:r>
              <a:rPr lang="en-GB" sz="2400" dirty="0" err="1">
                <a:solidFill>
                  <a:schemeClr val="accent1"/>
                </a:solidFill>
                <a:cs typeface="+mn-cs"/>
              </a:rPr>
              <a:t>elit</a:t>
            </a:r>
            <a:r>
              <a:rPr lang="en-GB" sz="2400" dirty="0">
                <a:solidFill>
                  <a:schemeClr val="accent1"/>
                </a:solidFill>
                <a:cs typeface="+mn-cs"/>
              </a:rPr>
              <a:t>, </a:t>
            </a:r>
            <a:br>
              <a:rPr lang="en-GB" sz="2400" dirty="0">
                <a:solidFill>
                  <a:schemeClr val="accent1"/>
                </a:solidFill>
                <a:cs typeface="+mn-cs"/>
              </a:rPr>
            </a:br>
            <a:r>
              <a:rPr lang="en-GB" sz="2400" dirty="0" err="1">
                <a:solidFill>
                  <a:schemeClr val="accent1"/>
                </a:solidFill>
                <a:cs typeface="+mn-cs"/>
              </a:rPr>
              <a:t>sed</a:t>
            </a:r>
            <a:r>
              <a:rPr lang="en-GB" sz="2400" dirty="0">
                <a:solidFill>
                  <a:schemeClr val="accent1"/>
                </a:solidFill>
                <a:cs typeface="+mn-cs"/>
              </a:rPr>
              <a:t> do </a:t>
            </a:r>
            <a:r>
              <a:rPr lang="en-GB" sz="2400" dirty="0" err="1">
                <a:solidFill>
                  <a:schemeClr val="accent1"/>
                </a:solidFill>
                <a:cs typeface="+mn-cs"/>
              </a:rPr>
              <a:t>eiusmod</a:t>
            </a:r>
            <a:r>
              <a:rPr lang="en-GB" sz="2400" dirty="0">
                <a:solidFill>
                  <a:schemeClr val="accent1"/>
                </a:solidFill>
                <a:cs typeface="+mn-cs"/>
              </a:rPr>
              <a:t> </a:t>
            </a:r>
            <a:r>
              <a:rPr lang="en-GB" sz="2400" dirty="0" err="1">
                <a:solidFill>
                  <a:schemeClr val="accent1"/>
                </a:solidFill>
                <a:cs typeface="+mn-cs"/>
              </a:rPr>
              <a:t>tempor</a:t>
            </a:r>
            <a:r>
              <a:rPr lang="en-GB" sz="2400" dirty="0">
                <a:solidFill>
                  <a:schemeClr val="accent1"/>
                </a:solidFill>
                <a:cs typeface="+mn-cs"/>
              </a:rPr>
              <a:t> </a:t>
            </a:r>
            <a:r>
              <a:rPr lang="en-GB" sz="2400" dirty="0" err="1">
                <a:solidFill>
                  <a:schemeClr val="accent1"/>
                </a:solidFill>
                <a:cs typeface="+mn-cs"/>
              </a:rPr>
              <a:t>incididunt</a:t>
            </a:r>
            <a:r>
              <a:rPr lang="en-GB" sz="2400" dirty="0">
                <a:solidFill>
                  <a:schemeClr val="accent1"/>
                </a:solidFill>
                <a:cs typeface="+mn-cs"/>
              </a:rPr>
              <a:t> </a:t>
            </a:r>
            <a:br>
              <a:rPr lang="en-GB" sz="2400" dirty="0">
                <a:solidFill>
                  <a:schemeClr val="accent1"/>
                </a:solidFill>
                <a:cs typeface="+mn-cs"/>
              </a:rPr>
            </a:br>
            <a:r>
              <a:rPr lang="en-GB" sz="2400" dirty="0" err="1">
                <a:solidFill>
                  <a:schemeClr val="accent1"/>
                </a:solidFill>
                <a:cs typeface="+mn-cs"/>
              </a:rPr>
              <a:t>ut</a:t>
            </a:r>
            <a:r>
              <a:rPr lang="en-GB" sz="2400" dirty="0">
                <a:solidFill>
                  <a:schemeClr val="accent1"/>
                </a:solidFill>
                <a:cs typeface="+mn-cs"/>
              </a:rPr>
              <a:t> </a:t>
            </a:r>
            <a:r>
              <a:rPr lang="en-GB" sz="2400" dirty="0" err="1">
                <a:solidFill>
                  <a:schemeClr val="accent1"/>
                </a:solidFill>
                <a:cs typeface="+mn-cs"/>
              </a:rPr>
              <a:t>labore</a:t>
            </a:r>
            <a:r>
              <a:rPr lang="en-GB" sz="2400" dirty="0">
                <a:solidFill>
                  <a:schemeClr val="accent1"/>
                </a:solidFill>
                <a:cs typeface="+mn-cs"/>
              </a:rPr>
              <a:t> et dolore magna </a:t>
            </a:r>
            <a:r>
              <a:rPr lang="en-GB" sz="2400" dirty="0" err="1">
                <a:solidFill>
                  <a:schemeClr val="accent1"/>
                </a:solidFill>
                <a:cs typeface="+mn-cs"/>
              </a:rPr>
              <a:t>aliqua</a:t>
            </a:r>
            <a:r>
              <a:rPr lang="en-GB" sz="2400" dirty="0">
                <a:solidFill>
                  <a:schemeClr val="accent1"/>
                </a:solidFill>
                <a:cs typeface="+mn-cs"/>
              </a:rPr>
              <a:t>. </a:t>
            </a:r>
            <a:endParaRPr lang="en-US" dirty="0"/>
          </a:p>
        </p:txBody>
      </p:sp>
      <p:sp>
        <p:nvSpPr>
          <p:cNvPr id="47" name="Title 2">
            <a:extLst>
              <a:ext uri="{FF2B5EF4-FFF2-40B4-BE49-F238E27FC236}">
                <a16:creationId xmlns:a16="http://schemas.microsoft.com/office/drawing/2014/main" id="{6F62E5B0-80CE-49D3-91BC-ADD4EDCFB0D8}"/>
              </a:ext>
            </a:extLst>
          </p:cNvPr>
          <p:cNvSpPr txBox="1">
            <a:spLocks/>
          </p:cNvSpPr>
          <p:nvPr/>
        </p:nvSpPr>
        <p:spPr bwMode="auto">
          <a:xfrm>
            <a:off x="392399" y="108000"/>
            <a:ext cx="7919999" cy="576000"/>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defTabSz="914361" rtl="0" eaLnBrk="1" latinLnBrk="0" hangingPunct="1">
              <a:lnSpc>
                <a:spcPct val="90000"/>
              </a:lnSpc>
              <a:spcBef>
                <a:spcPct val="0"/>
              </a:spcBef>
              <a:buNone/>
              <a:defRPr sz="1800" b="0" i="0" kern="1200" cap="none" baseline="0">
                <a:solidFill>
                  <a:schemeClr val="tx2"/>
                </a:solidFill>
                <a:latin typeface="Roboto Light" panose="02000000000000000000" pitchFamily="2" charset="0"/>
                <a:ea typeface="Roboto Light" panose="02000000000000000000" pitchFamily="2" charset="0"/>
                <a:cs typeface="Roboto Light" panose="02000000000000000000" pitchFamily="2" charset="0"/>
              </a:defRPr>
            </a:lvl1pPr>
          </a:lstStyle>
          <a:p>
            <a:r>
              <a:rPr lang="en-US" dirty="0">
                <a:latin typeface="Roboto Medium" pitchFamily="2" charset="0"/>
                <a:ea typeface="Roboto Medium" pitchFamily="2" charset="0"/>
              </a:rPr>
              <a:t>Appian  </a:t>
            </a:r>
            <a:r>
              <a:rPr lang="en-US" dirty="0">
                <a:solidFill>
                  <a:schemeClr val="accent6"/>
                </a:solidFill>
                <a:latin typeface="Roboto Medium" pitchFamily="2" charset="0"/>
                <a:ea typeface="Roboto Medium" pitchFamily="2" charset="0"/>
              </a:rPr>
              <a:t>|</a:t>
            </a:r>
            <a:r>
              <a:rPr lang="en-US" dirty="0">
                <a:latin typeface="Roboto Medium" pitchFamily="2" charset="0"/>
                <a:ea typeface="Roboto Medium" pitchFamily="2" charset="0"/>
              </a:rPr>
              <a:t>  </a:t>
            </a:r>
            <a:r>
              <a:rPr lang="en-US" dirty="0"/>
              <a:t>Communities</a:t>
            </a:r>
          </a:p>
        </p:txBody>
      </p:sp>
    </p:spTree>
    <p:extLst>
      <p:ext uri="{BB962C8B-B14F-4D97-AF65-F5344CB8AC3E}">
        <p14:creationId xmlns:p14="http://schemas.microsoft.com/office/powerpoint/2010/main" val="3473810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hink-cell data - do not delete" hidden="1">
            <a:extLst>
              <a:ext uri="{FF2B5EF4-FFF2-40B4-BE49-F238E27FC236}">
                <a16:creationId xmlns:a16="http://schemas.microsoft.com/office/drawing/2014/main" id="{C0EF90CA-2EA9-4B94-9217-1FAB148AE18A}"/>
              </a:ext>
            </a:extLst>
          </p:cNvPr>
          <p:cNvGraphicFramePr>
            <a:graphicFrameLocks noChangeAspect="1"/>
          </p:cNvGraphicFramePr>
          <p:nvPr>
            <p:custDataLst>
              <p:tags r:id="rId1"/>
            </p:custDataLst>
            <p:extLst>
              <p:ext uri="{D42A27DB-BD31-4B8C-83A1-F6EECF244321}">
                <p14:modId xmlns:p14="http://schemas.microsoft.com/office/powerpoint/2010/main" val="2989009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0" name="think-cell data - do not delete" hidden="1">
                        <a:extLst>
                          <a:ext uri="{FF2B5EF4-FFF2-40B4-BE49-F238E27FC236}">
                            <a16:creationId xmlns:a16="http://schemas.microsoft.com/office/drawing/2014/main" id="{C0EF90CA-2EA9-4B94-9217-1FAB148AE1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8426D868-4256-4FCE-977A-1F2A6324E85C}"/>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AE7E0E85-AE5A-2142-A220-DA0148286E50}"/>
              </a:ext>
            </a:extLst>
          </p:cNvPr>
          <p:cNvSpPr>
            <a:spLocks noGrp="1"/>
          </p:cNvSpPr>
          <p:nvPr>
            <p:ph type="body" sz="quarter" idx="10"/>
          </p:nvPr>
        </p:nvSpPr>
        <p:spPr>
          <a:xfrm>
            <a:off x="393245" y="881289"/>
            <a:ext cx="9125694" cy="396382"/>
          </a:xfrm>
        </p:spPr>
        <p:txBody>
          <a:bodyPr/>
          <a:lstStyle/>
          <a:p>
            <a:r>
              <a:rPr lang="en-US"/>
              <a:t>Please adhere to these text formatting guidelines. Use example layouts/slides as your base. Consistency is key!</a:t>
            </a:r>
            <a:endParaRPr lang="en-US" dirty="0"/>
          </a:p>
        </p:txBody>
      </p:sp>
      <p:sp>
        <p:nvSpPr>
          <p:cNvPr id="5" name="Text Placeholder 4">
            <a:extLst>
              <a:ext uri="{FF2B5EF4-FFF2-40B4-BE49-F238E27FC236}">
                <a16:creationId xmlns:a16="http://schemas.microsoft.com/office/drawing/2014/main" id="{056FEFB9-9FA2-6549-8047-8B004FEF5B74}"/>
              </a:ext>
            </a:extLst>
          </p:cNvPr>
          <p:cNvSpPr>
            <a:spLocks noGrp="1"/>
          </p:cNvSpPr>
          <p:nvPr>
            <p:ph type="body" sz="quarter" idx="24"/>
          </p:nvPr>
        </p:nvSpPr>
        <p:spPr>
          <a:xfrm>
            <a:off x="393246" y="1383643"/>
            <a:ext cx="4380368" cy="241592"/>
          </a:xfrm>
        </p:spPr>
        <p:txBody>
          <a:bodyPr/>
          <a:lstStyle/>
          <a:p>
            <a:r>
              <a:rPr lang="en-US"/>
              <a:t>Grammar</a:t>
            </a:r>
            <a:endParaRPr lang="en-US" dirty="0"/>
          </a:p>
        </p:txBody>
      </p:sp>
      <p:sp>
        <p:nvSpPr>
          <p:cNvPr id="3" name="Title 2">
            <a:extLst>
              <a:ext uri="{FF2B5EF4-FFF2-40B4-BE49-F238E27FC236}">
                <a16:creationId xmlns:a16="http://schemas.microsoft.com/office/drawing/2014/main" id="{1939EA66-E2A2-FA4F-B5D7-928E77D7A618}"/>
              </a:ext>
            </a:extLst>
          </p:cNvPr>
          <p:cNvSpPr>
            <a:spLocks noGrp="1"/>
          </p:cNvSpPr>
          <p:nvPr>
            <p:ph type="title"/>
          </p:nvPr>
        </p:nvSpPr>
        <p:spPr>
          <a:xfrm>
            <a:off x="392399" y="108000"/>
            <a:ext cx="7560000" cy="576000"/>
          </a:xfrm>
        </p:spPr>
        <p:txBody>
          <a:bodyPr vert="horz"/>
          <a:lstStyle/>
          <a:p>
            <a:r>
              <a:rPr lang="en-US" dirty="0"/>
              <a:t>Guidelines | Text formatting</a:t>
            </a:r>
          </a:p>
        </p:txBody>
      </p:sp>
      <p:sp>
        <p:nvSpPr>
          <p:cNvPr id="7" name="Text Placeholder 6">
            <a:extLst>
              <a:ext uri="{FF2B5EF4-FFF2-40B4-BE49-F238E27FC236}">
                <a16:creationId xmlns:a16="http://schemas.microsoft.com/office/drawing/2014/main" id="{ED59BF25-8337-4F45-B04F-334C460BDE0A}"/>
              </a:ext>
            </a:extLst>
          </p:cNvPr>
          <p:cNvSpPr>
            <a:spLocks noGrp="1"/>
          </p:cNvSpPr>
          <p:nvPr>
            <p:ph type="body" sz="quarter" idx="29"/>
          </p:nvPr>
        </p:nvSpPr>
        <p:spPr>
          <a:xfrm>
            <a:off x="5140552" y="1383643"/>
            <a:ext cx="4380368" cy="241592"/>
          </a:xfrm>
        </p:spPr>
        <p:txBody>
          <a:bodyPr/>
          <a:lstStyle/>
          <a:p>
            <a:r>
              <a:rPr lang="en-US"/>
              <a:t>Graphs</a:t>
            </a:r>
            <a:endParaRPr lang="en-US" dirty="0"/>
          </a:p>
        </p:txBody>
      </p:sp>
      <p:sp>
        <p:nvSpPr>
          <p:cNvPr id="8" name="Text Placeholder 7">
            <a:extLst>
              <a:ext uri="{FF2B5EF4-FFF2-40B4-BE49-F238E27FC236}">
                <a16:creationId xmlns:a16="http://schemas.microsoft.com/office/drawing/2014/main" id="{9E3AEB73-1DA9-3943-B1D3-E0A3A1BC3070}"/>
              </a:ext>
            </a:extLst>
          </p:cNvPr>
          <p:cNvSpPr>
            <a:spLocks noGrp="1"/>
          </p:cNvSpPr>
          <p:nvPr>
            <p:ph type="body" sz="quarter" idx="31"/>
          </p:nvPr>
        </p:nvSpPr>
        <p:spPr>
          <a:xfrm>
            <a:off x="393700" y="4223052"/>
            <a:ext cx="4379913" cy="241300"/>
          </a:xfrm>
        </p:spPr>
        <p:txBody>
          <a:bodyPr/>
          <a:lstStyle/>
          <a:p>
            <a:r>
              <a:rPr lang="en-US"/>
              <a:t>Units</a:t>
            </a:r>
            <a:endParaRPr lang="en-US" dirty="0"/>
          </a:p>
        </p:txBody>
      </p:sp>
      <p:sp>
        <p:nvSpPr>
          <p:cNvPr id="9" name="Text Placeholder 8">
            <a:extLst>
              <a:ext uri="{FF2B5EF4-FFF2-40B4-BE49-F238E27FC236}">
                <a16:creationId xmlns:a16="http://schemas.microsoft.com/office/drawing/2014/main" id="{29E901A7-D21C-C84B-86AD-CBDF79CC5A4F}"/>
              </a:ext>
            </a:extLst>
          </p:cNvPr>
          <p:cNvSpPr>
            <a:spLocks noGrp="1"/>
          </p:cNvSpPr>
          <p:nvPr>
            <p:ph type="body" sz="quarter" idx="33"/>
          </p:nvPr>
        </p:nvSpPr>
        <p:spPr>
          <a:xfrm>
            <a:off x="5140325" y="4223052"/>
            <a:ext cx="4379913" cy="241300"/>
          </a:xfrm>
        </p:spPr>
        <p:txBody>
          <a:bodyPr/>
          <a:lstStyle/>
          <a:p>
            <a:r>
              <a:rPr lang="en-US"/>
              <a:t>Tables</a:t>
            </a:r>
            <a:endParaRPr lang="en-US" dirty="0"/>
          </a:p>
        </p:txBody>
      </p:sp>
      <p:sp>
        <p:nvSpPr>
          <p:cNvPr id="6" name="Text Placeholder 5">
            <a:extLst>
              <a:ext uri="{FF2B5EF4-FFF2-40B4-BE49-F238E27FC236}">
                <a16:creationId xmlns:a16="http://schemas.microsoft.com/office/drawing/2014/main" id="{07DF8D6D-5DB3-4B45-BA16-AB88C0A124F5}"/>
              </a:ext>
            </a:extLst>
          </p:cNvPr>
          <p:cNvSpPr>
            <a:spLocks noGrp="1"/>
          </p:cNvSpPr>
          <p:nvPr>
            <p:ph type="body" sz="quarter" idx="27"/>
          </p:nvPr>
        </p:nvSpPr>
        <p:spPr>
          <a:xfrm>
            <a:off x="393245" y="6233719"/>
            <a:ext cx="4380368" cy="276340"/>
          </a:xfrm>
        </p:spPr>
        <p:txBody>
          <a:bodyPr/>
          <a:lstStyle/>
          <a:p>
            <a:r>
              <a:rPr lang="en-US" dirty="0"/>
              <a:t>Source: Always include sources</a:t>
            </a:r>
          </a:p>
          <a:p>
            <a:r>
              <a:rPr lang="en-US" dirty="0"/>
              <a:t>Note:</a:t>
            </a:r>
          </a:p>
          <a:p>
            <a:r>
              <a:rPr lang="en-US" dirty="0"/>
              <a:t>1.  Footnote in size 6 and in this format</a:t>
            </a:r>
          </a:p>
        </p:txBody>
      </p:sp>
      <p:sp>
        <p:nvSpPr>
          <p:cNvPr id="11" name="Content Placeholder 10">
            <a:extLst>
              <a:ext uri="{FF2B5EF4-FFF2-40B4-BE49-F238E27FC236}">
                <a16:creationId xmlns:a16="http://schemas.microsoft.com/office/drawing/2014/main" id="{9E1BAEC2-3ADD-C744-802B-1B44DBDC36AB}"/>
              </a:ext>
            </a:extLst>
          </p:cNvPr>
          <p:cNvSpPr>
            <a:spLocks noGrp="1"/>
          </p:cNvSpPr>
          <p:nvPr>
            <p:ph sz="quarter" idx="35"/>
          </p:nvPr>
        </p:nvSpPr>
        <p:spPr>
          <a:xfrm>
            <a:off x="5138571" y="1633397"/>
            <a:ext cx="4380368" cy="2158449"/>
          </a:xfrm>
        </p:spPr>
        <p:txBody>
          <a:bodyPr/>
          <a:lstStyle/>
          <a:p>
            <a:r>
              <a:rPr lang="en-US"/>
              <a:t>No marks, no axis lines</a:t>
            </a:r>
          </a:p>
          <a:p>
            <a:r>
              <a:rPr lang="en-US"/>
              <a:t>Font size 8</a:t>
            </a:r>
          </a:p>
          <a:p>
            <a:r>
              <a:rPr lang="en-US"/>
              <a:t>Include labels</a:t>
            </a:r>
          </a:p>
          <a:p>
            <a:r>
              <a:rPr lang="en-US"/>
              <a:t>Chart title should be done in chart</a:t>
            </a:r>
          </a:p>
          <a:p>
            <a:r>
              <a:rPr lang="en-US"/>
              <a:t>Legend preferably at the top</a:t>
            </a:r>
          </a:p>
          <a:p>
            <a:r>
              <a:rPr lang="en-US"/>
              <a:t>Line charts: reduce line thickness in quarter page size charts to 1pt</a:t>
            </a:r>
          </a:p>
          <a:p>
            <a:r>
              <a:rPr lang="en-US"/>
              <a:t>Embed data in chart where possible</a:t>
            </a:r>
          </a:p>
          <a:p>
            <a:r>
              <a:rPr lang="en-US"/>
              <a:t>Icons are available at the back of this deck or can be selected from </a:t>
            </a:r>
            <a:r>
              <a:rPr lang="en-US">
                <a:hlinkClick r:id="rId6"/>
              </a:rPr>
              <a:t>www.thenounproject.com</a:t>
            </a:r>
            <a:r>
              <a:rPr lang="en-US"/>
              <a:t> and we can convert them into usable format to change the colour/modify them</a:t>
            </a:r>
          </a:p>
          <a:p>
            <a:endParaRPr lang="en-US"/>
          </a:p>
          <a:p>
            <a:endParaRPr lang="en-US" dirty="0"/>
          </a:p>
        </p:txBody>
      </p:sp>
      <p:sp>
        <p:nvSpPr>
          <p:cNvPr id="12" name="Content Placeholder 11">
            <a:extLst>
              <a:ext uri="{FF2B5EF4-FFF2-40B4-BE49-F238E27FC236}">
                <a16:creationId xmlns:a16="http://schemas.microsoft.com/office/drawing/2014/main" id="{03718538-3BDC-1A4F-9BA9-88AA017F7302}"/>
              </a:ext>
            </a:extLst>
          </p:cNvPr>
          <p:cNvSpPr>
            <a:spLocks noGrp="1"/>
          </p:cNvSpPr>
          <p:nvPr>
            <p:ph sz="quarter" idx="36"/>
          </p:nvPr>
        </p:nvSpPr>
        <p:spPr>
          <a:xfrm>
            <a:off x="392113" y="4477052"/>
            <a:ext cx="4379912" cy="2159000"/>
          </a:xfrm>
        </p:spPr>
        <p:txBody>
          <a:bodyPr/>
          <a:lstStyle/>
          <a:p>
            <a:r>
              <a:rPr lang="en-US"/>
              <a:t>Specify currency (C$0.60/sh)</a:t>
            </a:r>
          </a:p>
          <a:p>
            <a:r>
              <a:rPr lang="en-US"/>
              <a:t>Thousands to 0 decimals, millions to 1 decimal, grade to 2 decimals, </a:t>
            </a:r>
            <a:br>
              <a:rPr lang="en-US"/>
            </a:br>
            <a:r>
              <a:rPr lang="en-US"/>
              <a:t>share price to 2 decimals, and MoM to 2 decimals</a:t>
            </a:r>
          </a:p>
          <a:p>
            <a:r>
              <a:rPr lang="en-US"/>
              <a:t>Placed immediately after the number with no space (1Mt)</a:t>
            </a:r>
          </a:p>
          <a:p>
            <a:r>
              <a:rPr lang="en-US"/>
              <a:t>Negative numbers formatted using ( )</a:t>
            </a:r>
          </a:p>
          <a:p>
            <a:r>
              <a:rPr lang="en-US"/>
              <a:t>Zero values to be represented by a “–” (en dash)</a:t>
            </a:r>
          </a:p>
          <a:p>
            <a:endParaRPr lang="en-US"/>
          </a:p>
          <a:p>
            <a:endParaRPr lang="en-US" dirty="0"/>
          </a:p>
        </p:txBody>
      </p:sp>
      <p:sp>
        <p:nvSpPr>
          <p:cNvPr id="13" name="Content Placeholder 12">
            <a:extLst>
              <a:ext uri="{FF2B5EF4-FFF2-40B4-BE49-F238E27FC236}">
                <a16:creationId xmlns:a16="http://schemas.microsoft.com/office/drawing/2014/main" id="{5E6973EC-9AE0-3943-AAD6-53500E1380F5}"/>
              </a:ext>
            </a:extLst>
          </p:cNvPr>
          <p:cNvSpPr>
            <a:spLocks noGrp="1"/>
          </p:cNvSpPr>
          <p:nvPr>
            <p:ph sz="quarter" idx="37"/>
          </p:nvPr>
        </p:nvSpPr>
        <p:spPr>
          <a:xfrm>
            <a:off x="5138738" y="4477052"/>
            <a:ext cx="4379912" cy="2159000"/>
          </a:xfrm>
        </p:spPr>
        <p:txBody>
          <a:bodyPr/>
          <a:lstStyle/>
          <a:p>
            <a:r>
              <a:rPr lang="en-US"/>
              <a:t>Most left column left aligned, other columns right aligned for numbers and small groups of words. Longer text sentences should be left aligned</a:t>
            </a:r>
          </a:p>
          <a:p>
            <a:r>
              <a:rPr lang="en-US"/>
              <a:t>Additional row levels should be indented</a:t>
            </a:r>
          </a:p>
          <a:p>
            <a:r>
              <a:rPr lang="en-US"/>
              <a:t>Footnotes to be included in the following format 1 (= space before and the footnote number both superscripted)</a:t>
            </a:r>
          </a:p>
          <a:p>
            <a:endParaRPr lang="en-US"/>
          </a:p>
          <a:p>
            <a:endParaRPr lang="en-US" dirty="0"/>
          </a:p>
        </p:txBody>
      </p:sp>
      <p:sp>
        <p:nvSpPr>
          <p:cNvPr id="10" name="Content Placeholder 9">
            <a:extLst>
              <a:ext uri="{FF2B5EF4-FFF2-40B4-BE49-F238E27FC236}">
                <a16:creationId xmlns:a16="http://schemas.microsoft.com/office/drawing/2014/main" id="{836232C3-B2C6-674D-ABE4-7A56E3DEA231}"/>
              </a:ext>
            </a:extLst>
          </p:cNvPr>
          <p:cNvSpPr>
            <a:spLocks noGrp="1"/>
          </p:cNvSpPr>
          <p:nvPr>
            <p:ph sz="quarter" idx="38"/>
          </p:nvPr>
        </p:nvSpPr>
        <p:spPr>
          <a:xfrm>
            <a:off x="392399" y="1633397"/>
            <a:ext cx="4380368" cy="2158449"/>
          </a:xfrm>
        </p:spPr>
        <p:txBody>
          <a:bodyPr>
            <a:noAutofit/>
          </a:bodyPr>
          <a:lstStyle/>
          <a:p>
            <a:r>
              <a:rPr lang="en-US"/>
              <a:t>All fonts now Roboto only</a:t>
            </a:r>
          </a:p>
          <a:p>
            <a:r>
              <a:rPr lang="en-US"/>
              <a:t>Investment Committee, Super Advisory Board etc should all be capitalised when referencing a specific group</a:t>
            </a:r>
          </a:p>
          <a:p>
            <a:r>
              <a:rPr lang="en-US"/>
              <a:t>Oxford commas to be included (Appian can provide technical, financial, and marketing support)</a:t>
            </a:r>
          </a:p>
          <a:p>
            <a:r>
              <a:rPr lang="en-US"/>
              <a:t>Use long dashes where appropriate with a space before and after (Appian value-add — A case study of Roxgold) (em-dash) </a:t>
            </a:r>
          </a:p>
          <a:p>
            <a:r>
              <a:rPr lang="en-US"/>
              <a:t>Font size should be 10, but lowered to 8 depending on amount of content</a:t>
            </a:r>
          </a:p>
          <a:p>
            <a:r>
              <a:rPr lang="en-US"/>
              <a:t>Short-term, low-grade etc. should all be hyphenated</a:t>
            </a:r>
          </a:p>
          <a:p>
            <a:r>
              <a:rPr lang="en-US"/>
              <a:t>Slashes should have a space before and after (upside / expanded case) </a:t>
            </a:r>
            <a:br>
              <a:rPr lang="en-US"/>
            </a:br>
            <a:r>
              <a:rPr lang="en-US"/>
              <a:t>Exception: units</a:t>
            </a:r>
          </a:p>
          <a:p>
            <a:r>
              <a:rPr lang="en-US"/>
              <a:t>First use of an abbreviation needs to be also written out in full</a:t>
            </a:r>
            <a:endParaRPr lang="en-US" dirty="0"/>
          </a:p>
        </p:txBody>
      </p:sp>
      <p:sp>
        <p:nvSpPr>
          <p:cNvPr id="21" name="Rectangle 20">
            <a:extLst>
              <a:ext uri="{FF2B5EF4-FFF2-40B4-BE49-F238E27FC236}">
                <a16:creationId xmlns:a16="http://schemas.microsoft.com/office/drawing/2014/main" id="{5BB2CF74-30B9-7046-B86E-D858FB32B580}"/>
              </a:ext>
            </a:extLst>
          </p:cNvPr>
          <p:cNvSpPr/>
          <p:nvPr/>
        </p:nvSpPr>
        <p:spPr>
          <a:xfrm>
            <a:off x="4817166" y="5709547"/>
            <a:ext cx="5088834" cy="66234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r>
              <a:rPr lang="en-GB" sz="1400"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When copying in formatted text from another page/document:</a:t>
            </a:r>
            <a:br>
              <a:rPr lang="en-GB" sz="1400" dirty="0">
                <a:solidFill>
                  <a:schemeClr val="bg1"/>
                </a:solidFill>
                <a:latin typeface="Roboto Light" panose="02000000000000000000" pitchFamily="2" charset="0"/>
                <a:ea typeface="Roboto Light" panose="02000000000000000000" pitchFamily="2" charset="0"/>
                <a:cs typeface="Roboto Light" panose="02000000000000000000" pitchFamily="2" charset="0"/>
              </a:rPr>
            </a:br>
            <a:r>
              <a:rPr lang="en-GB" sz="1400"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paste it clean by applying Paste … / Keep Text Only</a:t>
            </a:r>
            <a:br>
              <a:rPr lang="en-GB" sz="1400" dirty="0">
                <a:solidFill>
                  <a:schemeClr val="bg1"/>
                </a:solidFill>
                <a:latin typeface="Roboto Light" panose="02000000000000000000" pitchFamily="2" charset="0"/>
                <a:ea typeface="Roboto Light" panose="02000000000000000000" pitchFamily="2" charset="0"/>
                <a:cs typeface="Roboto Light" panose="02000000000000000000" pitchFamily="2" charset="0"/>
              </a:rPr>
            </a:br>
            <a:r>
              <a:rPr lang="en-GB" sz="1100" i="1"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this ensures the bullets work properly)</a:t>
            </a:r>
            <a:endParaRPr lang="en-GB" sz="1400" i="1" dirty="0">
              <a:solidFill>
                <a:schemeClr val="bg1"/>
              </a:solidFill>
              <a:latin typeface="Roboto Light" panose="02000000000000000000" pitchFamily="2" charset="0"/>
              <a:ea typeface="Roboto Light" panose="02000000000000000000" pitchFamily="2" charset="0"/>
              <a:cs typeface="Roboto Light" panose="02000000000000000000" pitchFamily="2" charset="0"/>
            </a:endParaRPr>
          </a:p>
        </p:txBody>
      </p:sp>
    </p:spTree>
    <p:extLst>
      <p:ext uri="{BB962C8B-B14F-4D97-AF65-F5344CB8AC3E}">
        <p14:creationId xmlns:p14="http://schemas.microsoft.com/office/powerpoint/2010/main" val="29317317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70FC5E0-AADB-A24D-8A55-C89B59D26CAA}"/>
              </a:ext>
            </a:extLst>
          </p:cNvPr>
          <p:cNvSpPr>
            <a:spLocks noGrp="1"/>
          </p:cNvSpPr>
          <p:nvPr>
            <p:ph type="body" sz="quarter" idx="10"/>
          </p:nvPr>
        </p:nvSpPr>
        <p:spPr/>
        <p:txBody>
          <a:bodyPr/>
          <a:lstStyle/>
          <a:p>
            <a:r>
              <a:rPr lang="en-US" dirty="0"/>
              <a:t>Biographies</a:t>
            </a:r>
          </a:p>
        </p:txBody>
      </p:sp>
      <p:sp>
        <p:nvSpPr>
          <p:cNvPr id="2" name="TextBox 1">
            <a:extLst>
              <a:ext uri="{FF2B5EF4-FFF2-40B4-BE49-F238E27FC236}">
                <a16:creationId xmlns:a16="http://schemas.microsoft.com/office/drawing/2014/main" id="{13BA924F-467B-EB4F-BC8E-D9BA23E6B3BE}"/>
              </a:ext>
            </a:extLst>
          </p:cNvPr>
          <p:cNvSpPr txBox="1"/>
          <p:nvPr/>
        </p:nvSpPr>
        <p:spPr>
          <a:xfrm>
            <a:off x="9116499" y="433137"/>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a:endParaRPr lang="en-US" sz="1000" dirty="0" err="1">
              <a:solidFill>
                <a:schemeClr val="tx1"/>
              </a:solidFill>
            </a:endParaRPr>
          </a:p>
        </p:txBody>
      </p:sp>
    </p:spTree>
    <p:extLst>
      <p:ext uri="{BB962C8B-B14F-4D97-AF65-F5344CB8AC3E}">
        <p14:creationId xmlns:p14="http://schemas.microsoft.com/office/powerpoint/2010/main" val="12105139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104A4BF-15ED-9348-DC0A-396EE6867FD4}"/>
              </a:ext>
            </a:extLst>
          </p:cNvPr>
          <p:cNvGraphicFramePr>
            <a:graphicFrameLocks noChangeAspect="1"/>
          </p:cNvGraphicFramePr>
          <p:nvPr>
            <p:custDataLst>
              <p:tags r:id="rId1"/>
            </p:custDataLst>
            <p:extLst>
              <p:ext uri="{D42A27DB-BD31-4B8C-83A1-F6EECF244321}">
                <p14:modId xmlns:p14="http://schemas.microsoft.com/office/powerpoint/2010/main" val="2285432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C104A4BF-15ED-9348-DC0A-396EE6867F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6" name="Picture Placeholder 35">
            <a:extLst>
              <a:ext uri="{FF2B5EF4-FFF2-40B4-BE49-F238E27FC236}">
                <a16:creationId xmlns:a16="http://schemas.microsoft.com/office/drawing/2014/main" id="{C863B6AB-8F25-4746-8607-0FB3F2BDEA8A}"/>
              </a:ext>
            </a:extLst>
          </p:cNvPr>
          <p:cNvSpPr>
            <a:spLocks noGrp="1"/>
          </p:cNvSpPr>
          <p:nvPr>
            <p:ph type="pic" sz="quarter" idx="28"/>
          </p:nvPr>
        </p:nvSpPr>
        <p:spPr/>
        <p:txBody>
          <a:bodyPr/>
          <a:lstStyle/>
          <a:p>
            <a:endParaRPr lang="pt-BR"/>
          </a:p>
        </p:txBody>
      </p:sp>
      <p:sp>
        <p:nvSpPr>
          <p:cNvPr id="34" name="Text Placeholder 33">
            <a:extLst>
              <a:ext uri="{FF2B5EF4-FFF2-40B4-BE49-F238E27FC236}">
                <a16:creationId xmlns:a16="http://schemas.microsoft.com/office/drawing/2014/main" id="{FE6F13FE-1D4E-404B-8229-7064448D1CCD}"/>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AE8094CE-82D3-7D4A-9A48-3F9B55A47590}"/>
              </a:ext>
            </a:extLst>
          </p:cNvPr>
          <p:cNvSpPr>
            <a:spLocks noGrp="1"/>
          </p:cNvSpPr>
          <p:nvPr>
            <p:ph type="title"/>
          </p:nvPr>
        </p:nvSpPr>
        <p:spPr>
          <a:xfrm>
            <a:off x="392400" y="108000"/>
            <a:ext cx="7954766" cy="576000"/>
          </a:xfrm>
        </p:spPr>
        <p:txBody>
          <a:bodyPr vert="horz"/>
          <a:lstStyle/>
          <a:p>
            <a:r>
              <a:rPr lang="en-US" dirty="0">
                <a:latin typeface="Roboto Medium" pitchFamily="2" charset="0"/>
                <a:ea typeface="Roboto Medium" pitchFamily="2" charset="0"/>
              </a:rPr>
              <a:t>Biographies  </a:t>
            </a:r>
            <a:r>
              <a:rPr lang="en-US" dirty="0">
                <a:solidFill>
                  <a:schemeClr val="accent6"/>
                </a:solidFill>
                <a:latin typeface="Roboto Medium" pitchFamily="2" charset="0"/>
                <a:ea typeface="Roboto Medium" pitchFamily="2" charset="0"/>
              </a:rPr>
              <a:t>|</a:t>
            </a:r>
            <a:r>
              <a:rPr lang="en-US" dirty="0">
                <a:latin typeface="Roboto Medium" pitchFamily="2" charset="0"/>
                <a:ea typeface="Roboto Medium" pitchFamily="2" charset="0"/>
              </a:rPr>
              <a:t>  </a:t>
            </a:r>
            <a:r>
              <a:rPr lang="en-US" dirty="0"/>
              <a:t>1 person</a:t>
            </a:r>
          </a:p>
        </p:txBody>
      </p:sp>
      <p:sp>
        <p:nvSpPr>
          <p:cNvPr id="35" name="Text Placeholder 34">
            <a:extLst>
              <a:ext uri="{FF2B5EF4-FFF2-40B4-BE49-F238E27FC236}">
                <a16:creationId xmlns:a16="http://schemas.microsoft.com/office/drawing/2014/main" id="{118EE90F-D799-2F4C-9B0C-BC088A6F032C}"/>
              </a:ext>
            </a:extLst>
          </p:cNvPr>
          <p:cNvSpPr>
            <a:spLocks noGrp="1"/>
          </p:cNvSpPr>
          <p:nvPr>
            <p:ph type="body" sz="quarter" idx="27"/>
          </p:nvPr>
        </p:nvSpPr>
        <p:spPr/>
        <p:txBody>
          <a:bodyPr/>
          <a:lstStyle/>
          <a:p>
            <a:endParaRPr lang="en-US"/>
          </a:p>
        </p:txBody>
      </p:sp>
      <p:sp>
        <p:nvSpPr>
          <p:cNvPr id="37" name="Content Placeholder 36">
            <a:extLst>
              <a:ext uri="{FF2B5EF4-FFF2-40B4-BE49-F238E27FC236}">
                <a16:creationId xmlns:a16="http://schemas.microsoft.com/office/drawing/2014/main" id="{11FB5592-0844-B346-AB21-FFAF5825D835}"/>
              </a:ext>
            </a:extLst>
          </p:cNvPr>
          <p:cNvSpPr>
            <a:spLocks noGrp="1"/>
          </p:cNvSpPr>
          <p:nvPr>
            <p:ph sz="quarter" idx="31"/>
          </p:nvPr>
        </p:nvSpPr>
        <p:spPr/>
        <p:txBody>
          <a:bodyPr/>
          <a:lstStyle/>
          <a:p>
            <a:endParaRPr lang="en-US"/>
          </a:p>
        </p:txBody>
      </p:sp>
      <p:sp>
        <p:nvSpPr>
          <p:cNvPr id="38" name="Freeform 37">
            <a:extLst>
              <a:ext uri="{FF2B5EF4-FFF2-40B4-BE49-F238E27FC236}">
                <a16:creationId xmlns:a16="http://schemas.microsoft.com/office/drawing/2014/main" id="{E4D6E7EC-AC63-CB49-AA2E-CEB9C5D8A6E5}"/>
              </a:ext>
            </a:extLst>
          </p:cNvPr>
          <p:cNvSpPr/>
          <p:nvPr/>
        </p:nvSpPr>
        <p:spPr>
          <a:xfrm>
            <a:off x="1661305" y="3288822"/>
            <a:ext cx="623721" cy="371389"/>
          </a:xfrm>
          <a:custGeom>
            <a:avLst/>
            <a:gdLst>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Lst>
            <a:ahLst/>
            <a:cxnLst>
              <a:cxn ang="0">
                <a:pos x="connsiteX0" y="connsiteY0"/>
              </a:cxn>
              <a:cxn ang="0">
                <a:pos x="connsiteX1" y="connsiteY1"/>
              </a:cxn>
              <a:cxn ang="0">
                <a:pos x="connsiteX2" y="connsiteY2"/>
              </a:cxn>
              <a:cxn ang="0">
                <a:pos x="connsiteX3" y="connsiteY3"/>
              </a:cxn>
            </a:cxnLst>
            <a:rect l="l" t="t" r="r" b="b"/>
            <a:pathLst>
              <a:path w="1754842" h="1042147">
                <a:moveTo>
                  <a:pt x="0" y="1042147"/>
                </a:moveTo>
                <a:lnTo>
                  <a:pt x="1754842" y="1042147"/>
                </a:lnTo>
                <a:lnTo>
                  <a:pt x="1754842" y="0"/>
                </a:lnTo>
                <a:cubicBezTo>
                  <a:pt x="1239530" y="142875"/>
                  <a:pt x="410659" y="630331"/>
                  <a:pt x="0" y="1042147"/>
                </a:cubicBezTo>
                <a:close/>
              </a:path>
            </a:pathLst>
          </a:cu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1000" dirty="0" err="1">
              <a:solidFill>
                <a:schemeClr val="bg1"/>
              </a:solidFill>
            </a:endParaRPr>
          </a:p>
        </p:txBody>
      </p:sp>
    </p:spTree>
    <p:extLst>
      <p:ext uri="{BB962C8B-B14F-4D97-AF65-F5344CB8AC3E}">
        <p14:creationId xmlns:p14="http://schemas.microsoft.com/office/powerpoint/2010/main" val="22093424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49C34DF-EE6C-2AF5-A8E9-08CF25187EBC}"/>
              </a:ext>
            </a:extLst>
          </p:cNvPr>
          <p:cNvGraphicFramePr>
            <a:graphicFrameLocks noChangeAspect="1"/>
          </p:cNvGraphicFramePr>
          <p:nvPr>
            <p:custDataLst>
              <p:tags r:id="rId1"/>
            </p:custDataLst>
            <p:extLst>
              <p:ext uri="{D42A27DB-BD31-4B8C-83A1-F6EECF244321}">
                <p14:modId xmlns:p14="http://schemas.microsoft.com/office/powerpoint/2010/main" val="1106351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D49C34DF-EE6C-2AF5-A8E9-08CF25187E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Picture Placeholder 50">
            <a:extLst>
              <a:ext uri="{FF2B5EF4-FFF2-40B4-BE49-F238E27FC236}">
                <a16:creationId xmlns:a16="http://schemas.microsoft.com/office/drawing/2014/main" id="{BF584901-4403-1A43-BC80-9EDFB67A8A19}"/>
              </a:ext>
            </a:extLst>
          </p:cNvPr>
          <p:cNvSpPr>
            <a:spLocks noGrp="1"/>
          </p:cNvSpPr>
          <p:nvPr>
            <p:ph type="pic" sz="quarter" idx="28"/>
          </p:nvPr>
        </p:nvSpPr>
        <p:spPr/>
        <p:txBody>
          <a:bodyPr/>
          <a:lstStyle/>
          <a:p>
            <a:endParaRPr lang="pt-BR"/>
          </a:p>
        </p:txBody>
      </p:sp>
      <p:sp>
        <p:nvSpPr>
          <p:cNvPr id="52" name="Picture Placeholder 51">
            <a:extLst>
              <a:ext uri="{FF2B5EF4-FFF2-40B4-BE49-F238E27FC236}">
                <a16:creationId xmlns:a16="http://schemas.microsoft.com/office/drawing/2014/main" id="{804FD44D-9A10-B742-8C7A-55771B6948AD}"/>
              </a:ext>
            </a:extLst>
          </p:cNvPr>
          <p:cNvSpPr>
            <a:spLocks noGrp="1"/>
          </p:cNvSpPr>
          <p:nvPr>
            <p:ph type="pic" sz="quarter" idx="29"/>
          </p:nvPr>
        </p:nvSpPr>
        <p:spPr/>
        <p:txBody>
          <a:bodyPr/>
          <a:lstStyle/>
          <a:p>
            <a:endParaRPr lang="pt-BR"/>
          </a:p>
        </p:txBody>
      </p:sp>
      <p:sp>
        <p:nvSpPr>
          <p:cNvPr id="49" name="Text Placeholder 48">
            <a:extLst>
              <a:ext uri="{FF2B5EF4-FFF2-40B4-BE49-F238E27FC236}">
                <a16:creationId xmlns:a16="http://schemas.microsoft.com/office/drawing/2014/main" id="{10747E13-1468-0A43-8C4B-7E6D0D3AA7A7}"/>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8DC6A029-6165-4B92-BEA5-462CD5651651}"/>
              </a:ext>
            </a:extLst>
          </p:cNvPr>
          <p:cNvSpPr>
            <a:spLocks noGrp="1"/>
          </p:cNvSpPr>
          <p:nvPr>
            <p:ph type="title"/>
          </p:nvPr>
        </p:nvSpPr>
        <p:spPr>
          <a:xfrm>
            <a:off x="392400" y="108000"/>
            <a:ext cx="7954766" cy="576000"/>
          </a:xfrm>
        </p:spPr>
        <p:txBody>
          <a:bodyPr vert="horz"/>
          <a:lstStyle/>
          <a:p>
            <a:r>
              <a:rPr lang="en-US" dirty="0">
                <a:latin typeface="Roboto Medium" pitchFamily="2" charset="0"/>
                <a:ea typeface="Roboto Medium" pitchFamily="2" charset="0"/>
              </a:rPr>
              <a:t>Biographies</a:t>
            </a:r>
            <a:r>
              <a:rPr lang="en-US" dirty="0"/>
              <a:t>  </a:t>
            </a:r>
            <a:r>
              <a:rPr lang="en-US" b="1" dirty="0">
                <a:solidFill>
                  <a:schemeClr val="accent6"/>
                </a:solidFill>
              </a:rPr>
              <a:t>|</a:t>
            </a:r>
            <a:r>
              <a:rPr lang="en-US" dirty="0"/>
              <a:t>  </a:t>
            </a:r>
            <a:r>
              <a:rPr lang="en-GB" dirty="0"/>
              <a:t>2 people </a:t>
            </a:r>
            <a:endParaRPr lang="en-US" dirty="0"/>
          </a:p>
        </p:txBody>
      </p:sp>
      <p:sp>
        <p:nvSpPr>
          <p:cNvPr id="50" name="Text Placeholder 49">
            <a:extLst>
              <a:ext uri="{FF2B5EF4-FFF2-40B4-BE49-F238E27FC236}">
                <a16:creationId xmlns:a16="http://schemas.microsoft.com/office/drawing/2014/main" id="{3C20501E-F361-1046-AE8F-33CD5AF6C216}"/>
              </a:ext>
            </a:extLst>
          </p:cNvPr>
          <p:cNvSpPr>
            <a:spLocks noGrp="1"/>
          </p:cNvSpPr>
          <p:nvPr>
            <p:ph type="body" sz="quarter" idx="27"/>
          </p:nvPr>
        </p:nvSpPr>
        <p:spPr/>
        <p:txBody>
          <a:bodyPr/>
          <a:lstStyle/>
          <a:p>
            <a:endParaRPr lang="en-US"/>
          </a:p>
        </p:txBody>
      </p:sp>
      <p:sp>
        <p:nvSpPr>
          <p:cNvPr id="53" name="Content Placeholder 52">
            <a:extLst>
              <a:ext uri="{FF2B5EF4-FFF2-40B4-BE49-F238E27FC236}">
                <a16:creationId xmlns:a16="http://schemas.microsoft.com/office/drawing/2014/main" id="{D45C93CB-7803-3946-B784-C7C97AAE53A8}"/>
              </a:ext>
            </a:extLst>
          </p:cNvPr>
          <p:cNvSpPr>
            <a:spLocks noGrp="1"/>
          </p:cNvSpPr>
          <p:nvPr>
            <p:ph sz="quarter" idx="31"/>
          </p:nvPr>
        </p:nvSpPr>
        <p:spPr/>
        <p:txBody>
          <a:bodyPr/>
          <a:lstStyle/>
          <a:p>
            <a:endParaRPr lang="en-US"/>
          </a:p>
        </p:txBody>
      </p:sp>
      <p:sp>
        <p:nvSpPr>
          <p:cNvPr id="54" name="Content Placeholder 53">
            <a:extLst>
              <a:ext uri="{FF2B5EF4-FFF2-40B4-BE49-F238E27FC236}">
                <a16:creationId xmlns:a16="http://schemas.microsoft.com/office/drawing/2014/main" id="{D1D3525F-E0D0-0E43-A8DE-8CE1EEB8AFEF}"/>
              </a:ext>
            </a:extLst>
          </p:cNvPr>
          <p:cNvSpPr>
            <a:spLocks noGrp="1"/>
          </p:cNvSpPr>
          <p:nvPr>
            <p:ph sz="quarter" idx="32"/>
          </p:nvPr>
        </p:nvSpPr>
        <p:spPr/>
        <p:txBody>
          <a:bodyPr/>
          <a:lstStyle/>
          <a:p>
            <a:endParaRPr lang="en-US"/>
          </a:p>
        </p:txBody>
      </p:sp>
      <p:sp>
        <p:nvSpPr>
          <p:cNvPr id="55" name="Content Placeholder 54">
            <a:extLst>
              <a:ext uri="{FF2B5EF4-FFF2-40B4-BE49-F238E27FC236}">
                <a16:creationId xmlns:a16="http://schemas.microsoft.com/office/drawing/2014/main" id="{D9AC45A7-06BA-7742-B28F-C740475E294D}"/>
              </a:ext>
            </a:extLst>
          </p:cNvPr>
          <p:cNvSpPr>
            <a:spLocks noGrp="1"/>
          </p:cNvSpPr>
          <p:nvPr>
            <p:ph sz="quarter" idx="33"/>
          </p:nvPr>
        </p:nvSpPr>
        <p:spPr/>
        <p:txBody>
          <a:bodyPr>
            <a:normAutofit fontScale="92500" lnSpcReduction="10000"/>
          </a:bodyPr>
          <a:lstStyle/>
          <a:p>
            <a:endParaRPr lang="en-US"/>
          </a:p>
        </p:txBody>
      </p:sp>
      <p:sp>
        <p:nvSpPr>
          <p:cNvPr id="56" name="Freeform 55">
            <a:extLst>
              <a:ext uri="{FF2B5EF4-FFF2-40B4-BE49-F238E27FC236}">
                <a16:creationId xmlns:a16="http://schemas.microsoft.com/office/drawing/2014/main" id="{7AF536A9-A409-E044-B04C-64DA0B453220}"/>
              </a:ext>
            </a:extLst>
          </p:cNvPr>
          <p:cNvSpPr/>
          <p:nvPr/>
        </p:nvSpPr>
        <p:spPr>
          <a:xfrm>
            <a:off x="1387057" y="3285786"/>
            <a:ext cx="594144" cy="353778"/>
          </a:xfrm>
          <a:custGeom>
            <a:avLst/>
            <a:gdLst>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Lst>
            <a:ahLst/>
            <a:cxnLst>
              <a:cxn ang="0">
                <a:pos x="connsiteX0" y="connsiteY0"/>
              </a:cxn>
              <a:cxn ang="0">
                <a:pos x="connsiteX1" y="connsiteY1"/>
              </a:cxn>
              <a:cxn ang="0">
                <a:pos x="connsiteX2" y="connsiteY2"/>
              </a:cxn>
              <a:cxn ang="0">
                <a:pos x="connsiteX3" y="connsiteY3"/>
              </a:cxn>
            </a:cxnLst>
            <a:rect l="l" t="t" r="r" b="b"/>
            <a:pathLst>
              <a:path w="1754842" h="1042147">
                <a:moveTo>
                  <a:pt x="0" y="1042147"/>
                </a:moveTo>
                <a:lnTo>
                  <a:pt x="1754842" y="1042147"/>
                </a:lnTo>
                <a:lnTo>
                  <a:pt x="1754842" y="0"/>
                </a:lnTo>
                <a:cubicBezTo>
                  <a:pt x="1239530" y="142875"/>
                  <a:pt x="410659" y="630331"/>
                  <a:pt x="0" y="1042147"/>
                </a:cubicBezTo>
                <a:close/>
              </a:path>
            </a:pathLst>
          </a:cu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1000" dirty="0" err="1">
              <a:solidFill>
                <a:schemeClr val="bg1"/>
              </a:solidFill>
            </a:endParaRPr>
          </a:p>
        </p:txBody>
      </p:sp>
      <p:sp>
        <p:nvSpPr>
          <p:cNvPr id="57" name="Freeform 56">
            <a:extLst>
              <a:ext uri="{FF2B5EF4-FFF2-40B4-BE49-F238E27FC236}">
                <a16:creationId xmlns:a16="http://schemas.microsoft.com/office/drawing/2014/main" id="{F2DCC9E7-0881-314E-8DC3-8622E049686C}"/>
              </a:ext>
            </a:extLst>
          </p:cNvPr>
          <p:cNvSpPr/>
          <p:nvPr/>
        </p:nvSpPr>
        <p:spPr>
          <a:xfrm>
            <a:off x="1387057" y="5671177"/>
            <a:ext cx="594144" cy="353778"/>
          </a:xfrm>
          <a:custGeom>
            <a:avLst/>
            <a:gdLst>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Lst>
            <a:ahLst/>
            <a:cxnLst>
              <a:cxn ang="0">
                <a:pos x="connsiteX0" y="connsiteY0"/>
              </a:cxn>
              <a:cxn ang="0">
                <a:pos x="connsiteX1" y="connsiteY1"/>
              </a:cxn>
              <a:cxn ang="0">
                <a:pos x="connsiteX2" y="connsiteY2"/>
              </a:cxn>
              <a:cxn ang="0">
                <a:pos x="connsiteX3" y="connsiteY3"/>
              </a:cxn>
            </a:cxnLst>
            <a:rect l="l" t="t" r="r" b="b"/>
            <a:pathLst>
              <a:path w="1754842" h="1042147">
                <a:moveTo>
                  <a:pt x="0" y="1042147"/>
                </a:moveTo>
                <a:lnTo>
                  <a:pt x="1754842" y="1042147"/>
                </a:lnTo>
                <a:lnTo>
                  <a:pt x="1754842" y="0"/>
                </a:lnTo>
                <a:cubicBezTo>
                  <a:pt x="1239530" y="142875"/>
                  <a:pt x="410659" y="630331"/>
                  <a:pt x="0" y="1042147"/>
                </a:cubicBezTo>
                <a:close/>
              </a:path>
            </a:pathLst>
          </a:cu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1000" dirty="0" err="1">
              <a:solidFill>
                <a:schemeClr val="bg1"/>
              </a:solidFill>
            </a:endParaRPr>
          </a:p>
        </p:txBody>
      </p:sp>
    </p:spTree>
    <p:extLst>
      <p:ext uri="{BB962C8B-B14F-4D97-AF65-F5344CB8AC3E}">
        <p14:creationId xmlns:p14="http://schemas.microsoft.com/office/powerpoint/2010/main" val="35719504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FB8D69B-9A01-8191-9F97-372CABA50E3A}"/>
              </a:ext>
            </a:extLst>
          </p:cNvPr>
          <p:cNvGraphicFramePr>
            <a:graphicFrameLocks noChangeAspect="1"/>
          </p:cNvGraphicFramePr>
          <p:nvPr>
            <p:custDataLst>
              <p:tags r:id="rId1"/>
            </p:custDataLst>
            <p:extLst>
              <p:ext uri="{D42A27DB-BD31-4B8C-83A1-F6EECF244321}">
                <p14:modId xmlns:p14="http://schemas.microsoft.com/office/powerpoint/2010/main" val="2941515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think-cell data - do not delete" hidden="1">
                        <a:extLst>
                          <a:ext uri="{FF2B5EF4-FFF2-40B4-BE49-F238E27FC236}">
                            <a16:creationId xmlns:a16="http://schemas.microsoft.com/office/drawing/2014/main" id="{6FB8D69B-9A01-8191-9F97-372CABA50E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3" name="Picture Placeholder 62">
            <a:extLst>
              <a:ext uri="{FF2B5EF4-FFF2-40B4-BE49-F238E27FC236}">
                <a16:creationId xmlns:a16="http://schemas.microsoft.com/office/drawing/2014/main" id="{E8ED4092-6766-A640-8EB3-05DFA7D7C9DD}"/>
              </a:ext>
            </a:extLst>
          </p:cNvPr>
          <p:cNvSpPr>
            <a:spLocks noGrp="1"/>
          </p:cNvSpPr>
          <p:nvPr>
            <p:ph type="pic" sz="quarter" idx="28"/>
          </p:nvPr>
        </p:nvSpPr>
        <p:spPr/>
        <p:txBody>
          <a:bodyPr/>
          <a:lstStyle/>
          <a:p>
            <a:endParaRPr lang="pt-BR"/>
          </a:p>
        </p:txBody>
      </p:sp>
      <p:sp>
        <p:nvSpPr>
          <p:cNvPr id="21" name="Title 20">
            <a:extLst>
              <a:ext uri="{FF2B5EF4-FFF2-40B4-BE49-F238E27FC236}">
                <a16:creationId xmlns:a16="http://schemas.microsoft.com/office/drawing/2014/main" id="{6188ABA6-6184-9142-AF01-A55A66CC6EB0}"/>
              </a:ext>
            </a:extLst>
          </p:cNvPr>
          <p:cNvSpPr>
            <a:spLocks noGrp="1"/>
          </p:cNvSpPr>
          <p:nvPr>
            <p:ph type="title"/>
          </p:nvPr>
        </p:nvSpPr>
        <p:spPr>
          <a:xfrm>
            <a:off x="392400" y="108000"/>
            <a:ext cx="7954766" cy="576000"/>
          </a:xfrm>
        </p:spPr>
        <p:txBody>
          <a:bodyPr vert="horz"/>
          <a:lstStyle/>
          <a:p>
            <a:r>
              <a:rPr lang="en-US" dirty="0">
                <a:latin typeface="Roboto Medium" pitchFamily="2" charset="0"/>
                <a:ea typeface="Roboto Medium" pitchFamily="2" charset="0"/>
              </a:rPr>
              <a:t>Biographies</a:t>
            </a:r>
            <a:r>
              <a:rPr lang="en-US" dirty="0"/>
              <a:t>  </a:t>
            </a:r>
            <a:r>
              <a:rPr lang="en-US" b="1" dirty="0">
                <a:solidFill>
                  <a:schemeClr val="accent6"/>
                </a:solidFill>
              </a:rPr>
              <a:t>|</a:t>
            </a:r>
            <a:r>
              <a:rPr lang="en-US" dirty="0"/>
              <a:t>  </a:t>
            </a:r>
            <a:r>
              <a:rPr lang="en-GB" dirty="0"/>
              <a:t>3 people </a:t>
            </a:r>
            <a:endParaRPr lang="en-US" dirty="0"/>
          </a:p>
        </p:txBody>
      </p:sp>
      <p:sp>
        <p:nvSpPr>
          <p:cNvPr id="64" name="Content Placeholder 63">
            <a:extLst>
              <a:ext uri="{FF2B5EF4-FFF2-40B4-BE49-F238E27FC236}">
                <a16:creationId xmlns:a16="http://schemas.microsoft.com/office/drawing/2014/main" id="{67579875-89B0-B341-9ECB-E3957EAA26A7}"/>
              </a:ext>
            </a:extLst>
          </p:cNvPr>
          <p:cNvSpPr>
            <a:spLocks noGrp="1"/>
          </p:cNvSpPr>
          <p:nvPr>
            <p:ph sz="quarter" idx="31"/>
          </p:nvPr>
        </p:nvSpPr>
        <p:spPr/>
        <p:txBody>
          <a:bodyPr/>
          <a:lstStyle/>
          <a:p>
            <a:endParaRPr lang="en-US"/>
          </a:p>
        </p:txBody>
      </p:sp>
      <p:sp>
        <p:nvSpPr>
          <p:cNvPr id="65" name="Content Placeholder 64">
            <a:extLst>
              <a:ext uri="{FF2B5EF4-FFF2-40B4-BE49-F238E27FC236}">
                <a16:creationId xmlns:a16="http://schemas.microsoft.com/office/drawing/2014/main" id="{F6B605E7-A3F9-AE4F-B91B-5CDB85A4E630}"/>
              </a:ext>
            </a:extLst>
          </p:cNvPr>
          <p:cNvSpPr>
            <a:spLocks noGrp="1"/>
          </p:cNvSpPr>
          <p:nvPr>
            <p:ph sz="quarter" idx="33"/>
          </p:nvPr>
        </p:nvSpPr>
        <p:spPr/>
        <p:txBody>
          <a:bodyPr>
            <a:normAutofit fontScale="92500" lnSpcReduction="10000"/>
          </a:bodyPr>
          <a:lstStyle/>
          <a:p>
            <a:endParaRPr lang="en-US"/>
          </a:p>
        </p:txBody>
      </p:sp>
      <p:sp>
        <p:nvSpPr>
          <p:cNvPr id="62" name="Text Placeholder 61">
            <a:extLst>
              <a:ext uri="{FF2B5EF4-FFF2-40B4-BE49-F238E27FC236}">
                <a16:creationId xmlns:a16="http://schemas.microsoft.com/office/drawing/2014/main" id="{8B9D178D-CEC4-F84A-A4C3-F97AF9666365}"/>
              </a:ext>
            </a:extLst>
          </p:cNvPr>
          <p:cNvSpPr>
            <a:spLocks noGrp="1"/>
          </p:cNvSpPr>
          <p:nvPr>
            <p:ph type="body" sz="quarter" idx="10"/>
          </p:nvPr>
        </p:nvSpPr>
        <p:spPr/>
        <p:txBody>
          <a:bodyPr/>
          <a:lstStyle/>
          <a:p>
            <a:endParaRPr lang="en-US"/>
          </a:p>
        </p:txBody>
      </p:sp>
      <p:sp>
        <p:nvSpPr>
          <p:cNvPr id="66" name="Picture Placeholder 65">
            <a:extLst>
              <a:ext uri="{FF2B5EF4-FFF2-40B4-BE49-F238E27FC236}">
                <a16:creationId xmlns:a16="http://schemas.microsoft.com/office/drawing/2014/main" id="{D9476AED-3737-8446-B0D3-B4DAF9C24A9A}"/>
              </a:ext>
            </a:extLst>
          </p:cNvPr>
          <p:cNvSpPr>
            <a:spLocks noGrp="1"/>
          </p:cNvSpPr>
          <p:nvPr>
            <p:ph type="pic" sz="quarter" idx="34"/>
          </p:nvPr>
        </p:nvSpPr>
        <p:spPr/>
        <p:txBody>
          <a:bodyPr/>
          <a:lstStyle/>
          <a:p>
            <a:endParaRPr lang="pt-BR"/>
          </a:p>
        </p:txBody>
      </p:sp>
      <p:sp>
        <p:nvSpPr>
          <p:cNvPr id="67" name="Content Placeholder 66">
            <a:extLst>
              <a:ext uri="{FF2B5EF4-FFF2-40B4-BE49-F238E27FC236}">
                <a16:creationId xmlns:a16="http://schemas.microsoft.com/office/drawing/2014/main" id="{E5D41D21-2DBB-1A48-806A-4DFB55CF4379}"/>
              </a:ext>
            </a:extLst>
          </p:cNvPr>
          <p:cNvSpPr>
            <a:spLocks noGrp="1"/>
          </p:cNvSpPr>
          <p:nvPr>
            <p:ph sz="quarter" idx="35"/>
          </p:nvPr>
        </p:nvSpPr>
        <p:spPr/>
        <p:txBody>
          <a:bodyPr/>
          <a:lstStyle/>
          <a:p>
            <a:endParaRPr lang="en-US"/>
          </a:p>
        </p:txBody>
      </p:sp>
      <p:sp>
        <p:nvSpPr>
          <p:cNvPr id="68" name="Content Placeholder 67">
            <a:extLst>
              <a:ext uri="{FF2B5EF4-FFF2-40B4-BE49-F238E27FC236}">
                <a16:creationId xmlns:a16="http://schemas.microsoft.com/office/drawing/2014/main" id="{3A38435E-9406-6B40-B7D0-E7949483413D}"/>
              </a:ext>
            </a:extLst>
          </p:cNvPr>
          <p:cNvSpPr>
            <a:spLocks noGrp="1"/>
          </p:cNvSpPr>
          <p:nvPr>
            <p:ph sz="quarter" idx="36"/>
          </p:nvPr>
        </p:nvSpPr>
        <p:spPr/>
        <p:txBody>
          <a:bodyPr>
            <a:normAutofit fontScale="92500" lnSpcReduction="10000"/>
          </a:bodyPr>
          <a:lstStyle/>
          <a:p>
            <a:endParaRPr lang="en-US"/>
          </a:p>
        </p:txBody>
      </p:sp>
      <p:sp>
        <p:nvSpPr>
          <p:cNvPr id="69" name="Picture Placeholder 68">
            <a:extLst>
              <a:ext uri="{FF2B5EF4-FFF2-40B4-BE49-F238E27FC236}">
                <a16:creationId xmlns:a16="http://schemas.microsoft.com/office/drawing/2014/main" id="{9D48DD3B-B74E-BD40-A878-B4EBD8BC5892}"/>
              </a:ext>
            </a:extLst>
          </p:cNvPr>
          <p:cNvSpPr>
            <a:spLocks noGrp="1"/>
          </p:cNvSpPr>
          <p:nvPr>
            <p:ph type="pic" sz="quarter" idx="37"/>
          </p:nvPr>
        </p:nvSpPr>
        <p:spPr/>
        <p:txBody>
          <a:bodyPr/>
          <a:lstStyle/>
          <a:p>
            <a:endParaRPr lang="pt-BR"/>
          </a:p>
        </p:txBody>
      </p:sp>
      <p:sp>
        <p:nvSpPr>
          <p:cNvPr id="70" name="Content Placeholder 69">
            <a:extLst>
              <a:ext uri="{FF2B5EF4-FFF2-40B4-BE49-F238E27FC236}">
                <a16:creationId xmlns:a16="http://schemas.microsoft.com/office/drawing/2014/main" id="{6793C118-B5B5-6E41-82C9-E395F0D9984F}"/>
              </a:ext>
            </a:extLst>
          </p:cNvPr>
          <p:cNvSpPr>
            <a:spLocks noGrp="1"/>
          </p:cNvSpPr>
          <p:nvPr>
            <p:ph sz="quarter" idx="38"/>
          </p:nvPr>
        </p:nvSpPr>
        <p:spPr/>
        <p:txBody>
          <a:bodyPr/>
          <a:lstStyle/>
          <a:p>
            <a:endParaRPr lang="en-US"/>
          </a:p>
        </p:txBody>
      </p:sp>
      <p:sp>
        <p:nvSpPr>
          <p:cNvPr id="71" name="Content Placeholder 70">
            <a:extLst>
              <a:ext uri="{FF2B5EF4-FFF2-40B4-BE49-F238E27FC236}">
                <a16:creationId xmlns:a16="http://schemas.microsoft.com/office/drawing/2014/main" id="{F82F31DF-E3C2-8D48-8C03-D4F117B6E4A3}"/>
              </a:ext>
            </a:extLst>
          </p:cNvPr>
          <p:cNvSpPr>
            <a:spLocks noGrp="1"/>
          </p:cNvSpPr>
          <p:nvPr>
            <p:ph sz="quarter" idx="39"/>
          </p:nvPr>
        </p:nvSpPr>
        <p:spPr/>
        <p:txBody>
          <a:bodyPr>
            <a:normAutofit fontScale="92500" lnSpcReduction="10000"/>
          </a:bodyPr>
          <a:lstStyle/>
          <a:p>
            <a:endParaRPr lang="en-US"/>
          </a:p>
        </p:txBody>
      </p:sp>
      <p:sp>
        <p:nvSpPr>
          <p:cNvPr id="58" name="Freeform 57">
            <a:extLst>
              <a:ext uri="{FF2B5EF4-FFF2-40B4-BE49-F238E27FC236}">
                <a16:creationId xmlns:a16="http://schemas.microsoft.com/office/drawing/2014/main" id="{3AB06FFC-A76C-7C4A-AC1A-D9EFFEF9B2E6}"/>
              </a:ext>
            </a:extLst>
          </p:cNvPr>
          <p:cNvSpPr/>
          <p:nvPr/>
        </p:nvSpPr>
        <p:spPr>
          <a:xfrm>
            <a:off x="1121125" y="2819540"/>
            <a:ext cx="416372" cy="247925"/>
          </a:xfrm>
          <a:custGeom>
            <a:avLst/>
            <a:gdLst>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Lst>
            <a:ahLst/>
            <a:cxnLst>
              <a:cxn ang="0">
                <a:pos x="connsiteX0" y="connsiteY0"/>
              </a:cxn>
              <a:cxn ang="0">
                <a:pos x="connsiteX1" y="connsiteY1"/>
              </a:cxn>
              <a:cxn ang="0">
                <a:pos x="connsiteX2" y="connsiteY2"/>
              </a:cxn>
              <a:cxn ang="0">
                <a:pos x="connsiteX3" y="connsiteY3"/>
              </a:cxn>
            </a:cxnLst>
            <a:rect l="l" t="t" r="r" b="b"/>
            <a:pathLst>
              <a:path w="1754842" h="1042147">
                <a:moveTo>
                  <a:pt x="0" y="1042147"/>
                </a:moveTo>
                <a:lnTo>
                  <a:pt x="1754842" y="1042147"/>
                </a:lnTo>
                <a:lnTo>
                  <a:pt x="1754842" y="0"/>
                </a:lnTo>
                <a:cubicBezTo>
                  <a:pt x="1239530" y="142875"/>
                  <a:pt x="410659" y="630331"/>
                  <a:pt x="0" y="1042147"/>
                </a:cubicBezTo>
                <a:close/>
              </a:path>
            </a:pathLst>
          </a:cu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1000" dirty="0" err="1">
              <a:solidFill>
                <a:schemeClr val="bg1"/>
              </a:solidFill>
            </a:endParaRPr>
          </a:p>
        </p:txBody>
      </p:sp>
      <p:sp>
        <p:nvSpPr>
          <p:cNvPr id="59" name="Freeform 58">
            <a:extLst>
              <a:ext uri="{FF2B5EF4-FFF2-40B4-BE49-F238E27FC236}">
                <a16:creationId xmlns:a16="http://schemas.microsoft.com/office/drawing/2014/main" id="{20C20977-2F8A-0A48-8AA0-8E6061EDF2C3}"/>
              </a:ext>
            </a:extLst>
          </p:cNvPr>
          <p:cNvSpPr/>
          <p:nvPr/>
        </p:nvSpPr>
        <p:spPr>
          <a:xfrm>
            <a:off x="1121125" y="4535825"/>
            <a:ext cx="416372" cy="247925"/>
          </a:xfrm>
          <a:custGeom>
            <a:avLst/>
            <a:gdLst>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Lst>
            <a:ahLst/>
            <a:cxnLst>
              <a:cxn ang="0">
                <a:pos x="connsiteX0" y="connsiteY0"/>
              </a:cxn>
              <a:cxn ang="0">
                <a:pos x="connsiteX1" y="connsiteY1"/>
              </a:cxn>
              <a:cxn ang="0">
                <a:pos x="connsiteX2" y="connsiteY2"/>
              </a:cxn>
              <a:cxn ang="0">
                <a:pos x="connsiteX3" y="connsiteY3"/>
              </a:cxn>
            </a:cxnLst>
            <a:rect l="l" t="t" r="r" b="b"/>
            <a:pathLst>
              <a:path w="1754842" h="1042147">
                <a:moveTo>
                  <a:pt x="0" y="1042147"/>
                </a:moveTo>
                <a:lnTo>
                  <a:pt x="1754842" y="1042147"/>
                </a:lnTo>
                <a:lnTo>
                  <a:pt x="1754842" y="0"/>
                </a:lnTo>
                <a:cubicBezTo>
                  <a:pt x="1239530" y="142875"/>
                  <a:pt x="410659" y="630331"/>
                  <a:pt x="0" y="1042147"/>
                </a:cubicBezTo>
                <a:close/>
              </a:path>
            </a:pathLst>
          </a:cu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1000" dirty="0" err="1">
              <a:solidFill>
                <a:schemeClr val="bg1"/>
              </a:solidFill>
            </a:endParaRPr>
          </a:p>
        </p:txBody>
      </p:sp>
      <p:sp>
        <p:nvSpPr>
          <p:cNvPr id="60" name="Freeform 59">
            <a:extLst>
              <a:ext uri="{FF2B5EF4-FFF2-40B4-BE49-F238E27FC236}">
                <a16:creationId xmlns:a16="http://schemas.microsoft.com/office/drawing/2014/main" id="{9C9B240F-4381-324F-A779-B9257740426E}"/>
              </a:ext>
            </a:extLst>
          </p:cNvPr>
          <p:cNvSpPr/>
          <p:nvPr/>
        </p:nvSpPr>
        <p:spPr>
          <a:xfrm>
            <a:off x="1121125" y="6275311"/>
            <a:ext cx="416372" cy="247925"/>
          </a:xfrm>
          <a:custGeom>
            <a:avLst/>
            <a:gdLst>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Lst>
            <a:ahLst/>
            <a:cxnLst>
              <a:cxn ang="0">
                <a:pos x="connsiteX0" y="connsiteY0"/>
              </a:cxn>
              <a:cxn ang="0">
                <a:pos x="connsiteX1" y="connsiteY1"/>
              </a:cxn>
              <a:cxn ang="0">
                <a:pos x="connsiteX2" y="connsiteY2"/>
              </a:cxn>
              <a:cxn ang="0">
                <a:pos x="connsiteX3" y="connsiteY3"/>
              </a:cxn>
            </a:cxnLst>
            <a:rect l="l" t="t" r="r" b="b"/>
            <a:pathLst>
              <a:path w="1754842" h="1042147">
                <a:moveTo>
                  <a:pt x="0" y="1042147"/>
                </a:moveTo>
                <a:lnTo>
                  <a:pt x="1754842" y="1042147"/>
                </a:lnTo>
                <a:lnTo>
                  <a:pt x="1754842" y="0"/>
                </a:lnTo>
                <a:cubicBezTo>
                  <a:pt x="1239530" y="142875"/>
                  <a:pt x="410659" y="630331"/>
                  <a:pt x="0" y="1042147"/>
                </a:cubicBezTo>
                <a:close/>
              </a:path>
            </a:pathLst>
          </a:cu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1000" dirty="0" err="1">
              <a:solidFill>
                <a:schemeClr val="bg1"/>
              </a:solidFill>
            </a:endParaRPr>
          </a:p>
        </p:txBody>
      </p:sp>
    </p:spTree>
    <p:extLst>
      <p:ext uri="{BB962C8B-B14F-4D97-AF65-F5344CB8AC3E}">
        <p14:creationId xmlns:p14="http://schemas.microsoft.com/office/powerpoint/2010/main" val="32379301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1F6BBF2-447E-F019-5F54-3D862A6E6D90}"/>
              </a:ext>
            </a:extLst>
          </p:cNvPr>
          <p:cNvGraphicFramePr>
            <a:graphicFrameLocks noChangeAspect="1"/>
          </p:cNvGraphicFramePr>
          <p:nvPr>
            <p:custDataLst>
              <p:tags r:id="rId1"/>
            </p:custDataLst>
            <p:extLst>
              <p:ext uri="{D42A27DB-BD31-4B8C-83A1-F6EECF244321}">
                <p14:modId xmlns:p14="http://schemas.microsoft.com/office/powerpoint/2010/main" val="243351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think-cell data - do not delete" hidden="1">
                        <a:extLst>
                          <a:ext uri="{FF2B5EF4-FFF2-40B4-BE49-F238E27FC236}">
                            <a16:creationId xmlns:a16="http://schemas.microsoft.com/office/drawing/2014/main" id="{21F6BBF2-447E-F019-5F54-3D862A6E6D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019A1A3-36BF-9EAA-436E-5F32AC64F8A5}"/>
              </a:ext>
            </a:extLst>
          </p:cNvPr>
          <p:cNvSpPr>
            <a:spLocks noGrp="1"/>
          </p:cNvSpPr>
          <p:nvPr>
            <p:ph type="body" sz="quarter" idx="10"/>
          </p:nvPr>
        </p:nvSpPr>
        <p:spPr/>
        <p:txBody>
          <a:bodyPr/>
          <a:lstStyle/>
          <a:p>
            <a:endParaRPr lang="nl-NL"/>
          </a:p>
        </p:txBody>
      </p:sp>
      <p:sp>
        <p:nvSpPr>
          <p:cNvPr id="3" name="Title 2">
            <a:extLst>
              <a:ext uri="{FF2B5EF4-FFF2-40B4-BE49-F238E27FC236}">
                <a16:creationId xmlns:a16="http://schemas.microsoft.com/office/drawing/2014/main" id="{83128D1F-E401-264F-B952-EA95965E9197}"/>
              </a:ext>
            </a:extLst>
          </p:cNvPr>
          <p:cNvSpPr>
            <a:spLocks noGrp="1"/>
          </p:cNvSpPr>
          <p:nvPr>
            <p:ph type="title"/>
          </p:nvPr>
        </p:nvSpPr>
        <p:spPr/>
        <p:txBody>
          <a:bodyPr vert="horz"/>
          <a:lstStyle/>
          <a:p>
            <a:r>
              <a:rPr lang="en-US" dirty="0"/>
              <a:t>Timeline 3</a:t>
            </a:r>
          </a:p>
        </p:txBody>
      </p:sp>
      <p:sp>
        <p:nvSpPr>
          <p:cNvPr id="6" name="Text Placeholder 5">
            <a:extLst>
              <a:ext uri="{FF2B5EF4-FFF2-40B4-BE49-F238E27FC236}">
                <a16:creationId xmlns:a16="http://schemas.microsoft.com/office/drawing/2014/main" id="{8A7A3F1C-ABE4-9B2E-473A-DA317F18F47A}"/>
              </a:ext>
            </a:extLst>
          </p:cNvPr>
          <p:cNvSpPr>
            <a:spLocks noGrp="1"/>
          </p:cNvSpPr>
          <p:nvPr>
            <p:ph type="body" sz="quarter" idx="27"/>
          </p:nvPr>
        </p:nvSpPr>
        <p:spPr/>
        <p:txBody>
          <a:bodyPr/>
          <a:lstStyle/>
          <a:p>
            <a:endParaRPr lang="nl-NL"/>
          </a:p>
        </p:txBody>
      </p:sp>
      <p:graphicFrame>
        <p:nvGraphicFramePr>
          <p:cNvPr id="50" name="Table 65">
            <a:extLst>
              <a:ext uri="{FF2B5EF4-FFF2-40B4-BE49-F238E27FC236}">
                <a16:creationId xmlns:a16="http://schemas.microsoft.com/office/drawing/2014/main" id="{C1003A30-FC2D-AB42-B49F-D00131BF314E}"/>
              </a:ext>
            </a:extLst>
          </p:cNvPr>
          <p:cNvGraphicFramePr>
            <a:graphicFrameLocks noGrp="1"/>
          </p:cNvGraphicFramePr>
          <p:nvPr>
            <p:extLst>
              <p:ext uri="{D42A27DB-BD31-4B8C-83A1-F6EECF244321}">
                <p14:modId xmlns:p14="http://schemas.microsoft.com/office/powerpoint/2010/main" val="3086653463"/>
              </p:ext>
            </p:extLst>
          </p:nvPr>
        </p:nvGraphicFramePr>
        <p:xfrm>
          <a:off x="395207" y="1316533"/>
          <a:ext cx="9112280" cy="4878324"/>
        </p:xfrm>
        <a:graphic>
          <a:graphicData uri="http://schemas.openxmlformats.org/drawingml/2006/table">
            <a:tbl>
              <a:tblPr firstRow="1" bandRow="1">
                <a:tableStyleId>{5C22544A-7EE6-4342-B048-85BDC9FD1C3A}</a:tableStyleId>
              </a:tblPr>
              <a:tblGrid>
                <a:gridCol w="1540658">
                  <a:extLst>
                    <a:ext uri="{9D8B030D-6E8A-4147-A177-3AD203B41FA5}">
                      <a16:colId xmlns:a16="http://schemas.microsoft.com/office/drawing/2014/main" val="100608200"/>
                    </a:ext>
                  </a:extLst>
                </a:gridCol>
                <a:gridCol w="1824168">
                  <a:extLst>
                    <a:ext uri="{9D8B030D-6E8A-4147-A177-3AD203B41FA5}">
                      <a16:colId xmlns:a16="http://schemas.microsoft.com/office/drawing/2014/main" val="2250929698"/>
                    </a:ext>
                  </a:extLst>
                </a:gridCol>
                <a:gridCol w="638606">
                  <a:extLst>
                    <a:ext uri="{9D8B030D-6E8A-4147-A177-3AD203B41FA5}">
                      <a16:colId xmlns:a16="http://schemas.microsoft.com/office/drawing/2014/main" val="2691492345"/>
                    </a:ext>
                  </a:extLst>
                </a:gridCol>
                <a:gridCol w="638606">
                  <a:extLst>
                    <a:ext uri="{9D8B030D-6E8A-4147-A177-3AD203B41FA5}">
                      <a16:colId xmlns:a16="http://schemas.microsoft.com/office/drawing/2014/main" val="2840820630"/>
                    </a:ext>
                  </a:extLst>
                </a:gridCol>
                <a:gridCol w="638606">
                  <a:extLst>
                    <a:ext uri="{9D8B030D-6E8A-4147-A177-3AD203B41FA5}">
                      <a16:colId xmlns:a16="http://schemas.microsoft.com/office/drawing/2014/main" val="3219469084"/>
                    </a:ext>
                  </a:extLst>
                </a:gridCol>
                <a:gridCol w="638606">
                  <a:extLst>
                    <a:ext uri="{9D8B030D-6E8A-4147-A177-3AD203B41FA5}">
                      <a16:colId xmlns:a16="http://schemas.microsoft.com/office/drawing/2014/main" val="1194532927"/>
                    </a:ext>
                  </a:extLst>
                </a:gridCol>
                <a:gridCol w="638606">
                  <a:extLst>
                    <a:ext uri="{9D8B030D-6E8A-4147-A177-3AD203B41FA5}">
                      <a16:colId xmlns:a16="http://schemas.microsoft.com/office/drawing/2014/main" val="2076202677"/>
                    </a:ext>
                  </a:extLst>
                </a:gridCol>
                <a:gridCol w="638606">
                  <a:extLst>
                    <a:ext uri="{9D8B030D-6E8A-4147-A177-3AD203B41FA5}">
                      <a16:colId xmlns:a16="http://schemas.microsoft.com/office/drawing/2014/main" val="4242150222"/>
                    </a:ext>
                  </a:extLst>
                </a:gridCol>
                <a:gridCol w="638606">
                  <a:extLst>
                    <a:ext uri="{9D8B030D-6E8A-4147-A177-3AD203B41FA5}">
                      <a16:colId xmlns:a16="http://schemas.microsoft.com/office/drawing/2014/main" val="2063809893"/>
                    </a:ext>
                  </a:extLst>
                </a:gridCol>
                <a:gridCol w="638606">
                  <a:extLst>
                    <a:ext uri="{9D8B030D-6E8A-4147-A177-3AD203B41FA5}">
                      <a16:colId xmlns:a16="http://schemas.microsoft.com/office/drawing/2014/main" val="1894163960"/>
                    </a:ext>
                  </a:extLst>
                </a:gridCol>
                <a:gridCol w="638606">
                  <a:extLst>
                    <a:ext uri="{9D8B030D-6E8A-4147-A177-3AD203B41FA5}">
                      <a16:colId xmlns:a16="http://schemas.microsoft.com/office/drawing/2014/main" val="3295763983"/>
                    </a:ext>
                  </a:extLst>
                </a:gridCol>
              </a:tblGrid>
              <a:tr h="182880">
                <a:tc>
                  <a:txBody>
                    <a:bodyPr/>
                    <a:lstStyle/>
                    <a:p>
                      <a:endParaRPr lang="en-GB" sz="800" b="0" i="0" dirty="0">
                        <a:latin typeface="Roboto Light" panose="02000000000000000000" pitchFamily="2" charset="0"/>
                        <a:ea typeface="Roboto Light" panose="02000000000000000000" pitchFamily="2" charset="0"/>
                      </a:endParaRPr>
                    </a:p>
                  </a:txBody>
                  <a:tcPr anchor="ctr">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solidFill>
                      <a:schemeClr val="bg1"/>
                    </a:solidFill>
                  </a:tcPr>
                </a:tc>
                <a:tc gridSpan="5">
                  <a:txBody>
                    <a:bodyPr/>
                    <a:lstStyle/>
                    <a:p>
                      <a:pPr algn="ctr"/>
                      <a:r>
                        <a:rPr lang="en-GB" sz="1050" b="0" i="0" dirty="0">
                          <a:latin typeface="Roboto Light" panose="02000000000000000000" pitchFamily="2" charset="0"/>
                          <a:ea typeface="Roboto Light" panose="02000000000000000000" pitchFamily="2" charset="0"/>
                        </a:rPr>
                        <a:t>2021</a:t>
                      </a:r>
                    </a:p>
                  </a:txBody>
                  <a:tcPr anchor="ctr"/>
                </a:tc>
                <a:tc hMerge="1">
                  <a:txBody>
                    <a:bodyPr/>
                    <a:lstStyle/>
                    <a:p>
                      <a:endParaRPr lang="en-GB" sz="800"/>
                    </a:p>
                  </a:txBody>
                  <a:tcPr anchor="ctr"/>
                </a:tc>
                <a:tc hMerge="1">
                  <a:txBody>
                    <a:bodyPr/>
                    <a:lstStyle/>
                    <a:p>
                      <a:endParaRPr lang="en-GB" sz="800"/>
                    </a:p>
                  </a:txBody>
                  <a:tcPr anchor="ctr"/>
                </a:tc>
                <a:tc hMerge="1">
                  <a:txBody>
                    <a:bodyPr/>
                    <a:lstStyle/>
                    <a:p>
                      <a:endParaRPr lang="en-GB" sz="800"/>
                    </a:p>
                  </a:txBody>
                  <a:tcPr anchor="ctr"/>
                </a:tc>
                <a:tc hMerge="1">
                  <a:txBody>
                    <a:bodyPr/>
                    <a:lstStyle/>
                    <a:p>
                      <a:endParaRPr lang="en-GB" sz="800"/>
                    </a:p>
                  </a:txBody>
                  <a:tcPr anchor="ctr"/>
                </a:tc>
                <a:tc gridSpan="4">
                  <a:txBody>
                    <a:bodyPr/>
                    <a:lstStyle/>
                    <a:p>
                      <a:pPr algn="ctr"/>
                      <a:r>
                        <a:rPr lang="en-GB" sz="1050" b="0" i="0" dirty="0">
                          <a:latin typeface="Roboto Light" panose="02000000000000000000" pitchFamily="2" charset="0"/>
                          <a:ea typeface="Roboto Light" panose="02000000000000000000" pitchFamily="2" charset="0"/>
                        </a:rPr>
                        <a:t>2022</a:t>
                      </a:r>
                    </a:p>
                  </a:txBody>
                  <a:tcPr anchor="ctr">
                    <a:solidFill>
                      <a:schemeClr val="accent2"/>
                    </a:solidFill>
                  </a:tcPr>
                </a:tc>
                <a:tc hMerge="1">
                  <a:txBody>
                    <a:bodyPr/>
                    <a:lstStyle/>
                    <a:p>
                      <a:endParaRPr lang="en-GB" sz="800"/>
                    </a:p>
                  </a:txBody>
                  <a:tcPr anchor="ctr"/>
                </a:tc>
                <a:tc hMerge="1">
                  <a:txBody>
                    <a:bodyPr/>
                    <a:lstStyle/>
                    <a:p>
                      <a:endParaRPr lang="en-GB" sz="800"/>
                    </a:p>
                  </a:txBody>
                  <a:tcPr anchor="ctr"/>
                </a:tc>
                <a:tc hMerge="1">
                  <a:txBody>
                    <a:bodyPr/>
                    <a:lstStyle/>
                    <a:p>
                      <a:endParaRPr lang="en-GB" sz="800"/>
                    </a:p>
                  </a:txBody>
                  <a:tcPr anchor="ctr"/>
                </a:tc>
                <a:extLst>
                  <a:ext uri="{0D108BD9-81ED-4DB2-BD59-A6C34878D82A}">
                    <a16:rowId xmlns:a16="http://schemas.microsoft.com/office/drawing/2014/main" val="244759366"/>
                  </a:ext>
                </a:extLst>
              </a:tr>
              <a:tr h="182880">
                <a:tc>
                  <a:txBody>
                    <a:bodyPr/>
                    <a:lstStyle/>
                    <a:p>
                      <a:pPr marL="0" algn="l" defTabSz="914400" rtl="0" eaLnBrk="1" latinLnBrk="0" hangingPunct="1"/>
                      <a:r>
                        <a:rPr lang="en-GB" sz="1200" b="0" i="0" kern="1200" spc="100" dirty="0">
                          <a:solidFill>
                            <a:schemeClr val="accent1"/>
                          </a:solidFill>
                          <a:latin typeface="Roboto Light" panose="02000000000000000000" pitchFamily="2" charset="0"/>
                          <a:ea typeface="Roboto Light" panose="02000000000000000000" pitchFamily="2" charset="0"/>
                          <a:cs typeface="+mn-cs"/>
                        </a:rPr>
                        <a:t>MANDATE</a:t>
                      </a:r>
                    </a:p>
                  </a:txBody>
                  <a:tcPr marL="0" anchor="ctr">
                    <a:lnR w="28575" cap="flat" cmpd="sng" algn="ctr">
                      <a:noFill/>
                      <a:prstDash val="solid"/>
                      <a:round/>
                      <a:headEnd type="none" w="med" len="med"/>
                      <a:tailEnd type="none" w="med" len="med"/>
                    </a:lnR>
                    <a:lnB w="6350" cap="flat" cmpd="sng" algn="ctr">
                      <a:solidFill>
                        <a:schemeClr val="accent1"/>
                      </a:solidFill>
                      <a:prstDash val="solid"/>
                      <a:round/>
                      <a:headEnd type="none" w="med" len="med"/>
                      <a:tailEnd type="none" w="med" len="med"/>
                    </a:lnB>
                    <a:solidFill>
                      <a:schemeClr val="bg1"/>
                    </a:solidFill>
                  </a:tcPr>
                </a:tc>
                <a:tc>
                  <a:txBody>
                    <a:bodyPr/>
                    <a:lstStyle/>
                    <a:p>
                      <a:pPr algn="l"/>
                      <a:r>
                        <a:rPr lang="en-GB" sz="1200" b="0" i="0" kern="1200" spc="100" dirty="0">
                          <a:solidFill>
                            <a:schemeClr val="accent1"/>
                          </a:solidFill>
                          <a:latin typeface="Roboto Light" panose="02000000000000000000" pitchFamily="2" charset="0"/>
                          <a:ea typeface="Roboto Light" panose="02000000000000000000" pitchFamily="2" charset="0"/>
                          <a:cs typeface="+mn-cs"/>
                        </a:rPr>
                        <a:t>STATUS</a:t>
                      </a:r>
                    </a:p>
                  </a:txBody>
                  <a:tcPr anchor="ctr">
                    <a:lnL w="28575" cap="flat" cmpd="sng" algn="ctr">
                      <a:noFill/>
                      <a:prstDash val="solid"/>
                      <a:round/>
                      <a:headEnd type="none" w="med" len="med"/>
                      <a:tailEnd type="none" w="med" len="med"/>
                    </a:lnL>
                    <a:lnB w="6350" cap="flat" cmpd="sng" algn="ctr">
                      <a:solidFill>
                        <a:schemeClr val="accent1"/>
                      </a:solidFill>
                      <a:prstDash val="solid"/>
                      <a:round/>
                      <a:headEnd type="none" w="med" len="med"/>
                      <a:tailEnd type="none" w="med" len="med"/>
                    </a:lnB>
                    <a:solidFill>
                      <a:schemeClr val="bg1"/>
                    </a:solidFill>
                  </a:tcPr>
                </a:tc>
                <a:tc>
                  <a:txBody>
                    <a:bodyPr/>
                    <a:lstStyle/>
                    <a:p>
                      <a:pPr algn="ctr"/>
                      <a:r>
                        <a:rPr lang="en-GB" sz="800" b="0" i="0" dirty="0">
                          <a:solidFill>
                            <a:schemeClr val="accent1"/>
                          </a:solidFill>
                          <a:latin typeface="Roboto Light" panose="02000000000000000000" pitchFamily="2" charset="0"/>
                          <a:ea typeface="Roboto Light" panose="02000000000000000000" pitchFamily="2" charset="0"/>
                        </a:rPr>
                        <a:t>AUG</a:t>
                      </a:r>
                    </a:p>
                  </a:txBody>
                  <a:tcPr anchor="ctr">
                    <a:lnB w="6350" cap="flat" cmpd="sng" algn="ctr">
                      <a:solidFill>
                        <a:schemeClr val="accent1"/>
                      </a:solidFill>
                      <a:prstDash val="solid"/>
                      <a:round/>
                      <a:headEnd type="none" w="med" len="med"/>
                      <a:tailEnd type="none" w="med" len="med"/>
                    </a:lnB>
                    <a:solidFill>
                      <a:schemeClr val="bg1"/>
                    </a:solidFill>
                  </a:tcPr>
                </a:tc>
                <a:tc>
                  <a:txBody>
                    <a:bodyPr/>
                    <a:lstStyle/>
                    <a:p>
                      <a:pPr algn="ctr"/>
                      <a:r>
                        <a:rPr lang="en-GB" sz="800" b="0" i="0" dirty="0">
                          <a:solidFill>
                            <a:schemeClr val="accent1"/>
                          </a:solidFill>
                          <a:latin typeface="Roboto Light" panose="02000000000000000000" pitchFamily="2" charset="0"/>
                          <a:ea typeface="Roboto Light" panose="02000000000000000000" pitchFamily="2" charset="0"/>
                        </a:rPr>
                        <a:t>SEP</a:t>
                      </a:r>
                    </a:p>
                  </a:txBody>
                  <a:tcPr anchor="ctr">
                    <a:lnB w="6350" cap="flat" cmpd="sng" algn="ctr">
                      <a:solidFill>
                        <a:schemeClr val="accent1"/>
                      </a:solidFill>
                      <a:prstDash val="solid"/>
                      <a:round/>
                      <a:headEnd type="none" w="med" len="med"/>
                      <a:tailEnd type="none" w="med" len="med"/>
                    </a:lnB>
                    <a:solidFill>
                      <a:schemeClr val="bg1"/>
                    </a:solidFill>
                  </a:tcPr>
                </a:tc>
                <a:tc>
                  <a:txBody>
                    <a:bodyPr/>
                    <a:lstStyle/>
                    <a:p>
                      <a:pPr algn="ctr"/>
                      <a:r>
                        <a:rPr lang="en-GB" sz="800" b="0" i="0" dirty="0">
                          <a:solidFill>
                            <a:schemeClr val="accent1"/>
                          </a:solidFill>
                          <a:latin typeface="Roboto Light" panose="02000000000000000000" pitchFamily="2" charset="0"/>
                          <a:ea typeface="Roboto Light" panose="02000000000000000000" pitchFamily="2" charset="0"/>
                        </a:rPr>
                        <a:t>OCT</a:t>
                      </a:r>
                    </a:p>
                  </a:txBody>
                  <a:tcPr anchor="ctr">
                    <a:lnB w="6350" cap="flat" cmpd="sng" algn="ctr">
                      <a:solidFill>
                        <a:schemeClr val="accent1"/>
                      </a:solidFill>
                      <a:prstDash val="solid"/>
                      <a:round/>
                      <a:headEnd type="none" w="med" len="med"/>
                      <a:tailEnd type="none" w="med" len="med"/>
                    </a:lnB>
                    <a:solidFill>
                      <a:schemeClr val="bg1"/>
                    </a:solidFill>
                  </a:tcPr>
                </a:tc>
                <a:tc>
                  <a:txBody>
                    <a:bodyPr/>
                    <a:lstStyle/>
                    <a:p>
                      <a:pPr algn="ctr"/>
                      <a:r>
                        <a:rPr lang="en-GB" sz="800" b="0" i="0" dirty="0">
                          <a:solidFill>
                            <a:schemeClr val="accent1"/>
                          </a:solidFill>
                          <a:latin typeface="Roboto Light" panose="02000000000000000000" pitchFamily="2" charset="0"/>
                          <a:ea typeface="Roboto Light" panose="02000000000000000000" pitchFamily="2" charset="0"/>
                        </a:rPr>
                        <a:t>NOV</a:t>
                      </a:r>
                    </a:p>
                  </a:txBody>
                  <a:tcPr anchor="ctr">
                    <a:lnB w="6350" cap="flat" cmpd="sng" algn="ctr">
                      <a:solidFill>
                        <a:schemeClr val="accent1"/>
                      </a:solidFill>
                      <a:prstDash val="solid"/>
                      <a:round/>
                      <a:headEnd type="none" w="med" len="med"/>
                      <a:tailEnd type="none" w="med" len="med"/>
                    </a:lnB>
                    <a:solidFill>
                      <a:schemeClr val="bg1"/>
                    </a:solidFill>
                  </a:tcPr>
                </a:tc>
                <a:tc>
                  <a:txBody>
                    <a:bodyPr/>
                    <a:lstStyle/>
                    <a:p>
                      <a:pPr algn="ctr"/>
                      <a:r>
                        <a:rPr lang="en-GB" sz="800" b="0" i="0" dirty="0">
                          <a:solidFill>
                            <a:schemeClr val="accent1"/>
                          </a:solidFill>
                          <a:latin typeface="Roboto Light" panose="02000000000000000000" pitchFamily="2" charset="0"/>
                          <a:ea typeface="Roboto Light" panose="02000000000000000000" pitchFamily="2" charset="0"/>
                        </a:rPr>
                        <a:t>DEC</a:t>
                      </a:r>
                    </a:p>
                  </a:txBody>
                  <a:tcPr anchor="ctr">
                    <a:lnB w="6350" cap="flat" cmpd="sng" algn="ctr">
                      <a:solidFill>
                        <a:schemeClr val="accent1"/>
                      </a:solidFill>
                      <a:prstDash val="solid"/>
                      <a:round/>
                      <a:headEnd type="none" w="med" len="med"/>
                      <a:tailEnd type="none" w="med" len="med"/>
                    </a:lnB>
                    <a:solidFill>
                      <a:schemeClr val="bg1"/>
                    </a:solidFill>
                  </a:tcPr>
                </a:tc>
                <a:tc>
                  <a:txBody>
                    <a:bodyPr/>
                    <a:lstStyle/>
                    <a:p>
                      <a:pPr algn="ctr"/>
                      <a:r>
                        <a:rPr lang="en-GB" sz="800" b="0" i="0" dirty="0">
                          <a:latin typeface="Roboto Light" panose="02000000000000000000" pitchFamily="2" charset="0"/>
                          <a:ea typeface="Roboto Light" panose="02000000000000000000" pitchFamily="2" charset="0"/>
                        </a:rPr>
                        <a:t>Q1 ‘22</a:t>
                      </a:r>
                    </a:p>
                  </a:txBody>
                  <a:tcPr anchor="ctr">
                    <a:lnB w="6350" cap="flat" cmpd="sng" algn="ctr">
                      <a:solidFill>
                        <a:schemeClr val="accent1"/>
                      </a:solidFill>
                      <a:prstDash val="solid"/>
                      <a:round/>
                      <a:headEnd type="none" w="med" len="med"/>
                      <a:tailEnd type="none" w="med" len="med"/>
                    </a:lnB>
                    <a:solidFill>
                      <a:schemeClr val="bg1"/>
                    </a:solidFill>
                  </a:tcPr>
                </a:tc>
                <a:tc>
                  <a:txBody>
                    <a:bodyPr/>
                    <a:lstStyle/>
                    <a:p>
                      <a:pPr algn="ctr"/>
                      <a:r>
                        <a:rPr lang="en-GB" sz="800" b="0" i="0" dirty="0">
                          <a:latin typeface="Roboto Light" panose="02000000000000000000" pitchFamily="2" charset="0"/>
                          <a:ea typeface="Roboto Light" panose="02000000000000000000" pitchFamily="2" charset="0"/>
                        </a:rPr>
                        <a:t>Q2 ‘22</a:t>
                      </a:r>
                    </a:p>
                  </a:txBody>
                  <a:tcPr anchor="ctr">
                    <a:lnB w="6350" cap="flat" cmpd="sng" algn="ctr">
                      <a:solidFill>
                        <a:schemeClr val="accent1"/>
                      </a:solidFill>
                      <a:prstDash val="solid"/>
                      <a:round/>
                      <a:headEnd type="none" w="med" len="med"/>
                      <a:tailEnd type="none" w="med" len="med"/>
                    </a:lnB>
                    <a:solidFill>
                      <a:schemeClr val="bg1"/>
                    </a:solidFill>
                  </a:tcPr>
                </a:tc>
                <a:tc>
                  <a:txBody>
                    <a:bodyPr/>
                    <a:lstStyle/>
                    <a:p>
                      <a:pPr algn="ctr"/>
                      <a:r>
                        <a:rPr lang="en-GB" sz="800" b="0" i="0" dirty="0">
                          <a:latin typeface="Roboto Light" panose="02000000000000000000" pitchFamily="2" charset="0"/>
                          <a:ea typeface="Roboto Light" panose="02000000000000000000" pitchFamily="2" charset="0"/>
                        </a:rPr>
                        <a:t>Q3 ‘22</a:t>
                      </a:r>
                    </a:p>
                  </a:txBody>
                  <a:tcPr anchor="ctr">
                    <a:lnB w="6350" cap="flat" cmpd="sng" algn="ctr">
                      <a:solidFill>
                        <a:schemeClr val="accent1"/>
                      </a:solidFill>
                      <a:prstDash val="solid"/>
                      <a:round/>
                      <a:headEnd type="none" w="med" len="med"/>
                      <a:tailEnd type="none" w="med" len="med"/>
                    </a:lnB>
                    <a:solidFill>
                      <a:schemeClr val="bg1"/>
                    </a:solidFill>
                  </a:tcPr>
                </a:tc>
                <a:tc>
                  <a:txBody>
                    <a:bodyPr/>
                    <a:lstStyle/>
                    <a:p>
                      <a:pPr algn="ctr"/>
                      <a:r>
                        <a:rPr lang="en-GB" sz="800" b="0" i="0" dirty="0">
                          <a:latin typeface="Roboto Light" panose="02000000000000000000" pitchFamily="2" charset="0"/>
                          <a:ea typeface="Roboto Light" panose="02000000000000000000" pitchFamily="2" charset="0"/>
                        </a:rPr>
                        <a:t>Q4 ‘22</a:t>
                      </a:r>
                    </a:p>
                  </a:txBody>
                  <a:tcPr anchor="ctr">
                    <a:lnB w="635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336448288"/>
                  </a:ext>
                </a:extLst>
              </a:tr>
              <a:tr h="310896">
                <a:tc>
                  <a:txBody>
                    <a:bodyPr/>
                    <a:lstStyle/>
                    <a:p>
                      <a:r>
                        <a:rPr lang="en-GB" sz="800" b="0" i="0" dirty="0">
                          <a:latin typeface="Roboto Light" panose="02000000000000000000" pitchFamily="2" charset="0"/>
                          <a:ea typeface="Roboto Light" panose="02000000000000000000" pitchFamily="2" charset="0"/>
                        </a:rPr>
                        <a:t>Investor A</a:t>
                      </a:r>
                    </a:p>
                  </a:txBody>
                  <a:tcPr marL="0" anchor="ctr">
                    <a:lnL w="12700" cmpd="sng">
                      <a:noFill/>
                    </a:lnL>
                    <a:lnR w="28575"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800" b="0" i="0" kern="1200" baseline="0" dirty="0">
                          <a:solidFill>
                            <a:schemeClr val="dk1"/>
                          </a:solidFill>
                          <a:latin typeface="Roboto Light" panose="02000000000000000000" pitchFamily="2" charset="0"/>
                          <a:ea typeface="Roboto Light" panose="02000000000000000000" pitchFamily="2" charset="0"/>
                          <a:cs typeface="+mn-cs"/>
                        </a:rPr>
                        <a:t>Closing</a:t>
                      </a:r>
                      <a:endParaRPr lang="en-GB" sz="800" b="0" i="0" kern="1200" baseline="0" dirty="0">
                        <a:solidFill>
                          <a:schemeClr val="dk1"/>
                        </a:solidFill>
                        <a:latin typeface="Roboto Light" panose="02000000000000000000" pitchFamily="2" charset="0"/>
                        <a:ea typeface="Roboto Light" panose="02000000000000000000" pitchFamily="2" charset="0"/>
                        <a:cs typeface="+mn-cs"/>
                      </a:endParaRPr>
                    </a:p>
                  </a:txBody>
                  <a:tcPr marL="92505" marR="92505" marT="46253" marB="46253" anchor="ctr">
                    <a:lnL w="28575" cap="flat" cmpd="sng" algn="ctr">
                      <a:noFill/>
                      <a:prstDash val="solid"/>
                      <a:round/>
                      <a:headEnd type="none" w="med" len="med"/>
                      <a:tailEnd type="none" w="med" len="med"/>
                    </a:lnL>
                    <a:lnR w="9525" cap="flat" cmpd="sng" algn="ctr">
                      <a:noFill/>
                      <a:prstDash val="sysDot"/>
                      <a:round/>
                      <a:headEnd type="none" w="med" len="med"/>
                      <a:tailEnd type="none" w="med" len="med"/>
                    </a:lnR>
                    <a:lnT w="6350" cap="flat" cmpd="sng" algn="ctr">
                      <a:solidFill>
                        <a:schemeClr val="accent1"/>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9525" cap="flat" cmpd="sng" algn="ctr">
                      <a:noFill/>
                      <a:prstDash val="sysDot"/>
                      <a:round/>
                      <a:headEnd type="none" w="med" len="med"/>
                      <a:tailEnd type="none" w="med" len="med"/>
                    </a:lnL>
                    <a:lnR w="190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63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T w="6350" cap="flat" cmpd="sng" algn="ctr">
                      <a:solidFill>
                        <a:schemeClr val="accent1"/>
                      </a:solidFill>
                      <a:prstDash val="solid"/>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51612096"/>
                  </a:ext>
                </a:extLst>
              </a:tr>
              <a:tr h="3108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333333"/>
                          </a:solidFill>
                          <a:effectLst/>
                          <a:uLnTx/>
                          <a:uFillTx/>
                          <a:latin typeface="Roboto Light" panose="02000000000000000000" pitchFamily="2" charset="0"/>
                          <a:ea typeface="Roboto Light" panose="02000000000000000000" pitchFamily="2" charset="0"/>
                          <a:cs typeface="+mn-cs"/>
                        </a:rPr>
                        <a:t>Investor A</a:t>
                      </a:r>
                      <a:endParaRPr kumimoji="0" lang="en-GB" sz="800" b="0" i="0" u="none" strike="noStrike" kern="1200" cap="none" spc="0" normalizeH="0" baseline="0" noProof="0" dirty="0">
                        <a:ln>
                          <a:noFill/>
                        </a:ln>
                        <a:solidFill>
                          <a:srgbClr val="333333"/>
                        </a:solidFill>
                        <a:effectLst/>
                        <a:uLnTx/>
                        <a:uFillTx/>
                        <a:latin typeface="Roboto Light" panose="02000000000000000000" pitchFamily="2" charset="0"/>
                        <a:ea typeface="Roboto Light" panose="02000000000000000000" pitchFamily="2" charset="0"/>
                        <a:cs typeface="+mn-cs"/>
                      </a:endParaRPr>
                    </a:p>
                  </a:txBody>
                  <a:tcPr marL="0" anchor="ctr">
                    <a:lnL w="12700" cmpd="sng">
                      <a:noFill/>
                    </a:lnL>
                    <a:lnR w="28575"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800" b="0" i="0" kern="1200" baseline="0" dirty="0">
                          <a:solidFill>
                            <a:schemeClr val="dk1"/>
                          </a:solidFill>
                          <a:latin typeface="Roboto Light" panose="02000000000000000000" pitchFamily="2" charset="0"/>
                          <a:ea typeface="Roboto Light" panose="02000000000000000000" pitchFamily="2" charset="0"/>
                          <a:cs typeface="+mn-cs"/>
                        </a:rPr>
                        <a:t>Closing</a:t>
                      </a:r>
                    </a:p>
                  </a:txBody>
                  <a:tcPr marL="92505" marR="92505" marT="46253" marB="46253" anchor="ctr">
                    <a:lnL w="28575"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9525" cap="flat" cmpd="sng" algn="ctr">
                      <a:noFill/>
                      <a:prstDash val="sysDot"/>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63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672909190"/>
                  </a:ext>
                </a:extLst>
              </a:tr>
              <a:tr h="3108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33333"/>
                          </a:solidFill>
                          <a:effectLst/>
                          <a:uLnTx/>
                          <a:uFillTx/>
                          <a:latin typeface="Roboto Light" panose="02000000000000000000" pitchFamily="2" charset="0"/>
                          <a:ea typeface="Roboto Light" panose="02000000000000000000" pitchFamily="2" charset="0"/>
                          <a:cs typeface="+mn-cs"/>
                        </a:rPr>
                        <a:t>Investor A</a:t>
                      </a:r>
                    </a:p>
                  </a:txBody>
                  <a:tcPr marL="0" anchor="ctr">
                    <a:lnL w="12700" cmpd="sng">
                      <a:noFill/>
                    </a:lnL>
                    <a:lnR w="28575"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i="0" kern="1200" baseline="0" dirty="0">
                          <a:solidFill>
                            <a:schemeClr val="dk1"/>
                          </a:solidFill>
                          <a:latin typeface="Roboto Light" panose="02000000000000000000" pitchFamily="2" charset="0"/>
                          <a:ea typeface="Roboto Light" panose="02000000000000000000" pitchFamily="2" charset="0"/>
                          <a:cs typeface="+mn-cs"/>
                        </a:rPr>
                        <a:t>€1.2bn closed vs. €1.2bn target</a:t>
                      </a:r>
                    </a:p>
                  </a:txBody>
                  <a:tcPr marL="92505" marR="92505" marT="46253" marB="46253" anchor="ctr">
                    <a:lnL w="28575"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9525" cap="flat" cmpd="sng" algn="ctr">
                      <a:noFill/>
                      <a:prstDash val="sysDot"/>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63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26745140"/>
                  </a:ext>
                </a:extLst>
              </a:tr>
              <a:tr h="3108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333333"/>
                          </a:solidFill>
                          <a:effectLst/>
                          <a:uLnTx/>
                          <a:uFillTx/>
                          <a:latin typeface="Roboto Light" panose="02000000000000000000" pitchFamily="2" charset="0"/>
                          <a:ea typeface="Roboto Light" panose="02000000000000000000" pitchFamily="2" charset="0"/>
                          <a:cs typeface="+mn-cs"/>
                        </a:rPr>
                        <a:t>Investor A</a:t>
                      </a:r>
                      <a:endParaRPr kumimoji="0" lang="en-GB" sz="800" b="0" i="0" u="none" strike="noStrike" kern="1200" cap="none" spc="0" normalizeH="0" baseline="0" noProof="0" dirty="0">
                        <a:ln>
                          <a:noFill/>
                        </a:ln>
                        <a:solidFill>
                          <a:srgbClr val="333333"/>
                        </a:solidFill>
                        <a:effectLst/>
                        <a:uLnTx/>
                        <a:uFillTx/>
                        <a:latin typeface="Roboto Light" panose="02000000000000000000" pitchFamily="2" charset="0"/>
                        <a:ea typeface="Roboto Light" panose="02000000000000000000" pitchFamily="2" charset="0"/>
                        <a:cs typeface="+mn-cs"/>
                      </a:endParaRPr>
                    </a:p>
                  </a:txBody>
                  <a:tcPr marL="0" anchor="ctr">
                    <a:lnL w="12700" cmpd="sng">
                      <a:noFill/>
                    </a:lnL>
                    <a:lnR w="28575"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dk1"/>
                          </a:solidFill>
                          <a:latin typeface="Roboto Light" panose="02000000000000000000" pitchFamily="2" charset="0"/>
                          <a:ea typeface="Roboto Light" panose="02000000000000000000" pitchFamily="2" charset="0"/>
                          <a:cs typeface="+mn-cs"/>
                        </a:rPr>
                        <a:t>€554m closed vs. €650m target</a:t>
                      </a:r>
                    </a:p>
                  </a:txBody>
                  <a:tcPr marL="92505" marR="92505" marT="46253" marB="46253" anchor="ctr">
                    <a:lnL w="28575"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9525" cap="flat" cmpd="sng" algn="ctr">
                      <a:noFill/>
                      <a:prstDash val="sysDot"/>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63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194028276"/>
                  </a:ext>
                </a:extLst>
              </a:tr>
              <a:tr h="3108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33333"/>
                          </a:solidFill>
                          <a:effectLst/>
                          <a:uLnTx/>
                          <a:uFillTx/>
                          <a:latin typeface="Roboto Light" panose="02000000000000000000" pitchFamily="2" charset="0"/>
                          <a:ea typeface="Roboto Light" panose="02000000000000000000" pitchFamily="2" charset="0"/>
                          <a:cs typeface="+mn-cs"/>
                        </a:rPr>
                        <a:t>Investor A</a:t>
                      </a:r>
                    </a:p>
                  </a:txBody>
                  <a:tcPr marL="0" anchor="ctr">
                    <a:lnL w="12700" cmpd="sng">
                      <a:noFill/>
                    </a:lnL>
                    <a:lnR w="28575"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dk1"/>
                          </a:solidFill>
                          <a:latin typeface="Roboto Light" panose="02000000000000000000" pitchFamily="2" charset="0"/>
                          <a:ea typeface="Roboto Light" panose="02000000000000000000" pitchFamily="2" charset="0"/>
                          <a:cs typeface="+mn-cs"/>
                        </a:rPr>
                        <a:t>€250m closed vs. €300m target</a:t>
                      </a:r>
                      <a:endParaRPr lang="en-GB" sz="800" b="0" i="0" kern="1200" baseline="0" dirty="0">
                        <a:solidFill>
                          <a:schemeClr val="dk1"/>
                        </a:solidFill>
                        <a:latin typeface="Roboto Light" panose="02000000000000000000" pitchFamily="2" charset="0"/>
                        <a:ea typeface="Roboto Light" panose="02000000000000000000" pitchFamily="2" charset="0"/>
                        <a:cs typeface="+mn-cs"/>
                      </a:endParaRPr>
                    </a:p>
                  </a:txBody>
                  <a:tcPr marL="92505" marR="92505" marT="46253" marB="46253" anchor="ctr">
                    <a:lnL w="28575"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9525" cap="flat" cmpd="sng" algn="ctr">
                      <a:noFill/>
                      <a:prstDash val="sysDot"/>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63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319843282"/>
                  </a:ext>
                </a:extLst>
              </a:tr>
              <a:tr h="3108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333333"/>
                          </a:solidFill>
                          <a:effectLst/>
                          <a:uLnTx/>
                          <a:uFillTx/>
                          <a:latin typeface="Roboto Light" panose="02000000000000000000" pitchFamily="2" charset="0"/>
                          <a:ea typeface="Roboto Light" panose="02000000000000000000" pitchFamily="2" charset="0"/>
                          <a:cs typeface="+mn-cs"/>
                        </a:rPr>
                        <a:t>Investor A</a:t>
                      </a:r>
                      <a:endParaRPr kumimoji="0" lang="en-GB" sz="800" b="0" i="0" u="none" strike="noStrike" kern="1200" cap="none" spc="0" normalizeH="0" baseline="0" noProof="0" dirty="0">
                        <a:ln>
                          <a:noFill/>
                        </a:ln>
                        <a:solidFill>
                          <a:srgbClr val="333333"/>
                        </a:solidFill>
                        <a:effectLst/>
                        <a:uLnTx/>
                        <a:uFillTx/>
                        <a:latin typeface="Roboto Light" panose="02000000000000000000" pitchFamily="2" charset="0"/>
                        <a:ea typeface="Roboto Light" panose="02000000000000000000" pitchFamily="2" charset="0"/>
                        <a:cs typeface="+mn-cs"/>
                      </a:endParaRPr>
                    </a:p>
                  </a:txBody>
                  <a:tcPr marL="0" anchor="ctr">
                    <a:lnL w="12700" cmpd="sng">
                      <a:noFill/>
                    </a:lnL>
                    <a:lnR w="28575"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800" b="0" i="0" kern="1200" baseline="0" dirty="0">
                          <a:solidFill>
                            <a:schemeClr val="dk1"/>
                          </a:solidFill>
                          <a:latin typeface="Roboto Light" panose="02000000000000000000" pitchFamily="2" charset="0"/>
                          <a:ea typeface="Roboto Light" panose="02000000000000000000" pitchFamily="2" charset="0"/>
                          <a:cs typeface="+mn-cs"/>
                        </a:rPr>
                        <a:t>£120m target</a:t>
                      </a:r>
                      <a:endParaRPr lang="en-GB" sz="800" b="0" i="0" kern="1200" baseline="0" dirty="0">
                        <a:solidFill>
                          <a:schemeClr val="dk1"/>
                        </a:solidFill>
                        <a:latin typeface="Roboto Light" panose="02000000000000000000" pitchFamily="2" charset="0"/>
                        <a:ea typeface="Roboto Light" panose="02000000000000000000" pitchFamily="2" charset="0"/>
                        <a:cs typeface="+mn-cs"/>
                      </a:endParaRPr>
                    </a:p>
                  </a:txBody>
                  <a:tcPr marL="92505" marR="92505" marT="46253" marB="46253" anchor="ctr">
                    <a:lnL w="28575"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9525" cap="flat" cmpd="sng" algn="ctr">
                      <a:noFill/>
                      <a:prstDash val="sysDot"/>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63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4199104647"/>
                  </a:ext>
                </a:extLst>
              </a:tr>
              <a:tr h="3108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333333"/>
                          </a:solidFill>
                          <a:effectLst/>
                          <a:uLnTx/>
                          <a:uFillTx/>
                          <a:latin typeface="Roboto Light" panose="02000000000000000000" pitchFamily="2" charset="0"/>
                          <a:ea typeface="Roboto Light" panose="02000000000000000000" pitchFamily="2" charset="0"/>
                          <a:cs typeface="+mn-cs"/>
                        </a:rPr>
                        <a:t>Investor A</a:t>
                      </a:r>
                      <a:endParaRPr kumimoji="0" lang="en-GB" sz="800" b="0" i="0" u="none" strike="noStrike" kern="1200" cap="none" spc="0" normalizeH="0" baseline="0" noProof="0" dirty="0">
                        <a:ln>
                          <a:noFill/>
                        </a:ln>
                        <a:solidFill>
                          <a:srgbClr val="333333"/>
                        </a:solidFill>
                        <a:effectLst/>
                        <a:uLnTx/>
                        <a:uFillTx/>
                        <a:latin typeface="Roboto Light" panose="02000000000000000000" pitchFamily="2" charset="0"/>
                        <a:ea typeface="Roboto Light" panose="02000000000000000000" pitchFamily="2" charset="0"/>
                        <a:cs typeface="+mn-cs"/>
                      </a:endParaRPr>
                    </a:p>
                  </a:txBody>
                  <a:tcPr marL="0" anchor="ctr">
                    <a:lnL w="12700" cmpd="sng">
                      <a:noFill/>
                    </a:lnL>
                    <a:lnR w="28575"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dk1"/>
                          </a:solidFill>
                          <a:latin typeface="Roboto Light" panose="02000000000000000000" pitchFamily="2" charset="0"/>
                          <a:ea typeface="Roboto Light" panose="02000000000000000000" pitchFamily="2" charset="0"/>
                          <a:cs typeface="+mn-cs"/>
                        </a:rPr>
                        <a:t>€5.75bn allocated (vs. €5bn target)</a:t>
                      </a:r>
                      <a:endParaRPr lang="en-GB" sz="800" b="0" i="0" kern="1200" baseline="0" dirty="0">
                        <a:solidFill>
                          <a:schemeClr val="dk1"/>
                        </a:solidFill>
                        <a:latin typeface="Roboto Light" panose="02000000000000000000" pitchFamily="2" charset="0"/>
                        <a:ea typeface="Roboto Light" panose="02000000000000000000" pitchFamily="2" charset="0"/>
                        <a:cs typeface="+mn-cs"/>
                      </a:endParaRPr>
                    </a:p>
                  </a:txBody>
                  <a:tcPr marL="92505" marR="92505" marT="46253" marB="46253" anchor="ctr">
                    <a:lnL w="28575"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9525" cap="flat" cmpd="sng" algn="ctr">
                      <a:noFill/>
                      <a:prstDash val="sysDot"/>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63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070541689"/>
                  </a:ext>
                </a:extLst>
              </a:tr>
              <a:tr h="3108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33333"/>
                          </a:solidFill>
                          <a:effectLst/>
                          <a:uLnTx/>
                          <a:uFillTx/>
                          <a:latin typeface="Roboto Light" panose="02000000000000000000" pitchFamily="2" charset="0"/>
                          <a:ea typeface="Roboto Light" panose="02000000000000000000" pitchFamily="2" charset="0"/>
                          <a:cs typeface="+mn-cs"/>
                        </a:rPr>
                        <a:t>Investor A</a:t>
                      </a:r>
                    </a:p>
                  </a:txBody>
                  <a:tcPr marL="0" anchor="ctr">
                    <a:lnL w="12700" cmpd="sng">
                      <a:noFill/>
                    </a:lnL>
                    <a:lnR w="28575"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dk1"/>
                          </a:solidFill>
                          <a:latin typeface="Roboto Light" panose="02000000000000000000" pitchFamily="2" charset="0"/>
                          <a:ea typeface="Roboto Light" panose="02000000000000000000" pitchFamily="2" charset="0"/>
                          <a:cs typeface="+mn-cs"/>
                        </a:rPr>
                        <a:t>€350m closed vs. €700m target </a:t>
                      </a:r>
                      <a:endParaRPr lang="en-GB" sz="800" b="0" i="0" kern="1200" baseline="0" dirty="0">
                        <a:solidFill>
                          <a:schemeClr val="dk1"/>
                        </a:solidFill>
                        <a:latin typeface="Roboto Light" panose="02000000000000000000" pitchFamily="2" charset="0"/>
                        <a:ea typeface="Roboto Light" panose="02000000000000000000" pitchFamily="2" charset="0"/>
                        <a:cs typeface="+mn-cs"/>
                      </a:endParaRPr>
                    </a:p>
                  </a:txBody>
                  <a:tcPr marL="92505" marR="92505" marT="46253" marB="46253" anchor="ctr">
                    <a:lnL w="28575"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9525" cap="flat" cmpd="sng" algn="ctr">
                      <a:noFill/>
                      <a:prstDash val="sysDot"/>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63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675027725"/>
                  </a:ext>
                </a:extLst>
              </a:tr>
              <a:tr h="3108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333333"/>
                          </a:solidFill>
                          <a:effectLst/>
                          <a:uLnTx/>
                          <a:uFillTx/>
                          <a:latin typeface="Roboto Light" panose="02000000000000000000" pitchFamily="2" charset="0"/>
                          <a:ea typeface="Roboto Light" panose="02000000000000000000" pitchFamily="2" charset="0"/>
                          <a:cs typeface="+mn-cs"/>
                        </a:rPr>
                        <a:t>Investor A</a:t>
                      </a:r>
                      <a:endParaRPr kumimoji="0" lang="en-GB" sz="800" b="0" i="0" u="none" strike="noStrike" kern="1200" cap="none" spc="0" normalizeH="0" baseline="0" noProof="0" dirty="0">
                        <a:ln>
                          <a:noFill/>
                        </a:ln>
                        <a:solidFill>
                          <a:srgbClr val="333333"/>
                        </a:solidFill>
                        <a:effectLst/>
                        <a:uLnTx/>
                        <a:uFillTx/>
                        <a:latin typeface="Roboto Light" panose="02000000000000000000" pitchFamily="2" charset="0"/>
                        <a:ea typeface="Roboto Light" panose="02000000000000000000" pitchFamily="2" charset="0"/>
                        <a:cs typeface="+mn-cs"/>
                      </a:endParaRPr>
                    </a:p>
                  </a:txBody>
                  <a:tcPr marL="0" anchor="ctr">
                    <a:lnL w="12700" cmpd="sng">
                      <a:noFill/>
                    </a:lnL>
                    <a:lnR w="28575"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dk1"/>
                          </a:solidFill>
                          <a:latin typeface="Roboto Light" panose="02000000000000000000" pitchFamily="2" charset="0"/>
                          <a:ea typeface="Roboto Light" panose="02000000000000000000" pitchFamily="2" charset="0"/>
                          <a:cs typeface="+mn-cs"/>
                        </a:rPr>
                        <a:t>Pre-marketing, €500m target</a:t>
                      </a:r>
                      <a:endParaRPr lang="en-GB" sz="800" b="0" i="0" kern="1200" baseline="0" dirty="0">
                        <a:solidFill>
                          <a:schemeClr val="dk1"/>
                        </a:solidFill>
                        <a:latin typeface="Roboto Light" panose="02000000000000000000" pitchFamily="2" charset="0"/>
                        <a:ea typeface="Roboto Light" panose="02000000000000000000" pitchFamily="2" charset="0"/>
                        <a:cs typeface="+mn-cs"/>
                      </a:endParaRPr>
                    </a:p>
                  </a:txBody>
                  <a:tcPr marL="92505" marR="92505" marT="46253" marB="46253" anchor="ctr">
                    <a:lnL w="28575"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9525" cap="flat" cmpd="sng" algn="ctr">
                      <a:noFill/>
                      <a:prstDash val="sysDot"/>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63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753804963"/>
                  </a:ext>
                </a:extLst>
              </a:tr>
              <a:tr h="3108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33333"/>
                          </a:solidFill>
                          <a:effectLst/>
                          <a:uLnTx/>
                          <a:uFillTx/>
                          <a:latin typeface="Roboto Light" panose="02000000000000000000" pitchFamily="2" charset="0"/>
                          <a:ea typeface="Roboto Light" panose="02000000000000000000" pitchFamily="2" charset="0"/>
                          <a:cs typeface="+mn-cs"/>
                        </a:rPr>
                        <a:t>Investor A</a:t>
                      </a:r>
                    </a:p>
                  </a:txBody>
                  <a:tcPr marL="0" anchor="ctr">
                    <a:lnL w="12700" cmpd="sng">
                      <a:noFill/>
                    </a:lnL>
                    <a:lnR w="28575"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800" b="0" i="0" kern="1200" baseline="0" dirty="0">
                          <a:solidFill>
                            <a:schemeClr val="dk1"/>
                          </a:solidFill>
                          <a:latin typeface="Roboto Light" panose="02000000000000000000" pitchFamily="2" charset="0"/>
                          <a:ea typeface="Roboto Light" panose="02000000000000000000" pitchFamily="2" charset="0"/>
                          <a:cs typeface="+mn-cs"/>
                        </a:rPr>
                        <a:t>$3.25bn target, Sept 1</a:t>
                      </a:r>
                      <a:r>
                        <a:rPr lang="en-US" sz="800" b="0" i="0" kern="1200" baseline="30000" dirty="0">
                          <a:solidFill>
                            <a:schemeClr val="dk1"/>
                          </a:solidFill>
                          <a:latin typeface="Roboto Light" panose="02000000000000000000" pitchFamily="2" charset="0"/>
                          <a:ea typeface="Roboto Light" panose="02000000000000000000" pitchFamily="2" charset="0"/>
                          <a:cs typeface="+mn-cs"/>
                        </a:rPr>
                        <a:t>st</a:t>
                      </a:r>
                      <a:r>
                        <a:rPr lang="en-US" sz="800" b="0" i="0" kern="1200" baseline="0" dirty="0">
                          <a:solidFill>
                            <a:schemeClr val="dk1"/>
                          </a:solidFill>
                          <a:latin typeface="Roboto Light" panose="02000000000000000000" pitchFamily="2" charset="0"/>
                          <a:ea typeface="Roboto Light" panose="02000000000000000000" pitchFamily="2" charset="0"/>
                          <a:cs typeface="+mn-cs"/>
                        </a:rPr>
                        <a:t> close</a:t>
                      </a:r>
                      <a:endParaRPr lang="en-GB" sz="800" b="0" i="0" kern="1200" baseline="0" dirty="0">
                        <a:solidFill>
                          <a:schemeClr val="dk1"/>
                        </a:solidFill>
                        <a:latin typeface="Roboto Light" panose="02000000000000000000" pitchFamily="2" charset="0"/>
                        <a:ea typeface="Roboto Light" panose="02000000000000000000" pitchFamily="2" charset="0"/>
                        <a:cs typeface="+mn-cs"/>
                      </a:endParaRPr>
                    </a:p>
                  </a:txBody>
                  <a:tcPr marL="92505" marR="92505" marT="46253" marB="46253" anchor="ctr">
                    <a:lnL w="28575"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9525" cap="flat" cmpd="sng" algn="ctr">
                      <a:noFill/>
                      <a:prstDash val="sysDot"/>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63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111150166"/>
                  </a:ext>
                </a:extLst>
              </a:tr>
              <a:tr h="3108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333333"/>
                          </a:solidFill>
                          <a:effectLst/>
                          <a:uLnTx/>
                          <a:uFillTx/>
                          <a:latin typeface="Roboto Light" panose="02000000000000000000" pitchFamily="2" charset="0"/>
                          <a:ea typeface="Roboto Light" panose="02000000000000000000" pitchFamily="2" charset="0"/>
                          <a:cs typeface="+mn-cs"/>
                        </a:rPr>
                        <a:t>Investor A</a:t>
                      </a:r>
                      <a:endParaRPr kumimoji="0" lang="en-GB" sz="800" b="0" i="0" u="none" strike="noStrike" kern="1200" cap="none" spc="0" normalizeH="0" baseline="0" noProof="0" dirty="0">
                        <a:ln>
                          <a:noFill/>
                        </a:ln>
                        <a:solidFill>
                          <a:srgbClr val="333333"/>
                        </a:solidFill>
                        <a:effectLst/>
                        <a:uLnTx/>
                        <a:uFillTx/>
                        <a:latin typeface="Roboto Light" panose="02000000000000000000" pitchFamily="2" charset="0"/>
                        <a:ea typeface="Roboto Light" panose="02000000000000000000" pitchFamily="2" charset="0"/>
                        <a:cs typeface="+mn-cs"/>
                      </a:endParaRPr>
                    </a:p>
                  </a:txBody>
                  <a:tcPr marL="0" anchor="ctr">
                    <a:lnL w="12700" cmpd="sng">
                      <a:noFill/>
                    </a:lnL>
                    <a:lnR w="28575"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kern="1200" baseline="0" dirty="0">
                          <a:solidFill>
                            <a:schemeClr val="dk1"/>
                          </a:solidFill>
                          <a:latin typeface="Roboto Light" panose="02000000000000000000" pitchFamily="2" charset="0"/>
                          <a:ea typeface="Roboto Light" panose="02000000000000000000" pitchFamily="2" charset="0"/>
                          <a:cs typeface="+mn-cs"/>
                        </a:rPr>
                        <a:t>€650m target</a:t>
                      </a:r>
                      <a:endParaRPr lang="en-GB" sz="800" b="0" i="0" kern="1200" baseline="0" dirty="0">
                        <a:solidFill>
                          <a:schemeClr val="dk1"/>
                        </a:solidFill>
                        <a:latin typeface="Roboto Light" panose="02000000000000000000" pitchFamily="2" charset="0"/>
                        <a:ea typeface="Roboto Light" panose="02000000000000000000" pitchFamily="2" charset="0"/>
                        <a:cs typeface="+mn-cs"/>
                      </a:endParaRPr>
                    </a:p>
                  </a:txBody>
                  <a:tcPr anchor="ctr">
                    <a:lnL w="28575"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9525" cap="flat" cmpd="sng" algn="ctr">
                      <a:noFill/>
                      <a:prstDash val="sysDot"/>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63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693768647"/>
                  </a:ext>
                </a:extLst>
              </a:tr>
              <a:tr h="3108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33333"/>
                          </a:solidFill>
                          <a:effectLst/>
                          <a:uLnTx/>
                          <a:uFillTx/>
                          <a:latin typeface="Roboto Light" panose="02000000000000000000" pitchFamily="2" charset="0"/>
                          <a:ea typeface="Roboto Light" panose="02000000000000000000" pitchFamily="2" charset="0"/>
                          <a:cs typeface="+mn-cs"/>
                        </a:rPr>
                        <a:t>Investor A</a:t>
                      </a:r>
                    </a:p>
                  </a:txBody>
                  <a:tcPr marL="0" anchor="ctr">
                    <a:lnL w="12700" cmpd="sng">
                      <a:noFill/>
                    </a:lnL>
                    <a:lnR w="28575"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0" i="0" kern="1200" baseline="0" dirty="0">
                          <a:solidFill>
                            <a:schemeClr val="dk1"/>
                          </a:solidFill>
                          <a:latin typeface="Roboto Light" panose="02000000000000000000" pitchFamily="2" charset="0"/>
                          <a:ea typeface="Roboto Light" panose="02000000000000000000" pitchFamily="2" charset="0"/>
                          <a:cs typeface="+mn-cs"/>
                        </a:rPr>
                        <a:t>2021 timing</a:t>
                      </a:r>
                    </a:p>
                  </a:txBody>
                  <a:tcPr anchor="ctr">
                    <a:lnL w="28575"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9525" cap="flat" cmpd="sng" algn="ctr">
                      <a:noFill/>
                      <a:prstDash val="sysDot"/>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63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898836007"/>
                  </a:ext>
                </a:extLst>
              </a:tr>
              <a:tr h="3108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333333"/>
                          </a:solidFill>
                          <a:effectLst/>
                          <a:uLnTx/>
                          <a:uFillTx/>
                          <a:latin typeface="Roboto Light" panose="02000000000000000000" pitchFamily="2" charset="0"/>
                          <a:ea typeface="Roboto Light" panose="02000000000000000000" pitchFamily="2" charset="0"/>
                          <a:cs typeface="+mn-cs"/>
                        </a:rPr>
                        <a:t>Investor A</a:t>
                      </a:r>
                      <a:endParaRPr kumimoji="0" lang="en-GB" sz="800" b="0" i="0" u="none" strike="noStrike" kern="1200" cap="none" spc="0" normalizeH="0" baseline="0" noProof="0" dirty="0">
                        <a:ln>
                          <a:noFill/>
                        </a:ln>
                        <a:solidFill>
                          <a:srgbClr val="333333"/>
                        </a:solidFill>
                        <a:effectLst/>
                        <a:uLnTx/>
                        <a:uFillTx/>
                        <a:latin typeface="Roboto Light" panose="02000000000000000000" pitchFamily="2" charset="0"/>
                        <a:ea typeface="Roboto Light" panose="02000000000000000000" pitchFamily="2" charset="0"/>
                        <a:cs typeface="+mn-cs"/>
                      </a:endParaRPr>
                    </a:p>
                  </a:txBody>
                  <a:tcPr marL="0" anchor="ctr">
                    <a:lnL w="12700" cmpd="sng">
                      <a:noFill/>
                    </a:lnL>
                    <a:lnR w="28575"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0" i="0" kern="1200" baseline="0" dirty="0">
                          <a:solidFill>
                            <a:schemeClr val="dk1"/>
                          </a:solidFill>
                          <a:latin typeface="Roboto Light" panose="02000000000000000000" pitchFamily="2" charset="0"/>
                          <a:ea typeface="Roboto Light" panose="02000000000000000000" pitchFamily="2" charset="0"/>
                          <a:cs typeface="+mn-cs"/>
                        </a:rPr>
                        <a:t>2021 timing</a:t>
                      </a:r>
                    </a:p>
                  </a:txBody>
                  <a:tcPr anchor="ctr">
                    <a:lnL w="28575"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9525" cap="flat" cmpd="sng" algn="ctr">
                      <a:noFill/>
                      <a:prstDash val="sysDot"/>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63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833942100"/>
                  </a:ext>
                </a:extLst>
              </a:tr>
              <a:tr h="3108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33333"/>
                          </a:solidFill>
                          <a:effectLst/>
                          <a:uLnTx/>
                          <a:uFillTx/>
                          <a:latin typeface="Roboto Light" panose="02000000000000000000" pitchFamily="2" charset="0"/>
                          <a:ea typeface="Roboto Light" panose="02000000000000000000" pitchFamily="2" charset="0"/>
                          <a:cs typeface="+mn-cs"/>
                        </a:rPr>
                        <a:t>Investor A</a:t>
                      </a:r>
                    </a:p>
                  </a:txBody>
                  <a:tcPr marL="0" anchor="ctr">
                    <a:lnL w="12700" cmpd="sng">
                      <a:noFill/>
                    </a:lnL>
                    <a:lnR w="28575"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0" i="0" kern="1200" baseline="0" dirty="0">
                          <a:solidFill>
                            <a:schemeClr val="dk1"/>
                          </a:solidFill>
                          <a:latin typeface="Roboto Light" panose="02000000000000000000" pitchFamily="2" charset="0"/>
                          <a:ea typeface="Roboto Light" panose="02000000000000000000" pitchFamily="2" charset="0"/>
                          <a:cs typeface="+mn-cs"/>
                        </a:rPr>
                        <a:t>2021 timing</a:t>
                      </a:r>
                    </a:p>
                  </a:txBody>
                  <a:tcPr anchor="ctr">
                    <a:lnL w="28575" cap="flat" cmpd="sng" algn="ctr">
                      <a:noFill/>
                      <a:prstDash val="solid"/>
                      <a:round/>
                      <a:headEnd type="none" w="med" len="med"/>
                      <a:tailEnd type="none" w="med" len="med"/>
                    </a:lnL>
                    <a:lnR w="9525" cap="flat" cmpd="sng" algn="ctr">
                      <a:noFill/>
                      <a:prstDash val="sysDot"/>
                      <a:round/>
                      <a:headEnd type="none" w="med" len="med"/>
                      <a:tailEnd type="none" w="med" len="med"/>
                    </a:lnR>
                    <a:lnT w="9525" cap="flat" cmpd="sng" algn="ctr">
                      <a:solidFill>
                        <a:schemeClr val="bg1">
                          <a:lumMod val="85000"/>
                        </a:schemeClr>
                      </a:solidFill>
                      <a:prstDash val="sysDot"/>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8F8F8"/>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9525" cap="flat" cmpd="sng" algn="ctr">
                      <a:noFill/>
                      <a:prstDash val="sysDot"/>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6350" cap="flat" cmpd="sng" algn="ctr">
                      <a:solidFill>
                        <a:schemeClr val="accent1"/>
                      </a:solid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lumMod val="85000"/>
                        </a:schemeClr>
                      </a:solidFill>
                      <a:prstDash val="sysDot"/>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tc>
                  <a:txBody>
                    <a:bodyPr/>
                    <a:lstStyle/>
                    <a:p>
                      <a:endParaRPr lang="en-GB" sz="800" b="0" i="0" dirty="0">
                        <a:latin typeface="Roboto Light" panose="02000000000000000000" pitchFamily="2" charset="0"/>
                        <a:ea typeface="Roboto Light" panose="02000000000000000000" pitchFamily="2" charset="0"/>
                      </a:endParaRPr>
                    </a:p>
                  </a:txBody>
                  <a:tcPr anchor="ctr">
                    <a:lnL w="19050" cap="flat" cmpd="sng" algn="ctr">
                      <a:noFill/>
                      <a:prstDash val="solid"/>
                      <a:round/>
                      <a:headEnd type="none" w="med" len="med"/>
                      <a:tailEnd type="none" w="med" len="med"/>
                    </a:lnL>
                    <a:lnT w="9525" cap="flat" cmpd="sng" algn="ctr">
                      <a:solidFill>
                        <a:schemeClr val="bg1">
                          <a:lumMod val="85000"/>
                        </a:schemeClr>
                      </a:solidFill>
                      <a:prstDash val="sysDot"/>
                      <a:round/>
                      <a:headEnd type="none" w="med" len="med"/>
                      <a:tailEnd type="none" w="med" len="med"/>
                    </a:lnT>
                    <a:lnB w="635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843779198"/>
                  </a:ext>
                </a:extLst>
              </a:tr>
            </a:tbl>
          </a:graphicData>
        </a:graphic>
      </p:graphicFrame>
      <p:sp>
        <p:nvSpPr>
          <p:cNvPr id="51" name="Rectangle 50">
            <a:extLst>
              <a:ext uri="{FF2B5EF4-FFF2-40B4-BE49-F238E27FC236}">
                <a16:creationId xmlns:a16="http://schemas.microsoft.com/office/drawing/2014/main" id="{0DAC3A78-9E41-314C-B8DF-D408064BC456}"/>
              </a:ext>
            </a:extLst>
          </p:cNvPr>
          <p:cNvSpPr/>
          <p:nvPr/>
        </p:nvSpPr>
        <p:spPr>
          <a:xfrm>
            <a:off x="3834239" y="1978108"/>
            <a:ext cx="5669280" cy="27432"/>
          </a:xfrm>
          <a:prstGeom prst="rect">
            <a:avLst/>
          </a:prstGeom>
          <a:solidFill>
            <a:schemeClr val="bg2">
              <a:lumMod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52" name="Rectangle: Top Corners Rounded 112">
            <a:extLst>
              <a:ext uri="{FF2B5EF4-FFF2-40B4-BE49-F238E27FC236}">
                <a16:creationId xmlns:a16="http://schemas.microsoft.com/office/drawing/2014/main" id="{0EAD3F79-1714-7D4E-B24A-C3DC20D5C224}"/>
              </a:ext>
            </a:extLst>
          </p:cNvPr>
          <p:cNvSpPr/>
          <p:nvPr/>
        </p:nvSpPr>
        <p:spPr>
          <a:xfrm rot="16200000" flipV="1">
            <a:off x="4444822" y="1306025"/>
            <a:ext cx="91440" cy="1371600"/>
          </a:xfrm>
          <a:prstGeom prst="round2SameRect">
            <a:avLst>
              <a:gd name="adj1" fmla="val 50000"/>
              <a:gd name="adj2" fmla="val 0"/>
            </a:avLst>
          </a:prstGeom>
          <a:solidFill>
            <a:schemeClr val="accent4"/>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grpSp>
        <p:nvGrpSpPr>
          <p:cNvPr id="53" name="Group 52">
            <a:extLst>
              <a:ext uri="{FF2B5EF4-FFF2-40B4-BE49-F238E27FC236}">
                <a16:creationId xmlns:a16="http://schemas.microsoft.com/office/drawing/2014/main" id="{32941DE2-AA0E-AA49-BC22-E4833AD09D61}"/>
              </a:ext>
            </a:extLst>
          </p:cNvPr>
          <p:cNvGrpSpPr/>
          <p:nvPr/>
        </p:nvGrpSpPr>
        <p:grpSpPr>
          <a:xfrm>
            <a:off x="3804741" y="2260122"/>
            <a:ext cx="5698778" cy="91440"/>
            <a:chOff x="1968833" y="2535846"/>
            <a:chExt cx="6597406" cy="91440"/>
          </a:xfrm>
        </p:grpSpPr>
        <p:sp>
          <p:nvSpPr>
            <p:cNvPr id="54" name="Rectangle 53">
              <a:extLst>
                <a:ext uri="{FF2B5EF4-FFF2-40B4-BE49-F238E27FC236}">
                  <a16:creationId xmlns:a16="http://schemas.microsoft.com/office/drawing/2014/main" id="{4C18B33F-491B-4E42-8EEC-542111ADFBED}"/>
                </a:ext>
              </a:extLst>
            </p:cNvPr>
            <p:cNvSpPr/>
            <p:nvPr/>
          </p:nvSpPr>
          <p:spPr>
            <a:xfrm>
              <a:off x="2002982" y="2567848"/>
              <a:ext cx="6563257" cy="27432"/>
            </a:xfrm>
            <a:prstGeom prst="rect">
              <a:avLst/>
            </a:prstGeom>
            <a:solidFill>
              <a:schemeClr val="bg2">
                <a:lumMod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55" name="Rectangle: Top Corners Rounded 121">
              <a:extLst>
                <a:ext uri="{FF2B5EF4-FFF2-40B4-BE49-F238E27FC236}">
                  <a16:creationId xmlns:a16="http://schemas.microsoft.com/office/drawing/2014/main" id="{4F0E54EB-5030-D046-89E5-59A6ADE38533}"/>
                </a:ext>
              </a:extLst>
            </p:cNvPr>
            <p:cNvSpPr/>
            <p:nvPr/>
          </p:nvSpPr>
          <p:spPr>
            <a:xfrm rot="16200000" flipV="1">
              <a:off x="2717056" y="1787623"/>
              <a:ext cx="91440" cy="1587885"/>
            </a:xfrm>
            <a:prstGeom prst="round2SameRect">
              <a:avLst>
                <a:gd name="adj1" fmla="val 50000"/>
                <a:gd name="adj2" fmla="val 0"/>
              </a:avLst>
            </a:prstGeom>
            <a:solidFill>
              <a:schemeClr val="accent4"/>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grpSp>
      <p:grpSp>
        <p:nvGrpSpPr>
          <p:cNvPr id="56" name="Group 55">
            <a:extLst>
              <a:ext uri="{FF2B5EF4-FFF2-40B4-BE49-F238E27FC236}">
                <a16:creationId xmlns:a16="http://schemas.microsoft.com/office/drawing/2014/main" id="{08CF7FBD-8A9C-FF49-B118-8A375E1D6324}"/>
              </a:ext>
            </a:extLst>
          </p:cNvPr>
          <p:cNvGrpSpPr/>
          <p:nvPr/>
        </p:nvGrpSpPr>
        <p:grpSpPr>
          <a:xfrm>
            <a:off x="3804742" y="2564612"/>
            <a:ext cx="5698777" cy="91440"/>
            <a:chOff x="1968834" y="2535845"/>
            <a:chExt cx="6597405" cy="91440"/>
          </a:xfrm>
        </p:grpSpPr>
        <p:sp>
          <p:nvSpPr>
            <p:cNvPr id="57" name="Rectangle 56">
              <a:extLst>
                <a:ext uri="{FF2B5EF4-FFF2-40B4-BE49-F238E27FC236}">
                  <a16:creationId xmlns:a16="http://schemas.microsoft.com/office/drawing/2014/main" id="{897D966E-CEBC-9C4F-A41E-EBFAE180D90D}"/>
                </a:ext>
              </a:extLst>
            </p:cNvPr>
            <p:cNvSpPr/>
            <p:nvPr/>
          </p:nvSpPr>
          <p:spPr>
            <a:xfrm>
              <a:off x="2002982" y="2567848"/>
              <a:ext cx="6563257" cy="27432"/>
            </a:xfrm>
            <a:prstGeom prst="rect">
              <a:avLst/>
            </a:prstGeom>
            <a:solidFill>
              <a:schemeClr val="bg2">
                <a:lumMod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58" name="Rectangle: Top Corners Rounded 124">
              <a:extLst>
                <a:ext uri="{FF2B5EF4-FFF2-40B4-BE49-F238E27FC236}">
                  <a16:creationId xmlns:a16="http://schemas.microsoft.com/office/drawing/2014/main" id="{5A697F8C-C9BA-3A4E-8C59-A942D54ADD99}"/>
                </a:ext>
              </a:extLst>
            </p:cNvPr>
            <p:cNvSpPr/>
            <p:nvPr/>
          </p:nvSpPr>
          <p:spPr>
            <a:xfrm rot="16200000" flipV="1">
              <a:off x="3018755" y="1485924"/>
              <a:ext cx="91440" cy="2191281"/>
            </a:xfrm>
            <a:prstGeom prst="round2SameRect">
              <a:avLst>
                <a:gd name="adj1" fmla="val 50000"/>
                <a:gd name="adj2" fmla="val 0"/>
              </a:avLst>
            </a:prstGeom>
            <a:solidFill>
              <a:schemeClr val="accent1"/>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grpSp>
      <p:grpSp>
        <p:nvGrpSpPr>
          <p:cNvPr id="59" name="Group 58">
            <a:extLst>
              <a:ext uri="{FF2B5EF4-FFF2-40B4-BE49-F238E27FC236}">
                <a16:creationId xmlns:a16="http://schemas.microsoft.com/office/drawing/2014/main" id="{EAB22AEE-AD84-6943-AB3B-F98AAEC83361}"/>
              </a:ext>
            </a:extLst>
          </p:cNvPr>
          <p:cNvGrpSpPr/>
          <p:nvPr/>
        </p:nvGrpSpPr>
        <p:grpSpPr>
          <a:xfrm>
            <a:off x="3804742" y="2884466"/>
            <a:ext cx="5698777" cy="91440"/>
            <a:chOff x="1968834" y="2535844"/>
            <a:chExt cx="6597405" cy="91440"/>
          </a:xfrm>
        </p:grpSpPr>
        <p:sp>
          <p:nvSpPr>
            <p:cNvPr id="60" name="Rectangle 59">
              <a:extLst>
                <a:ext uri="{FF2B5EF4-FFF2-40B4-BE49-F238E27FC236}">
                  <a16:creationId xmlns:a16="http://schemas.microsoft.com/office/drawing/2014/main" id="{01768310-0F59-D64B-9A8A-4D7C4FB7EA9C}"/>
                </a:ext>
              </a:extLst>
            </p:cNvPr>
            <p:cNvSpPr/>
            <p:nvPr/>
          </p:nvSpPr>
          <p:spPr>
            <a:xfrm>
              <a:off x="2002982" y="2567848"/>
              <a:ext cx="6563257" cy="27432"/>
            </a:xfrm>
            <a:prstGeom prst="rect">
              <a:avLst/>
            </a:prstGeom>
            <a:solidFill>
              <a:schemeClr val="bg2">
                <a:lumMod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61" name="Rectangle: Top Corners Rounded 127">
              <a:extLst>
                <a:ext uri="{FF2B5EF4-FFF2-40B4-BE49-F238E27FC236}">
                  <a16:creationId xmlns:a16="http://schemas.microsoft.com/office/drawing/2014/main" id="{7055C550-F34D-BA48-BAD8-7BE7DE1FFB40}"/>
                </a:ext>
              </a:extLst>
            </p:cNvPr>
            <p:cNvSpPr/>
            <p:nvPr/>
          </p:nvSpPr>
          <p:spPr>
            <a:xfrm rot="16200000" flipV="1">
              <a:off x="3389261" y="1115417"/>
              <a:ext cx="91440" cy="2932294"/>
            </a:xfrm>
            <a:prstGeom prst="round2SameRect">
              <a:avLst>
                <a:gd name="adj1" fmla="val 50000"/>
                <a:gd name="adj2" fmla="val 0"/>
              </a:avLst>
            </a:prstGeom>
            <a:solidFill>
              <a:schemeClr val="accent1"/>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grpSp>
      <p:grpSp>
        <p:nvGrpSpPr>
          <p:cNvPr id="62" name="Group 61">
            <a:extLst>
              <a:ext uri="{FF2B5EF4-FFF2-40B4-BE49-F238E27FC236}">
                <a16:creationId xmlns:a16="http://schemas.microsoft.com/office/drawing/2014/main" id="{205F12EF-193A-6840-8C28-E9BB42490562}"/>
              </a:ext>
            </a:extLst>
          </p:cNvPr>
          <p:cNvGrpSpPr/>
          <p:nvPr/>
        </p:nvGrpSpPr>
        <p:grpSpPr>
          <a:xfrm>
            <a:off x="3804741" y="3196947"/>
            <a:ext cx="5698778" cy="91440"/>
            <a:chOff x="1968833" y="2535845"/>
            <a:chExt cx="6597406" cy="91440"/>
          </a:xfrm>
        </p:grpSpPr>
        <p:sp>
          <p:nvSpPr>
            <p:cNvPr id="63" name="Rectangle 62">
              <a:extLst>
                <a:ext uri="{FF2B5EF4-FFF2-40B4-BE49-F238E27FC236}">
                  <a16:creationId xmlns:a16="http://schemas.microsoft.com/office/drawing/2014/main" id="{7A2D8E4D-FB03-EB49-BFEF-FAE200D9CE50}"/>
                </a:ext>
              </a:extLst>
            </p:cNvPr>
            <p:cNvSpPr/>
            <p:nvPr/>
          </p:nvSpPr>
          <p:spPr>
            <a:xfrm>
              <a:off x="2002982" y="2567848"/>
              <a:ext cx="6563257" cy="27432"/>
            </a:xfrm>
            <a:prstGeom prst="rect">
              <a:avLst/>
            </a:prstGeom>
            <a:solidFill>
              <a:schemeClr val="bg2">
                <a:lumMod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64" name="Rectangle: Top Corners Rounded 130">
              <a:extLst>
                <a:ext uri="{FF2B5EF4-FFF2-40B4-BE49-F238E27FC236}">
                  <a16:creationId xmlns:a16="http://schemas.microsoft.com/office/drawing/2014/main" id="{07C5C206-896C-B041-A2FD-34D389936D56}"/>
                </a:ext>
              </a:extLst>
            </p:cNvPr>
            <p:cNvSpPr/>
            <p:nvPr/>
          </p:nvSpPr>
          <p:spPr>
            <a:xfrm rot="16200000" flipV="1">
              <a:off x="3749181" y="755497"/>
              <a:ext cx="91440" cy="3652135"/>
            </a:xfrm>
            <a:prstGeom prst="round2SameRect">
              <a:avLst>
                <a:gd name="adj1" fmla="val 50000"/>
                <a:gd name="adj2" fmla="val 0"/>
              </a:avLst>
            </a:prstGeom>
            <a:solidFill>
              <a:schemeClr val="accent1"/>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grpSp>
      <p:grpSp>
        <p:nvGrpSpPr>
          <p:cNvPr id="65" name="Group 64">
            <a:extLst>
              <a:ext uri="{FF2B5EF4-FFF2-40B4-BE49-F238E27FC236}">
                <a16:creationId xmlns:a16="http://schemas.microsoft.com/office/drawing/2014/main" id="{8B02DB23-5FEB-BA43-911D-1B893EFFCF3B}"/>
              </a:ext>
            </a:extLst>
          </p:cNvPr>
          <p:cNvGrpSpPr/>
          <p:nvPr/>
        </p:nvGrpSpPr>
        <p:grpSpPr>
          <a:xfrm>
            <a:off x="3804741" y="3819758"/>
            <a:ext cx="2834640" cy="91440"/>
            <a:chOff x="1968833" y="2535845"/>
            <a:chExt cx="6597406" cy="91440"/>
          </a:xfrm>
        </p:grpSpPr>
        <p:sp>
          <p:nvSpPr>
            <p:cNvPr id="66" name="Rectangle 65">
              <a:extLst>
                <a:ext uri="{FF2B5EF4-FFF2-40B4-BE49-F238E27FC236}">
                  <a16:creationId xmlns:a16="http://schemas.microsoft.com/office/drawing/2014/main" id="{F4685025-7E31-7E4D-A5C1-00092F722B58}"/>
                </a:ext>
              </a:extLst>
            </p:cNvPr>
            <p:cNvSpPr/>
            <p:nvPr/>
          </p:nvSpPr>
          <p:spPr>
            <a:xfrm>
              <a:off x="2002982" y="2567848"/>
              <a:ext cx="6563257" cy="27432"/>
            </a:xfrm>
            <a:prstGeom prst="rect">
              <a:avLst/>
            </a:prstGeom>
            <a:solidFill>
              <a:schemeClr val="bg2">
                <a:lumMod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67" name="Rectangle: Top Corners Rounded 136">
              <a:extLst>
                <a:ext uri="{FF2B5EF4-FFF2-40B4-BE49-F238E27FC236}">
                  <a16:creationId xmlns:a16="http://schemas.microsoft.com/office/drawing/2014/main" id="{29F6EFC3-B6FA-4745-A851-583DCC13F188}"/>
                </a:ext>
              </a:extLst>
            </p:cNvPr>
            <p:cNvSpPr/>
            <p:nvPr/>
          </p:nvSpPr>
          <p:spPr>
            <a:xfrm rot="16200000" flipV="1">
              <a:off x="3749181" y="755497"/>
              <a:ext cx="91440" cy="3652135"/>
            </a:xfrm>
            <a:prstGeom prst="round2SameRect">
              <a:avLst>
                <a:gd name="adj1" fmla="val 50000"/>
                <a:gd name="adj2" fmla="val 0"/>
              </a:avLst>
            </a:prstGeom>
            <a:solidFill>
              <a:schemeClr val="accent4"/>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grpSp>
      <p:grpSp>
        <p:nvGrpSpPr>
          <p:cNvPr id="68" name="Group 67">
            <a:extLst>
              <a:ext uri="{FF2B5EF4-FFF2-40B4-BE49-F238E27FC236}">
                <a16:creationId xmlns:a16="http://schemas.microsoft.com/office/drawing/2014/main" id="{1BFF192E-C9B9-764D-B4CF-45DD7F1A6714}"/>
              </a:ext>
            </a:extLst>
          </p:cNvPr>
          <p:cNvGrpSpPr/>
          <p:nvPr/>
        </p:nvGrpSpPr>
        <p:grpSpPr>
          <a:xfrm>
            <a:off x="3804741" y="4127937"/>
            <a:ext cx="5698778" cy="91440"/>
            <a:chOff x="1968833" y="2535845"/>
            <a:chExt cx="6597406" cy="91440"/>
          </a:xfrm>
        </p:grpSpPr>
        <p:sp>
          <p:nvSpPr>
            <p:cNvPr id="69" name="Rectangle 68">
              <a:extLst>
                <a:ext uri="{FF2B5EF4-FFF2-40B4-BE49-F238E27FC236}">
                  <a16:creationId xmlns:a16="http://schemas.microsoft.com/office/drawing/2014/main" id="{A949DA70-6466-0843-8D37-869017399CCD}"/>
                </a:ext>
              </a:extLst>
            </p:cNvPr>
            <p:cNvSpPr/>
            <p:nvPr/>
          </p:nvSpPr>
          <p:spPr>
            <a:xfrm>
              <a:off x="2002982" y="2567848"/>
              <a:ext cx="6563257" cy="27432"/>
            </a:xfrm>
            <a:prstGeom prst="rect">
              <a:avLst/>
            </a:prstGeom>
            <a:solidFill>
              <a:schemeClr val="bg2">
                <a:lumMod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70" name="Rectangle: Top Corners Rounded 139">
              <a:extLst>
                <a:ext uri="{FF2B5EF4-FFF2-40B4-BE49-F238E27FC236}">
                  <a16:creationId xmlns:a16="http://schemas.microsoft.com/office/drawing/2014/main" id="{555DBC3E-5D62-6743-8FD6-0D65A08018C3}"/>
                </a:ext>
              </a:extLst>
            </p:cNvPr>
            <p:cNvSpPr/>
            <p:nvPr/>
          </p:nvSpPr>
          <p:spPr>
            <a:xfrm rot="16200000" flipV="1">
              <a:off x="3945020" y="559658"/>
              <a:ext cx="91440" cy="4043813"/>
            </a:xfrm>
            <a:prstGeom prst="round2SameRect">
              <a:avLst>
                <a:gd name="adj1" fmla="val 50000"/>
                <a:gd name="adj2" fmla="val 0"/>
              </a:avLst>
            </a:prstGeom>
            <a:solidFill>
              <a:schemeClr val="accent4"/>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grpSp>
      <p:grpSp>
        <p:nvGrpSpPr>
          <p:cNvPr id="71" name="Group 70">
            <a:extLst>
              <a:ext uri="{FF2B5EF4-FFF2-40B4-BE49-F238E27FC236}">
                <a16:creationId xmlns:a16="http://schemas.microsoft.com/office/drawing/2014/main" id="{D13F11CB-8087-0044-804A-93AB47A4F567}"/>
              </a:ext>
            </a:extLst>
          </p:cNvPr>
          <p:cNvGrpSpPr/>
          <p:nvPr/>
        </p:nvGrpSpPr>
        <p:grpSpPr>
          <a:xfrm>
            <a:off x="3804742" y="4438265"/>
            <a:ext cx="5698777" cy="91440"/>
            <a:chOff x="3570851" y="4858424"/>
            <a:chExt cx="5698777" cy="91440"/>
          </a:xfrm>
        </p:grpSpPr>
        <p:sp>
          <p:nvSpPr>
            <p:cNvPr id="72" name="Rectangle 71">
              <a:extLst>
                <a:ext uri="{FF2B5EF4-FFF2-40B4-BE49-F238E27FC236}">
                  <a16:creationId xmlns:a16="http://schemas.microsoft.com/office/drawing/2014/main" id="{D8FD115C-AA25-5C45-B033-2B72A20AB4E7}"/>
                </a:ext>
              </a:extLst>
            </p:cNvPr>
            <p:cNvSpPr/>
            <p:nvPr/>
          </p:nvSpPr>
          <p:spPr>
            <a:xfrm>
              <a:off x="3600348" y="4890427"/>
              <a:ext cx="5669280" cy="27432"/>
            </a:xfrm>
            <a:prstGeom prst="rect">
              <a:avLst/>
            </a:prstGeom>
            <a:solidFill>
              <a:schemeClr val="bg2">
                <a:lumMod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73" name="Rectangle: Top Corners Rounded 142">
              <a:extLst>
                <a:ext uri="{FF2B5EF4-FFF2-40B4-BE49-F238E27FC236}">
                  <a16:creationId xmlns:a16="http://schemas.microsoft.com/office/drawing/2014/main" id="{226BAB8B-2470-8D4D-B352-69CE5C854275}"/>
                </a:ext>
              </a:extLst>
            </p:cNvPr>
            <p:cNvSpPr/>
            <p:nvPr/>
          </p:nvSpPr>
          <p:spPr>
            <a:xfrm rot="16200000" flipV="1">
              <a:off x="5422511" y="3006764"/>
              <a:ext cx="91440" cy="3794760"/>
            </a:xfrm>
            <a:prstGeom prst="round2SameRect">
              <a:avLst>
                <a:gd name="adj1" fmla="val 50000"/>
                <a:gd name="adj2" fmla="val 0"/>
              </a:avLst>
            </a:prstGeom>
            <a:solidFill>
              <a:schemeClr val="accent4"/>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74" name="Rectangle: Top Corners Rounded 107">
              <a:extLst>
                <a:ext uri="{FF2B5EF4-FFF2-40B4-BE49-F238E27FC236}">
                  <a16:creationId xmlns:a16="http://schemas.microsoft.com/office/drawing/2014/main" id="{7F528A21-6387-6B45-83A0-CE68F0E51603}"/>
                </a:ext>
              </a:extLst>
            </p:cNvPr>
            <p:cNvSpPr/>
            <p:nvPr/>
          </p:nvSpPr>
          <p:spPr>
            <a:xfrm rot="16200000" flipV="1">
              <a:off x="5102471" y="3326804"/>
              <a:ext cx="91440" cy="3154680"/>
            </a:xfrm>
            <a:prstGeom prst="round2SameRect">
              <a:avLst>
                <a:gd name="adj1" fmla="val 50000"/>
                <a:gd name="adj2" fmla="val 0"/>
              </a:avLst>
            </a:prstGeom>
            <a:solidFill>
              <a:schemeClr val="accent1"/>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grpSp>
      <p:grpSp>
        <p:nvGrpSpPr>
          <p:cNvPr id="75" name="Group 74">
            <a:extLst>
              <a:ext uri="{FF2B5EF4-FFF2-40B4-BE49-F238E27FC236}">
                <a16:creationId xmlns:a16="http://schemas.microsoft.com/office/drawing/2014/main" id="{90C65E3D-0B2F-9A41-B073-FE3222B2BD26}"/>
              </a:ext>
            </a:extLst>
          </p:cNvPr>
          <p:cNvGrpSpPr/>
          <p:nvPr/>
        </p:nvGrpSpPr>
        <p:grpSpPr>
          <a:xfrm>
            <a:off x="3804742" y="4748594"/>
            <a:ext cx="5698777" cy="91440"/>
            <a:chOff x="3570851" y="4858424"/>
            <a:chExt cx="5698777" cy="91440"/>
          </a:xfrm>
        </p:grpSpPr>
        <p:sp>
          <p:nvSpPr>
            <p:cNvPr id="76" name="Rectangle 75">
              <a:extLst>
                <a:ext uri="{FF2B5EF4-FFF2-40B4-BE49-F238E27FC236}">
                  <a16:creationId xmlns:a16="http://schemas.microsoft.com/office/drawing/2014/main" id="{1CB108C4-7038-994B-B70D-CDE384BD9B55}"/>
                </a:ext>
              </a:extLst>
            </p:cNvPr>
            <p:cNvSpPr/>
            <p:nvPr/>
          </p:nvSpPr>
          <p:spPr>
            <a:xfrm>
              <a:off x="3600348" y="4890427"/>
              <a:ext cx="5669280" cy="27432"/>
            </a:xfrm>
            <a:prstGeom prst="rect">
              <a:avLst/>
            </a:prstGeom>
            <a:solidFill>
              <a:schemeClr val="bg2">
                <a:lumMod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77" name="Rectangle: Top Corners Rounded 148">
              <a:extLst>
                <a:ext uri="{FF2B5EF4-FFF2-40B4-BE49-F238E27FC236}">
                  <a16:creationId xmlns:a16="http://schemas.microsoft.com/office/drawing/2014/main" id="{3A3FC99C-EF88-A948-9035-186362A2E027}"/>
                </a:ext>
              </a:extLst>
            </p:cNvPr>
            <p:cNvSpPr/>
            <p:nvPr/>
          </p:nvSpPr>
          <p:spPr>
            <a:xfrm rot="16200000" flipV="1">
              <a:off x="5422511" y="3006764"/>
              <a:ext cx="91440" cy="3794760"/>
            </a:xfrm>
            <a:prstGeom prst="round2SameRect">
              <a:avLst>
                <a:gd name="adj1" fmla="val 50000"/>
                <a:gd name="adj2" fmla="val 0"/>
              </a:avLst>
            </a:prstGeom>
            <a:solidFill>
              <a:schemeClr val="accent4"/>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78" name="Rectangle: Top Corners Rounded 149">
              <a:extLst>
                <a:ext uri="{FF2B5EF4-FFF2-40B4-BE49-F238E27FC236}">
                  <a16:creationId xmlns:a16="http://schemas.microsoft.com/office/drawing/2014/main" id="{A6127CDB-45D4-1046-8CE0-561D617DC1D4}"/>
                </a:ext>
              </a:extLst>
            </p:cNvPr>
            <p:cNvSpPr/>
            <p:nvPr/>
          </p:nvSpPr>
          <p:spPr>
            <a:xfrm rot="16200000" flipV="1">
              <a:off x="4165211" y="4264064"/>
              <a:ext cx="91440" cy="1280160"/>
            </a:xfrm>
            <a:prstGeom prst="round2SameRect">
              <a:avLst>
                <a:gd name="adj1" fmla="val 50000"/>
                <a:gd name="adj2" fmla="val 0"/>
              </a:avLst>
            </a:prstGeom>
            <a:solidFill>
              <a:schemeClr val="accent1"/>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grpSp>
      <p:grpSp>
        <p:nvGrpSpPr>
          <p:cNvPr id="79" name="Group 78">
            <a:extLst>
              <a:ext uri="{FF2B5EF4-FFF2-40B4-BE49-F238E27FC236}">
                <a16:creationId xmlns:a16="http://schemas.microsoft.com/office/drawing/2014/main" id="{165A4AE2-BBBB-C34A-93DD-D6AE899F9F20}"/>
              </a:ext>
            </a:extLst>
          </p:cNvPr>
          <p:cNvGrpSpPr/>
          <p:nvPr/>
        </p:nvGrpSpPr>
        <p:grpSpPr>
          <a:xfrm>
            <a:off x="3804741" y="5056469"/>
            <a:ext cx="5698778" cy="91440"/>
            <a:chOff x="1968833" y="2535844"/>
            <a:chExt cx="6597406" cy="91440"/>
          </a:xfrm>
        </p:grpSpPr>
        <p:sp>
          <p:nvSpPr>
            <p:cNvPr id="80" name="Rectangle 79">
              <a:extLst>
                <a:ext uri="{FF2B5EF4-FFF2-40B4-BE49-F238E27FC236}">
                  <a16:creationId xmlns:a16="http://schemas.microsoft.com/office/drawing/2014/main" id="{9B9F0F76-CA53-8B49-ACBC-61AB480D0C7B}"/>
                </a:ext>
              </a:extLst>
            </p:cNvPr>
            <p:cNvSpPr/>
            <p:nvPr/>
          </p:nvSpPr>
          <p:spPr>
            <a:xfrm>
              <a:off x="2002982" y="2567848"/>
              <a:ext cx="6563257" cy="27432"/>
            </a:xfrm>
            <a:prstGeom prst="rect">
              <a:avLst/>
            </a:prstGeom>
            <a:solidFill>
              <a:schemeClr val="bg2">
                <a:lumMod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81" name="Rectangle: Top Corners Rounded 152">
              <a:extLst>
                <a:ext uri="{FF2B5EF4-FFF2-40B4-BE49-F238E27FC236}">
                  <a16:creationId xmlns:a16="http://schemas.microsoft.com/office/drawing/2014/main" id="{92297503-DCCB-DE4E-A6F0-A5281911C927}"/>
                </a:ext>
              </a:extLst>
            </p:cNvPr>
            <p:cNvSpPr/>
            <p:nvPr/>
          </p:nvSpPr>
          <p:spPr>
            <a:xfrm rot="16200000" flipV="1">
              <a:off x="4490193" y="14484"/>
              <a:ext cx="91440" cy="5134160"/>
            </a:xfrm>
            <a:prstGeom prst="round2SameRect">
              <a:avLst>
                <a:gd name="adj1" fmla="val 50000"/>
                <a:gd name="adj2" fmla="val 0"/>
              </a:avLst>
            </a:prstGeom>
            <a:solidFill>
              <a:schemeClr val="accent1"/>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grpSp>
      <p:grpSp>
        <p:nvGrpSpPr>
          <p:cNvPr id="82" name="Group 81">
            <a:extLst>
              <a:ext uri="{FF2B5EF4-FFF2-40B4-BE49-F238E27FC236}">
                <a16:creationId xmlns:a16="http://schemas.microsoft.com/office/drawing/2014/main" id="{AF2045F4-2793-174B-BC93-6CEF694E4EE9}"/>
              </a:ext>
            </a:extLst>
          </p:cNvPr>
          <p:cNvGrpSpPr/>
          <p:nvPr/>
        </p:nvGrpSpPr>
        <p:grpSpPr>
          <a:xfrm>
            <a:off x="3804741" y="5366800"/>
            <a:ext cx="5698778" cy="91440"/>
            <a:chOff x="3570850" y="5844109"/>
            <a:chExt cx="5698778" cy="91440"/>
          </a:xfrm>
        </p:grpSpPr>
        <p:sp>
          <p:nvSpPr>
            <p:cNvPr id="83" name="Rectangle 82">
              <a:extLst>
                <a:ext uri="{FF2B5EF4-FFF2-40B4-BE49-F238E27FC236}">
                  <a16:creationId xmlns:a16="http://schemas.microsoft.com/office/drawing/2014/main" id="{EDBABA42-7A28-9F42-B560-A9F5ACF53854}"/>
                </a:ext>
              </a:extLst>
            </p:cNvPr>
            <p:cNvSpPr/>
            <p:nvPr/>
          </p:nvSpPr>
          <p:spPr>
            <a:xfrm>
              <a:off x="3570850" y="5876112"/>
              <a:ext cx="5669280" cy="27432"/>
            </a:xfrm>
            <a:prstGeom prst="rect">
              <a:avLst/>
            </a:prstGeom>
            <a:solidFill>
              <a:schemeClr val="bg2">
                <a:lumMod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84" name="Rectangle: Top Corners Rounded 155">
              <a:extLst>
                <a:ext uri="{FF2B5EF4-FFF2-40B4-BE49-F238E27FC236}">
                  <a16:creationId xmlns:a16="http://schemas.microsoft.com/office/drawing/2014/main" id="{882F580D-8E03-C442-AC64-49C8A7757D61}"/>
                </a:ext>
              </a:extLst>
            </p:cNvPr>
            <p:cNvSpPr/>
            <p:nvPr/>
          </p:nvSpPr>
          <p:spPr>
            <a:xfrm rot="16200000" flipV="1">
              <a:off x="7966608" y="4632529"/>
              <a:ext cx="91440" cy="2514600"/>
            </a:xfrm>
            <a:prstGeom prst="round2SameRect">
              <a:avLst>
                <a:gd name="adj1" fmla="val 50000"/>
                <a:gd name="adj2" fmla="val 0"/>
              </a:avLst>
            </a:prstGeom>
            <a:solidFill>
              <a:schemeClr val="accent3"/>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grpSp>
      <p:grpSp>
        <p:nvGrpSpPr>
          <p:cNvPr id="85" name="Group 84">
            <a:extLst>
              <a:ext uri="{FF2B5EF4-FFF2-40B4-BE49-F238E27FC236}">
                <a16:creationId xmlns:a16="http://schemas.microsoft.com/office/drawing/2014/main" id="{4BFCEB58-6F44-EC47-8738-8590EFE0AEB1}"/>
              </a:ext>
            </a:extLst>
          </p:cNvPr>
          <p:cNvGrpSpPr/>
          <p:nvPr/>
        </p:nvGrpSpPr>
        <p:grpSpPr>
          <a:xfrm>
            <a:off x="3804741" y="5681125"/>
            <a:ext cx="5698778" cy="91440"/>
            <a:chOff x="3570850" y="5844109"/>
            <a:chExt cx="5698778" cy="91440"/>
          </a:xfrm>
        </p:grpSpPr>
        <p:sp>
          <p:nvSpPr>
            <p:cNvPr id="86" name="Rectangle 85">
              <a:extLst>
                <a:ext uri="{FF2B5EF4-FFF2-40B4-BE49-F238E27FC236}">
                  <a16:creationId xmlns:a16="http://schemas.microsoft.com/office/drawing/2014/main" id="{F1A8AE3C-B638-2144-A563-478E39904639}"/>
                </a:ext>
              </a:extLst>
            </p:cNvPr>
            <p:cNvSpPr/>
            <p:nvPr/>
          </p:nvSpPr>
          <p:spPr>
            <a:xfrm>
              <a:off x="3570850" y="5876112"/>
              <a:ext cx="5669280" cy="27432"/>
            </a:xfrm>
            <a:prstGeom prst="rect">
              <a:avLst/>
            </a:prstGeom>
            <a:solidFill>
              <a:schemeClr val="bg2">
                <a:lumMod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87" name="Rectangle: Top Corners Rounded 159">
              <a:extLst>
                <a:ext uri="{FF2B5EF4-FFF2-40B4-BE49-F238E27FC236}">
                  <a16:creationId xmlns:a16="http://schemas.microsoft.com/office/drawing/2014/main" id="{408F07AC-D2CB-0B47-A4B4-A3140E9711A8}"/>
                </a:ext>
              </a:extLst>
            </p:cNvPr>
            <p:cNvSpPr/>
            <p:nvPr/>
          </p:nvSpPr>
          <p:spPr>
            <a:xfrm rot="16200000" flipV="1">
              <a:off x="7966608" y="4632529"/>
              <a:ext cx="91440" cy="2514600"/>
            </a:xfrm>
            <a:prstGeom prst="round2SameRect">
              <a:avLst>
                <a:gd name="adj1" fmla="val 50000"/>
                <a:gd name="adj2" fmla="val 0"/>
              </a:avLst>
            </a:prstGeom>
            <a:solidFill>
              <a:schemeClr val="accent3"/>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grpSp>
      <p:grpSp>
        <p:nvGrpSpPr>
          <p:cNvPr id="88" name="Group 87">
            <a:extLst>
              <a:ext uri="{FF2B5EF4-FFF2-40B4-BE49-F238E27FC236}">
                <a16:creationId xmlns:a16="http://schemas.microsoft.com/office/drawing/2014/main" id="{4C8503EF-68BB-184A-86C1-16A182D4FF48}"/>
              </a:ext>
            </a:extLst>
          </p:cNvPr>
          <p:cNvGrpSpPr/>
          <p:nvPr/>
        </p:nvGrpSpPr>
        <p:grpSpPr>
          <a:xfrm>
            <a:off x="3804741" y="5995450"/>
            <a:ext cx="5698778" cy="91440"/>
            <a:chOff x="3570850" y="5844109"/>
            <a:chExt cx="5698778" cy="91440"/>
          </a:xfrm>
        </p:grpSpPr>
        <p:sp>
          <p:nvSpPr>
            <p:cNvPr id="89" name="Rectangle 88">
              <a:extLst>
                <a:ext uri="{FF2B5EF4-FFF2-40B4-BE49-F238E27FC236}">
                  <a16:creationId xmlns:a16="http://schemas.microsoft.com/office/drawing/2014/main" id="{D48904E2-C158-3F43-83F7-D78C05B79B1F}"/>
                </a:ext>
              </a:extLst>
            </p:cNvPr>
            <p:cNvSpPr/>
            <p:nvPr/>
          </p:nvSpPr>
          <p:spPr>
            <a:xfrm>
              <a:off x="3570850" y="5876112"/>
              <a:ext cx="5669280" cy="27432"/>
            </a:xfrm>
            <a:prstGeom prst="rect">
              <a:avLst/>
            </a:prstGeom>
            <a:solidFill>
              <a:schemeClr val="bg2">
                <a:lumMod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90" name="Rectangle: Top Corners Rounded 77">
              <a:extLst>
                <a:ext uri="{FF2B5EF4-FFF2-40B4-BE49-F238E27FC236}">
                  <a16:creationId xmlns:a16="http://schemas.microsoft.com/office/drawing/2014/main" id="{9CAE6A36-0206-4948-880C-D5CBFD4FD5BA}"/>
                </a:ext>
              </a:extLst>
            </p:cNvPr>
            <p:cNvSpPr/>
            <p:nvPr/>
          </p:nvSpPr>
          <p:spPr>
            <a:xfrm rot="16200000" flipV="1">
              <a:off x="7966608" y="4632529"/>
              <a:ext cx="91440" cy="2514600"/>
            </a:xfrm>
            <a:prstGeom prst="round2SameRect">
              <a:avLst>
                <a:gd name="adj1" fmla="val 50000"/>
                <a:gd name="adj2" fmla="val 0"/>
              </a:avLst>
            </a:prstGeom>
            <a:solidFill>
              <a:schemeClr val="accent3"/>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grpSp>
      <p:grpSp>
        <p:nvGrpSpPr>
          <p:cNvPr id="91" name="Group 90">
            <a:extLst>
              <a:ext uri="{FF2B5EF4-FFF2-40B4-BE49-F238E27FC236}">
                <a16:creationId xmlns:a16="http://schemas.microsoft.com/office/drawing/2014/main" id="{33DA52BE-D44B-F542-B0E0-9D4C38581173}"/>
              </a:ext>
            </a:extLst>
          </p:cNvPr>
          <p:cNvGrpSpPr/>
          <p:nvPr/>
        </p:nvGrpSpPr>
        <p:grpSpPr>
          <a:xfrm>
            <a:off x="3804741" y="3502551"/>
            <a:ext cx="5698777" cy="91440"/>
            <a:chOff x="3570851" y="4858424"/>
            <a:chExt cx="5698777" cy="91440"/>
          </a:xfrm>
        </p:grpSpPr>
        <p:sp>
          <p:nvSpPr>
            <p:cNvPr id="92" name="Rectangle 91">
              <a:extLst>
                <a:ext uri="{FF2B5EF4-FFF2-40B4-BE49-F238E27FC236}">
                  <a16:creationId xmlns:a16="http://schemas.microsoft.com/office/drawing/2014/main" id="{D0EEFAF4-8BCA-EA48-BEEA-8C2599763D5D}"/>
                </a:ext>
              </a:extLst>
            </p:cNvPr>
            <p:cNvSpPr/>
            <p:nvPr/>
          </p:nvSpPr>
          <p:spPr>
            <a:xfrm>
              <a:off x="3600348" y="4890427"/>
              <a:ext cx="5669280" cy="27432"/>
            </a:xfrm>
            <a:prstGeom prst="rect">
              <a:avLst/>
            </a:prstGeom>
            <a:solidFill>
              <a:schemeClr val="bg2">
                <a:lumMod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93" name="Rectangle: Top Corners Rounded 85">
              <a:extLst>
                <a:ext uri="{FF2B5EF4-FFF2-40B4-BE49-F238E27FC236}">
                  <a16:creationId xmlns:a16="http://schemas.microsoft.com/office/drawing/2014/main" id="{F76706C2-D820-DB4E-AE87-FBF679C3C899}"/>
                </a:ext>
              </a:extLst>
            </p:cNvPr>
            <p:cNvSpPr/>
            <p:nvPr/>
          </p:nvSpPr>
          <p:spPr>
            <a:xfrm rot="16200000" flipV="1">
              <a:off x="5102471" y="3326804"/>
              <a:ext cx="91440" cy="3154680"/>
            </a:xfrm>
            <a:prstGeom prst="round2SameRect">
              <a:avLst>
                <a:gd name="adj1" fmla="val 50000"/>
                <a:gd name="adj2" fmla="val 0"/>
              </a:avLst>
            </a:prstGeom>
            <a:solidFill>
              <a:schemeClr val="accent4"/>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sp>
          <p:nvSpPr>
            <p:cNvPr id="94" name="Rectangle: Top Corners Rounded 87">
              <a:extLst>
                <a:ext uri="{FF2B5EF4-FFF2-40B4-BE49-F238E27FC236}">
                  <a16:creationId xmlns:a16="http://schemas.microsoft.com/office/drawing/2014/main" id="{4FAE5CE0-A758-5445-A89B-B1E1E72165BD}"/>
                </a:ext>
              </a:extLst>
            </p:cNvPr>
            <p:cNvSpPr/>
            <p:nvPr/>
          </p:nvSpPr>
          <p:spPr>
            <a:xfrm rot="16200000" flipV="1">
              <a:off x="4165211" y="4264064"/>
              <a:ext cx="91440" cy="1280160"/>
            </a:xfrm>
            <a:prstGeom prst="round2SameRect">
              <a:avLst>
                <a:gd name="adj1" fmla="val 50000"/>
                <a:gd name="adj2" fmla="val 0"/>
              </a:avLst>
            </a:prstGeom>
            <a:solidFill>
              <a:schemeClr val="accent1"/>
            </a:solidFill>
            <a:ln w="63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endParaRPr>
            </a:p>
          </p:txBody>
        </p:sp>
      </p:grpSp>
    </p:spTree>
    <p:extLst>
      <p:ext uri="{BB962C8B-B14F-4D97-AF65-F5344CB8AC3E}">
        <p14:creationId xmlns:p14="http://schemas.microsoft.com/office/powerpoint/2010/main" val="21362566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70FC5E0-AADB-A24D-8A55-C89B59D26CAA}"/>
              </a:ext>
            </a:extLst>
          </p:cNvPr>
          <p:cNvSpPr>
            <a:spLocks noGrp="1"/>
          </p:cNvSpPr>
          <p:nvPr>
            <p:ph type="body" sz="quarter" idx="10"/>
          </p:nvPr>
        </p:nvSpPr>
        <p:spPr/>
        <p:txBody>
          <a:bodyPr/>
          <a:lstStyle/>
          <a:p>
            <a:r>
              <a:rPr lang="en-US" dirty="0" err="1"/>
              <a:t>Colour</a:t>
            </a:r>
            <a:r>
              <a:rPr lang="en-US" dirty="0"/>
              <a:t> scheme and design elements</a:t>
            </a:r>
          </a:p>
        </p:txBody>
      </p:sp>
      <p:sp>
        <p:nvSpPr>
          <p:cNvPr id="2" name="TextBox 1">
            <a:extLst>
              <a:ext uri="{FF2B5EF4-FFF2-40B4-BE49-F238E27FC236}">
                <a16:creationId xmlns:a16="http://schemas.microsoft.com/office/drawing/2014/main" id="{13BA924F-467B-EB4F-BC8E-D9BA23E6B3BE}"/>
              </a:ext>
            </a:extLst>
          </p:cNvPr>
          <p:cNvSpPr txBox="1"/>
          <p:nvPr/>
        </p:nvSpPr>
        <p:spPr>
          <a:xfrm>
            <a:off x="9116499" y="433137"/>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a:endParaRPr lang="en-US" sz="1000" dirty="0" err="1">
              <a:solidFill>
                <a:schemeClr val="tx1"/>
              </a:solidFill>
            </a:endParaRPr>
          </a:p>
        </p:txBody>
      </p:sp>
    </p:spTree>
    <p:extLst>
      <p:ext uri="{BB962C8B-B14F-4D97-AF65-F5344CB8AC3E}">
        <p14:creationId xmlns:p14="http://schemas.microsoft.com/office/powerpoint/2010/main" val="32482531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467126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C046F978-4EB2-05F8-0DB4-966324481789}"/>
              </a:ext>
            </a:extLst>
          </p:cNvPr>
          <p:cNvGraphicFramePr>
            <a:graphicFrameLocks noChangeAspect="1"/>
          </p:cNvGraphicFramePr>
          <p:nvPr>
            <p:custDataLst>
              <p:tags r:id="rId1"/>
            </p:custDataLst>
            <p:extLst>
              <p:ext uri="{D42A27DB-BD31-4B8C-83A1-F6EECF244321}">
                <p14:modId xmlns:p14="http://schemas.microsoft.com/office/powerpoint/2010/main" val="3162050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4" progId="TCLayout.ActiveDocument.1">
                  <p:embed/>
                </p:oleObj>
              </mc:Choice>
              <mc:Fallback>
                <p:oleObj name="think-cell Slide" r:id="rId9" imgW="425" imgH="424" progId="TCLayout.ActiveDocument.1">
                  <p:embed/>
                  <p:pic>
                    <p:nvPicPr>
                      <p:cNvPr id="55" name="think-cell data - do not delete" hidden="1">
                        <a:extLst>
                          <a:ext uri="{FF2B5EF4-FFF2-40B4-BE49-F238E27FC236}">
                            <a16:creationId xmlns:a16="http://schemas.microsoft.com/office/drawing/2014/main" id="{C046F978-4EB2-05F8-0DB4-96632448178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D13F56D9-432D-9C62-0B28-ED6E25E88081}"/>
              </a:ext>
            </a:extLst>
          </p:cNvPr>
          <p:cNvSpPr>
            <a:spLocks noGrp="1"/>
          </p:cNvSpPr>
          <p:nvPr>
            <p:ph type="body" sz="quarter" idx="10"/>
          </p:nvPr>
        </p:nvSpPr>
        <p:spPr/>
        <p:txBody>
          <a:bodyPr/>
          <a:lstStyle/>
          <a:p>
            <a:endParaRPr lang="nl-NL"/>
          </a:p>
        </p:txBody>
      </p:sp>
      <p:sp>
        <p:nvSpPr>
          <p:cNvPr id="8" name="Title 7">
            <a:extLst>
              <a:ext uri="{FF2B5EF4-FFF2-40B4-BE49-F238E27FC236}">
                <a16:creationId xmlns:a16="http://schemas.microsoft.com/office/drawing/2014/main" id="{5088C15A-C182-1446-8C6C-732390AFA250}"/>
              </a:ext>
            </a:extLst>
          </p:cNvPr>
          <p:cNvSpPr>
            <a:spLocks noGrp="1"/>
          </p:cNvSpPr>
          <p:nvPr>
            <p:ph type="title"/>
          </p:nvPr>
        </p:nvSpPr>
        <p:spPr/>
        <p:txBody>
          <a:bodyPr vert="horz"/>
          <a:lstStyle/>
          <a:p>
            <a:r>
              <a:rPr lang="en-US" dirty="0"/>
              <a:t>Design elements</a:t>
            </a:r>
          </a:p>
        </p:txBody>
      </p:sp>
      <p:sp>
        <p:nvSpPr>
          <p:cNvPr id="18" name="Text Placeholder 17">
            <a:extLst>
              <a:ext uri="{FF2B5EF4-FFF2-40B4-BE49-F238E27FC236}">
                <a16:creationId xmlns:a16="http://schemas.microsoft.com/office/drawing/2014/main" id="{060DC194-9414-C852-028B-D6AE381C648C}"/>
              </a:ext>
            </a:extLst>
          </p:cNvPr>
          <p:cNvSpPr>
            <a:spLocks noGrp="1"/>
          </p:cNvSpPr>
          <p:nvPr>
            <p:ph type="body" sz="quarter" idx="27"/>
          </p:nvPr>
        </p:nvSpPr>
        <p:spPr/>
        <p:txBody>
          <a:bodyPr/>
          <a:lstStyle/>
          <a:p>
            <a:endParaRPr lang="nl-NL"/>
          </a:p>
        </p:txBody>
      </p:sp>
      <p:sp>
        <p:nvSpPr>
          <p:cNvPr id="36" name="Freeform 35">
            <a:extLst>
              <a:ext uri="{FF2B5EF4-FFF2-40B4-BE49-F238E27FC236}">
                <a16:creationId xmlns:a16="http://schemas.microsoft.com/office/drawing/2014/main" id="{0AAC1F2C-44EB-E34F-892E-3F2BA19B03DC}"/>
              </a:ext>
            </a:extLst>
          </p:cNvPr>
          <p:cNvSpPr/>
          <p:nvPr/>
        </p:nvSpPr>
        <p:spPr>
          <a:xfrm>
            <a:off x="7512267" y="2698324"/>
            <a:ext cx="2001333" cy="1191675"/>
          </a:xfrm>
          <a:custGeom>
            <a:avLst/>
            <a:gdLst>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 name="connsiteX0" fmla="*/ 0 w 1754842"/>
              <a:gd name="connsiteY0" fmla="*/ 1042147 h 1042147"/>
              <a:gd name="connsiteX1" fmla="*/ 1754842 w 1754842"/>
              <a:gd name="connsiteY1" fmla="*/ 1042147 h 1042147"/>
              <a:gd name="connsiteX2" fmla="*/ 1754842 w 1754842"/>
              <a:gd name="connsiteY2" fmla="*/ 0 h 1042147"/>
              <a:gd name="connsiteX3" fmla="*/ 0 w 1754842"/>
              <a:gd name="connsiteY3" fmla="*/ 1042147 h 1042147"/>
            </a:gdLst>
            <a:ahLst/>
            <a:cxnLst>
              <a:cxn ang="0">
                <a:pos x="connsiteX0" y="connsiteY0"/>
              </a:cxn>
              <a:cxn ang="0">
                <a:pos x="connsiteX1" y="connsiteY1"/>
              </a:cxn>
              <a:cxn ang="0">
                <a:pos x="connsiteX2" y="connsiteY2"/>
              </a:cxn>
              <a:cxn ang="0">
                <a:pos x="connsiteX3" y="connsiteY3"/>
              </a:cxn>
            </a:cxnLst>
            <a:rect l="l" t="t" r="r" b="b"/>
            <a:pathLst>
              <a:path w="1754842" h="1042147">
                <a:moveTo>
                  <a:pt x="0" y="1042147"/>
                </a:moveTo>
                <a:lnTo>
                  <a:pt x="1754842" y="1042147"/>
                </a:lnTo>
                <a:lnTo>
                  <a:pt x="1754842" y="0"/>
                </a:lnTo>
                <a:cubicBezTo>
                  <a:pt x="1239530" y="142875"/>
                  <a:pt x="410659" y="630331"/>
                  <a:pt x="0" y="1042147"/>
                </a:cubicBezTo>
                <a:close/>
              </a:path>
            </a:pathLst>
          </a:cu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1000" dirty="0" err="1">
              <a:solidFill>
                <a:schemeClr val="bg1"/>
              </a:solidFill>
            </a:endParaRPr>
          </a:p>
        </p:txBody>
      </p:sp>
      <p:sp>
        <p:nvSpPr>
          <p:cNvPr id="38" name="Rectangle 37">
            <a:extLst>
              <a:ext uri="{FF2B5EF4-FFF2-40B4-BE49-F238E27FC236}">
                <a16:creationId xmlns:a16="http://schemas.microsoft.com/office/drawing/2014/main" id="{134B18A5-4741-7A4D-882F-7C3BA2696F96}"/>
              </a:ext>
            </a:extLst>
          </p:cNvPr>
          <p:cNvSpPr/>
          <p:nvPr/>
        </p:nvSpPr>
        <p:spPr>
          <a:xfrm>
            <a:off x="7338197" y="1397099"/>
            <a:ext cx="2175403" cy="2505783"/>
          </a:xfrm>
          <a:prstGeom prst="rect">
            <a:avLst/>
          </a:prstGeom>
          <a:no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square" lIns="72000" tIns="108000" rIns="108000" bIns="36000" rtlCol="0" anchor="t" anchorCtr="0"/>
          <a:lstStyle/>
          <a:p>
            <a:r>
              <a:rPr lang="en-GB" sz="1200" dirty="0">
                <a:solidFill>
                  <a:schemeClr val="accent1"/>
                </a:solidFill>
                <a:latin typeface="Roboto Medium" pitchFamily="2" charset="0"/>
                <a:ea typeface="Roboto Medium" pitchFamily="2" charset="0"/>
                <a:cs typeface="Roboto Light" panose="02000000000000000000" pitchFamily="2" charset="0"/>
              </a:rPr>
              <a:t>Remember</a:t>
            </a:r>
            <a:r>
              <a:rPr lang="en-GB" sz="1200" b="1" dirty="0">
                <a:solidFill>
                  <a:schemeClr val="accent1"/>
                </a:solidFill>
                <a:latin typeface="Roboto Light" panose="02000000000000000000" pitchFamily="2" charset="0"/>
                <a:ea typeface="Roboto Light" panose="02000000000000000000" pitchFamily="2" charset="0"/>
                <a:cs typeface="Roboto Light" panose="02000000000000000000" pitchFamily="2" charset="0"/>
              </a:rPr>
              <a:t> …</a:t>
            </a:r>
          </a:p>
          <a:p>
            <a:endParaRPr lang="en-GB" sz="1200" dirty="0">
              <a:solidFill>
                <a:schemeClr val="accent1"/>
              </a:solidFill>
              <a:latin typeface="Roboto Light" panose="02000000000000000000" pitchFamily="2" charset="0"/>
              <a:ea typeface="Roboto Light" panose="02000000000000000000" pitchFamily="2" charset="0"/>
              <a:cs typeface="Roboto Light" panose="02000000000000000000" pitchFamily="2" charset="0"/>
            </a:endParaRPr>
          </a:p>
          <a:p>
            <a:r>
              <a:rPr lang="en-GB" sz="1200" dirty="0">
                <a:solidFill>
                  <a:schemeClr val="accent1"/>
                </a:solidFill>
                <a:latin typeface="Roboto Light" panose="02000000000000000000" pitchFamily="2" charset="0"/>
                <a:ea typeface="Roboto Light" panose="02000000000000000000" pitchFamily="2" charset="0"/>
                <a:cs typeface="Roboto Light" panose="02000000000000000000" pitchFamily="2" charset="0"/>
              </a:rPr>
              <a:t>We are investors first and foremost and investors will judge us against other private equity managers</a:t>
            </a:r>
          </a:p>
        </p:txBody>
      </p:sp>
      <p:sp>
        <p:nvSpPr>
          <p:cNvPr id="40" name="Rectangle 39">
            <a:extLst>
              <a:ext uri="{FF2B5EF4-FFF2-40B4-BE49-F238E27FC236}">
                <a16:creationId xmlns:a16="http://schemas.microsoft.com/office/drawing/2014/main" id="{6B8DC3E9-66D2-4646-9F17-F58C7EC11D31}"/>
              </a:ext>
            </a:extLst>
          </p:cNvPr>
          <p:cNvSpPr/>
          <p:nvPr/>
        </p:nvSpPr>
        <p:spPr>
          <a:xfrm>
            <a:off x="7338198" y="1397098"/>
            <a:ext cx="2175402" cy="250578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1000" dirty="0" err="1">
              <a:solidFill>
                <a:schemeClr val="bg1"/>
              </a:solidFill>
            </a:endParaRPr>
          </a:p>
        </p:txBody>
      </p:sp>
      <p:sp>
        <p:nvSpPr>
          <p:cNvPr id="42" name="Shape 45">
            <a:extLst>
              <a:ext uri="{FF2B5EF4-FFF2-40B4-BE49-F238E27FC236}">
                <a16:creationId xmlns:a16="http://schemas.microsoft.com/office/drawing/2014/main" id="{3E3A5645-3743-F448-878F-D3160696B1F0}"/>
              </a:ext>
            </a:extLst>
          </p:cNvPr>
          <p:cNvSpPr/>
          <p:nvPr/>
        </p:nvSpPr>
        <p:spPr>
          <a:xfrm rot="10800000" flipH="1" flipV="1">
            <a:off x="547775" y="5481405"/>
            <a:ext cx="943799" cy="614734"/>
          </a:xfrm>
          <a:custGeom>
            <a:avLst/>
            <a:gdLst>
              <a:gd name="connsiteX0" fmla="*/ 0 w 2237574"/>
              <a:gd name="connsiteY0" fmla="*/ 1051684 h 1051684"/>
              <a:gd name="connsiteX1" fmla="*/ 2043202 w 2237574"/>
              <a:gd name="connsiteY1" fmla="*/ 131461 h 1051684"/>
              <a:gd name="connsiteX2" fmla="*/ 2028390 w 2237574"/>
              <a:gd name="connsiteY2" fmla="*/ 0 h 1051684"/>
              <a:gd name="connsiteX3" fmla="*/ 2237574 w 2237574"/>
              <a:gd name="connsiteY3" fmla="*/ 171477 h 1051684"/>
              <a:gd name="connsiteX4" fmla="*/ 2078881 w 2237574"/>
              <a:gd name="connsiteY4" fmla="*/ 448123 h 1051684"/>
              <a:gd name="connsiteX5" fmla="*/ 2064069 w 2237574"/>
              <a:gd name="connsiteY5" fmla="*/ 316662 h 1051684"/>
              <a:gd name="connsiteX6" fmla="*/ 0 w 2237574"/>
              <a:gd name="connsiteY6" fmla="*/ 1051684 h 1051684"/>
              <a:gd name="connsiteX0" fmla="*/ 0 w 2245565"/>
              <a:gd name="connsiteY0" fmla="*/ 1051684 h 1051684"/>
              <a:gd name="connsiteX1" fmla="*/ 2043202 w 2245565"/>
              <a:gd name="connsiteY1" fmla="*/ 131461 h 1051684"/>
              <a:gd name="connsiteX2" fmla="*/ 2028390 w 2245565"/>
              <a:gd name="connsiteY2" fmla="*/ 0 h 1051684"/>
              <a:gd name="connsiteX3" fmla="*/ 2245565 w 2245565"/>
              <a:gd name="connsiteY3" fmla="*/ 205726 h 1051684"/>
              <a:gd name="connsiteX4" fmla="*/ 2078881 w 2245565"/>
              <a:gd name="connsiteY4" fmla="*/ 448123 h 1051684"/>
              <a:gd name="connsiteX5" fmla="*/ 2064069 w 2245565"/>
              <a:gd name="connsiteY5" fmla="*/ 316662 h 1051684"/>
              <a:gd name="connsiteX6" fmla="*/ 0 w 2245565"/>
              <a:gd name="connsiteY6" fmla="*/ 1051684 h 105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5565" h="1051684">
                <a:moveTo>
                  <a:pt x="0" y="1051684"/>
                </a:moveTo>
                <a:cubicBezTo>
                  <a:pt x="248619" y="584269"/>
                  <a:pt x="929687" y="277528"/>
                  <a:pt x="2043202" y="131461"/>
                </a:cubicBezTo>
                <a:lnTo>
                  <a:pt x="2028390" y="0"/>
                </a:lnTo>
                <a:lnTo>
                  <a:pt x="2245565" y="205726"/>
                </a:lnTo>
                <a:lnTo>
                  <a:pt x="2078881" y="448123"/>
                </a:lnTo>
                <a:lnTo>
                  <a:pt x="2064069" y="316662"/>
                </a:lnTo>
                <a:cubicBezTo>
                  <a:pt x="1060952" y="375089"/>
                  <a:pt x="372929" y="620096"/>
                  <a:pt x="0" y="1051684"/>
                </a:cubicBezTo>
                <a:close/>
              </a:path>
            </a:pathLst>
          </a:custGeom>
          <a:solidFill>
            <a:srgbClr val="5B8772"/>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GB" dirty="0">
              <a:latin typeface="Roboto Light" panose="02000000000000000000" pitchFamily="2" charset="0"/>
              <a:ea typeface="Roboto Light" panose="02000000000000000000" pitchFamily="2" charset="0"/>
              <a:cs typeface="Roboto Light" panose="02000000000000000000" pitchFamily="2" charset="0"/>
            </a:endParaRPr>
          </a:p>
        </p:txBody>
      </p:sp>
      <p:sp>
        <p:nvSpPr>
          <p:cNvPr id="43" name="Triangle 42">
            <a:extLst>
              <a:ext uri="{FF2B5EF4-FFF2-40B4-BE49-F238E27FC236}">
                <a16:creationId xmlns:a16="http://schemas.microsoft.com/office/drawing/2014/main" id="{73601210-9879-CC40-978F-FAE37EE7BAC8}"/>
              </a:ext>
            </a:extLst>
          </p:cNvPr>
          <p:cNvSpPr/>
          <p:nvPr/>
        </p:nvSpPr>
        <p:spPr>
          <a:xfrm rot="5400000">
            <a:off x="6677870" y="1909924"/>
            <a:ext cx="347445" cy="299521"/>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1000" dirty="0" err="1">
              <a:solidFill>
                <a:schemeClr val="bg1"/>
              </a:solidFill>
            </a:endParaRPr>
          </a:p>
        </p:txBody>
      </p:sp>
      <p:sp>
        <p:nvSpPr>
          <p:cNvPr id="44" name="Oval 43">
            <a:extLst>
              <a:ext uri="{FF2B5EF4-FFF2-40B4-BE49-F238E27FC236}">
                <a16:creationId xmlns:a16="http://schemas.microsoft.com/office/drawing/2014/main" id="{19E6A572-2087-F64D-9B3A-87BCC0C92105}"/>
              </a:ext>
            </a:extLst>
          </p:cNvPr>
          <p:cNvSpPr/>
          <p:nvPr/>
        </p:nvSpPr>
        <p:spPr>
          <a:xfrm>
            <a:off x="6004464" y="1689976"/>
            <a:ext cx="757003" cy="757003"/>
          </a:xfrm>
          <a:prstGeom prst="ellipse">
            <a:avLst/>
          </a:prstGeom>
          <a:solidFill>
            <a:schemeClr val="bg1"/>
          </a:solidFill>
          <a:ln w="762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2000" dirty="0" err="1">
              <a:solidFill>
                <a:schemeClr val="accent1"/>
              </a:solidFill>
              <a:latin typeface="Roboto Light" panose="02000000000000000000" pitchFamily="2" charset="0"/>
              <a:ea typeface="Roboto Light" panose="02000000000000000000" pitchFamily="2" charset="0"/>
              <a:cs typeface="Roboto Light" panose="02000000000000000000" pitchFamily="2" charset="0"/>
            </a:endParaRPr>
          </a:p>
        </p:txBody>
      </p:sp>
      <p:sp>
        <p:nvSpPr>
          <p:cNvPr id="45" name="Oval 44">
            <a:extLst>
              <a:ext uri="{FF2B5EF4-FFF2-40B4-BE49-F238E27FC236}">
                <a16:creationId xmlns:a16="http://schemas.microsoft.com/office/drawing/2014/main" id="{4C40F3B3-E60C-C94C-8AD9-6B541F48906C}"/>
              </a:ext>
            </a:extLst>
          </p:cNvPr>
          <p:cNvSpPr/>
          <p:nvPr/>
        </p:nvSpPr>
        <p:spPr>
          <a:xfrm>
            <a:off x="6064100" y="1749613"/>
            <a:ext cx="637732" cy="637730"/>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r>
              <a:rPr lang="en-US" sz="2000" dirty="0">
                <a:solidFill>
                  <a:schemeClr val="accent1"/>
                </a:solidFill>
                <a:latin typeface="Roboto Light" panose="02000000000000000000" pitchFamily="2" charset="0"/>
                <a:ea typeface="Roboto Light" panose="02000000000000000000" pitchFamily="2" charset="0"/>
                <a:cs typeface="Roboto Light" panose="02000000000000000000" pitchFamily="2" charset="0"/>
              </a:rPr>
              <a:t>1</a:t>
            </a:r>
          </a:p>
        </p:txBody>
      </p:sp>
      <p:sp>
        <p:nvSpPr>
          <p:cNvPr id="46" name="Triangle 45">
            <a:extLst>
              <a:ext uri="{FF2B5EF4-FFF2-40B4-BE49-F238E27FC236}">
                <a16:creationId xmlns:a16="http://schemas.microsoft.com/office/drawing/2014/main" id="{37A02833-EE9C-044D-95F0-0E56B4D6C22F}"/>
              </a:ext>
            </a:extLst>
          </p:cNvPr>
          <p:cNvSpPr/>
          <p:nvPr/>
        </p:nvSpPr>
        <p:spPr>
          <a:xfrm rot="5400000">
            <a:off x="6677870" y="2964623"/>
            <a:ext cx="347445" cy="299521"/>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1000" dirty="0" err="1">
              <a:solidFill>
                <a:schemeClr val="bg1"/>
              </a:solidFill>
            </a:endParaRPr>
          </a:p>
        </p:txBody>
      </p:sp>
      <p:sp>
        <p:nvSpPr>
          <p:cNvPr id="47" name="Oval 46">
            <a:extLst>
              <a:ext uri="{FF2B5EF4-FFF2-40B4-BE49-F238E27FC236}">
                <a16:creationId xmlns:a16="http://schemas.microsoft.com/office/drawing/2014/main" id="{466D4781-0D5A-DE42-A56D-E0DF54458C2E}"/>
              </a:ext>
            </a:extLst>
          </p:cNvPr>
          <p:cNvSpPr/>
          <p:nvPr/>
        </p:nvSpPr>
        <p:spPr>
          <a:xfrm>
            <a:off x="6004464" y="2744675"/>
            <a:ext cx="757003" cy="757003"/>
          </a:xfrm>
          <a:prstGeom prst="ellipse">
            <a:avLst/>
          </a:prstGeom>
          <a:solidFill>
            <a:schemeClr val="bg1"/>
          </a:solidFill>
          <a:ln w="762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2000" dirty="0" err="1">
              <a:solidFill>
                <a:schemeClr val="accent1"/>
              </a:solidFill>
              <a:latin typeface="Roboto Light" panose="02000000000000000000" pitchFamily="2" charset="0"/>
              <a:ea typeface="Roboto Light" panose="02000000000000000000" pitchFamily="2" charset="0"/>
              <a:cs typeface="Roboto Light" panose="02000000000000000000" pitchFamily="2" charset="0"/>
            </a:endParaRPr>
          </a:p>
        </p:txBody>
      </p:sp>
      <p:sp>
        <p:nvSpPr>
          <p:cNvPr id="48" name="Oval 47">
            <a:extLst>
              <a:ext uri="{FF2B5EF4-FFF2-40B4-BE49-F238E27FC236}">
                <a16:creationId xmlns:a16="http://schemas.microsoft.com/office/drawing/2014/main" id="{756D642C-1721-464C-AB3E-FC9D5F6E4F56}"/>
              </a:ext>
            </a:extLst>
          </p:cNvPr>
          <p:cNvSpPr/>
          <p:nvPr/>
        </p:nvSpPr>
        <p:spPr>
          <a:xfrm>
            <a:off x="6064100" y="2804312"/>
            <a:ext cx="637732" cy="637730"/>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r>
              <a:rPr lang="en-US" sz="2000" dirty="0">
                <a:solidFill>
                  <a:schemeClr val="accent1"/>
                </a:solidFill>
                <a:latin typeface="Roboto Light" panose="02000000000000000000" pitchFamily="2" charset="0"/>
                <a:ea typeface="Roboto Light" panose="02000000000000000000" pitchFamily="2" charset="0"/>
                <a:cs typeface="Roboto Light" panose="02000000000000000000" pitchFamily="2" charset="0"/>
              </a:rPr>
              <a:t>2</a:t>
            </a:r>
          </a:p>
        </p:txBody>
      </p:sp>
      <p:sp>
        <p:nvSpPr>
          <p:cNvPr id="49" name="Down Arrow 48">
            <a:extLst>
              <a:ext uri="{FF2B5EF4-FFF2-40B4-BE49-F238E27FC236}">
                <a16:creationId xmlns:a16="http://schemas.microsoft.com/office/drawing/2014/main" id="{45316416-353B-1D47-A12D-0778A8CDD416}"/>
              </a:ext>
            </a:extLst>
          </p:cNvPr>
          <p:cNvSpPr/>
          <p:nvPr/>
        </p:nvSpPr>
        <p:spPr>
          <a:xfrm>
            <a:off x="1764610" y="5544895"/>
            <a:ext cx="492552" cy="539460"/>
          </a:xfrm>
          <a:prstGeom prst="downArrow">
            <a:avLst>
              <a:gd name="adj1" fmla="val 100000"/>
              <a:gd name="adj2" fmla="val 35266"/>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r>
              <a:rPr lang="en-US" sz="1000"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Today</a:t>
            </a:r>
          </a:p>
        </p:txBody>
      </p:sp>
      <p:sp>
        <p:nvSpPr>
          <p:cNvPr id="50" name="Oval 49">
            <a:extLst>
              <a:ext uri="{FF2B5EF4-FFF2-40B4-BE49-F238E27FC236}">
                <a16:creationId xmlns:a16="http://schemas.microsoft.com/office/drawing/2014/main" id="{67CED8A4-7AB9-2540-91DF-D8FA49C8CA8B}"/>
              </a:ext>
            </a:extLst>
          </p:cNvPr>
          <p:cNvSpPr/>
          <p:nvPr/>
        </p:nvSpPr>
        <p:spPr>
          <a:xfrm>
            <a:off x="2572546" y="5469342"/>
            <a:ext cx="283129" cy="283129"/>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3231" tIns="33231" rIns="33231" bIns="33231" rtlCol="0" anchor="ctr" anchorCtr="0"/>
          <a:lstStyle/>
          <a:p>
            <a:pPr algn="ctr" defTabSz="422041">
              <a:defRPr/>
            </a:pPr>
            <a:r>
              <a:rPr lang="en-CA" sz="1015" b="1" dirty="0">
                <a:solidFill>
                  <a:srgbClr val="FFFFFF"/>
                </a:solidFill>
                <a:latin typeface="ROBOTO LIGHT" panose="02000000000000000000" pitchFamily="2" charset="0"/>
                <a:ea typeface="ROBOTO LIGHT" panose="02000000000000000000" pitchFamily="2" charset="0"/>
                <a:cs typeface="ROBOTO LIGHT" panose="02000000000000000000" pitchFamily="2" charset="0"/>
              </a:rPr>
              <a:t>1</a:t>
            </a:r>
            <a:endParaRPr lang="en-GB" sz="1015" b="1" dirty="0" err="1">
              <a:solidFill>
                <a:srgbClr val="FFFFFF"/>
              </a:solidFill>
              <a:latin typeface="ROBOTO LIGHT" panose="02000000000000000000" pitchFamily="2" charset="0"/>
              <a:ea typeface="ROBOTO LIGHT" panose="02000000000000000000" pitchFamily="2" charset="0"/>
              <a:cs typeface="ROBOTO LIGHT" panose="02000000000000000000" pitchFamily="2" charset="0"/>
            </a:endParaRPr>
          </a:p>
        </p:txBody>
      </p:sp>
      <p:sp>
        <p:nvSpPr>
          <p:cNvPr id="51" name="Oval 50">
            <a:extLst>
              <a:ext uri="{FF2B5EF4-FFF2-40B4-BE49-F238E27FC236}">
                <a16:creationId xmlns:a16="http://schemas.microsoft.com/office/drawing/2014/main" id="{F28717B1-3EA0-B645-90A7-5AAD2D22F7E9}"/>
              </a:ext>
            </a:extLst>
          </p:cNvPr>
          <p:cNvSpPr/>
          <p:nvPr/>
        </p:nvSpPr>
        <p:spPr>
          <a:xfrm>
            <a:off x="2571163" y="5811402"/>
            <a:ext cx="283129" cy="283129"/>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3231" tIns="33231" rIns="33231" bIns="33231" rtlCol="0" anchor="ctr" anchorCtr="0"/>
          <a:lstStyle/>
          <a:p>
            <a:pPr algn="ctr" defTabSz="422041">
              <a:defRPr/>
            </a:pPr>
            <a:r>
              <a:rPr lang="en-CA" sz="1015" b="1" dirty="0">
                <a:solidFill>
                  <a:srgbClr val="FFFFFF"/>
                </a:solidFill>
                <a:latin typeface="ROBOTO LIGHT" panose="02000000000000000000" pitchFamily="2" charset="0"/>
                <a:ea typeface="ROBOTO LIGHT" panose="02000000000000000000" pitchFamily="2" charset="0"/>
                <a:cs typeface="ROBOTO LIGHT" panose="02000000000000000000" pitchFamily="2" charset="0"/>
              </a:rPr>
              <a:t>3</a:t>
            </a:r>
            <a:endParaRPr lang="en-GB" sz="1015" b="1" dirty="0" err="1">
              <a:solidFill>
                <a:srgbClr val="FFFFFF"/>
              </a:solidFill>
              <a:latin typeface="ROBOTO LIGHT" panose="02000000000000000000" pitchFamily="2" charset="0"/>
              <a:ea typeface="ROBOTO LIGHT" panose="02000000000000000000" pitchFamily="2" charset="0"/>
              <a:cs typeface="ROBOTO LIGHT" panose="02000000000000000000" pitchFamily="2" charset="0"/>
            </a:endParaRPr>
          </a:p>
        </p:txBody>
      </p:sp>
      <p:sp>
        <p:nvSpPr>
          <p:cNvPr id="53" name="Oval 52">
            <a:extLst>
              <a:ext uri="{FF2B5EF4-FFF2-40B4-BE49-F238E27FC236}">
                <a16:creationId xmlns:a16="http://schemas.microsoft.com/office/drawing/2014/main" id="{BF2A344B-5B6D-C64B-97CB-B0EFB6E01CBA}"/>
              </a:ext>
            </a:extLst>
          </p:cNvPr>
          <p:cNvSpPr/>
          <p:nvPr/>
        </p:nvSpPr>
        <p:spPr>
          <a:xfrm>
            <a:off x="2900044" y="5669837"/>
            <a:ext cx="283129" cy="283129"/>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3231" tIns="33231" rIns="33231" bIns="33231" rtlCol="0" anchor="ctr" anchorCtr="0"/>
          <a:lstStyle/>
          <a:p>
            <a:pPr algn="ctr" defTabSz="422041">
              <a:defRPr/>
            </a:pPr>
            <a:r>
              <a:rPr lang="en-CA" sz="1015" b="1" dirty="0">
                <a:solidFill>
                  <a:srgbClr val="FFFFFF"/>
                </a:solidFill>
                <a:latin typeface="ROBOTO LIGHT" panose="02000000000000000000" pitchFamily="2" charset="0"/>
                <a:ea typeface="ROBOTO LIGHT" panose="02000000000000000000" pitchFamily="2" charset="0"/>
                <a:cs typeface="ROBOTO LIGHT" panose="02000000000000000000" pitchFamily="2" charset="0"/>
              </a:rPr>
              <a:t>2</a:t>
            </a:r>
            <a:endParaRPr lang="en-GB" sz="1015" b="1" dirty="0" err="1">
              <a:solidFill>
                <a:srgbClr val="FFFFFF"/>
              </a:solidFill>
              <a:latin typeface="ROBOTO LIGHT" panose="02000000000000000000" pitchFamily="2" charset="0"/>
              <a:ea typeface="ROBOTO LIGHT" panose="02000000000000000000" pitchFamily="2" charset="0"/>
              <a:cs typeface="ROBOTO LIGHT" panose="02000000000000000000" pitchFamily="2" charset="0"/>
            </a:endParaRPr>
          </a:p>
        </p:txBody>
      </p:sp>
      <p:sp>
        <p:nvSpPr>
          <p:cNvPr id="54" name="Oval 53">
            <a:extLst>
              <a:ext uri="{FF2B5EF4-FFF2-40B4-BE49-F238E27FC236}">
                <a16:creationId xmlns:a16="http://schemas.microsoft.com/office/drawing/2014/main" id="{B69180BB-2F5D-2447-88A7-435F7C95DE5A}"/>
              </a:ext>
            </a:extLst>
          </p:cNvPr>
          <p:cNvSpPr/>
          <p:nvPr/>
        </p:nvSpPr>
        <p:spPr>
          <a:xfrm>
            <a:off x="2900044" y="6011897"/>
            <a:ext cx="283129" cy="283129"/>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3231" tIns="33231" rIns="33231" bIns="33231" rtlCol="0" anchor="ctr" anchorCtr="0"/>
          <a:lstStyle/>
          <a:p>
            <a:pPr algn="ctr" defTabSz="422041">
              <a:defRPr/>
            </a:pPr>
            <a:r>
              <a:rPr lang="en-CA" sz="1015" b="1" dirty="0">
                <a:solidFill>
                  <a:srgbClr val="FFFFFF"/>
                </a:solidFill>
                <a:latin typeface="ROBOTO LIGHT" panose="02000000000000000000" pitchFamily="2" charset="0"/>
                <a:ea typeface="ROBOTO LIGHT" panose="02000000000000000000" pitchFamily="2" charset="0"/>
                <a:cs typeface="ROBOTO LIGHT" panose="02000000000000000000" pitchFamily="2" charset="0"/>
              </a:rPr>
              <a:t>4</a:t>
            </a:r>
            <a:endParaRPr lang="en-GB" sz="1015" b="1" dirty="0" err="1">
              <a:solidFill>
                <a:srgbClr val="FFFFFF"/>
              </a:solidFill>
              <a:latin typeface="ROBOTO LIGHT" panose="02000000000000000000" pitchFamily="2" charset="0"/>
              <a:ea typeface="ROBOTO LIGHT" panose="02000000000000000000" pitchFamily="2" charset="0"/>
              <a:cs typeface="ROBOTO LIGHT" panose="02000000000000000000" pitchFamily="2" charset="0"/>
            </a:endParaRPr>
          </a:p>
        </p:txBody>
      </p:sp>
      <p:sp>
        <p:nvSpPr>
          <p:cNvPr id="56" name="Shape 45">
            <a:extLst>
              <a:ext uri="{FF2B5EF4-FFF2-40B4-BE49-F238E27FC236}">
                <a16:creationId xmlns:a16="http://schemas.microsoft.com/office/drawing/2014/main" id="{CCCEC9D0-1BFC-2E43-B515-3131B7BAFB13}"/>
              </a:ext>
            </a:extLst>
          </p:cNvPr>
          <p:cNvSpPr/>
          <p:nvPr/>
        </p:nvSpPr>
        <p:spPr>
          <a:xfrm rot="5400000">
            <a:off x="1107357" y="5851427"/>
            <a:ext cx="315658" cy="289538"/>
          </a:xfrm>
          <a:custGeom>
            <a:avLst/>
            <a:gdLst>
              <a:gd name="connsiteX0" fmla="*/ 0 w 2237574"/>
              <a:gd name="connsiteY0" fmla="*/ 1051684 h 1051684"/>
              <a:gd name="connsiteX1" fmla="*/ 2043202 w 2237574"/>
              <a:gd name="connsiteY1" fmla="*/ 131461 h 1051684"/>
              <a:gd name="connsiteX2" fmla="*/ 2028390 w 2237574"/>
              <a:gd name="connsiteY2" fmla="*/ 0 h 1051684"/>
              <a:gd name="connsiteX3" fmla="*/ 2237574 w 2237574"/>
              <a:gd name="connsiteY3" fmla="*/ 171477 h 1051684"/>
              <a:gd name="connsiteX4" fmla="*/ 2078881 w 2237574"/>
              <a:gd name="connsiteY4" fmla="*/ 448123 h 1051684"/>
              <a:gd name="connsiteX5" fmla="*/ 2064069 w 2237574"/>
              <a:gd name="connsiteY5" fmla="*/ 316662 h 1051684"/>
              <a:gd name="connsiteX6" fmla="*/ 0 w 2237574"/>
              <a:gd name="connsiteY6" fmla="*/ 1051684 h 1051684"/>
              <a:gd name="connsiteX0" fmla="*/ 0 w 2245565"/>
              <a:gd name="connsiteY0" fmla="*/ 1051684 h 1051684"/>
              <a:gd name="connsiteX1" fmla="*/ 2043202 w 2245565"/>
              <a:gd name="connsiteY1" fmla="*/ 131461 h 1051684"/>
              <a:gd name="connsiteX2" fmla="*/ 2028390 w 2245565"/>
              <a:gd name="connsiteY2" fmla="*/ 0 h 1051684"/>
              <a:gd name="connsiteX3" fmla="*/ 2245565 w 2245565"/>
              <a:gd name="connsiteY3" fmla="*/ 205726 h 1051684"/>
              <a:gd name="connsiteX4" fmla="*/ 2078881 w 2245565"/>
              <a:gd name="connsiteY4" fmla="*/ 448123 h 1051684"/>
              <a:gd name="connsiteX5" fmla="*/ 2064069 w 2245565"/>
              <a:gd name="connsiteY5" fmla="*/ 316662 h 1051684"/>
              <a:gd name="connsiteX6" fmla="*/ 0 w 2245565"/>
              <a:gd name="connsiteY6" fmla="*/ 1051684 h 1051684"/>
              <a:gd name="connsiteX0" fmla="*/ 0 w 2513878"/>
              <a:gd name="connsiteY0" fmla="*/ 1051684 h 1051684"/>
              <a:gd name="connsiteX1" fmla="*/ 2043202 w 2513878"/>
              <a:gd name="connsiteY1" fmla="*/ 131461 h 1051684"/>
              <a:gd name="connsiteX2" fmla="*/ 2028390 w 2513878"/>
              <a:gd name="connsiteY2" fmla="*/ 0 h 1051684"/>
              <a:gd name="connsiteX3" fmla="*/ 2513874 w 2513878"/>
              <a:gd name="connsiteY3" fmla="*/ 205723 h 1051684"/>
              <a:gd name="connsiteX4" fmla="*/ 2078881 w 2513878"/>
              <a:gd name="connsiteY4" fmla="*/ 448123 h 1051684"/>
              <a:gd name="connsiteX5" fmla="*/ 2064069 w 2513878"/>
              <a:gd name="connsiteY5" fmla="*/ 316662 h 1051684"/>
              <a:gd name="connsiteX6" fmla="*/ 0 w 2513878"/>
              <a:gd name="connsiteY6" fmla="*/ 1051684 h 105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3878" h="1051684">
                <a:moveTo>
                  <a:pt x="0" y="1051684"/>
                </a:moveTo>
                <a:cubicBezTo>
                  <a:pt x="248619" y="584269"/>
                  <a:pt x="929687" y="277528"/>
                  <a:pt x="2043202" y="131461"/>
                </a:cubicBezTo>
                <a:lnTo>
                  <a:pt x="2028390" y="0"/>
                </a:lnTo>
                <a:lnTo>
                  <a:pt x="2513874" y="205723"/>
                </a:lnTo>
                <a:lnTo>
                  <a:pt x="2078881" y="448123"/>
                </a:lnTo>
                <a:lnTo>
                  <a:pt x="2064069" y="316662"/>
                </a:lnTo>
                <a:cubicBezTo>
                  <a:pt x="1060952" y="375089"/>
                  <a:pt x="372929" y="620096"/>
                  <a:pt x="0" y="1051684"/>
                </a:cubicBezTo>
                <a:close/>
              </a:path>
            </a:pathLst>
          </a:custGeom>
          <a:solidFill>
            <a:srgbClr val="9C1221"/>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GB" dirty="0">
              <a:latin typeface="Roboto Light" panose="02000000000000000000" pitchFamily="2" charset="0"/>
              <a:ea typeface="Roboto Light" panose="02000000000000000000" pitchFamily="2" charset="0"/>
              <a:cs typeface="Roboto Light" panose="02000000000000000000" pitchFamily="2" charset="0"/>
            </a:endParaRPr>
          </a:p>
        </p:txBody>
      </p:sp>
      <p:sp>
        <p:nvSpPr>
          <p:cNvPr id="52" name="TextBox 51">
            <a:extLst>
              <a:ext uri="{FF2B5EF4-FFF2-40B4-BE49-F238E27FC236}">
                <a16:creationId xmlns:a16="http://schemas.microsoft.com/office/drawing/2014/main" id="{43DB8F7D-3CC3-B948-B248-64C70CB7BC3D}"/>
              </a:ext>
            </a:extLst>
          </p:cNvPr>
          <p:cNvSpPr txBox="1"/>
          <p:nvPr/>
        </p:nvSpPr>
        <p:spPr>
          <a:xfrm>
            <a:off x="3614712" y="5384930"/>
            <a:ext cx="504000" cy="504000"/>
          </a:xfrm>
          <a:prstGeom prst="ellipse">
            <a:avLst/>
          </a:prstGeom>
          <a:solidFill>
            <a:schemeClr val="accent1"/>
          </a:solidFill>
        </p:spPr>
        <p:txBody>
          <a:bodyPr wrap="none" lIns="0" tIns="0" rIns="0" bIns="0" rtlCol="0" anchor="ctr" anchorCtr="0">
            <a:noAutofit/>
          </a:bodyPr>
          <a:lstStyle/>
          <a:p>
            <a:pPr marL="0" marR="0" lvl="0" indent="0" algn="l" defTabSz="742950" rtl="0" eaLnBrk="1" fontAlgn="auto" latinLnBrk="0" hangingPunct="1">
              <a:lnSpc>
                <a:spcPct val="120000"/>
              </a:lnSpc>
              <a:spcBef>
                <a:spcPts val="0"/>
              </a:spcBef>
              <a:spcAft>
                <a:spcPts val="0"/>
              </a:spcAft>
              <a:buClrTx/>
              <a:buSzTx/>
              <a:buFontTx/>
              <a:buNone/>
              <a:tabLst/>
              <a:defRPr/>
            </a:pPr>
            <a:r>
              <a:rPr kumimoji="0" lang="en-US" sz="1200" u="none" strike="noStrike" kern="1200" cap="none" spc="0" normalizeH="0" baseline="0" noProof="0" dirty="0">
                <a:ln>
                  <a:noFill/>
                </a:ln>
                <a:solidFill>
                  <a:srgbClr val="FFFFFF"/>
                </a:solidFill>
                <a:effectLst/>
                <a:uLnTx/>
                <a:uFillTx/>
                <a:latin typeface="Roboto Light" panose="02000000000000000000" pitchFamily="2" charset="0"/>
                <a:ea typeface="Roboto Light" panose="02000000000000000000" pitchFamily="2" charset="0"/>
                <a:cs typeface="Open Sans Light" panose="020B0306030504020204" pitchFamily="34" charset="0"/>
              </a:rPr>
              <a:t>2018</a:t>
            </a:r>
          </a:p>
        </p:txBody>
      </p:sp>
      <p:sp>
        <p:nvSpPr>
          <p:cNvPr id="57" name="Freeform 56">
            <a:extLst>
              <a:ext uri="{FF2B5EF4-FFF2-40B4-BE49-F238E27FC236}">
                <a16:creationId xmlns:a16="http://schemas.microsoft.com/office/drawing/2014/main" id="{83E70B0C-6DB3-9443-B3F9-973233892440}"/>
              </a:ext>
            </a:extLst>
          </p:cNvPr>
          <p:cNvSpPr/>
          <p:nvPr/>
        </p:nvSpPr>
        <p:spPr>
          <a:xfrm rot="6487979">
            <a:off x="3367752" y="5783140"/>
            <a:ext cx="701507" cy="536483"/>
          </a:xfrm>
          <a:custGeom>
            <a:avLst/>
            <a:gdLst>
              <a:gd name="connsiteX0" fmla="*/ 0 w 1027134"/>
              <a:gd name="connsiteY0" fmla="*/ 989556 h 989556"/>
              <a:gd name="connsiteX1" fmla="*/ 569934 w 1027134"/>
              <a:gd name="connsiteY1" fmla="*/ 137786 h 989556"/>
              <a:gd name="connsiteX2" fmla="*/ 1027134 w 1027134"/>
              <a:gd name="connsiteY2" fmla="*/ 0 h 989556"/>
              <a:gd name="connsiteX0" fmla="*/ 0 w 1027134"/>
              <a:gd name="connsiteY0" fmla="*/ 989556 h 989556"/>
              <a:gd name="connsiteX1" fmla="*/ 569934 w 1027134"/>
              <a:gd name="connsiteY1" fmla="*/ 137786 h 989556"/>
              <a:gd name="connsiteX2" fmla="*/ 1027134 w 1027134"/>
              <a:gd name="connsiteY2" fmla="*/ 0 h 989556"/>
              <a:gd name="connsiteX0" fmla="*/ 0 w 1027134"/>
              <a:gd name="connsiteY0" fmla="*/ 989556 h 989556"/>
              <a:gd name="connsiteX1" fmla="*/ 569934 w 1027134"/>
              <a:gd name="connsiteY1" fmla="*/ 137786 h 989556"/>
              <a:gd name="connsiteX2" fmla="*/ 1027134 w 1027134"/>
              <a:gd name="connsiteY2" fmla="*/ 0 h 989556"/>
              <a:gd name="connsiteX0" fmla="*/ 0 w 1027134"/>
              <a:gd name="connsiteY0" fmla="*/ 989556 h 989556"/>
              <a:gd name="connsiteX1" fmla="*/ 569934 w 1027134"/>
              <a:gd name="connsiteY1" fmla="*/ 137786 h 989556"/>
              <a:gd name="connsiteX2" fmla="*/ 1027134 w 1027134"/>
              <a:gd name="connsiteY2" fmla="*/ 0 h 989556"/>
              <a:gd name="connsiteX0" fmla="*/ 0 w 1027134"/>
              <a:gd name="connsiteY0" fmla="*/ 989556 h 989556"/>
              <a:gd name="connsiteX1" fmla="*/ 569934 w 1027134"/>
              <a:gd name="connsiteY1" fmla="*/ 137786 h 989556"/>
              <a:gd name="connsiteX2" fmla="*/ 1027134 w 1027134"/>
              <a:gd name="connsiteY2" fmla="*/ 0 h 989556"/>
              <a:gd name="connsiteX0" fmla="*/ 0 w 1027134"/>
              <a:gd name="connsiteY0" fmla="*/ 989556 h 989556"/>
              <a:gd name="connsiteX1" fmla="*/ 569934 w 1027134"/>
              <a:gd name="connsiteY1" fmla="*/ 137786 h 989556"/>
              <a:gd name="connsiteX2" fmla="*/ 1027134 w 1027134"/>
              <a:gd name="connsiteY2" fmla="*/ 0 h 989556"/>
              <a:gd name="connsiteX0" fmla="*/ 0 w 1027134"/>
              <a:gd name="connsiteY0" fmla="*/ 989556 h 989556"/>
              <a:gd name="connsiteX1" fmla="*/ 569934 w 1027134"/>
              <a:gd name="connsiteY1" fmla="*/ 137786 h 989556"/>
              <a:gd name="connsiteX2" fmla="*/ 1027134 w 1027134"/>
              <a:gd name="connsiteY2" fmla="*/ 0 h 989556"/>
              <a:gd name="connsiteX0" fmla="*/ 0 w 1027134"/>
              <a:gd name="connsiteY0" fmla="*/ 989556 h 989556"/>
              <a:gd name="connsiteX1" fmla="*/ 569934 w 1027134"/>
              <a:gd name="connsiteY1" fmla="*/ 137786 h 989556"/>
              <a:gd name="connsiteX2" fmla="*/ 1027134 w 1027134"/>
              <a:gd name="connsiteY2" fmla="*/ 0 h 989556"/>
              <a:gd name="connsiteX0" fmla="*/ 0 w 1027134"/>
              <a:gd name="connsiteY0" fmla="*/ 989556 h 989556"/>
              <a:gd name="connsiteX1" fmla="*/ 569934 w 1027134"/>
              <a:gd name="connsiteY1" fmla="*/ 137786 h 989556"/>
              <a:gd name="connsiteX2" fmla="*/ 1027134 w 1027134"/>
              <a:gd name="connsiteY2" fmla="*/ 0 h 989556"/>
              <a:gd name="connsiteX0" fmla="*/ 0 w 1027134"/>
              <a:gd name="connsiteY0" fmla="*/ 989556 h 989556"/>
              <a:gd name="connsiteX1" fmla="*/ 569934 w 1027134"/>
              <a:gd name="connsiteY1" fmla="*/ 137786 h 989556"/>
              <a:gd name="connsiteX2" fmla="*/ 1027134 w 1027134"/>
              <a:gd name="connsiteY2" fmla="*/ 0 h 989556"/>
              <a:gd name="connsiteX0" fmla="*/ 0 w 1027134"/>
              <a:gd name="connsiteY0" fmla="*/ 989556 h 989556"/>
              <a:gd name="connsiteX1" fmla="*/ 569934 w 1027134"/>
              <a:gd name="connsiteY1" fmla="*/ 137786 h 989556"/>
              <a:gd name="connsiteX2" fmla="*/ 1027134 w 1027134"/>
              <a:gd name="connsiteY2" fmla="*/ 0 h 989556"/>
              <a:gd name="connsiteX0" fmla="*/ 0 w 783608"/>
              <a:gd name="connsiteY0" fmla="*/ 576449 h 580826"/>
              <a:gd name="connsiteX1" fmla="*/ 326408 w 783608"/>
              <a:gd name="connsiteY1" fmla="*/ 137786 h 580826"/>
              <a:gd name="connsiteX2" fmla="*/ 783608 w 783608"/>
              <a:gd name="connsiteY2" fmla="*/ 0 h 580826"/>
              <a:gd name="connsiteX0" fmla="*/ 0 w 783608"/>
              <a:gd name="connsiteY0" fmla="*/ 576449 h 576449"/>
              <a:gd name="connsiteX1" fmla="*/ 326408 w 783608"/>
              <a:gd name="connsiteY1" fmla="*/ 137786 h 576449"/>
              <a:gd name="connsiteX2" fmla="*/ 783608 w 783608"/>
              <a:gd name="connsiteY2" fmla="*/ 0 h 576449"/>
              <a:gd name="connsiteX0" fmla="*/ 0 w 1004807"/>
              <a:gd name="connsiteY0" fmla="*/ 641312 h 641312"/>
              <a:gd name="connsiteX1" fmla="*/ 326408 w 1004807"/>
              <a:gd name="connsiteY1" fmla="*/ 202649 h 641312"/>
              <a:gd name="connsiteX2" fmla="*/ 1004807 w 1004807"/>
              <a:gd name="connsiteY2" fmla="*/ 0 h 641312"/>
              <a:gd name="connsiteX0" fmla="*/ 0 w 1004807"/>
              <a:gd name="connsiteY0" fmla="*/ 641312 h 641312"/>
              <a:gd name="connsiteX1" fmla="*/ 326408 w 1004807"/>
              <a:gd name="connsiteY1" fmla="*/ 202649 h 641312"/>
              <a:gd name="connsiteX2" fmla="*/ 1004807 w 1004807"/>
              <a:gd name="connsiteY2" fmla="*/ 0 h 641312"/>
              <a:gd name="connsiteX0" fmla="*/ 0 w 1004807"/>
              <a:gd name="connsiteY0" fmla="*/ 641312 h 642277"/>
              <a:gd name="connsiteX1" fmla="*/ 326408 w 1004807"/>
              <a:gd name="connsiteY1" fmla="*/ 202649 h 642277"/>
              <a:gd name="connsiteX2" fmla="*/ 1004807 w 1004807"/>
              <a:gd name="connsiteY2" fmla="*/ 0 h 642277"/>
              <a:gd name="connsiteX0" fmla="*/ 0 w 879897"/>
              <a:gd name="connsiteY0" fmla="*/ 563655 h 565779"/>
              <a:gd name="connsiteX1" fmla="*/ 201498 w 879897"/>
              <a:gd name="connsiteY1" fmla="*/ 202649 h 565779"/>
              <a:gd name="connsiteX2" fmla="*/ 879897 w 879897"/>
              <a:gd name="connsiteY2" fmla="*/ 0 h 565779"/>
              <a:gd name="connsiteX0" fmla="*/ 0 w 879897"/>
              <a:gd name="connsiteY0" fmla="*/ 563655 h 563655"/>
              <a:gd name="connsiteX1" fmla="*/ 201498 w 879897"/>
              <a:gd name="connsiteY1" fmla="*/ 202649 h 563655"/>
              <a:gd name="connsiteX2" fmla="*/ 879897 w 879897"/>
              <a:gd name="connsiteY2" fmla="*/ 0 h 563655"/>
              <a:gd name="connsiteX0" fmla="*/ 0 w 879897"/>
              <a:gd name="connsiteY0" fmla="*/ 563655 h 563655"/>
              <a:gd name="connsiteX1" fmla="*/ 201498 w 879897"/>
              <a:gd name="connsiteY1" fmla="*/ 202649 h 563655"/>
              <a:gd name="connsiteX2" fmla="*/ 879897 w 879897"/>
              <a:gd name="connsiteY2" fmla="*/ 0 h 563655"/>
              <a:gd name="connsiteX0" fmla="*/ 0 w 879897"/>
              <a:gd name="connsiteY0" fmla="*/ 563655 h 563655"/>
              <a:gd name="connsiteX1" fmla="*/ 201498 w 879897"/>
              <a:gd name="connsiteY1" fmla="*/ 202649 h 563655"/>
              <a:gd name="connsiteX2" fmla="*/ 879897 w 879897"/>
              <a:gd name="connsiteY2" fmla="*/ 0 h 563655"/>
              <a:gd name="connsiteX0" fmla="*/ 0 w 879897"/>
              <a:gd name="connsiteY0" fmla="*/ 563655 h 563655"/>
              <a:gd name="connsiteX1" fmla="*/ 201498 w 879897"/>
              <a:gd name="connsiteY1" fmla="*/ 202649 h 563655"/>
              <a:gd name="connsiteX2" fmla="*/ 879897 w 879897"/>
              <a:gd name="connsiteY2" fmla="*/ 0 h 563655"/>
              <a:gd name="connsiteX0" fmla="*/ 0 w 879897"/>
              <a:gd name="connsiteY0" fmla="*/ 563655 h 563655"/>
              <a:gd name="connsiteX1" fmla="*/ 201498 w 879897"/>
              <a:gd name="connsiteY1" fmla="*/ 202649 h 563655"/>
              <a:gd name="connsiteX2" fmla="*/ 879897 w 879897"/>
              <a:gd name="connsiteY2" fmla="*/ 0 h 563655"/>
              <a:gd name="connsiteX0" fmla="*/ 0 w 879897"/>
              <a:gd name="connsiteY0" fmla="*/ 563655 h 563655"/>
              <a:gd name="connsiteX1" fmla="*/ 201498 w 879897"/>
              <a:gd name="connsiteY1" fmla="*/ 202649 h 563655"/>
              <a:gd name="connsiteX2" fmla="*/ 879897 w 879897"/>
              <a:gd name="connsiteY2" fmla="*/ 0 h 563655"/>
              <a:gd name="connsiteX0" fmla="*/ 0 w 873915"/>
              <a:gd name="connsiteY0" fmla="*/ 571719 h 571719"/>
              <a:gd name="connsiteX1" fmla="*/ 195516 w 873915"/>
              <a:gd name="connsiteY1" fmla="*/ 202649 h 571719"/>
              <a:gd name="connsiteX2" fmla="*/ 873915 w 873915"/>
              <a:gd name="connsiteY2" fmla="*/ 0 h 571719"/>
              <a:gd name="connsiteX0" fmla="*/ 0 w 873915"/>
              <a:gd name="connsiteY0" fmla="*/ 571719 h 571719"/>
              <a:gd name="connsiteX1" fmla="*/ 195516 w 873915"/>
              <a:gd name="connsiteY1" fmla="*/ 202649 h 571719"/>
              <a:gd name="connsiteX2" fmla="*/ 873915 w 873915"/>
              <a:gd name="connsiteY2" fmla="*/ 0 h 571719"/>
              <a:gd name="connsiteX0" fmla="*/ 0 w 874027"/>
              <a:gd name="connsiteY0" fmla="*/ 592981 h 592981"/>
              <a:gd name="connsiteX1" fmla="*/ 195516 w 874027"/>
              <a:gd name="connsiteY1" fmla="*/ 223911 h 592981"/>
              <a:gd name="connsiteX2" fmla="*/ 874027 w 874027"/>
              <a:gd name="connsiteY2" fmla="*/ 0 h 592981"/>
              <a:gd name="connsiteX0" fmla="*/ 0 w 701507"/>
              <a:gd name="connsiteY0" fmla="*/ 536483 h 536483"/>
              <a:gd name="connsiteX1" fmla="*/ 195516 w 701507"/>
              <a:gd name="connsiteY1" fmla="*/ 167413 h 536483"/>
              <a:gd name="connsiteX2" fmla="*/ 701507 w 701507"/>
              <a:gd name="connsiteY2" fmla="*/ 0 h 536483"/>
            </a:gdLst>
            <a:ahLst/>
            <a:cxnLst>
              <a:cxn ang="0">
                <a:pos x="connsiteX0" y="connsiteY0"/>
              </a:cxn>
              <a:cxn ang="0">
                <a:pos x="connsiteX1" y="connsiteY1"/>
              </a:cxn>
              <a:cxn ang="0">
                <a:pos x="connsiteX2" y="connsiteY2"/>
              </a:cxn>
            </a:cxnLst>
            <a:rect l="l" t="t" r="r" b="b"/>
            <a:pathLst>
              <a:path w="701507" h="536483">
                <a:moveTo>
                  <a:pt x="0" y="536483"/>
                </a:moveTo>
                <a:cubicBezTo>
                  <a:pt x="156334" y="500098"/>
                  <a:pt x="251779" y="340743"/>
                  <a:pt x="195516" y="167413"/>
                </a:cubicBezTo>
                <a:lnTo>
                  <a:pt x="701507" y="0"/>
                </a:lnTo>
              </a:path>
            </a:pathLst>
          </a:custGeom>
          <a:noFill/>
          <a:ln>
            <a:solidFill>
              <a:schemeClr val="accent6"/>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Light" panose="02000000000000000000" pitchFamily="2" charset="0"/>
              <a:ea typeface="Roboto Light" panose="02000000000000000000" pitchFamily="2" charset="0"/>
              <a:cs typeface="Roboto Light" panose="02000000000000000000" pitchFamily="2" charset="0"/>
            </a:endParaRPr>
          </a:p>
        </p:txBody>
      </p:sp>
      <p:sp>
        <p:nvSpPr>
          <p:cNvPr id="58" name="Block Arc 57">
            <a:extLst>
              <a:ext uri="{FF2B5EF4-FFF2-40B4-BE49-F238E27FC236}">
                <a16:creationId xmlns:a16="http://schemas.microsoft.com/office/drawing/2014/main" id="{A8DBA89A-2B6F-AA43-A66F-0C1633A058D5}"/>
              </a:ext>
            </a:extLst>
          </p:cNvPr>
          <p:cNvSpPr/>
          <p:nvPr/>
        </p:nvSpPr>
        <p:spPr>
          <a:xfrm rot="581556">
            <a:off x="3525601" y="5343112"/>
            <a:ext cx="646647" cy="641526"/>
          </a:xfrm>
          <a:prstGeom prst="blockArc">
            <a:avLst>
              <a:gd name="adj1" fmla="val 15707565"/>
              <a:gd name="adj2" fmla="val 20501222"/>
              <a:gd name="adj3" fmla="val 11721"/>
            </a:avLst>
          </a:prstGeom>
          <a:solidFill>
            <a:schemeClr val="accent2">
              <a:alpha val="7803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1000" dirty="0" err="1">
              <a:solidFill>
                <a:schemeClr val="bg1"/>
              </a:solidFill>
              <a:latin typeface="Roboto Light" panose="02000000000000000000" pitchFamily="2" charset="0"/>
              <a:ea typeface="Roboto Light" panose="02000000000000000000" pitchFamily="2" charset="0"/>
              <a:cs typeface="Roboto Light" panose="02000000000000000000" pitchFamily="2" charset="0"/>
            </a:endParaRPr>
          </a:p>
        </p:txBody>
      </p:sp>
      <p:pic>
        <p:nvPicPr>
          <p:cNvPr id="7" name="Picture 6" descr="Logo, icon&#10;&#10;Description automatically generated">
            <a:extLst>
              <a:ext uri="{FF2B5EF4-FFF2-40B4-BE49-F238E27FC236}">
                <a16:creationId xmlns:a16="http://schemas.microsoft.com/office/drawing/2014/main" id="{7D90C765-B9ED-7E49-AD65-906CAE6CE8A0}"/>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92400" y="1561520"/>
            <a:ext cx="360000" cy="360000"/>
          </a:xfrm>
          <a:prstGeom prst="rect">
            <a:avLst/>
          </a:prstGeom>
        </p:spPr>
      </p:pic>
      <p:pic>
        <p:nvPicPr>
          <p:cNvPr id="9" name="Picture 8" descr="Icon&#10;&#10;Description automatically generated with low confidence">
            <a:extLst>
              <a:ext uri="{FF2B5EF4-FFF2-40B4-BE49-F238E27FC236}">
                <a16:creationId xmlns:a16="http://schemas.microsoft.com/office/drawing/2014/main" id="{09E6C885-F123-3548-9008-17E49B716E1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04456" y="1561520"/>
            <a:ext cx="360000" cy="360000"/>
          </a:xfrm>
          <a:prstGeom prst="rect">
            <a:avLst/>
          </a:prstGeom>
        </p:spPr>
      </p:pic>
      <p:pic>
        <p:nvPicPr>
          <p:cNvPr id="11" name="Picture 10" descr="Icon&#10;&#10;Description automatically generated">
            <a:extLst>
              <a:ext uri="{FF2B5EF4-FFF2-40B4-BE49-F238E27FC236}">
                <a16:creationId xmlns:a16="http://schemas.microsoft.com/office/drawing/2014/main" id="{DEA53627-653D-9147-8A4F-E2AD32765F31}"/>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416511" y="1561520"/>
            <a:ext cx="360000" cy="360000"/>
          </a:xfrm>
          <a:prstGeom prst="rect">
            <a:avLst/>
          </a:prstGeom>
        </p:spPr>
      </p:pic>
      <p:pic>
        <p:nvPicPr>
          <p:cNvPr id="13" name="Picture 12" descr="Icon&#10;&#10;Description automatically generated">
            <a:extLst>
              <a:ext uri="{FF2B5EF4-FFF2-40B4-BE49-F238E27FC236}">
                <a16:creationId xmlns:a16="http://schemas.microsoft.com/office/drawing/2014/main" id="{83E2013B-1636-B045-AF1F-50EE050E2359}"/>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928567" y="1561520"/>
            <a:ext cx="360000" cy="360000"/>
          </a:xfrm>
          <a:prstGeom prst="rect">
            <a:avLst/>
          </a:prstGeom>
        </p:spPr>
      </p:pic>
      <p:pic>
        <p:nvPicPr>
          <p:cNvPr id="15" name="Picture 14" descr="Icon&#10;&#10;Description automatically generated">
            <a:extLst>
              <a:ext uri="{FF2B5EF4-FFF2-40B4-BE49-F238E27FC236}">
                <a16:creationId xmlns:a16="http://schemas.microsoft.com/office/drawing/2014/main" id="{22666581-BCC1-A04E-BA65-CB3D505C4253}"/>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440623" y="1561520"/>
            <a:ext cx="360000" cy="360000"/>
          </a:xfrm>
          <a:prstGeom prst="rect">
            <a:avLst/>
          </a:prstGeom>
        </p:spPr>
      </p:pic>
      <p:pic>
        <p:nvPicPr>
          <p:cNvPr id="17" name="Picture 16" descr="A picture containing shape&#10;&#10;Description automatically generated">
            <a:extLst>
              <a:ext uri="{FF2B5EF4-FFF2-40B4-BE49-F238E27FC236}">
                <a16:creationId xmlns:a16="http://schemas.microsoft.com/office/drawing/2014/main" id="{3242D1D0-EC64-D445-94F1-BCEDDB17B61F}"/>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92400" y="2052993"/>
            <a:ext cx="360000" cy="360000"/>
          </a:xfrm>
          <a:prstGeom prst="rect">
            <a:avLst/>
          </a:prstGeom>
        </p:spPr>
      </p:pic>
      <p:pic>
        <p:nvPicPr>
          <p:cNvPr id="21" name="Picture 20" descr="A picture containing icon&#10;&#10;Description automatically generated">
            <a:extLst>
              <a:ext uri="{FF2B5EF4-FFF2-40B4-BE49-F238E27FC236}">
                <a16:creationId xmlns:a16="http://schemas.microsoft.com/office/drawing/2014/main" id="{2876A249-B0CA-AC42-80FC-5D5DAF141190}"/>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04456" y="2052993"/>
            <a:ext cx="360000" cy="360000"/>
          </a:xfrm>
          <a:prstGeom prst="rect">
            <a:avLst/>
          </a:prstGeom>
        </p:spPr>
      </p:pic>
      <p:pic>
        <p:nvPicPr>
          <p:cNvPr id="23" name="Picture 22" descr="Icon&#10;&#10;Description automatically generated">
            <a:extLst>
              <a:ext uri="{FF2B5EF4-FFF2-40B4-BE49-F238E27FC236}">
                <a16:creationId xmlns:a16="http://schemas.microsoft.com/office/drawing/2014/main" id="{F9C3220D-1A44-1E4A-BE9C-5344FB417FB2}"/>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416511" y="2052993"/>
            <a:ext cx="360000" cy="360000"/>
          </a:xfrm>
          <a:prstGeom prst="rect">
            <a:avLst/>
          </a:prstGeom>
        </p:spPr>
      </p:pic>
      <p:pic>
        <p:nvPicPr>
          <p:cNvPr id="25" name="Picture 24" descr="Icon&#10;&#10;Description automatically generated with medium confidence">
            <a:extLst>
              <a:ext uri="{FF2B5EF4-FFF2-40B4-BE49-F238E27FC236}">
                <a16:creationId xmlns:a16="http://schemas.microsoft.com/office/drawing/2014/main" id="{54D13201-E1AD-3141-99B9-6067B94CB7EF}"/>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928567" y="2052993"/>
            <a:ext cx="360000" cy="360000"/>
          </a:xfrm>
          <a:prstGeom prst="rect">
            <a:avLst/>
          </a:prstGeom>
        </p:spPr>
      </p:pic>
      <p:pic>
        <p:nvPicPr>
          <p:cNvPr id="27" name="Picture 26" descr="Logo, company name&#10;&#10;Description automatically generated">
            <a:extLst>
              <a:ext uri="{FF2B5EF4-FFF2-40B4-BE49-F238E27FC236}">
                <a16:creationId xmlns:a16="http://schemas.microsoft.com/office/drawing/2014/main" id="{E63B94BB-261F-0948-AF9C-BA1DC149A0D9}"/>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440623" y="2052993"/>
            <a:ext cx="360000" cy="360000"/>
          </a:xfrm>
          <a:prstGeom prst="rect">
            <a:avLst/>
          </a:prstGeom>
        </p:spPr>
      </p:pic>
      <p:pic>
        <p:nvPicPr>
          <p:cNvPr id="29" name="Picture 28" descr="A picture containing logo&#10;&#10;Description automatically generated">
            <a:extLst>
              <a:ext uri="{FF2B5EF4-FFF2-40B4-BE49-F238E27FC236}">
                <a16:creationId xmlns:a16="http://schemas.microsoft.com/office/drawing/2014/main" id="{4D00D64F-ACD6-B642-A049-814165ACFE00}"/>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952677" y="2052993"/>
            <a:ext cx="360000" cy="360000"/>
          </a:xfrm>
          <a:prstGeom prst="rect">
            <a:avLst/>
          </a:prstGeom>
        </p:spPr>
      </p:pic>
      <p:pic>
        <p:nvPicPr>
          <p:cNvPr id="12" name="Picture 11" descr="Logo, icon&#10;&#10;Description automatically generated">
            <a:extLst>
              <a:ext uri="{FF2B5EF4-FFF2-40B4-BE49-F238E27FC236}">
                <a16:creationId xmlns:a16="http://schemas.microsoft.com/office/drawing/2014/main" id="{93A9A031-3CCC-6749-B843-61AE76B088BB}"/>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2946843" y="1578596"/>
            <a:ext cx="360000" cy="360000"/>
          </a:xfrm>
          <a:prstGeom prst="rect">
            <a:avLst/>
          </a:prstGeom>
        </p:spPr>
      </p:pic>
      <p:pic>
        <p:nvPicPr>
          <p:cNvPr id="61" name="Picture 60">
            <a:extLst>
              <a:ext uri="{FF2B5EF4-FFF2-40B4-BE49-F238E27FC236}">
                <a16:creationId xmlns:a16="http://schemas.microsoft.com/office/drawing/2014/main" id="{B7382095-60CA-2B4D-A0A5-18E29CFA4756}"/>
              </a:ext>
            </a:extLst>
          </p:cNvPr>
          <p:cNvPicPr>
            <a:picLocks noChangeAspect="1"/>
          </p:cNvPicPr>
          <p:nvPr/>
        </p:nvPicPr>
        <p:blipFill>
          <a:blip r:embed="rId23"/>
          <a:stretch>
            <a:fillRect/>
          </a:stretch>
        </p:blipFill>
        <p:spPr>
          <a:xfrm>
            <a:off x="3472296" y="1578596"/>
            <a:ext cx="360000" cy="360000"/>
          </a:xfrm>
          <a:prstGeom prst="rect">
            <a:avLst/>
          </a:prstGeom>
        </p:spPr>
      </p:pic>
      <p:pic>
        <p:nvPicPr>
          <p:cNvPr id="4" name="Picture 3">
            <a:extLst>
              <a:ext uri="{FF2B5EF4-FFF2-40B4-BE49-F238E27FC236}">
                <a16:creationId xmlns:a16="http://schemas.microsoft.com/office/drawing/2014/main" id="{0E2D8F91-60D6-DE46-BDF2-7BE796244EC9}"/>
              </a:ext>
            </a:extLst>
          </p:cNvPr>
          <p:cNvPicPr>
            <a:picLocks noChangeAspect="1"/>
          </p:cNvPicPr>
          <p:nvPr/>
        </p:nvPicPr>
        <p:blipFill>
          <a:blip r:embed="rId24"/>
          <a:stretch>
            <a:fillRect/>
          </a:stretch>
        </p:blipFill>
        <p:spPr>
          <a:xfrm>
            <a:off x="3465124" y="2045821"/>
            <a:ext cx="360000" cy="360000"/>
          </a:xfrm>
          <a:prstGeom prst="rect">
            <a:avLst/>
          </a:prstGeom>
        </p:spPr>
      </p:pic>
      <p:pic>
        <p:nvPicPr>
          <p:cNvPr id="35" name="Picture 34" descr="A red and white flag&#10;&#10;Description automatically generated with low confidence">
            <a:extLst>
              <a:ext uri="{FF2B5EF4-FFF2-40B4-BE49-F238E27FC236}">
                <a16:creationId xmlns:a16="http://schemas.microsoft.com/office/drawing/2014/main" id="{00B85603-099C-C041-97B2-B76616BE13FE}"/>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029551" y="1578596"/>
            <a:ext cx="360000" cy="360000"/>
          </a:xfrm>
          <a:prstGeom prst="rect">
            <a:avLst/>
          </a:prstGeom>
        </p:spPr>
      </p:pic>
      <p:pic>
        <p:nvPicPr>
          <p:cNvPr id="63" name="Picture 62" descr="A picture containing logo&#10;&#10;Description automatically generated">
            <a:extLst>
              <a:ext uri="{FF2B5EF4-FFF2-40B4-BE49-F238E27FC236}">
                <a16:creationId xmlns:a16="http://schemas.microsoft.com/office/drawing/2014/main" id="{FE253C76-61D8-8F47-8627-3198FAC0535E}"/>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4013816" y="2053542"/>
            <a:ext cx="360000" cy="355500"/>
          </a:xfrm>
          <a:prstGeom prst="rect">
            <a:avLst/>
          </a:prstGeom>
        </p:spPr>
      </p:pic>
      <p:grpSp>
        <p:nvGrpSpPr>
          <p:cNvPr id="70" name="Group 69">
            <a:extLst>
              <a:ext uri="{FF2B5EF4-FFF2-40B4-BE49-F238E27FC236}">
                <a16:creationId xmlns:a16="http://schemas.microsoft.com/office/drawing/2014/main" id="{E9B9F85E-34AF-C031-25E3-3D50EE087BAD}"/>
              </a:ext>
            </a:extLst>
          </p:cNvPr>
          <p:cNvGrpSpPr/>
          <p:nvPr/>
        </p:nvGrpSpPr>
        <p:grpSpPr>
          <a:xfrm>
            <a:off x="6837770" y="4280351"/>
            <a:ext cx="1202421" cy="2035342"/>
            <a:chOff x="6445526" y="4280351"/>
            <a:chExt cx="1202421" cy="2035342"/>
          </a:xfrm>
        </p:grpSpPr>
        <p:pic>
          <p:nvPicPr>
            <p:cNvPr id="6" name="Picture 5" descr="Logo&#10;&#10;Description automatically generated">
              <a:extLst>
                <a:ext uri="{FF2B5EF4-FFF2-40B4-BE49-F238E27FC236}">
                  <a16:creationId xmlns:a16="http://schemas.microsoft.com/office/drawing/2014/main" id="{2C1FA732-B3BE-8F4D-B4F9-BF82E18CC0D1}"/>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6445526" y="4704805"/>
              <a:ext cx="1006665" cy="470406"/>
            </a:xfrm>
            <a:prstGeom prst="rect">
              <a:avLst/>
            </a:prstGeom>
          </p:spPr>
        </p:pic>
        <p:pic>
          <p:nvPicPr>
            <p:cNvPr id="16" name="Picture 15" descr="Logo&#10;&#10;Description automatically generated">
              <a:extLst>
                <a:ext uri="{FF2B5EF4-FFF2-40B4-BE49-F238E27FC236}">
                  <a16:creationId xmlns:a16="http://schemas.microsoft.com/office/drawing/2014/main" id="{ADEF02AB-3362-DA4E-9826-2F8CA306A6F7}"/>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6445526" y="5324910"/>
              <a:ext cx="1154087" cy="502102"/>
            </a:xfrm>
            <a:prstGeom prst="rect">
              <a:avLst/>
            </a:prstGeom>
          </p:spPr>
        </p:pic>
        <p:pic>
          <p:nvPicPr>
            <p:cNvPr id="31" name="Picture 30" descr="A picture containing text, sign&#10;&#10;Description automatically generated">
              <a:extLst>
                <a:ext uri="{FF2B5EF4-FFF2-40B4-BE49-F238E27FC236}">
                  <a16:creationId xmlns:a16="http://schemas.microsoft.com/office/drawing/2014/main" id="{CFB0B649-4D64-A241-A5E4-548102668488}"/>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6445526" y="5976712"/>
              <a:ext cx="1067157" cy="338981"/>
            </a:xfrm>
            <a:prstGeom prst="rect">
              <a:avLst/>
            </a:prstGeom>
          </p:spPr>
        </p:pic>
        <p:pic>
          <p:nvPicPr>
            <p:cNvPr id="41" name="Picture 40" descr="A picture containing text, sign, outdoor, clipart&#10;&#10;Description automatically generated">
              <a:extLst>
                <a:ext uri="{FF2B5EF4-FFF2-40B4-BE49-F238E27FC236}">
                  <a16:creationId xmlns:a16="http://schemas.microsoft.com/office/drawing/2014/main" id="{51F5AD0C-D3EE-DA48-A269-3CD8BC260575}"/>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6445526" y="4280351"/>
              <a:ext cx="1202421" cy="274755"/>
            </a:xfrm>
            <a:prstGeom prst="rect">
              <a:avLst/>
            </a:prstGeom>
          </p:spPr>
        </p:pic>
      </p:grpSp>
      <p:grpSp>
        <p:nvGrpSpPr>
          <p:cNvPr id="69" name="Group 68">
            <a:extLst>
              <a:ext uri="{FF2B5EF4-FFF2-40B4-BE49-F238E27FC236}">
                <a16:creationId xmlns:a16="http://schemas.microsoft.com/office/drawing/2014/main" id="{B6E51842-8BD7-DE2E-04AE-9290F46E4410}"/>
              </a:ext>
            </a:extLst>
          </p:cNvPr>
          <p:cNvGrpSpPr/>
          <p:nvPr/>
        </p:nvGrpSpPr>
        <p:grpSpPr>
          <a:xfrm>
            <a:off x="5649708" y="4321703"/>
            <a:ext cx="876594" cy="1986841"/>
            <a:chOff x="5352551" y="4321703"/>
            <a:chExt cx="876594" cy="1986841"/>
          </a:xfrm>
        </p:grpSpPr>
        <p:pic>
          <p:nvPicPr>
            <p:cNvPr id="60" name="Picture 59">
              <a:extLst>
                <a:ext uri="{FF2B5EF4-FFF2-40B4-BE49-F238E27FC236}">
                  <a16:creationId xmlns:a16="http://schemas.microsoft.com/office/drawing/2014/main" id="{CE74D726-F034-634D-8365-84B695CFBA1B}"/>
                </a:ext>
              </a:extLst>
            </p:cNvPr>
            <p:cNvPicPr>
              <a:picLocks noChangeAspect="1"/>
            </p:cNvPicPr>
            <p:nvPr/>
          </p:nvPicPr>
          <p:blipFill rotWithShape="1">
            <a:blip r:embed="rId31" cstate="print">
              <a:extLst>
                <a:ext uri="{28A0092B-C50C-407E-A947-70E740481C1C}">
                  <a14:useLocalDpi xmlns:a14="http://schemas.microsoft.com/office/drawing/2010/main" val="0"/>
                </a:ext>
              </a:extLst>
            </a:blip>
            <a:srcRect b="51699"/>
            <a:stretch/>
          </p:blipFill>
          <p:spPr>
            <a:xfrm>
              <a:off x="5352551" y="5394353"/>
              <a:ext cx="866317" cy="343450"/>
            </a:xfrm>
            <a:prstGeom prst="rect">
              <a:avLst/>
            </a:prstGeom>
          </p:spPr>
        </p:pic>
        <p:pic>
          <p:nvPicPr>
            <p:cNvPr id="62" name="Picture 61" descr="Text&#10;&#10;Description automatically generated">
              <a:extLst>
                <a:ext uri="{FF2B5EF4-FFF2-40B4-BE49-F238E27FC236}">
                  <a16:creationId xmlns:a16="http://schemas.microsoft.com/office/drawing/2014/main" id="{35F31972-7AF6-644D-B79B-184B831E8A83}"/>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5352551" y="5964022"/>
              <a:ext cx="876594" cy="344522"/>
            </a:xfrm>
            <a:prstGeom prst="rect">
              <a:avLst/>
            </a:prstGeom>
          </p:spPr>
        </p:pic>
        <p:pic>
          <p:nvPicPr>
            <p:cNvPr id="59" name="Picture 58" descr="Logo&#10;&#10;Description automatically generated">
              <a:extLst>
                <a:ext uri="{FF2B5EF4-FFF2-40B4-BE49-F238E27FC236}">
                  <a16:creationId xmlns:a16="http://schemas.microsoft.com/office/drawing/2014/main" id="{2AE7C12A-5D06-4947-9BB9-334BECD07202}"/>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5352551" y="4321703"/>
              <a:ext cx="836867" cy="846431"/>
            </a:xfrm>
            <a:prstGeom prst="rect">
              <a:avLst/>
            </a:prstGeom>
          </p:spPr>
        </p:pic>
      </p:grpSp>
      <p:grpSp>
        <p:nvGrpSpPr>
          <p:cNvPr id="71" name="Group 70">
            <a:extLst>
              <a:ext uri="{FF2B5EF4-FFF2-40B4-BE49-F238E27FC236}">
                <a16:creationId xmlns:a16="http://schemas.microsoft.com/office/drawing/2014/main" id="{CC804C5D-03D1-CA30-3533-A5701EB0D3BE}"/>
              </a:ext>
            </a:extLst>
          </p:cNvPr>
          <p:cNvGrpSpPr/>
          <p:nvPr/>
        </p:nvGrpSpPr>
        <p:grpSpPr>
          <a:xfrm>
            <a:off x="8351658" y="4230733"/>
            <a:ext cx="1161942" cy="2071443"/>
            <a:chOff x="8054501" y="4230733"/>
            <a:chExt cx="1161942" cy="2071443"/>
          </a:xfrm>
        </p:grpSpPr>
        <p:pic>
          <p:nvPicPr>
            <p:cNvPr id="33" name="Picture 32" descr="Text&#10;&#10;Description automatically generated">
              <a:extLst>
                <a:ext uri="{FF2B5EF4-FFF2-40B4-BE49-F238E27FC236}">
                  <a16:creationId xmlns:a16="http://schemas.microsoft.com/office/drawing/2014/main" id="{6F12D15E-C300-E541-8683-F7ABF09F7EF5}"/>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8054501" y="4230733"/>
              <a:ext cx="1161942" cy="446517"/>
            </a:xfrm>
            <a:prstGeom prst="rect">
              <a:avLst/>
            </a:prstGeom>
          </p:spPr>
        </p:pic>
        <p:pic>
          <p:nvPicPr>
            <p:cNvPr id="37" name="Picture 36" descr="A red and black flag&#10;&#10;Description automatically generated with low confidence">
              <a:extLst>
                <a:ext uri="{FF2B5EF4-FFF2-40B4-BE49-F238E27FC236}">
                  <a16:creationId xmlns:a16="http://schemas.microsoft.com/office/drawing/2014/main" id="{3D7A839A-FE3D-8545-8F64-12F005181C27}"/>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8054501" y="5364821"/>
              <a:ext cx="901342" cy="395400"/>
            </a:xfrm>
            <a:prstGeom prst="rect">
              <a:avLst/>
            </a:prstGeom>
          </p:spPr>
        </p:pic>
        <p:pic>
          <p:nvPicPr>
            <p:cNvPr id="39" name="Picture 38" descr="Icon&#10;&#10;Description automatically generated">
              <a:extLst>
                <a:ext uri="{FF2B5EF4-FFF2-40B4-BE49-F238E27FC236}">
                  <a16:creationId xmlns:a16="http://schemas.microsoft.com/office/drawing/2014/main" id="{0F85FB72-B148-A14B-AEF1-443B7091CBFB}"/>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8054501" y="5957794"/>
              <a:ext cx="1067156" cy="344382"/>
            </a:xfrm>
            <a:prstGeom prst="rect">
              <a:avLst/>
            </a:prstGeom>
          </p:spPr>
        </p:pic>
        <p:pic>
          <p:nvPicPr>
            <p:cNvPr id="65" name="Picture 64">
              <a:extLst>
                <a:ext uri="{FF2B5EF4-FFF2-40B4-BE49-F238E27FC236}">
                  <a16:creationId xmlns:a16="http://schemas.microsoft.com/office/drawing/2014/main" id="{53FFE96A-03F9-3844-95AB-0787473B51CD}"/>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8054501" y="4874822"/>
              <a:ext cx="1161942" cy="292427"/>
            </a:xfrm>
            <a:prstGeom prst="rect">
              <a:avLst/>
            </a:prstGeom>
          </p:spPr>
        </p:pic>
      </p:grpSp>
      <p:sp>
        <p:nvSpPr>
          <p:cNvPr id="10" name="Freeform 89">
            <a:extLst>
              <a:ext uri="{FF2B5EF4-FFF2-40B4-BE49-F238E27FC236}">
                <a16:creationId xmlns:a16="http://schemas.microsoft.com/office/drawing/2014/main" id="{D806EE47-A56E-0FDE-80F2-F093D5F659BA}"/>
              </a:ext>
            </a:extLst>
          </p:cNvPr>
          <p:cNvSpPr/>
          <p:nvPr>
            <p:custDataLst>
              <p:tags r:id="rId2"/>
            </p:custDataLst>
          </p:nvPr>
        </p:nvSpPr>
        <p:spPr bwMode="auto">
          <a:xfrm>
            <a:off x="408585" y="3136042"/>
            <a:ext cx="1285052" cy="612000"/>
          </a:xfrm>
          <a:prstGeom prst="homePlate">
            <a:avLst>
              <a:gd name="adj" fmla="val 17524"/>
            </a:avLst>
          </a:prstGeom>
          <a:solidFill>
            <a:schemeClr val="accent1"/>
          </a:solidFill>
          <a:ln w="9525">
            <a:noFill/>
            <a:round/>
            <a:headEnd/>
            <a:tailEnd/>
          </a:ln>
          <a:effectLst/>
        </p:spPr>
        <p:txBody>
          <a:bodyPr wrap="square" lIns="144000" rIns="252000" rtlCol="0" anchor="ctr" anchorCtr="1"/>
          <a:lstStyle/>
          <a:p>
            <a:pPr marL="180975" marR="0" lvl="0" indent="0" defTabSz="957816" eaLnBrk="1" fontAlgn="auto" latinLnBrk="0" hangingPunct="1">
              <a:lnSpc>
                <a:spcPct val="100000"/>
              </a:lnSpc>
              <a:spcBef>
                <a:spcPts val="0"/>
              </a:spcBef>
              <a:spcAft>
                <a:spcPts val="0"/>
              </a:spcAft>
              <a:buClrTx/>
              <a:buSzTx/>
              <a:buFontTx/>
              <a:buNone/>
              <a:tabLst/>
              <a:defRPr/>
            </a:pPr>
            <a:endParaRPr kumimoji="0" lang="pt-BR" sz="1200" b="1" i="0" u="none" strike="noStrike" kern="1200" cap="none" spc="0" normalizeH="0" baseline="0" noProof="0" dirty="0">
              <a:ln>
                <a:noFill/>
              </a:ln>
              <a:solidFill>
                <a:schemeClr val="bg1"/>
              </a:solidFill>
              <a:effectLst/>
              <a:uLnTx/>
              <a:uFillTx/>
              <a:latin typeface="+mn-lt"/>
              <a:ea typeface="+mn-ea"/>
              <a:cs typeface="+mn-cs"/>
            </a:endParaRPr>
          </a:p>
        </p:txBody>
      </p:sp>
      <p:sp>
        <p:nvSpPr>
          <p:cNvPr id="32" name="Freeform 86">
            <a:extLst>
              <a:ext uri="{FF2B5EF4-FFF2-40B4-BE49-F238E27FC236}">
                <a16:creationId xmlns:a16="http://schemas.microsoft.com/office/drawing/2014/main" id="{6785310F-2E18-D6FC-5C28-615CE50CF95D}"/>
              </a:ext>
            </a:extLst>
          </p:cNvPr>
          <p:cNvSpPr/>
          <p:nvPr>
            <p:custDataLst>
              <p:tags r:id="rId3"/>
            </p:custDataLst>
          </p:nvPr>
        </p:nvSpPr>
        <p:spPr bwMode="auto">
          <a:xfrm>
            <a:off x="1672585" y="3136042"/>
            <a:ext cx="1285052" cy="612000"/>
          </a:xfrm>
          <a:prstGeom prst="chevron">
            <a:avLst>
              <a:gd name="adj" fmla="val 17834"/>
            </a:avLst>
          </a:prstGeom>
          <a:solidFill>
            <a:schemeClr val="accent2"/>
          </a:solidFill>
          <a:ln w="9525">
            <a:noFill/>
            <a:round/>
            <a:headEnd/>
            <a:tailEnd/>
          </a:ln>
          <a:effectLst/>
        </p:spPr>
        <p:txBody>
          <a:bodyPr wrap="square" lIns="144000" rIns="252000" rtlCol="0" anchor="ctr" anchorCtr="1"/>
          <a:lstStyle/>
          <a:p>
            <a:pPr marL="180975" marR="0" lvl="0" indent="0" defTabSz="957816" eaLnBrk="1" fontAlgn="auto" latinLnBrk="0" hangingPunct="1">
              <a:lnSpc>
                <a:spcPct val="100000"/>
              </a:lnSpc>
              <a:spcBef>
                <a:spcPts val="0"/>
              </a:spcBef>
              <a:spcAft>
                <a:spcPts val="0"/>
              </a:spcAft>
              <a:buClrTx/>
              <a:buSzTx/>
              <a:buFontTx/>
              <a:buNone/>
              <a:tabLst/>
              <a:defRPr/>
            </a:pPr>
            <a:endParaRPr kumimoji="0" lang="pt-BR" sz="1200" b="1" i="1" u="none" strike="noStrike" kern="1200" cap="none" spc="0" normalizeH="0" baseline="0" noProof="0" dirty="0">
              <a:ln>
                <a:noFill/>
              </a:ln>
              <a:solidFill>
                <a:schemeClr val="bg1"/>
              </a:solidFill>
              <a:effectLst/>
              <a:uLnTx/>
              <a:uFillTx/>
              <a:latin typeface="+mn-lt"/>
              <a:ea typeface="+mn-ea"/>
              <a:cs typeface="+mn-cs"/>
            </a:endParaRPr>
          </a:p>
        </p:txBody>
      </p:sp>
      <p:sp>
        <p:nvSpPr>
          <p:cNvPr id="64" name="Freeform 86">
            <a:extLst>
              <a:ext uri="{FF2B5EF4-FFF2-40B4-BE49-F238E27FC236}">
                <a16:creationId xmlns:a16="http://schemas.microsoft.com/office/drawing/2014/main" id="{71B7FBC1-7FB7-6D18-76BB-DCACB4C8890A}"/>
              </a:ext>
            </a:extLst>
          </p:cNvPr>
          <p:cNvSpPr/>
          <p:nvPr>
            <p:custDataLst>
              <p:tags r:id="rId4"/>
            </p:custDataLst>
          </p:nvPr>
        </p:nvSpPr>
        <p:spPr bwMode="auto">
          <a:xfrm>
            <a:off x="2936585" y="3136042"/>
            <a:ext cx="1285052" cy="612000"/>
          </a:xfrm>
          <a:prstGeom prst="chevron">
            <a:avLst>
              <a:gd name="adj" fmla="val 17834"/>
            </a:avLst>
          </a:prstGeom>
          <a:solidFill>
            <a:schemeClr val="accent3"/>
          </a:solidFill>
          <a:ln w="9525">
            <a:noFill/>
            <a:round/>
            <a:headEnd/>
            <a:tailEnd/>
          </a:ln>
          <a:effectLst/>
        </p:spPr>
        <p:txBody>
          <a:bodyPr wrap="square" lIns="144000" rIns="252000" rtlCol="0" anchor="ctr" anchorCtr="1"/>
          <a:lstStyle/>
          <a:p>
            <a:pPr marL="180975" marR="0" lvl="0" indent="0" defTabSz="957816" eaLnBrk="1" fontAlgn="auto" latinLnBrk="0" hangingPunct="1">
              <a:lnSpc>
                <a:spcPct val="100000"/>
              </a:lnSpc>
              <a:spcBef>
                <a:spcPts val="0"/>
              </a:spcBef>
              <a:spcAft>
                <a:spcPts val="0"/>
              </a:spcAft>
              <a:buClrTx/>
              <a:buSzTx/>
              <a:buFontTx/>
              <a:buNone/>
              <a:tabLst/>
              <a:defRPr/>
            </a:pPr>
            <a:endParaRPr kumimoji="0" lang="pt-BR" sz="1200" b="1" i="1" u="none" strike="noStrike" kern="1200" cap="none" spc="0" normalizeH="0" baseline="0" noProof="0" dirty="0">
              <a:ln>
                <a:noFill/>
              </a:ln>
              <a:solidFill>
                <a:schemeClr val="bg1"/>
              </a:solidFill>
              <a:effectLst/>
              <a:uLnTx/>
              <a:uFillTx/>
              <a:latin typeface="+mn-lt"/>
              <a:ea typeface="+mn-ea"/>
              <a:cs typeface="+mn-cs"/>
            </a:endParaRPr>
          </a:p>
        </p:txBody>
      </p:sp>
      <p:sp>
        <p:nvSpPr>
          <p:cNvPr id="66" name="Freeform 89">
            <a:extLst>
              <a:ext uri="{FF2B5EF4-FFF2-40B4-BE49-F238E27FC236}">
                <a16:creationId xmlns:a16="http://schemas.microsoft.com/office/drawing/2014/main" id="{FDF90A7A-DD5E-68B4-62D2-A24E36E5541F}"/>
              </a:ext>
            </a:extLst>
          </p:cNvPr>
          <p:cNvSpPr/>
          <p:nvPr>
            <p:custDataLst>
              <p:tags r:id="rId5"/>
            </p:custDataLst>
          </p:nvPr>
        </p:nvSpPr>
        <p:spPr bwMode="auto">
          <a:xfrm>
            <a:off x="408585" y="3997513"/>
            <a:ext cx="1285052" cy="612000"/>
          </a:xfrm>
          <a:prstGeom prst="homePlate">
            <a:avLst>
              <a:gd name="adj" fmla="val 17524"/>
            </a:avLst>
          </a:prstGeom>
          <a:solidFill>
            <a:srgbClr val="E6E6E7"/>
          </a:solidFill>
          <a:ln w="9525">
            <a:noFill/>
            <a:round/>
            <a:headEnd/>
            <a:tailEnd/>
          </a:ln>
          <a:effectLst/>
        </p:spPr>
        <p:txBody>
          <a:bodyPr wrap="square" lIns="144000" rIns="252000" rtlCol="0" anchor="ctr" anchorCtr="1"/>
          <a:lstStyle/>
          <a:p>
            <a:pPr marL="180975" marR="0" lvl="0" indent="0" defTabSz="957816" eaLnBrk="1" fontAlgn="auto" latinLnBrk="0" hangingPunct="1">
              <a:lnSpc>
                <a:spcPct val="100000"/>
              </a:lnSpc>
              <a:spcBef>
                <a:spcPts val="0"/>
              </a:spcBef>
              <a:spcAft>
                <a:spcPts val="0"/>
              </a:spcAft>
              <a:buClrTx/>
              <a:buSzTx/>
              <a:buFontTx/>
              <a:buNone/>
              <a:tabLst/>
              <a:defRPr/>
            </a:pPr>
            <a:endParaRPr kumimoji="0" lang="pt-BR" sz="1200" b="1" i="0" u="none" strike="noStrike" kern="1200" cap="none" spc="0" normalizeH="0" baseline="0" noProof="0" dirty="0">
              <a:ln>
                <a:noFill/>
              </a:ln>
              <a:solidFill>
                <a:schemeClr val="bg1"/>
              </a:solidFill>
              <a:effectLst/>
              <a:uLnTx/>
              <a:uFillTx/>
              <a:latin typeface="+mn-lt"/>
              <a:ea typeface="+mn-ea"/>
              <a:cs typeface="+mn-cs"/>
            </a:endParaRPr>
          </a:p>
        </p:txBody>
      </p:sp>
      <p:sp>
        <p:nvSpPr>
          <p:cNvPr id="67" name="Freeform 86">
            <a:extLst>
              <a:ext uri="{FF2B5EF4-FFF2-40B4-BE49-F238E27FC236}">
                <a16:creationId xmlns:a16="http://schemas.microsoft.com/office/drawing/2014/main" id="{C28B9F86-65BF-2146-34BE-249A5900BDA3}"/>
              </a:ext>
            </a:extLst>
          </p:cNvPr>
          <p:cNvSpPr/>
          <p:nvPr>
            <p:custDataLst>
              <p:tags r:id="rId6"/>
            </p:custDataLst>
          </p:nvPr>
        </p:nvSpPr>
        <p:spPr bwMode="auto">
          <a:xfrm>
            <a:off x="1672585" y="3997513"/>
            <a:ext cx="1285052" cy="612000"/>
          </a:xfrm>
          <a:prstGeom prst="chevron">
            <a:avLst>
              <a:gd name="adj" fmla="val 17834"/>
            </a:avLst>
          </a:prstGeom>
          <a:solidFill>
            <a:srgbClr val="E6E6E7"/>
          </a:solidFill>
          <a:ln w="9525">
            <a:noFill/>
            <a:round/>
            <a:headEnd/>
            <a:tailEnd/>
          </a:ln>
          <a:effectLst/>
        </p:spPr>
        <p:txBody>
          <a:bodyPr wrap="square" lIns="144000" rIns="252000" rtlCol="0" anchor="ctr" anchorCtr="1"/>
          <a:lstStyle/>
          <a:p>
            <a:pPr marL="180975" marR="0" lvl="0" indent="0" defTabSz="957816" eaLnBrk="1" fontAlgn="auto" latinLnBrk="0" hangingPunct="1">
              <a:lnSpc>
                <a:spcPct val="100000"/>
              </a:lnSpc>
              <a:spcBef>
                <a:spcPts val="0"/>
              </a:spcBef>
              <a:spcAft>
                <a:spcPts val="0"/>
              </a:spcAft>
              <a:buClrTx/>
              <a:buSzTx/>
              <a:buFontTx/>
              <a:buNone/>
              <a:tabLst/>
              <a:defRPr/>
            </a:pPr>
            <a:endParaRPr kumimoji="0" lang="pt-BR" sz="1200" b="1" i="1" u="none" strike="noStrike" kern="1200" cap="none" spc="0" normalizeH="0" baseline="0" noProof="0" dirty="0">
              <a:ln>
                <a:noFill/>
              </a:ln>
              <a:solidFill>
                <a:schemeClr val="bg1"/>
              </a:solidFill>
              <a:effectLst/>
              <a:uLnTx/>
              <a:uFillTx/>
              <a:latin typeface="+mn-lt"/>
              <a:ea typeface="+mn-ea"/>
              <a:cs typeface="+mn-cs"/>
            </a:endParaRPr>
          </a:p>
        </p:txBody>
      </p:sp>
      <p:sp>
        <p:nvSpPr>
          <p:cNvPr id="68" name="Freeform 86">
            <a:extLst>
              <a:ext uri="{FF2B5EF4-FFF2-40B4-BE49-F238E27FC236}">
                <a16:creationId xmlns:a16="http://schemas.microsoft.com/office/drawing/2014/main" id="{D1118D85-E191-C7D5-2FE7-269142B45E16}"/>
              </a:ext>
            </a:extLst>
          </p:cNvPr>
          <p:cNvSpPr/>
          <p:nvPr>
            <p:custDataLst>
              <p:tags r:id="rId7"/>
            </p:custDataLst>
          </p:nvPr>
        </p:nvSpPr>
        <p:spPr bwMode="auto">
          <a:xfrm>
            <a:off x="2936585" y="3997513"/>
            <a:ext cx="1285052" cy="612000"/>
          </a:xfrm>
          <a:prstGeom prst="chevron">
            <a:avLst>
              <a:gd name="adj" fmla="val 17834"/>
            </a:avLst>
          </a:prstGeom>
          <a:solidFill>
            <a:srgbClr val="E6E6E7"/>
          </a:solidFill>
          <a:ln w="9525">
            <a:noFill/>
            <a:round/>
            <a:headEnd/>
            <a:tailEnd/>
          </a:ln>
          <a:effectLst/>
        </p:spPr>
        <p:txBody>
          <a:bodyPr wrap="square" lIns="144000" rIns="252000" rtlCol="0" anchor="ctr" anchorCtr="1"/>
          <a:lstStyle/>
          <a:p>
            <a:pPr marL="180975" marR="0" lvl="0" indent="0" defTabSz="957816" eaLnBrk="1" fontAlgn="auto" latinLnBrk="0" hangingPunct="1">
              <a:lnSpc>
                <a:spcPct val="100000"/>
              </a:lnSpc>
              <a:spcBef>
                <a:spcPts val="0"/>
              </a:spcBef>
              <a:spcAft>
                <a:spcPts val="0"/>
              </a:spcAft>
              <a:buClrTx/>
              <a:buSzTx/>
              <a:buFontTx/>
              <a:buNone/>
              <a:tabLst/>
              <a:defRPr/>
            </a:pPr>
            <a:endParaRPr kumimoji="0" lang="pt-BR" sz="1200" b="1" i="1"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50852223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A849BA50-C50D-0B92-DC19-05D26036D490}"/>
              </a:ext>
            </a:extLst>
          </p:cNvPr>
          <p:cNvGraphicFramePr>
            <a:graphicFrameLocks noChangeAspect="1"/>
          </p:cNvGraphicFramePr>
          <p:nvPr>
            <p:custDataLst>
              <p:tags r:id="rId1"/>
            </p:custDataLst>
            <p:extLst>
              <p:ext uri="{D42A27DB-BD31-4B8C-83A1-F6EECF244321}">
                <p14:modId xmlns:p14="http://schemas.microsoft.com/office/powerpoint/2010/main" val="3361063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2" name="think-cell data - do not delete" hidden="1">
                        <a:extLst>
                          <a:ext uri="{FF2B5EF4-FFF2-40B4-BE49-F238E27FC236}">
                            <a16:creationId xmlns:a16="http://schemas.microsoft.com/office/drawing/2014/main" id="{A849BA50-C50D-0B92-DC19-05D26036D4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Text Placeholder 19">
            <a:extLst>
              <a:ext uri="{FF2B5EF4-FFF2-40B4-BE49-F238E27FC236}">
                <a16:creationId xmlns:a16="http://schemas.microsoft.com/office/drawing/2014/main" id="{18F92DBA-F13E-E657-AC24-EFF2EB799A4A}"/>
              </a:ext>
            </a:extLst>
          </p:cNvPr>
          <p:cNvSpPr>
            <a:spLocks noGrp="1"/>
          </p:cNvSpPr>
          <p:nvPr>
            <p:ph type="body" sz="quarter" idx="10"/>
          </p:nvPr>
        </p:nvSpPr>
        <p:spPr/>
        <p:txBody>
          <a:bodyPr/>
          <a:lstStyle/>
          <a:p>
            <a:endParaRPr lang="nl-NL"/>
          </a:p>
        </p:txBody>
      </p:sp>
      <p:sp>
        <p:nvSpPr>
          <p:cNvPr id="4" name="Title 3">
            <a:extLst>
              <a:ext uri="{FF2B5EF4-FFF2-40B4-BE49-F238E27FC236}">
                <a16:creationId xmlns:a16="http://schemas.microsoft.com/office/drawing/2014/main" id="{0D3B08CD-C6E1-34F4-A3A9-63A88D31E0FC}"/>
              </a:ext>
            </a:extLst>
          </p:cNvPr>
          <p:cNvSpPr>
            <a:spLocks noGrp="1"/>
          </p:cNvSpPr>
          <p:nvPr>
            <p:ph type="title"/>
          </p:nvPr>
        </p:nvSpPr>
        <p:spPr/>
        <p:txBody>
          <a:bodyPr/>
          <a:lstStyle/>
          <a:p>
            <a:endParaRPr lang="nl-NL"/>
          </a:p>
        </p:txBody>
      </p:sp>
      <p:sp>
        <p:nvSpPr>
          <p:cNvPr id="21" name="Text Placeholder 20">
            <a:extLst>
              <a:ext uri="{FF2B5EF4-FFF2-40B4-BE49-F238E27FC236}">
                <a16:creationId xmlns:a16="http://schemas.microsoft.com/office/drawing/2014/main" id="{55DFD80F-72BE-0D47-CD43-DADC72311CE5}"/>
              </a:ext>
            </a:extLst>
          </p:cNvPr>
          <p:cNvSpPr>
            <a:spLocks noGrp="1"/>
          </p:cNvSpPr>
          <p:nvPr>
            <p:ph type="body" sz="quarter" idx="27"/>
          </p:nvPr>
        </p:nvSpPr>
        <p:spPr/>
        <p:txBody>
          <a:bodyPr/>
          <a:lstStyle/>
          <a:p>
            <a:endParaRPr lang="nl-NL"/>
          </a:p>
        </p:txBody>
      </p:sp>
      <p:sp>
        <p:nvSpPr>
          <p:cNvPr id="6" name="Octagon 5">
            <a:extLst>
              <a:ext uri="{FF2B5EF4-FFF2-40B4-BE49-F238E27FC236}">
                <a16:creationId xmlns:a16="http://schemas.microsoft.com/office/drawing/2014/main" id="{AE044B65-9935-DF4D-B082-0B5CEA79654D}"/>
              </a:ext>
            </a:extLst>
          </p:cNvPr>
          <p:cNvSpPr/>
          <p:nvPr/>
        </p:nvSpPr>
        <p:spPr>
          <a:xfrm>
            <a:off x="1720775" y="1474960"/>
            <a:ext cx="576000" cy="576000"/>
          </a:xfrm>
          <a:prstGeom prst="octagon">
            <a:avLst/>
          </a:prstGeom>
          <a:solidFill>
            <a:srgbClr val="B8733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dirty="0">
                <a:solidFill>
                  <a:schemeClr val="bg1"/>
                </a:solidFill>
                <a:latin typeface="Roboto Medium" pitchFamily="2" charset="0"/>
                <a:ea typeface="Roboto Medium" pitchFamily="2" charset="0"/>
                <a:cs typeface="Roboto Thin" panose="02000000000000000000" pitchFamily="2" charset="0"/>
              </a:rPr>
              <a:t>Cu</a:t>
            </a:r>
          </a:p>
        </p:txBody>
      </p:sp>
      <p:sp>
        <p:nvSpPr>
          <p:cNvPr id="7" name="Octagon 6">
            <a:extLst>
              <a:ext uri="{FF2B5EF4-FFF2-40B4-BE49-F238E27FC236}">
                <a16:creationId xmlns:a16="http://schemas.microsoft.com/office/drawing/2014/main" id="{497F5C6B-E58B-C84E-A0BF-2E3A30E99596}"/>
              </a:ext>
            </a:extLst>
          </p:cNvPr>
          <p:cNvSpPr/>
          <p:nvPr/>
        </p:nvSpPr>
        <p:spPr>
          <a:xfrm>
            <a:off x="2392287" y="1474960"/>
            <a:ext cx="576000" cy="576000"/>
          </a:xfrm>
          <a:prstGeom prst="octagon">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dirty="0">
                <a:solidFill>
                  <a:schemeClr val="bg1"/>
                </a:solidFill>
                <a:latin typeface="Roboto Medium" pitchFamily="2" charset="0"/>
                <a:ea typeface="Roboto Medium" pitchFamily="2" charset="0"/>
                <a:cs typeface="Roboto Thin" panose="02000000000000000000" pitchFamily="2" charset="0"/>
              </a:rPr>
              <a:t>Ag</a:t>
            </a:r>
          </a:p>
        </p:txBody>
      </p:sp>
      <p:sp>
        <p:nvSpPr>
          <p:cNvPr id="8" name="Octagon 7">
            <a:extLst>
              <a:ext uri="{FF2B5EF4-FFF2-40B4-BE49-F238E27FC236}">
                <a16:creationId xmlns:a16="http://schemas.microsoft.com/office/drawing/2014/main" id="{FC743BED-1F76-8443-A346-86DB0DE913F9}"/>
              </a:ext>
            </a:extLst>
          </p:cNvPr>
          <p:cNvSpPr/>
          <p:nvPr/>
        </p:nvSpPr>
        <p:spPr>
          <a:xfrm>
            <a:off x="3063799" y="1474960"/>
            <a:ext cx="576000" cy="576000"/>
          </a:xfrm>
          <a:prstGeom prst="octagon">
            <a:avLst/>
          </a:prstGeom>
          <a:solidFill>
            <a:srgbClr val="D1A61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dirty="0">
                <a:solidFill>
                  <a:schemeClr val="bg1"/>
                </a:solidFill>
                <a:latin typeface="Roboto Medium" pitchFamily="2" charset="0"/>
                <a:ea typeface="Roboto Medium" pitchFamily="2" charset="0"/>
                <a:cs typeface="Roboto Thin" panose="02000000000000000000" pitchFamily="2" charset="0"/>
              </a:rPr>
              <a:t>Au</a:t>
            </a:r>
          </a:p>
        </p:txBody>
      </p:sp>
      <p:sp>
        <p:nvSpPr>
          <p:cNvPr id="9" name="Octagon 8">
            <a:extLst>
              <a:ext uri="{FF2B5EF4-FFF2-40B4-BE49-F238E27FC236}">
                <a16:creationId xmlns:a16="http://schemas.microsoft.com/office/drawing/2014/main" id="{4A9855F0-60DB-E04D-BBC4-D4CD759C5DA0}"/>
              </a:ext>
            </a:extLst>
          </p:cNvPr>
          <p:cNvSpPr/>
          <p:nvPr/>
        </p:nvSpPr>
        <p:spPr>
          <a:xfrm>
            <a:off x="3738760" y="1474960"/>
            <a:ext cx="576000" cy="576000"/>
          </a:xfrm>
          <a:prstGeom prst="octagon">
            <a:avLst/>
          </a:prstGeom>
          <a:solidFill>
            <a:schemeClr val="accent3">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dirty="0">
                <a:solidFill>
                  <a:schemeClr val="bg1"/>
                </a:solidFill>
                <a:latin typeface="Roboto Medium" pitchFamily="2" charset="0"/>
                <a:ea typeface="Roboto Medium" pitchFamily="2" charset="0"/>
                <a:cs typeface="Roboto Thin" panose="02000000000000000000" pitchFamily="2" charset="0"/>
              </a:rPr>
              <a:t>Ni</a:t>
            </a:r>
          </a:p>
        </p:txBody>
      </p:sp>
      <p:sp>
        <p:nvSpPr>
          <p:cNvPr id="10" name="Octagon 9">
            <a:extLst>
              <a:ext uri="{FF2B5EF4-FFF2-40B4-BE49-F238E27FC236}">
                <a16:creationId xmlns:a16="http://schemas.microsoft.com/office/drawing/2014/main" id="{8E6E9676-E780-6C4C-AB00-55D5FC20CD4C}"/>
              </a:ext>
            </a:extLst>
          </p:cNvPr>
          <p:cNvSpPr/>
          <p:nvPr/>
        </p:nvSpPr>
        <p:spPr>
          <a:xfrm>
            <a:off x="4415834" y="1474960"/>
            <a:ext cx="576000" cy="576000"/>
          </a:xfrm>
          <a:prstGeom prst="octagon">
            <a:avLst/>
          </a:prstGeom>
          <a:solidFill>
            <a:srgbClr val="E28C0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dirty="0">
                <a:solidFill>
                  <a:schemeClr val="bg1"/>
                </a:solidFill>
                <a:latin typeface="Roboto Medium" pitchFamily="2" charset="0"/>
                <a:ea typeface="Roboto Medium" pitchFamily="2" charset="0"/>
                <a:cs typeface="Roboto Thin" panose="02000000000000000000" pitchFamily="2" charset="0"/>
              </a:rPr>
              <a:t>Fe</a:t>
            </a:r>
          </a:p>
        </p:txBody>
      </p:sp>
      <p:sp>
        <p:nvSpPr>
          <p:cNvPr id="11" name="Octagon 10">
            <a:extLst>
              <a:ext uri="{FF2B5EF4-FFF2-40B4-BE49-F238E27FC236}">
                <a16:creationId xmlns:a16="http://schemas.microsoft.com/office/drawing/2014/main" id="{81A31C1B-D59D-7242-8464-83F68DABDDCE}"/>
              </a:ext>
            </a:extLst>
          </p:cNvPr>
          <p:cNvSpPr/>
          <p:nvPr/>
        </p:nvSpPr>
        <p:spPr>
          <a:xfrm>
            <a:off x="1055193" y="1474960"/>
            <a:ext cx="576000" cy="576000"/>
          </a:xfrm>
          <a:prstGeom prst="octagon">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dirty="0">
                <a:solidFill>
                  <a:schemeClr val="bg1"/>
                </a:solidFill>
                <a:latin typeface="Roboto Medium" pitchFamily="2" charset="0"/>
                <a:ea typeface="Roboto Medium" pitchFamily="2" charset="0"/>
                <a:cs typeface="Roboto Thin" panose="02000000000000000000" pitchFamily="2" charset="0"/>
              </a:rPr>
              <a:t>Co</a:t>
            </a:r>
          </a:p>
        </p:txBody>
      </p:sp>
      <p:sp>
        <p:nvSpPr>
          <p:cNvPr id="12" name="Octagon 11">
            <a:extLst>
              <a:ext uri="{FF2B5EF4-FFF2-40B4-BE49-F238E27FC236}">
                <a16:creationId xmlns:a16="http://schemas.microsoft.com/office/drawing/2014/main" id="{8A374ED2-2F9F-9646-B481-0F8AE1FEEDDC}"/>
              </a:ext>
            </a:extLst>
          </p:cNvPr>
          <p:cNvSpPr/>
          <p:nvPr/>
        </p:nvSpPr>
        <p:spPr>
          <a:xfrm>
            <a:off x="392400" y="1474960"/>
            <a:ext cx="576000" cy="576000"/>
          </a:xfrm>
          <a:prstGeom prst="octagon">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dirty="0">
                <a:solidFill>
                  <a:schemeClr val="bg1"/>
                </a:solidFill>
                <a:latin typeface="Roboto Medium" pitchFamily="2" charset="0"/>
                <a:ea typeface="Roboto Medium" pitchFamily="2" charset="0"/>
                <a:cs typeface="Roboto Thin" panose="02000000000000000000" pitchFamily="2" charset="0"/>
              </a:rPr>
              <a:t>Zn</a:t>
            </a:r>
          </a:p>
        </p:txBody>
      </p:sp>
      <p:sp>
        <p:nvSpPr>
          <p:cNvPr id="13" name="Octagon 12">
            <a:extLst>
              <a:ext uri="{FF2B5EF4-FFF2-40B4-BE49-F238E27FC236}">
                <a16:creationId xmlns:a16="http://schemas.microsoft.com/office/drawing/2014/main" id="{A24ECFDD-6F7D-F344-A5BA-AE756ECE4082}"/>
              </a:ext>
            </a:extLst>
          </p:cNvPr>
          <p:cNvSpPr/>
          <p:nvPr/>
        </p:nvSpPr>
        <p:spPr>
          <a:xfrm>
            <a:off x="1205269" y="3236430"/>
            <a:ext cx="324000" cy="324000"/>
          </a:xfrm>
          <a:prstGeom prst="octagon">
            <a:avLst/>
          </a:prstGeom>
          <a:solidFill>
            <a:srgbClr val="B8733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dirty="0">
                <a:solidFill>
                  <a:schemeClr val="bg1"/>
                </a:solidFill>
                <a:latin typeface="Roboto Medium" pitchFamily="2" charset="0"/>
                <a:ea typeface="Roboto Medium" pitchFamily="2" charset="0"/>
                <a:cs typeface="Roboto Thin" panose="02000000000000000000" pitchFamily="2" charset="0"/>
              </a:rPr>
              <a:t>Cu</a:t>
            </a:r>
          </a:p>
        </p:txBody>
      </p:sp>
      <p:sp>
        <p:nvSpPr>
          <p:cNvPr id="14" name="Octagon 13">
            <a:extLst>
              <a:ext uri="{FF2B5EF4-FFF2-40B4-BE49-F238E27FC236}">
                <a16:creationId xmlns:a16="http://schemas.microsoft.com/office/drawing/2014/main" id="{5BADE4C7-75B9-204D-95C8-C6930C6494A9}"/>
              </a:ext>
            </a:extLst>
          </p:cNvPr>
          <p:cNvSpPr/>
          <p:nvPr/>
        </p:nvSpPr>
        <p:spPr>
          <a:xfrm>
            <a:off x="1616186" y="3236430"/>
            <a:ext cx="324000" cy="324000"/>
          </a:xfrm>
          <a:prstGeom prst="octagon">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dirty="0">
                <a:solidFill>
                  <a:schemeClr val="bg1"/>
                </a:solidFill>
                <a:latin typeface="Roboto Medium" pitchFamily="2" charset="0"/>
                <a:ea typeface="Roboto Medium" pitchFamily="2" charset="0"/>
                <a:cs typeface="Roboto Thin" panose="02000000000000000000" pitchFamily="2" charset="0"/>
              </a:rPr>
              <a:t>Ag</a:t>
            </a:r>
          </a:p>
        </p:txBody>
      </p:sp>
      <p:sp>
        <p:nvSpPr>
          <p:cNvPr id="15" name="Octagon 14">
            <a:extLst>
              <a:ext uri="{FF2B5EF4-FFF2-40B4-BE49-F238E27FC236}">
                <a16:creationId xmlns:a16="http://schemas.microsoft.com/office/drawing/2014/main" id="{966380A5-D9E1-3245-B4CC-0FAC4ED66F80}"/>
              </a:ext>
            </a:extLst>
          </p:cNvPr>
          <p:cNvSpPr/>
          <p:nvPr/>
        </p:nvSpPr>
        <p:spPr>
          <a:xfrm>
            <a:off x="2027103" y="3236430"/>
            <a:ext cx="324000" cy="324000"/>
          </a:xfrm>
          <a:prstGeom prst="octagon">
            <a:avLst/>
          </a:prstGeom>
          <a:solidFill>
            <a:srgbClr val="D1A61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dirty="0">
                <a:solidFill>
                  <a:schemeClr val="bg1"/>
                </a:solidFill>
                <a:latin typeface="Roboto Medium" pitchFamily="2" charset="0"/>
                <a:ea typeface="Roboto Medium" pitchFamily="2" charset="0"/>
                <a:cs typeface="Roboto Thin" panose="02000000000000000000" pitchFamily="2" charset="0"/>
              </a:rPr>
              <a:t>Au</a:t>
            </a:r>
          </a:p>
        </p:txBody>
      </p:sp>
      <p:sp>
        <p:nvSpPr>
          <p:cNvPr id="16" name="Octagon 15">
            <a:extLst>
              <a:ext uri="{FF2B5EF4-FFF2-40B4-BE49-F238E27FC236}">
                <a16:creationId xmlns:a16="http://schemas.microsoft.com/office/drawing/2014/main" id="{D3B2E888-BA4F-A24D-9CCE-1DBA7EEBA543}"/>
              </a:ext>
            </a:extLst>
          </p:cNvPr>
          <p:cNvSpPr/>
          <p:nvPr/>
        </p:nvSpPr>
        <p:spPr>
          <a:xfrm>
            <a:off x="2440130" y="3236430"/>
            <a:ext cx="324000" cy="324000"/>
          </a:xfrm>
          <a:prstGeom prst="octagon">
            <a:avLst/>
          </a:prstGeom>
          <a:solidFill>
            <a:schemeClr val="accent3">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dirty="0">
                <a:solidFill>
                  <a:schemeClr val="bg1"/>
                </a:solidFill>
                <a:latin typeface="Roboto Medium" pitchFamily="2" charset="0"/>
                <a:ea typeface="Roboto Medium" pitchFamily="2" charset="0"/>
                <a:cs typeface="Roboto Thin" panose="02000000000000000000" pitchFamily="2" charset="0"/>
              </a:rPr>
              <a:t>Ni</a:t>
            </a:r>
          </a:p>
        </p:txBody>
      </p:sp>
      <p:sp>
        <p:nvSpPr>
          <p:cNvPr id="17" name="Octagon 16">
            <a:extLst>
              <a:ext uri="{FF2B5EF4-FFF2-40B4-BE49-F238E27FC236}">
                <a16:creationId xmlns:a16="http://schemas.microsoft.com/office/drawing/2014/main" id="{CBB1AF06-088F-1B4D-89D4-1C38C70B1617}"/>
              </a:ext>
            </a:extLst>
          </p:cNvPr>
          <p:cNvSpPr/>
          <p:nvPr/>
        </p:nvSpPr>
        <p:spPr>
          <a:xfrm>
            <a:off x="2854450" y="3236430"/>
            <a:ext cx="324000" cy="324000"/>
          </a:xfrm>
          <a:prstGeom prst="octagon">
            <a:avLst/>
          </a:prstGeom>
          <a:solidFill>
            <a:srgbClr val="E28C0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dirty="0">
                <a:solidFill>
                  <a:schemeClr val="bg1"/>
                </a:solidFill>
                <a:latin typeface="Roboto Medium" pitchFamily="2" charset="0"/>
                <a:ea typeface="Roboto Medium" pitchFamily="2" charset="0"/>
                <a:cs typeface="Roboto Thin" panose="02000000000000000000" pitchFamily="2" charset="0"/>
              </a:rPr>
              <a:t>Fe</a:t>
            </a:r>
          </a:p>
        </p:txBody>
      </p:sp>
      <p:sp>
        <p:nvSpPr>
          <p:cNvPr id="18" name="Octagon 17">
            <a:extLst>
              <a:ext uri="{FF2B5EF4-FFF2-40B4-BE49-F238E27FC236}">
                <a16:creationId xmlns:a16="http://schemas.microsoft.com/office/drawing/2014/main" id="{D3BCDABE-7328-C14A-94B1-3FCD7D8DBE92}"/>
              </a:ext>
            </a:extLst>
          </p:cNvPr>
          <p:cNvSpPr/>
          <p:nvPr/>
        </p:nvSpPr>
        <p:spPr>
          <a:xfrm>
            <a:off x="797981" y="3236430"/>
            <a:ext cx="324000" cy="324000"/>
          </a:xfrm>
          <a:prstGeom prst="octagon">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dirty="0">
                <a:solidFill>
                  <a:schemeClr val="bg1"/>
                </a:solidFill>
                <a:latin typeface="Roboto Medium" pitchFamily="2" charset="0"/>
                <a:ea typeface="Roboto Medium" pitchFamily="2" charset="0"/>
                <a:cs typeface="Roboto Thin" panose="02000000000000000000" pitchFamily="2" charset="0"/>
              </a:rPr>
              <a:t>Co</a:t>
            </a:r>
          </a:p>
        </p:txBody>
      </p:sp>
      <p:sp>
        <p:nvSpPr>
          <p:cNvPr id="19" name="Octagon 18">
            <a:extLst>
              <a:ext uri="{FF2B5EF4-FFF2-40B4-BE49-F238E27FC236}">
                <a16:creationId xmlns:a16="http://schemas.microsoft.com/office/drawing/2014/main" id="{761D27CB-7905-0649-9EB1-8B3FB4C2C40E}"/>
              </a:ext>
            </a:extLst>
          </p:cNvPr>
          <p:cNvSpPr/>
          <p:nvPr/>
        </p:nvSpPr>
        <p:spPr>
          <a:xfrm>
            <a:off x="392400" y="3236430"/>
            <a:ext cx="324000" cy="324000"/>
          </a:xfrm>
          <a:prstGeom prst="octagon">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dirty="0">
                <a:solidFill>
                  <a:schemeClr val="bg1"/>
                </a:solidFill>
                <a:latin typeface="Roboto Medium" pitchFamily="2" charset="0"/>
                <a:ea typeface="Roboto Medium" pitchFamily="2" charset="0"/>
                <a:cs typeface="Roboto Thin" panose="02000000000000000000" pitchFamily="2" charset="0"/>
              </a:rPr>
              <a:t>Zn</a:t>
            </a:r>
          </a:p>
        </p:txBody>
      </p:sp>
      <p:sp>
        <p:nvSpPr>
          <p:cNvPr id="169" name="Rectangle 168">
            <a:extLst>
              <a:ext uri="{FF2B5EF4-FFF2-40B4-BE49-F238E27FC236}">
                <a16:creationId xmlns:a16="http://schemas.microsoft.com/office/drawing/2014/main" id="{13174A9C-2ABE-D54E-8C4D-756E1FEC5056}"/>
              </a:ext>
            </a:extLst>
          </p:cNvPr>
          <p:cNvSpPr/>
          <p:nvPr/>
        </p:nvSpPr>
        <p:spPr>
          <a:xfrm>
            <a:off x="7663858" y="1670882"/>
            <a:ext cx="1962493" cy="3785652"/>
          </a:xfrm>
          <a:prstGeom prst="rect">
            <a:avLst/>
          </a:prstGeom>
        </p:spPr>
        <p:txBody>
          <a:bodyPr wrap="square">
            <a:spAutoFit/>
          </a:bodyPr>
          <a:lstStyle/>
          <a:p>
            <a:pPr marL="12700" marR="5080" lvl="0" algn="r" defTabSz="457200">
              <a:defRPr/>
            </a:pPr>
            <a:r>
              <a:rPr lang="en-US" sz="1600" dirty="0">
                <a:solidFill>
                  <a:schemeClr val="accent6"/>
                </a:solidFill>
                <a:latin typeface="+mj-lt"/>
                <a:ea typeface="Roboto Thin" panose="02000000000000000000" pitchFamily="2" charset="0"/>
                <a:cs typeface="Roboto Thin" panose="02000000000000000000" pitchFamily="2" charset="0"/>
              </a:rPr>
              <a:t>Statement of outcome</a:t>
            </a:r>
          </a:p>
          <a:p>
            <a:pPr marL="12700" marR="5080" lvl="0" algn="r" defTabSz="457200">
              <a:defRPr/>
            </a:pPr>
            <a:endParaRPr lang="en-US" sz="1600" dirty="0">
              <a:solidFill>
                <a:schemeClr val="accent6"/>
              </a:solidFill>
              <a:latin typeface="+mj-lt"/>
              <a:ea typeface="Roboto Thin" panose="02000000000000000000" pitchFamily="2" charset="0"/>
              <a:cs typeface="Roboto Thin" panose="02000000000000000000" pitchFamily="2" charset="0"/>
            </a:endParaRPr>
          </a:p>
          <a:p>
            <a:pPr marL="12700" marR="5080" lvl="0" algn="r" defTabSz="457200">
              <a:defRPr/>
            </a:pPr>
            <a:r>
              <a:rPr lang="en-US" sz="1600" dirty="0">
                <a:solidFill>
                  <a:schemeClr val="accent6"/>
                </a:solidFill>
                <a:latin typeface="+mj-lt"/>
                <a:ea typeface="Roboto Thin" panose="02000000000000000000" pitchFamily="2" charset="0"/>
                <a:cs typeface="Roboto Thin" panose="02000000000000000000" pitchFamily="2" charset="0"/>
              </a:rPr>
              <a:t>Use this area to highlight your driver / the result of the slide. Keep this statement short </a:t>
            </a:r>
            <a:br>
              <a:rPr lang="en-US" sz="1600" dirty="0">
                <a:solidFill>
                  <a:schemeClr val="accent6"/>
                </a:solidFill>
                <a:latin typeface="+mj-lt"/>
                <a:ea typeface="Roboto Thin" panose="02000000000000000000" pitchFamily="2" charset="0"/>
                <a:cs typeface="Roboto Thin" panose="02000000000000000000" pitchFamily="2" charset="0"/>
              </a:rPr>
            </a:br>
            <a:r>
              <a:rPr lang="en-US" sz="1600" dirty="0">
                <a:solidFill>
                  <a:schemeClr val="accent6"/>
                </a:solidFill>
                <a:latin typeface="+mj-lt"/>
                <a:ea typeface="Roboto Thin" panose="02000000000000000000" pitchFamily="2" charset="0"/>
                <a:cs typeface="Roboto Thin" panose="02000000000000000000" pitchFamily="2" charset="0"/>
              </a:rPr>
              <a:t>and powerful.</a:t>
            </a:r>
          </a:p>
          <a:p>
            <a:pPr marL="12700" marR="5080" lvl="0" algn="r" defTabSz="457200">
              <a:defRPr/>
            </a:pPr>
            <a:endParaRPr lang="en-US" sz="1600" dirty="0">
              <a:solidFill>
                <a:schemeClr val="accent6"/>
              </a:solidFill>
              <a:latin typeface="+mj-lt"/>
              <a:ea typeface="Roboto Thin" panose="02000000000000000000" pitchFamily="2" charset="0"/>
              <a:cs typeface="Roboto Thin" panose="02000000000000000000" pitchFamily="2" charset="0"/>
            </a:endParaRPr>
          </a:p>
          <a:p>
            <a:pPr marL="12700" marR="5080" lvl="0" algn="r" defTabSz="457200">
              <a:defRPr/>
            </a:pPr>
            <a:r>
              <a:rPr lang="en-US" sz="1600" dirty="0">
                <a:solidFill>
                  <a:schemeClr val="accent6"/>
                </a:solidFill>
                <a:latin typeface="+mj-lt"/>
                <a:ea typeface="Roboto Thin" panose="02000000000000000000" pitchFamily="2" charset="0"/>
                <a:cs typeface="Roboto Thin" panose="02000000000000000000" pitchFamily="2" charset="0"/>
              </a:rPr>
              <a:t>Adjust the box </a:t>
            </a:r>
            <a:br>
              <a:rPr lang="en-US" sz="1600" dirty="0">
                <a:solidFill>
                  <a:schemeClr val="accent6"/>
                </a:solidFill>
                <a:latin typeface="+mj-lt"/>
                <a:ea typeface="Roboto Thin" panose="02000000000000000000" pitchFamily="2" charset="0"/>
                <a:cs typeface="Roboto Thin" panose="02000000000000000000" pitchFamily="2" charset="0"/>
              </a:rPr>
            </a:br>
            <a:r>
              <a:rPr lang="en-US" sz="1600" dirty="0">
                <a:solidFill>
                  <a:schemeClr val="accent6"/>
                </a:solidFill>
                <a:latin typeface="+mj-lt"/>
                <a:ea typeface="Roboto Thin" panose="02000000000000000000" pitchFamily="2" charset="0"/>
                <a:cs typeface="Roboto Thin" panose="02000000000000000000" pitchFamily="2" charset="0"/>
              </a:rPr>
              <a:t>size as required.</a:t>
            </a:r>
          </a:p>
          <a:p>
            <a:pPr marL="12700" marR="5080" lvl="0" algn="r" defTabSz="457200">
              <a:defRPr/>
            </a:pPr>
            <a:r>
              <a:rPr lang="en-US" sz="1600" dirty="0">
                <a:solidFill>
                  <a:schemeClr val="accent6"/>
                </a:solidFill>
                <a:latin typeface="+mj-lt"/>
                <a:ea typeface="Roboto Thin" panose="02000000000000000000" pitchFamily="2" charset="0"/>
                <a:cs typeface="Roboto Thin" panose="02000000000000000000" pitchFamily="2" charset="0"/>
              </a:rPr>
              <a:t>Delete box if not required</a:t>
            </a:r>
          </a:p>
          <a:p>
            <a:pPr marL="12700" marR="5080" lvl="0" algn="r" defTabSz="457200">
              <a:defRPr/>
            </a:pPr>
            <a:endParaRPr lang="en-US" sz="1600" dirty="0">
              <a:solidFill>
                <a:schemeClr val="accent6"/>
              </a:solidFill>
              <a:latin typeface="+mj-lt"/>
              <a:ea typeface="Roboto Thin" panose="02000000000000000000" pitchFamily="2" charset="0"/>
              <a:cs typeface="Roboto Thin" panose="02000000000000000000" pitchFamily="2" charset="0"/>
            </a:endParaRPr>
          </a:p>
        </p:txBody>
      </p:sp>
      <p:grpSp>
        <p:nvGrpSpPr>
          <p:cNvPr id="82" name="Group 81">
            <a:extLst>
              <a:ext uri="{FF2B5EF4-FFF2-40B4-BE49-F238E27FC236}">
                <a16:creationId xmlns:a16="http://schemas.microsoft.com/office/drawing/2014/main" id="{5A3A24CC-CCF2-194D-8C35-043F874ADC23}"/>
              </a:ext>
            </a:extLst>
          </p:cNvPr>
          <p:cNvGrpSpPr/>
          <p:nvPr/>
        </p:nvGrpSpPr>
        <p:grpSpPr>
          <a:xfrm>
            <a:off x="1484350" y="4739577"/>
            <a:ext cx="324000" cy="324000"/>
            <a:chOff x="4217533" y="243483"/>
            <a:chExt cx="284373" cy="284373"/>
          </a:xfrm>
        </p:grpSpPr>
        <p:sp>
          <p:nvSpPr>
            <p:cNvPr id="83" name="Partial Circle 18">
              <a:extLst>
                <a:ext uri="{FF2B5EF4-FFF2-40B4-BE49-F238E27FC236}">
                  <a16:creationId xmlns:a16="http://schemas.microsoft.com/office/drawing/2014/main" id="{0BD1FD17-4D8C-5842-B310-78EA09BEFEB6}"/>
                </a:ext>
              </a:extLst>
            </p:cNvPr>
            <p:cNvSpPr/>
            <p:nvPr/>
          </p:nvSpPr>
          <p:spPr>
            <a:xfrm>
              <a:off x="4217533" y="243483"/>
              <a:ext cx="284373" cy="284373"/>
            </a:xfrm>
            <a:prstGeom prst="pie">
              <a:avLst>
                <a:gd name="adj1" fmla="val 10728514"/>
                <a:gd name="adj2" fmla="val 16200000"/>
              </a:avLst>
            </a:prstGeom>
            <a:solidFill>
              <a:schemeClr val="accent1">
                <a:lumMod val="75000"/>
              </a:schemeClr>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84" name="Oval 83">
              <a:extLst>
                <a:ext uri="{FF2B5EF4-FFF2-40B4-BE49-F238E27FC236}">
                  <a16:creationId xmlns:a16="http://schemas.microsoft.com/office/drawing/2014/main" id="{5B900610-FF98-A742-9A81-3817D35B21E7}"/>
                </a:ext>
              </a:extLst>
            </p:cNvPr>
            <p:cNvSpPr/>
            <p:nvPr/>
          </p:nvSpPr>
          <p:spPr>
            <a:xfrm>
              <a:off x="4217533" y="243483"/>
              <a:ext cx="284373" cy="284373"/>
            </a:xfrm>
            <a:prstGeom prst="ellipse">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88" name="Group 87">
            <a:extLst>
              <a:ext uri="{FF2B5EF4-FFF2-40B4-BE49-F238E27FC236}">
                <a16:creationId xmlns:a16="http://schemas.microsoft.com/office/drawing/2014/main" id="{8F01AAC2-CB51-2647-B785-DE67DFA8E4B1}"/>
              </a:ext>
            </a:extLst>
          </p:cNvPr>
          <p:cNvGrpSpPr/>
          <p:nvPr/>
        </p:nvGrpSpPr>
        <p:grpSpPr>
          <a:xfrm>
            <a:off x="434833" y="4739577"/>
            <a:ext cx="324000" cy="324000"/>
            <a:chOff x="4217533" y="243483"/>
            <a:chExt cx="284373" cy="284373"/>
          </a:xfrm>
          <a:solidFill>
            <a:schemeClr val="accent1">
              <a:lumMod val="75000"/>
            </a:schemeClr>
          </a:solidFill>
        </p:grpSpPr>
        <p:sp>
          <p:nvSpPr>
            <p:cNvPr id="89" name="Partial Circle 30">
              <a:extLst>
                <a:ext uri="{FF2B5EF4-FFF2-40B4-BE49-F238E27FC236}">
                  <a16:creationId xmlns:a16="http://schemas.microsoft.com/office/drawing/2014/main" id="{953A9626-BF74-1845-B410-08246C6FCC65}"/>
                </a:ext>
              </a:extLst>
            </p:cNvPr>
            <p:cNvSpPr/>
            <p:nvPr/>
          </p:nvSpPr>
          <p:spPr>
            <a:xfrm>
              <a:off x="4217533" y="243483"/>
              <a:ext cx="284373" cy="284373"/>
            </a:xfrm>
            <a:prstGeom prst="pie">
              <a:avLst>
                <a:gd name="adj1" fmla="val 16256693"/>
                <a:gd name="adj2" fmla="val 16200000"/>
              </a:avLst>
            </a:prstGeom>
            <a:grp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90" name="Oval 89">
              <a:extLst>
                <a:ext uri="{FF2B5EF4-FFF2-40B4-BE49-F238E27FC236}">
                  <a16:creationId xmlns:a16="http://schemas.microsoft.com/office/drawing/2014/main" id="{27CA9D11-8DC0-FD49-84C6-919CF9BD4948}"/>
                </a:ext>
              </a:extLst>
            </p:cNvPr>
            <p:cNvSpPr/>
            <p:nvPr/>
          </p:nvSpPr>
          <p:spPr>
            <a:xfrm>
              <a:off x="4217533" y="243483"/>
              <a:ext cx="284373" cy="284373"/>
            </a:xfrm>
            <a:prstGeom prst="ellipse">
              <a:avLst/>
            </a:prstGeom>
            <a:grp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91" name="Group 90">
            <a:extLst>
              <a:ext uri="{FF2B5EF4-FFF2-40B4-BE49-F238E27FC236}">
                <a16:creationId xmlns:a16="http://schemas.microsoft.com/office/drawing/2014/main" id="{7DD5E207-C5D0-CE4E-AF39-B87F978F4072}"/>
              </a:ext>
            </a:extLst>
          </p:cNvPr>
          <p:cNvGrpSpPr/>
          <p:nvPr/>
        </p:nvGrpSpPr>
        <p:grpSpPr>
          <a:xfrm rot="10800000">
            <a:off x="434833" y="5297252"/>
            <a:ext cx="324000" cy="324000"/>
            <a:chOff x="4217533" y="243483"/>
            <a:chExt cx="284373" cy="284373"/>
          </a:xfrm>
        </p:grpSpPr>
        <p:sp>
          <p:nvSpPr>
            <p:cNvPr id="92" name="Partial Circle 36">
              <a:extLst>
                <a:ext uri="{FF2B5EF4-FFF2-40B4-BE49-F238E27FC236}">
                  <a16:creationId xmlns:a16="http://schemas.microsoft.com/office/drawing/2014/main" id="{A41A7000-DDAD-FB40-987B-94D99C32C981}"/>
                </a:ext>
              </a:extLst>
            </p:cNvPr>
            <p:cNvSpPr/>
            <p:nvPr/>
          </p:nvSpPr>
          <p:spPr>
            <a:xfrm>
              <a:off x="4217533" y="243483"/>
              <a:ext cx="284373" cy="284373"/>
            </a:xfrm>
            <a:prstGeom prst="pie">
              <a:avLst>
                <a:gd name="adj1" fmla="val 5559236"/>
                <a:gd name="adj2" fmla="val 16200000"/>
              </a:avLst>
            </a:prstGeom>
            <a:solidFill>
              <a:schemeClr val="accent1">
                <a:lumMod val="75000"/>
              </a:schemeClr>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93" name="Oval 92">
              <a:extLst>
                <a:ext uri="{FF2B5EF4-FFF2-40B4-BE49-F238E27FC236}">
                  <a16:creationId xmlns:a16="http://schemas.microsoft.com/office/drawing/2014/main" id="{02A9BE6A-5FED-B84E-852E-97D11B31EAE3}"/>
                </a:ext>
              </a:extLst>
            </p:cNvPr>
            <p:cNvSpPr/>
            <p:nvPr/>
          </p:nvSpPr>
          <p:spPr>
            <a:xfrm>
              <a:off x="4217533" y="243483"/>
              <a:ext cx="284373" cy="284373"/>
            </a:xfrm>
            <a:prstGeom prst="ellipse">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97" name="Group 96">
            <a:extLst>
              <a:ext uri="{FF2B5EF4-FFF2-40B4-BE49-F238E27FC236}">
                <a16:creationId xmlns:a16="http://schemas.microsoft.com/office/drawing/2014/main" id="{60048609-6D8C-1042-BB05-E102B576A848}"/>
              </a:ext>
            </a:extLst>
          </p:cNvPr>
          <p:cNvGrpSpPr/>
          <p:nvPr/>
        </p:nvGrpSpPr>
        <p:grpSpPr>
          <a:xfrm>
            <a:off x="947635" y="5292539"/>
            <a:ext cx="324000" cy="324000"/>
            <a:chOff x="4217533" y="243483"/>
            <a:chExt cx="284373" cy="284373"/>
          </a:xfrm>
        </p:grpSpPr>
        <p:sp>
          <p:nvSpPr>
            <p:cNvPr id="98" name="Partial Circle 55">
              <a:extLst>
                <a:ext uri="{FF2B5EF4-FFF2-40B4-BE49-F238E27FC236}">
                  <a16:creationId xmlns:a16="http://schemas.microsoft.com/office/drawing/2014/main" id="{419F4879-B8C5-7C41-97B4-C05E395C2986}"/>
                </a:ext>
              </a:extLst>
            </p:cNvPr>
            <p:cNvSpPr/>
            <p:nvPr/>
          </p:nvSpPr>
          <p:spPr>
            <a:xfrm>
              <a:off x="4217533" y="243483"/>
              <a:ext cx="284373" cy="284373"/>
            </a:xfrm>
            <a:prstGeom prst="pie">
              <a:avLst>
                <a:gd name="adj1" fmla="val 5492124"/>
                <a:gd name="adj2" fmla="val 16200000"/>
              </a:avLst>
            </a:prstGeom>
            <a:solidFill>
              <a:schemeClr val="accent1">
                <a:lumMod val="75000"/>
              </a:schemeClr>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99" name="Oval 98">
              <a:extLst>
                <a:ext uri="{FF2B5EF4-FFF2-40B4-BE49-F238E27FC236}">
                  <a16:creationId xmlns:a16="http://schemas.microsoft.com/office/drawing/2014/main" id="{8073330E-4245-4F4B-A6A6-CEA5DF4A8018}"/>
                </a:ext>
              </a:extLst>
            </p:cNvPr>
            <p:cNvSpPr/>
            <p:nvPr/>
          </p:nvSpPr>
          <p:spPr>
            <a:xfrm>
              <a:off x="4217533" y="243483"/>
              <a:ext cx="284373" cy="284373"/>
            </a:xfrm>
            <a:prstGeom prst="ellipse">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100" name="Group 99">
            <a:extLst>
              <a:ext uri="{FF2B5EF4-FFF2-40B4-BE49-F238E27FC236}">
                <a16:creationId xmlns:a16="http://schemas.microsoft.com/office/drawing/2014/main" id="{6BD41CB4-6312-654F-A6E5-4ABDFE95B05E}"/>
              </a:ext>
            </a:extLst>
          </p:cNvPr>
          <p:cNvGrpSpPr/>
          <p:nvPr/>
        </p:nvGrpSpPr>
        <p:grpSpPr>
          <a:xfrm flipH="1">
            <a:off x="1997152" y="4739577"/>
            <a:ext cx="324000" cy="324000"/>
            <a:chOff x="4217533" y="243483"/>
            <a:chExt cx="284373" cy="284373"/>
          </a:xfrm>
        </p:grpSpPr>
        <p:sp>
          <p:nvSpPr>
            <p:cNvPr id="101" name="Partial Circle 40">
              <a:extLst>
                <a:ext uri="{FF2B5EF4-FFF2-40B4-BE49-F238E27FC236}">
                  <a16:creationId xmlns:a16="http://schemas.microsoft.com/office/drawing/2014/main" id="{4766D7E7-479F-4C4A-B8B1-7ABC91B57E47}"/>
                </a:ext>
              </a:extLst>
            </p:cNvPr>
            <p:cNvSpPr/>
            <p:nvPr/>
          </p:nvSpPr>
          <p:spPr>
            <a:xfrm>
              <a:off x="4217533" y="243483"/>
              <a:ext cx="284373" cy="284373"/>
            </a:xfrm>
            <a:prstGeom prst="pie">
              <a:avLst>
                <a:gd name="adj1" fmla="val 10780335"/>
                <a:gd name="adj2" fmla="val 16200000"/>
              </a:avLst>
            </a:prstGeom>
            <a:solidFill>
              <a:schemeClr val="accent1">
                <a:lumMod val="75000"/>
              </a:schemeClr>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02" name="Oval 101">
              <a:extLst>
                <a:ext uri="{FF2B5EF4-FFF2-40B4-BE49-F238E27FC236}">
                  <a16:creationId xmlns:a16="http://schemas.microsoft.com/office/drawing/2014/main" id="{4259158B-CB54-894A-AEA9-DAE954E77E6D}"/>
                </a:ext>
              </a:extLst>
            </p:cNvPr>
            <p:cNvSpPr/>
            <p:nvPr/>
          </p:nvSpPr>
          <p:spPr>
            <a:xfrm>
              <a:off x="4217533" y="243483"/>
              <a:ext cx="284373" cy="284373"/>
            </a:xfrm>
            <a:prstGeom prst="ellipse">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103" name="Group 102">
            <a:extLst>
              <a:ext uri="{FF2B5EF4-FFF2-40B4-BE49-F238E27FC236}">
                <a16:creationId xmlns:a16="http://schemas.microsoft.com/office/drawing/2014/main" id="{2CC73C64-3564-B24A-8979-4CB0078B9EEA}"/>
              </a:ext>
            </a:extLst>
          </p:cNvPr>
          <p:cNvGrpSpPr/>
          <p:nvPr/>
        </p:nvGrpSpPr>
        <p:grpSpPr>
          <a:xfrm>
            <a:off x="944732" y="4739577"/>
            <a:ext cx="324000" cy="324000"/>
            <a:chOff x="4217533" y="243483"/>
            <a:chExt cx="284373" cy="284373"/>
          </a:xfrm>
          <a:solidFill>
            <a:schemeClr val="bg1"/>
          </a:solidFill>
        </p:grpSpPr>
        <p:sp>
          <p:nvSpPr>
            <p:cNvPr id="104" name="Partial Circle 30">
              <a:extLst>
                <a:ext uri="{FF2B5EF4-FFF2-40B4-BE49-F238E27FC236}">
                  <a16:creationId xmlns:a16="http://schemas.microsoft.com/office/drawing/2014/main" id="{82402283-7287-214C-86E8-8AD8EDBA4CD7}"/>
                </a:ext>
              </a:extLst>
            </p:cNvPr>
            <p:cNvSpPr/>
            <p:nvPr/>
          </p:nvSpPr>
          <p:spPr>
            <a:xfrm>
              <a:off x="4217533" y="243483"/>
              <a:ext cx="284373" cy="284373"/>
            </a:xfrm>
            <a:prstGeom prst="pie">
              <a:avLst>
                <a:gd name="adj1" fmla="val 16256693"/>
                <a:gd name="adj2" fmla="val 16200000"/>
              </a:avLst>
            </a:prstGeom>
            <a:grp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05" name="Oval 104">
              <a:extLst>
                <a:ext uri="{FF2B5EF4-FFF2-40B4-BE49-F238E27FC236}">
                  <a16:creationId xmlns:a16="http://schemas.microsoft.com/office/drawing/2014/main" id="{E97DA52F-B30F-FB4B-9C4B-79E37C3BE2A9}"/>
                </a:ext>
              </a:extLst>
            </p:cNvPr>
            <p:cNvSpPr/>
            <p:nvPr/>
          </p:nvSpPr>
          <p:spPr>
            <a:xfrm>
              <a:off x="4217533" y="243483"/>
              <a:ext cx="284373" cy="284373"/>
            </a:xfrm>
            <a:prstGeom prst="ellipse">
              <a:avLst/>
            </a:prstGeom>
            <a:grp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106" name="Group 105">
            <a:extLst>
              <a:ext uri="{FF2B5EF4-FFF2-40B4-BE49-F238E27FC236}">
                <a16:creationId xmlns:a16="http://schemas.microsoft.com/office/drawing/2014/main" id="{A7C69F26-D739-D640-99B6-F941AEF67786}"/>
              </a:ext>
            </a:extLst>
          </p:cNvPr>
          <p:cNvGrpSpPr/>
          <p:nvPr/>
        </p:nvGrpSpPr>
        <p:grpSpPr>
          <a:xfrm flipH="1">
            <a:off x="1457534" y="5294228"/>
            <a:ext cx="324000" cy="324000"/>
            <a:chOff x="4217533" y="243483"/>
            <a:chExt cx="284373" cy="284373"/>
          </a:xfrm>
        </p:grpSpPr>
        <p:sp>
          <p:nvSpPr>
            <p:cNvPr id="108" name="Oval 107">
              <a:extLst>
                <a:ext uri="{FF2B5EF4-FFF2-40B4-BE49-F238E27FC236}">
                  <a16:creationId xmlns:a16="http://schemas.microsoft.com/office/drawing/2014/main" id="{AF677CFA-32D0-8E43-B48E-B4B35F56E962}"/>
                </a:ext>
              </a:extLst>
            </p:cNvPr>
            <p:cNvSpPr/>
            <p:nvPr/>
          </p:nvSpPr>
          <p:spPr>
            <a:xfrm>
              <a:off x="4217533" y="243483"/>
              <a:ext cx="284373" cy="284373"/>
            </a:xfrm>
            <a:prstGeom prst="ellipse">
              <a:avLst/>
            </a:prstGeom>
            <a:solidFill>
              <a:schemeClr val="accent1">
                <a:lumMod val="75000"/>
              </a:schemeClr>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07" name="Partial Circle 40">
              <a:extLst>
                <a:ext uri="{FF2B5EF4-FFF2-40B4-BE49-F238E27FC236}">
                  <a16:creationId xmlns:a16="http://schemas.microsoft.com/office/drawing/2014/main" id="{69AADC8F-D960-BE4C-BA0F-782CB18C004D}"/>
                </a:ext>
              </a:extLst>
            </p:cNvPr>
            <p:cNvSpPr/>
            <p:nvPr/>
          </p:nvSpPr>
          <p:spPr>
            <a:xfrm>
              <a:off x="4217533" y="243483"/>
              <a:ext cx="284373" cy="284373"/>
            </a:xfrm>
            <a:prstGeom prst="pie">
              <a:avLst>
                <a:gd name="adj1" fmla="val 10780335"/>
                <a:gd name="adj2" fmla="val 16200000"/>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109" name="Group 108">
            <a:extLst>
              <a:ext uri="{FF2B5EF4-FFF2-40B4-BE49-F238E27FC236}">
                <a16:creationId xmlns:a16="http://schemas.microsoft.com/office/drawing/2014/main" id="{094B2414-824F-3845-8874-4707B2282D8B}"/>
              </a:ext>
            </a:extLst>
          </p:cNvPr>
          <p:cNvGrpSpPr/>
          <p:nvPr/>
        </p:nvGrpSpPr>
        <p:grpSpPr>
          <a:xfrm>
            <a:off x="1977711" y="5294228"/>
            <a:ext cx="324000" cy="324000"/>
            <a:chOff x="4217533" y="243483"/>
            <a:chExt cx="284373" cy="284373"/>
          </a:xfrm>
        </p:grpSpPr>
        <p:sp>
          <p:nvSpPr>
            <p:cNvPr id="110" name="Oval 109">
              <a:extLst>
                <a:ext uri="{FF2B5EF4-FFF2-40B4-BE49-F238E27FC236}">
                  <a16:creationId xmlns:a16="http://schemas.microsoft.com/office/drawing/2014/main" id="{431680DB-D14F-3F42-9723-0A155EEA9D80}"/>
                </a:ext>
              </a:extLst>
            </p:cNvPr>
            <p:cNvSpPr/>
            <p:nvPr/>
          </p:nvSpPr>
          <p:spPr>
            <a:xfrm>
              <a:off x="4217533" y="243483"/>
              <a:ext cx="284373" cy="284373"/>
            </a:xfrm>
            <a:prstGeom prst="ellipse">
              <a:avLst/>
            </a:prstGeom>
            <a:solidFill>
              <a:schemeClr val="accent1">
                <a:lumMod val="75000"/>
              </a:schemeClr>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11" name="Partial Circle 40">
              <a:extLst>
                <a:ext uri="{FF2B5EF4-FFF2-40B4-BE49-F238E27FC236}">
                  <a16:creationId xmlns:a16="http://schemas.microsoft.com/office/drawing/2014/main" id="{F7523294-E42E-F842-877D-163989ED45AF}"/>
                </a:ext>
              </a:extLst>
            </p:cNvPr>
            <p:cNvSpPr/>
            <p:nvPr/>
          </p:nvSpPr>
          <p:spPr>
            <a:xfrm>
              <a:off x="4217533" y="243483"/>
              <a:ext cx="284373" cy="284373"/>
            </a:xfrm>
            <a:prstGeom prst="pie">
              <a:avLst>
                <a:gd name="adj1" fmla="val 10780335"/>
                <a:gd name="adj2" fmla="val 16200000"/>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err="1">
                <a:ln>
                  <a:noFill/>
                </a:ln>
                <a:solidFill>
                  <a:srgbClr val="FFFFFF"/>
                </a:solidFill>
                <a:effectLst/>
                <a:uLnTx/>
                <a:uFillTx/>
                <a:latin typeface="Arial"/>
                <a:ea typeface="+mn-ea"/>
                <a:cs typeface="+mn-cs"/>
              </a:endParaRPr>
            </a:p>
          </p:txBody>
        </p:sp>
      </p:grpSp>
      <p:sp>
        <p:nvSpPr>
          <p:cNvPr id="44" name="Octagon 43">
            <a:extLst>
              <a:ext uri="{FF2B5EF4-FFF2-40B4-BE49-F238E27FC236}">
                <a16:creationId xmlns:a16="http://schemas.microsoft.com/office/drawing/2014/main" id="{76C1C472-BE00-A646-A63A-E5FBCDE3CE45}"/>
              </a:ext>
            </a:extLst>
          </p:cNvPr>
          <p:cNvSpPr/>
          <p:nvPr/>
        </p:nvSpPr>
        <p:spPr>
          <a:xfrm>
            <a:off x="5078568" y="1474960"/>
            <a:ext cx="576000" cy="576000"/>
          </a:xfrm>
          <a:prstGeom prst="octagon">
            <a:avLst/>
          </a:prstGeom>
          <a:solidFill>
            <a:schemeClr val="bg2">
              <a:lumMod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dirty="0">
                <a:solidFill>
                  <a:schemeClr val="bg1"/>
                </a:solidFill>
                <a:latin typeface="Roboto Medium" pitchFamily="2" charset="0"/>
                <a:ea typeface="Roboto Medium" pitchFamily="2" charset="0"/>
                <a:cs typeface="Roboto Thin" panose="02000000000000000000" pitchFamily="2" charset="0"/>
              </a:rPr>
              <a:t>Pb</a:t>
            </a:r>
          </a:p>
        </p:txBody>
      </p:sp>
      <p:sp>
        <p:nvSpPr>
          <p:cNvPr id="45" name="Octagon 44">
            <a:extLst>
              <a:ext uri="{FF2B5EF4-FFF2-40B4-BE49-F238E27FC236}">
                <a16:creationId xmlns:a16="http://schemas.microsoft.com/office/drawing/2014/main" id="{6EC72F1F-5644-7146-AF1A-260DA27E1E8F}"/>
              </a:ext>
            </a:extLst>
          </p:cNvPr>
          <p:cNvSpPr/>
          <p:nvPr/>
        </p:nvSpPr>
        <p:spPr>
          <a:xfrm>
            <a:off x="3268770" y="3236430"/>
            <a:ext cx="324000" cy="324000"/>
          </a:xfrm>
          <a:prstGeom prst="octagon">
            <a:avLst/>
          </a:prstGeom>
          <a:solidFill>
            <a:schemeClr val="bg2">
              <a:lumMod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dirty="0">
                <a:solidFill>
                  <a:schemeClr val="bg1"/>
                </a:solidFill>
                <a:latin typeface="Roboto Medium" pitchFamily="2" charset="0"/>
                <a:ea typeface="Roboto Medium" pitchFamily="2" charset="0"/>
                <a:cs typeface="Roboto Thin" panose="02000000000000000000" pitchFamily="2" charset="0"/>
              </a:rPr>
              <a:t>Pb</a:t>
            </a:r>
          </a:p>
        </p:txBody>
      </p:sp>
      <p:sp>
        <p:nvSpPr>
          <p:cNvPr id="46" name="Octagon 45">
            <a:extLst>
              <a:ext uri="{FF2B5EF4-FFF2-40B4-BE49-F238E27FC236}">
                <a16:creationId xmlns:a16="http://schemas.microsoft.com/office/drawing/2014/main" id="{B9DDDD44-E3EE-F05D-542C-9842240558B0}"/>
              </a:ext>
            </a:extLst>
          </p:cNvPr>
          <p:cNvSpPr/>
          <p:nvPr/>
        </p:nvSpPr>
        <p:spPr>
          <a:xfrm>
            <a:off x="1720775" y="2226515"/>
            <a:ext cx="576000" cy="576000"/>
          </a:xfrm>
          <a:prstGeom prst="octagon">
            <a:avLst/>
          </a:prstGeom>
          <a:solidFill>
            <a:srgbClr val="CBBDA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dirty="0">
                <a:solidFill>
                  <a:schemeClr val="bg1"/>
                </a:solidFill>
                <a:latin typeface="Roboto Medium" pitchFamily="2" charset="0"/>
                <a:ea typeface="Roboto Medium" pitchFamily="2" charset="0"/>
                <a:cs typeface="Roboto Thin" panose="02000000000000000000" pitchFamily="2" charset="0"/>
              </a:rPr>
              <a:t>Si</a:t>
            </a:r>
          </a:p>
        </p:txBody>
      </p:sp>
      <p:sp>
        <p:nvSpPr>
          <p:cNvPr id="47" name="Octagon 46">
            <a:extLst>
              <a:ext uri="{FF2B5EF4-FFF2-40B4-BE49-F238E27FC236}">
                <a16:creationId xmlns:a16="http://schemas.microsoft.com/office/drawing/2014/main" id="{F6C7059C-4033-C8B6-EB65-D028D11D7FAB}"/>
              </a:ext>
            </a:extLst>
          </p:cNvPr>
          <p:cNvSpPr/>
          <p:nvPr/>
        </p:nvSpPr>
        <p:spPr>
          <a:xfrm>
            <a:off x="2392287" y="2226515"/>
            <a:ext cx="576000" cy="576000"/>
          </a:xfrm>
          <a:prstGeom prst="octagon">
            <a:avLst/>
          </a:prstGeom>
          <a:solidFill>
            <a:srgbClr val="9E9F9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dirty="0">
                <a:solidFill>
                  <a:schemeClr val="bg1"/>
                </a:solidFill>
                <a:latin typeface="Roboto Medium" pitchFamily="2" charset="0"/>
                <a:ea typeface="Roboto Medium" pitchFamily="2" charset="0"/>
                <a:cs typeface="Roboto Thin" panose="02000000000000000000" pitchFamily="2" charset="0"/>
              </a:rPr>
              <a:t>Al</a:t>
            </a:r>
          </a:p>
        </p:txBody>
      </p:sp>
      <p:sp>
        <p:nvSpPr>
          <p:cNvPr id="51" name="Octagon 50">
            <a:extLst>
              <a:ext uri="{FF2B5EF4-FFF2-40B4-BE49-F238E27FC236}">
                <a16:creationId xmlns:a16="http://schemas.microsoft.com/office/drawing/2014/main" id="{8F799302-7E96-1EC5-9416-6173042AD606}"/>
              </a:ext>
            </a:extLst>
          </p:cNvPr>
          <p:cNvSpPr/>
          <p:nvPr/>
        </p:nvSpPr>
        <p:spPr>
          <a:xfrm>
            <a:off x="1055193" y="2226515"/>
            <a:ext cx="576000" cy="576000"/>
          </a:xfrm>
          <a:prstGeom prst="octagon">
            <a:avLst/>
          </a:prstGeom>
          <a:solidFill>
            <a:srgbClr val="5C5B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dirty="0">
                <a:solidFill>
                  <a:schemeClr val="bg1"/>
                </a:solidFill>
                <a:latin typeface="Roboto Medium" pitchFamily="2" charset="0"/>
                <a:ea typeface="Roboto Medium" pitchFamily="2" charset="0"/>
                <a:cs typeface="Roboto Thin" panose="02000000000000000000" pitchFamily="2" charset="0"/>
              </a:rPr>
              <a:t>C</a:t>
            </a:r>
          </a:p>
        </p:txBody>
      </p:sp>
      <p:sp>
        <p:nvSpPr>
          <p:cNvPr id="52" name="Octagon 51">
            <a:extLst>
              <a:ext uri="{FF2B5EF4-FFF2-40B4-BE49-F238E27FC236}">
                <a16:creationId xmlns:a16="http://schemas.microsoft.com/office/drawing/2014/main" id="{52225140-0B72-1F04-F813-EAFFE4AD87CE}"/>
              </a:ext>
            </a:extLst>
          </p:cNvPr>
          <p:cNvSpPr/>
          <p:nvPr/>
        </p:nvSpPr>
        <p:spPr>
          <a:xfrm>
            <a:off x="392400" y="2226515"/>
            <a:ext cx="576000" cy="576000"/>
          </a:xfrm>
          <a:prstGeom prst="octagon">
            <a:avLst/>
          </a:prstGeom>
          <a:solidFill>
            <a:srgbClr val="F1B2D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dirty="0">
                <a:solidFill>
                  <a:schemeClr val="bg1"/>
                </a:solidFill>
                <a:latin typeface="Roboto Medium" pitchFamily="2" charset="0"/>
                <a:ea typeface="Roboto Medium" pitchFamily="2" charset="0"/>
                <a:cs typeface="Roboto Thin" panose="02000000000000000000" pitchFamily="2" charset="0"/>
              </a:rPr>
              <a:t>Li</a:t>
            </a:r>
          </a:p>
        </p:txBody>
      </p:sp>
      <p:sp>
        <p:nvSpPr>
          <p:cNvPr id="53" name="Octagon 52">
            <a:extLst>
              <a:ext uri="{FF2B5EF4-FFF2-40B4-BE49-F238E27FC236}">
                <a16:creationId xmlns:a16="http://schemas.microsoft.com/office/drawing/2014/main" id="{7F0082F6-04FC-E185-842D-0A7E207B93F0}"/>
              </a:ext>
            </a:extLst>
          </p:cNvPr>
          <p:cNvSpPr/>
          <p:nvPr/>
        </p:nvSpPr>
        <p:spPr>
          <a:xfrm>
            <a:off x="1205269" y="3705865"/>
            <a:ext cx="324000" cy="324000"/>
          </a:xfrm>
          <a:prstGeom prst="octagon">
            <a:avLst/>
          </a:prstGeom>
          <a:solidFill>
            <a:srgbClr val="CBBEA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dirty="0">
                <a:solidFill>
                  <a:schemeClr val="bg1"/>
                </a:solidFill>
                <a:latin typeface="Roboto Medium" pitchFamily="2" charset="0"/>
                <a:ea typeface="Roboto Medium" pitchFamily="2" charset="0"/>
                <a:cs typeface="Roboto Thin" panose="02000000000000000000" pitchFamily="2" charset="0"/>
              </a:rPr>
              <a:t>Si</a:t>
            </a:r>
          </a:p>
        </p:txBody>
      </p:sp>
      <p:sp>
        <p:nvSpPr>
          <p:cNvPr id="54" name="Octagon 53">
            <a:extLst>
              <a:ext uri="{FF2B5EF4-FFF2-40B4-BE49-F238E27FC236}">
                <a16:creationId xmlns:a16="http://schemas.microsoft.com/office/drawing/2014/main" id="{6789F9EC-0B14-3F1E-C243-62CE9F933D72}"/>
              </a:ext>
            </a:extLst>
          </p:cNvPr>
          <p:cNvSpPr/>
          <p:nvPr/>
        </p:nvSpPr>
        <p:spPr>
          <a:xfrm>
            <a:off x="1616186" y="3705865"/>
            <a:ext cx="324000" cy="324000"/>
          </a:xfrm>
          <a:prstGeom prst="octagon">
            <a:avLst/>
          </a:prstGeom>
          <a:solidFill>
            <a:srgbClr val="9EA09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dirty="0">
                <a:solidFill>
                  <a:schemeClr val="bg1"/>
                </a:solidFill>
                <a:latin typeface="Roboto Medium" pitchFamily="2" charset="0"/>
                <a:ea typeface="Roboto Medium" pitchFamily="2" charset="0"/>
                <a:cs typeface="Roboto Thin" panose="02000000000000000000" pitchFamily="2" charset="0"/>
              </a:rPr>
              <a:t>Al</a:t>
            </a:r>
          </a:p>
        </p:txBody>
      </p:sp>
      <p:sp>
        <p:nvSpPr>
          <p:cNvPr id="58" name="Octagon 57">
            <a:extLst>
              <a:ext uri="{FF2B5EF4-FFF2-40B4-BE49-F238E27FC236}">
                <a16:creationId xmlns:a16="http://schemas.microsoft.com/office/drawing/2014/main" id="{ACE02EF3-7F2C-1472-1218-90F0AE694D2C}"/>
              </a:ext>
            </a:extLst>
          </p:cNvPr>
          <p:cNvSpPr/>
          <p:nvPr/>
        </p:nvSpPr>
        <p:spPr>
          <a:xfrm>
            <a:off x="797981" y="3705865"/>
            <a:ext cx="324000" cy="324000"/>
          </a:xfrm>
          <a:prstGeom prst="octagon">
            <a:avLst/>
          </a:prstGeom>
          <a:solidFill>
            <a:srgbClr val="5C5B5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dirty="0">
                <a:solidFill>
                  <a:schemeClr val="bg1"/>
                </a:solidFill>
                <a:latin typeface="Roboto Medium" pitchFamily="2" charset="0"/>
                <a:ea typeface="Roboto Medium" pitchFamily="2" charset="0"/>
                <a:cs typeface="Roboto Thin" panose="02000000000000000000" pitchFamily="2" charset="0"/>
              </a:rPr>
              <a:t>C</a:t>
            </a:r>
          </a:p>
        </p:txBody>
      </p:sp>
      <p:sp>
        <p:nvSpPr>
          <p:cNvPr id="59" name="Octagon 58">
            <a:extLst>
              <a:ext uri="{FF2B5EF4-FFF2-40B4-BE49-F238E27FC236}">
                <a16:creationId xmlns:a16="http://schemas.microsoft.com/office/drawing/2014/main" id="{53CB9454-3383-8328-91AE-8C9793281112}"/>
              </a:ext>
            </a:extLst>
          </p:cNvPr>
          <p:cNvSpPr/>
          <p:nvPr/>
        </p:nvSpPr>
        <p:spPr>
          <a:xfrm>
            <a:off x="392400" y="3705865"/>
            <a:ext cx="324000" cy="324000"/>
          </a:xfrm>
          <a:prstGeom prst="octagon">
            <a:avLst/>
          </a:prstGeom>
          <a:solidFill>
            <a:srgbClr val="F1B2D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dirty="0">
                <a:solidFill>
                  <a:schemeClr val="bg1"/>
                </a:solidFill>
                <a:latin typeface="Roboto Medium" pitchFamily="2" charset="0"/>
                <a:ea typeface="Roboto Medium" pitchFamily="2" charset="0"/>
                <a:cs typeface="Roboto Thin" panose="02000000000000000000" pitchFamily="2" charset="0"/>
              </a:rPr>
              <a:t>Li</a:t>
            </a:r>
          </a:p>
        </p:txBody>
      </p:sp>
    </p:spTree>
    <p:extLst>
      <p:ext uri="{BB962C8B-B14F-4D97-AF65-F5344CB8AC3E}">
        <p14:creationId xmlns:p14="http://schemas.microsoft.com/office/powerpoint/2010/main" val="273618941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9A07062-6D36-6636-90CE-8F9740116F8D}"/>
              </a:ext>
            </a:extLst>
          </p:cNvPr>
          <p:cNvGraphicFramePr>
            <a:graphicFrameLocks noChangeAspect="1"/>
          </p:cNvGraphicFramePr>
          <p:nvPr>
            <p:custDataLst>
              <p:tags r:id="rId1"/>
            </p:custDataLst>
            <p:extLst>
              <p:ext uri="{D42A27DB-BD31-4B8C-83A1-F6EECF244321}">
                <p14:modId xmlns:p14="http://schemas.microsoft.com/office/powerpoint/2010/main" val="3495218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4" name="think-cell data - do not delete" hidden="1">
                        <a:extLst>
                          <a:ext uri="{FF2B5EF4-FFF2-40B4-BE49-F238E27FC236}">
                            <a16:creationId xmlns:a16="http://schemas.microsoft.com/office/drawing/2014/main" id="{A9A07062-6D36-6636-90CE-8F9740116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Text Placeholder 19">
            <a:extLst>
              <a:ext uri="{FF2B5EF4-FFF2-40B4-BE49-F238E27FC236}">
                <a16:creationId xmlns:a16="http://schemas.microsoft.com/office/drawing/2014/main" id="{0689B20C-ACE9-B567-35E7-FD35D3C57B2A}"/>
              </a:ext>
            </a:extLst>
          </p:cNvPr>
          <p:cNvSpPr>
            <a:spLocks noGrp="1"/>
          </p:cNvSpPr>
          <p:nvPr>
            <p:ph type="body" sz="quarter" idx="10"/>
          </p:nvPr>
        </p:nvSpPr>
        <p:spPr/>
        <p:txBody>
          <a:bodyPr/>
          <a:lstStyle/>
          <a:p>
            <a:endParaRPr lang="nl-NL"/>
          </a:p>
        </p:txBody>
      </p:sp>
      <p:sp>
        <p:nvSpPr>
          <p:cNvPr id="4" name="Title 3">
            <a:extLst>
              <a:ext uri="{FF2B5EF4-FFF2-40B4-BE49-F238E27FC236}">
                <a16:creationId xmlns:a16="http://schemas.microsoft.com/office/drawing/2014/main" id="{80096467-067F-A82E-55CC-39C1A2B9A00C}"/>
              </a:ext>
            </a:extLst>
          </p:cNvPr>
          <p:cNvSpPr>
            <a:spLocks noGrp="1"/>
          </p:cNvSpPr>
          <p:nvPr>
            <p:ph type="title"/>
          </p:nvPr>
        </p:nvSpPr>
        <p:spPr/>
        <p:txBody>
          <a:bodyPr/>
          <a:lstStyle/>
          <a:p>
            <a:endParaRPr lang="nl-NL"/>
          </a:p>
        </p:txBody>
      </p:sp>
      <p:sp>
        <p:nvSpPr>
          <p:cNvPr id="22" name="Text Placeholder 21">
            <a:extLst>
              <a:ext uri="{FF2B5EF4-FFF2-40B4-BE49-F238E27FC236}">
                <a16:creationId xmlns:a16="http://schemas.microsoft.com/office/drawing/2014/main" id="{19D6EEE9-518E-478A-34D3-708F99BBB366}"/>
              </a:ext>
            </a:extLst>
          </p:cNvPr>
          <p:cNvSpPr>
            <a:spLocks noGrp="1"/>
          </p:cNvSpPr>
          <p:nvPr>
            <p:ph type="body" sz="quarter" idx="27"/>
          </p:nvPr>
        </p:nvSpPr>
        <p:spPr/>
        <p:txBody>
          <a:bodyPr/>
          <a:lstStyle/>
          <a:p>
            <a:endParaRPr lang="nl-NL"/>
          </a:p>
        </p:txBody>
      </p:sp>
      <p:sp>
        <p:nvSpPr>
          <p:cNvPr id="6" name="TextBox 5">
            <a:extLst>
              <a:ext uri="{FF2B5EF4-FFF2-40B4-BE49-F238E27FC236}">
                <a16:creationId xmlns:a16="http://schemas.microsoft.com/office/drawing/2014/main" id="{C7FE982D-0204-934E-99A6-877CB1F65296}"/>
              </a:ext>
            </a:extLst>
          </p:cNvPr>
          <p:cNvSpPr txBox="1"/>
          <p:nvPr/>
        </p:nvSpPr>
        <p:spPr>
          <a:xfrm>
            <a:off x="743216" y="5909485"/>
            <a:ext cx="886691" cy="187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3231" tIns="33231" rIns="33231" bIns="33231" rtlCol="0" anchor="ctr" anchorCtr="0">
            <a:noAutofit/>
          </a:bodyPr>
          <a:lstStyle/>
          <a:p>
            <a:pPr algn="ctr" defTabSz="844083"/>
            <a:r>
              <a:rPr lang="en-GB" sz="1108" dirty="0">
                <a:solidFill>
                  <a:srgbClr val="333333"/>
                </a:solidFill>
                <a:latin typeface="Roboto Light" panose="02000000000000000000" pitchFamily="2" charset="0"/>
                <a:ea typeface="Roboto Light" panose="02000000000000000000" pitchFamily="2" charset="0"/>
                <a:cs typeface="Roboto Light" panose="02000000000000000000" pitchFamily="2" charset="0"/>
              </a:rPr>
              <a:t>2014</a:t>
            </a:r>
          </a:p>
        </p:txBody>
      </p:sp>
      <p:sp>
        <p:nvSpPr>
          <p:cNvPr id="7" name="TextBox 6">
            <a:extLst>
              <a:ext uri="{FF2B5EF4-FFF2-40B4-BE49-F238E27FC236}">
                <a16:creationId xmlns:a16="http://schemas.microsoft.com/office/drawing/2014/main" id="{B6697ABC-F84B-C749-A37F-4A95321EC331}"/>
              </a:ext>
            </a:extLst>
          </p:cNvPr>
          <p:cNvSpPr txBox="1"/>
          <p:nvPr/>
        </p:nvSpPr>
        <p:spPr>
          <a:xfrm>
            <a:off x="8285418" y="5909485"/>
            <a:ext cx="886691" cy="187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3231" tIns="33231" rIns="33231" bIns="33231" rtlCol="0" anchor="ctr" anchorCtr="0">
            <a:noAutofit/>
          </a:bodyPr>
          <a:lstStyle/>
          <a:p>
            <a:pPr algn="ctr" defTabSz="844083"/>
            <a:r>
              <a:rPr lang="en-GB" sz="1108" dirty="0">
                <a:solidFill>
                  <a:srgbClr val="333333"/>
                </a:solidFill>
                <a:latin typeface="Roboto Light" panose="02000000000000000000" pitchFamily="2" charset="0"/>
                <a:ea typeface="Roboto Light" panose="02000000000000000000" pitchFamily="2" charset="0"/>
                <a:cs typeface="Roboto Light" panose="02000000000000000000" pitchFamily="2" charset="0"/>
              </a:rPr>
              <a:t>2021</a:t>
            </a:r>
          </a:p>
        </p:txBody>
      </p:sp>
      <p:sp>
        <p:nvSpPr>
          <p:cNvPr id="8" name="TextBox 7">
            <a:extLst>
              <a:ext uri="{FF2B5EF4-FFF2-40B4-BE49-F238E27FC236}">
                <a16:creationId xmlns:a16="http://schemas.microsoft.com/office/drawing/2014/main" id="{D79664CD-85EA-E949-8144-5933557BE46B}"/>
              </a:ext>
            </a:extLst>
          </p:cNvPr>
          <p:cNvSpPr txBox="1"/>
          <p:nvPr/>
        </p:nvSpPr>
        <p:spPr>
          <a:xfrm>
            <a:off x="7207958" y="5909485"/>
            <a:ext cx="886691" cy="187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3231" tIns="33231" rIns="33231" bIns="33231" rtlCol="0" anchor="ctr" anchorCtr="0">
            <a:noAutofit/>
          </a:bodyPr>
          <a:lstStyle/>
          <a:p>
            <a:pPr algn="ctr" defTabSz="844083"/>
            <a:r>
              <a:rPr lang="en-GB" sz="1108" dirty="0">
                <a:solidFill>
                  <a:srgbClr val="333333"/>
                </a:solidFill>
                <a:latin typeface="Roboto Light" panose="02000000000000000000" pitchFamily="2" charset="0"/>
                <a:ea typeface="Roboto Light" panose="02000000000000000000" pitchFamily="2" charset="0"/>
                <a:cs typeface="Roboto Light" panose="02000000000000000000" pitchFamily="2" charset="0"/>
              </a:rPr>
              <a:t>2020</a:t>
            </a:r>
          </a:p>
        </p:txBody>
      </p:sp>
      <p:sp>
        <p:nvSpPr>
          <p:cNvPr id="9" name="TextBox 8">
            <a:extLst>
              <a:ext uri="{FF2B5EF4-FFF2-40B4-BE49-F238E27FC236}">
                <a16:creationId xmlns:a16="http://schemas.microsoft.com/office/drawing/2014/main" id="{AC244FDE-4187-A04B-923B-179AB0FF7D03}"/>
              </a:ext>
            </a:extLst>
          </p:cNvPr>
          <p:cNvSpPr txBox="1"/>
          <p:nvPr/>
        </p:nvSpPr>
        <p:spPr>
          <a:xfrm>
            <a:off x="6130501" y="5910823"/>
            <a:ext cx="886691" cy="187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3231" tIns="33231" rIns="33231" bIns="33231" rtlCol="0" anchor="ctr" anchorCtr="0">
            <a:noAutofit/>
          </a:bodyPr>
          <a:lstStyle/>
          <a:p>
            <a:pPr algn="ctr" defTabSz="844083"/>
            <a:r>
              <a:rPr lang="en-GB" sz="1108" dirty="0">
                <a:solidFill>
                  <a:srgbClr val="333333"/>
                </a:solidFill>
                <a:latin typeface="Roboto Light" panose="02000000000000000000" pitchFamily="2" charset="0"/>
                <a:ea typeface="Roboto Light" panose="02000000000000000000" pitchFamily="2" charset="0"/>
                <a:cs typeface="Roboto Light" panose="02000000000000000000" pitchFamily="2" charset="0"/>
              </a:rPr>
              <a:t>2019</a:t>
            </a:r>
          </a:p>
        </p:txBody>
      </p:sp>
      <p:sp>
        <p:nvSpPr>
          <p:cNvPr id="10" name="TextBox 9">
            <a:extLst>
              <a:ext uri="{FF2B5EF4-FFF2-40B4-BE49-F238E27FC236}">
                <a16:creationId xmlns:a16="http://schemas.microsoft.com/office/drawing/2014/main" id="{FA7FC24C-7D7F-1B42-BF1F-B8A49499A43A}"/>
              </a:ext>
            </a:extLst>
          </p:cNvPr>
          <p:cNvSpPr txBox="1"/>
          <p:nvPr/>
        </p:nvSpPr>
        <p:spPr>
          <a:xfrm>
            <a:off x="1820673" y="5909485"/>
            <a:ext cx="886691" cy="187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3231" tIns="33231" rIns="33231" bIns="33231" rtlCol="0" anchor="ctr" anchorCtr="0">
            <a:noAutofit/>
          </a:bodyPr>
          <a:lstStyle/>
          <a:p>
            <a:pPr algn="ctr" defTabSz="844083"/>
            <a:r>
              <a:rPr lang="en-GB" sz="1108" dirty="0">
                <a:solidFill>
                  <a:srgbClr val="333333"/>
                </a:solidFill>
                <a:latin typeface="Roboto Light" panose="02000000000000000000" pitchFamily="2" charset="0"/>
                <a:ea typeface="Roboto Light" panose="02000000000000000000" pitchFamily="2" charset="0"/>
                <a:cs typeface="Roboto Light" panose="02000000000000000000" pitchFamily="2" charset="0"/>
              </a:rPr>
              <a:t>2015</a:t>
            </a:r>
          </a:p>
        </p:txBody>
      </p:sp>
      <p:sp>
        <p:nvSpPr>
          <p:cNvPr id="11" name="TextBox 10">
            <a:extLst>
              <a:ext uri="{FF2B5EF4-FFF2-40B4-BE49-F238E27FC236}">
                <a16:creationId xmlns:a16="http://schemas.microsoft.com/office/drawing/2014/main" id="{A0838FD8-624B-774B-8C71-6EBA4FC39E3F}"/>
              </a:ext>
            </a:extLst>
          </p:cNvPr>
          <p:cNvSpPr txBox="1"/>
          <p:nvPr/>
        </p:nvSpPr>
        <p:spPr>
          <a:xfrm>
            <a:off x="2898130" y="5909484"/>
            <a:ext cx="886691" cy="187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3231" tIns="33231" rIns="33231" bIns="33231" rtlCol="0" anchor="ctr" anchorCtr="0">
            <a:noAutofit/>
          </a:bodyPr>
          <a:lstStyle/>
          <a:p>
            <a:pPr algn="ctr" defTabSz="844083"/>
            <a:r>
              <a:rPr lang="en-GB" sz="1108" dirty="0">
                <a:solidFill>
                  <a:srgbClr val="333333"/>
                </a:solidFill>
                <a:latin typeface="Roboto Light" panose="02000000000000000000" pitchFamily="2" charset="0"/>
                <a:ea typeface="Roboto Light" panose="02000000000000000000" pitchFamily="2" charset="0"/>
                <a:cs typeface="Roboto Light" panose="02000000000000000000" pitchFamily="2" charset="0"/>
              </a:rPr>
              <a:t>2016</a:t>
            </a:r>
          </a:p>
        </p:txBody>
      </p:sp>
      <p:sp>
        <p:nvSpPr>
          <p:cNvPr id="12" name="TextBox 11">
            <a:extLst>
              <a:ext uri="{FF2B5EF4-FFF2-40B4-BE49-F238E27FC236}">
                <a16:creationId xmlns:a16="http://schemas.microsoft.com/office/drawing/2014/main" id="{B5BA99C6-3D05-D849-9EE9-B0D5D92EC364}"/>
              </a:ext>
            </a:extLst>
          </p:cNvPr>
          <p:cNvSpPr txBox="1"/>
          <p:nvPr/>
        </p:nvSpPr>
        <p:spPr>
          <a:xfrm>
            <a:off x="3975587" y="5909483"/>
            <a:ext cx="886691" cy="187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3231" tIns="33231" rIns="33231" bIns="33231" rtlCol="0" anchor="ctr" anchorCtr="0">
            <a:noAutofit/>
          </a:bodyPr>
          <a:lstStyle/>
          <a:p>
            <a:pPr algn="ctr" defTabSz="844083"/>
            <a:r>
              <a:rPr lang="en-GB" sz="1108" dirty="0">
                <a:solidFill>
                  <a:srgbClr val="333333"/>
                </a:solidFill>
                <a:latin typeface="Roboto Light" panose="02000000000000000000" pitchFamily="2" charset="0"/>
                <a:ea typeface="Roboto Light" panose="02000000000000000000" pitchFamily="2" charset="0"/>
                <a:cs typeface="Roboto Light" panose="02000000000000000000" pitchFamily="2" charset="0"/>
              </a:rPr>
              <a:t>2017</a:t>
            </a:r>
          </a:p>
        </p:txBody>
      </p:sp>
      <p:sp>
        <p:nvSpPr>
          <p:cNvPr id="13" name="TextBox 12">
            <a:extLst>
              <a:ext uri="{FF2B5EF4-FFF2-40B4-BE49-F238E27FC236}">
                <a16:creationId xmlns:a16="http://schemas.microsoft.com/office/drawing/2014/main" id="{2242A03D-772C-2F4B-B68B-E6F1AF765371}"/>
              </a:ext>
            </a:extLst>
          </p:cNvPr>
          <p:cNvSpPr txBox="1"/>
          <p:nvPr/>
        </p:nvSpPr>
        <p:spPr>
          <a:xfrm>
            <a:off x="5053044" y="5909482"/>
            <a:ext cx="886691" cy="1875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3231" tIns="33231" rIns="33231" bIns="33231" rtlCol="0" anchor="ctr" anchorCtr="0">
            <a:noAutofit/>
          </a:bodyPr>
          <a:lstStyle/>
          <a:p>
            <a:pPr algn="ctr" defTabSz="844083"/>
            <a:r>
              <a:rPr lang="en-GB" sz="1108" dirty="0">
                <a:solidFill>
                  <a:srgbClr val="333333"/>
                </a:solidFill>
                <a:latin typeface="Roboto Light" panose="02000000000000000000" pitchFamily="2" charset="0"/>
                <a:ea typeface="Roboto Light" panose="02000000000000000000" pitchFamily="2" charset="0"/>
                <a:cs typeface="Roboto Light" panose="02000000000000000000" pitchFamily="2" charset="0"/>
              </a:rPr>
              <a:t>2018</a:t>
            </a:r>
          </a:p>
        </p:txBody>
      </p:sp>
      <p:pic>
        <p:nvPicPr>
          <p:cNvPr id="14" name="Picture 2" descr="Avanco Resources's Competitors, Revenue, Number of Employees, Funding,  Acquisitions &amp; News - Owler Company Profile">
            <a:extLst>
              <a:ext uri="{FF2B5EF4-FFF2-40B4-BE49-F238E27FC236}">
                <a16:creationId xmlns:a16="http://schemas.microsoft.com/office/drawing/2014/main" id="{968DAB63-14FA-134B-AFCB-B21AF0185918}"/>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820673" y="5173407"/>
            <a:ext cx="913886" cy="42705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Red Eagle Mining Corporation - Overview, Competitors, and Employees |  Apollo.io">
            <a:extLst>
              <a:ext uri="{FF2B5EF4-FFF2-40B4-BE49-F238E27FC236}">
                <a16:creationId xmlns:a16="http://schemas.microsoft.com/office/drawing/2014/main" id="{40991952-FE88-C049-9BC8-12D25394D617}"/>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19353" y="4392191"/>
            <a:ext cx="983635" cy="98363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Roxgold Produces 35,308 Ounces at Yaramoko in First Quarter | Business Wire">
            <a:extLst>
              <a:ext uri="{FF2B5EF4-FFF2-40B4-BE49-F238E27FC236}">
                <a16:creationId xmlns:a16="http://schemas.microsoft.com/office/drawing/2014/main" id="{6B2D8606-B42B-7B43-A85E-43B4885A68A7}"/>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767489" y="5114289"/>
            <a:ext cx="862419" cy="59470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8" descr="Harte Gold Announces $24.8 Million Strategic Investment by New Gold and  Indicative Proposal to Reschedule Senior Debt Payments">
            <a:extLst>
              <a:ext uri="{FF2B5EF4-FFF2-40B4-BE49-F238E27FC236}">
                <a16:creationId xmlns:a16="http://schemas.microsoft.com/office/drawing/2014/main" id="{867238E0-9860-A541-ADF4-305EDC5E6C5C}"/>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860254" y="5208979"/>
            <a:ext cx="962443" cy="44081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0" descr="Home - Atlantic Nickel UK">
            <a:extLst>
              <a:ext uri="{FF2B5EF4-FFF2-40B4-BE49-F238E27FC236}">
                <a16:creationId xmlns:a16="http://schemas.microsoft.com/office/drawing/2014/main" id="{7E6EDBCE-A266-194B-B3CF-3C807439DE31}"/>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4779497" y="5312621"/>
            <a:ext cx="1256888" cy="28783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2" descr="OVERVIEW - Mineração Vale Verde - UK">
            <a:extLst>
              <a:ext uri="{FF2B5EF4-FFF2-40B4-BE49-F238E27FC236}">
                <a16:creationId xmlns:a16="http://schemas.microsoft.com/office/drawing/2014/main" id="{721535D3-1802-CC45-9415-062EDD9CEDF2}"/>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828649" y="4590040"/>
            <a:ext cx="1273990" cy="48984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Caserones | Operación de SCM Minera Lumina Copper Chile.">
            <a:extLst>
              <a:ext uri="{FF2B5EF4-FFF2-40B4-BE49-F238E27FC236}">
                <a16:creationId xmlns:a16="http://schemas.microsoft.com/office/drawing/2014/main" id="{C0A96F1A-0F18-5340-9CD3-BAEE08C21FD8}"/>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762395" y="4026247"/>
            <a:ext cx="1406498" cy="527437"/>
          </a:xfrm>
          <a:prstGeom prst="rect">
            <a:avLst/>
          </a:prstGeom>
          <a:noFill/>
          <a:extLst>
            <a:ext uri="{909E8E84-426E-40DD-AFC4-6F175D3DCCD1}">
              <a14:hiddenFill xmlns:a14="http://schemas.microsoft.com/office/drawing/2010/main">
                <a:solidFill>
                  <a:srgbClr val="FFFFFF"/>
                </a:solidFill>
              </a14:hiddenFill>
            </a:ext>
          </a:extLst>
        </p:spPr>
      </p:pic>
      <p:sp>
        <p:nvSpPr>
          <p:cNvPr id="23" name="Right Arrow 22">
            <a:extLst>
              <a:ext uri="{FF2B5EF4-FFF2-40B4-BE49-F238E27FC236}">
                <a16:creationId xmlns:a16="http://schemas.microsoft.com/office/drawing/2014/main" id="{09E58F94-EFD8-CA4F-91A7-A1D3C4E66360}"/>
              </a:ext>
            </a:extLst>
          </p:cNvPr>
          <p:cNvSpPr/>
          <p:nvPr/>
        </p:nvSpPr>
        <p:spPr>
          <a:xfrm>
            <a:off x="743216" y="5766775"/>
            <a:ext cx="8428893" cy="99099"/>
          </a:xfrm>
          <a:prstGeom prst="homePlate">
            <a:avLst>
              <a:gd name="adj" fmla="val 26932"/>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1000" dirty="0" err="1">
              <a:solidFill>
                <a:schemeClr val="bg1"/>
              </a:solidFill>
            </a:endParaRPr>
          </a:p>
        </p:txBody>
      </p:sp>
      <p:grpSp>
        <p:nvGrpSpPr>
          <p:cNvPr id="28" name="Group 27">
            <a:extLst>
              <a:ext uri="{FF2B5EF4-FFF2-40B4-BE49-F238E27FC236}">
                <a16:creationId xmlns:a16="http://schemas.microsoft.com/office/drawing/2014/main" id="{F3EFCC3B-A7EF-8448-BE68-11E6E6D0FC07}"/>
              </a:ext>
            </a:extLst>
          </p:cNvPr>
          <p:cNvGrpSpPr/>
          <p:nvPr/>
        </p:nvGrpSpPr>
        <p:grpSpPr>
          <a:xfrm rot="386735">
            <a:off x="4081569" y="1946745"/>
            <a:ext cx="4752242" cy="2072371"/>
            <a:chOff x="2532986" y="3717332"/>
            <a:chExt cx="5437526" cy="2371212"/>
          </a:xfrm>
        </p:grpSpPr>
        <p:sp>
          <p:nvSpPr>
            <p:cNvPr id="29" name="Freeform 28">
              <a:extLst>
                <a:ext uri="{FF2B5EF4-FFF2-40B4-BE49-F238E27FC236}">
                  <a16:creationId xmlns:a16="http://schemas.microsoft.com/office/drawing/2014/main" id="{BFD5CB9B-2A9E-3840-8C6D-E70B5699F01B}"/>
                </a:ext>
              </a:extLst>
            </p:cNvPr>
            <p:cNvSpPr/>
            <p:nvPr/>
          </p:nvSpPr>
          <p:spPr>
            <a:xfrm>
              <a:off x="2749778" y="3841796"/>
              <a:ext cx="5104852" cy="2118250"/>
            </a:xfrm>
            <a:custGeom>
              <a:avLst/>
              <a:gdLst>
                <a:gd name="connsiteX0" fmla="*/ 0 w 5104852"/>
                <a:gd name="connsiteY0" fmla="*/ 2118250 h 2118250"/>
                <a:gd name="connsiteX1" fmla="*/ 1795908 w 5104852"/>
                <a:gd name="connsiteY1" fmla="*/ 1684075 h 2118250"/>
                <a:gd name="connsiteX2" fmla="*/ 3585238 w 5104852"/>
                <a:gd name="connsiteY2" fmla="*/ 1019654 h 2118250"/>
                <a:gd name="connsiteX3" fmla="*/ 5104852 w 5104852"/>
                <a:gd name="connsiteY3" fmla="*/ 0 h 2118250"/>
              </a:gdLst>
              <a:ahLst/>
              <a:cxnLst>
                <a:cxn ang="0">
                  <a:pos x="connsiteX0" y="connsiteY0"/>
                </a:cxn>
                <a:cxn ang="0">
                  <a:pos x="connsiteX1" y="connsiteY1"/>
                </a:cxn>
                <a:cxn ang="0">
                  <a:pos x="connsiteX2" y="connsiteY2"/>
                </a:cxn>
                <a:cxn ang="0">
                  <a:pos x="connsiteX3" y="connsiteY3"/>
                </a:cxn>
              </a:cxnLst>
              <a:rect l="l" t="t" r="r" b="b"/>
              <a:pathLst>
                <a:path w="5104852" h="2118250">
                  <a:moveTo>
                    <a:pt x="0" y="2118250"/>
                  </a:moveTo>
                  <a:cubicBezTo>
                    <a:pt x="599184" y="1992712"/>
                    <a:pt x="1198368" y="1867174"/>
                    <a:pt x="1795908" y="1684075"/>
                  </a:cubicBezTo>
                  <a:cubicBezTo>
                    <a:pt x="2393448" y="1500976"/>
                    <a:pt x="3033747" y="1300333"/>
                    <a:pt x="3585238" y="1019654"/>
                  </a:cubicBezTo>
                  <a:cubicBezTo>
                    <a:pt x="4136729" y="738975"/>
                    <a:pt x="4620790" y="369487"/>
                    <a:pt x="5104852" y="0"/>
                  </a:cubicBezTo>
                </a:path>
              </a:pathLst>
            </a:cu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17F55E88-BE90-3F4E-949A-2515846C7BD1}"/>
                </a:ext>
              </a:extLst>
            </p:cNvPr>
            <p:cNvSpPr/>
            <p:nvPr/>
          </p:nvSpPr>
          <p:spPr>
            <a:xfrm>
              <a:off x="2532986" y="5864877"/>
              <a:ext cx="223667" cy="223667"/>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1000" dirty="0" err="1">
                <a:solidFill>
                  <a:schemeClr val="bg1"/>
                </a:solidFill>
              </a:endParaRPr>
            </a:p>
          </p:txBody>
        </p:sp>
        <p:sp>
          <p:nvSpPr>
            <p:cNvPr id="31" name="Oval 30">
              <a:extLst>
                <a:ext uri="{FF2B5EF4-FFF2-40B4-BE49-F238E27FC236}">
                  <a16:creationId xmlns:a16="http://schemas.microsoft.com/office/drawing/2014/main" id="{F8AF8EAD-2960-DD44-8AB4-9FB6D211E622}"/>
                </a:ext>
              </a:extLst>
            </p:cNvPr>
            <p:cNvSpPr/>
            <p:nvPr/>
          </p:nvSpPr>
          <p:spPr>
            <a:xfrm>
              <a:off x="4422069" y="5394810"/>
              <a:ext cx="223667" cy="223667"/>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1000" dirty="0" err="1">
                <a:solidFill>
                  <a:schemeClr val="bg1"/>
                </a:solidFill>
              </a:endParaRPr>
            </a:p>
          </p:txBody>
        </p:sp>
        <p:sp>
          <p:nvSpPr>
            <p:cNvPr id="32" name="Oval 31">
              <a:extLst>
                <a:ext uri="{FF2B5EF4-FFF2-40B4-BE49-F238E27FC236}">
                  <a16:creationId xmlns:a16="http://schemas.microsoft.com/office/drawing/2014/main" id="{0ACD59D9-6DD5-1547-B8E8-935F697E3361}"/>
                </a:ext>
              </a:extLst>
            </p:cNvPr>
            <p:cNvSpPr/>
            <p:nvPr/>
          </p:nvSpPr>
          <p:spPr>
            <a:xfrm>
              <a:off x="6201763" y="4757197"/>
              <a:ext cx="223667" cy="223667"/>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1000" dirty="0" err="1">
                <a:solidFill>
                  <a:schemeClr val="bg1"/>
                </a:solidFill>
              </a:endParaRPr>
            </a:p>
          </p:txBody>
        </p:sp>
        <p:sp>
          <p:nvSpPr>
            <p:cNvPr id="33" name="Oval 32">
              <a:extLst>
                <a:ext uri="{FF2B5EF4-FFF2-40B4-BE49-F238E27FC236}">
                  <a16:creationId xmlns:a16="http://schemas.microsoft.com/office/drawing/2014/main" id="{6FB8BCA2-C434-B24C-AE37-779FC2517A43}"/>
                </a:ext>
              </a:extLst>
            </p:cNvPr>
            <p:cNvSpPr/>
            <p:nvPr/>
          </p:nvSpPr>
          <p:spPr>
            <a:xfrm>
              <a:off x="7746845" y="3717332"/>
              <a:ext cx="223667" cy="223667"/>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1000" dirty="0" err="1">
                <a:solidFill>
                  <a:schemeClr val="bg1"/>
                </a:solidFill>
              </a:endParaRPr>
            </a:p>
          </p:txBody>
        </p:sp>
      </p:grpSp>
      <p:grpSp>
        <p:nvGrpSpPr>
          <p:cNvPr id="34" name="Group 33">
            <a:extLst>
              <a:ext uri="{FF2B5EF4-FFF2-40B4-BE49-F238E27FC236}">
                <a16:creationId xmlns:a16="http://schemas.microsoft.com/office/drawing/2014/main" id="{7ADF7FF8-1199-144A-9F0F-5CB8EFC28FDC}"/>
              </a:ext>
            </a:extLst>
          </p:cNvPr>
          <p:cNvGrpSpPr/>
          <p:nvPr/>
        </p:nvGrpSpPr>
        <p:grpSpPr>
          <a:xfrm>
            <a:off x="435980" y="1397348"/>
            <a:ext cx="3960000" cy="1379905"/>
            <a:chOff x="648000" y="4590695"/>
            <a:chExt cx="3960000" cy="1379905"/>
          </a:xfrm>
        </p:grpSpPr>
        <p:grpSp>
          <p:nvGrpSpPr>
            <p:cNvPr id="35" name="Group 34">
              <a:extLst>
                <a:ext uri="{FF2B5EF4-FFF2-40B4-BE49-F238E27FC236}">
                  <a16:creationId xmlns:a16="http://schemas.microsoft.com/office/drawing/2014/main" id="{1D6E2403-4F00-9346-A4C1-08F28BD23901}"/>
                </a:ext>
              </a:extLst>
            </p:cNvPr>
            <p:cNvGrpSpPr/>
            <p:nvPr/>
          </p:nvGrpSpPr>
          <p:grpSpPr>
            <a:xfrm>
              <a:off x="648000" y="4886414"/>
              <a:ext cx="3960000" cy="1084186"/>
              <a:chOff x="648000" y="4886414"/>
              <a:chExt cx="4541028" cy="1084186"/>
            </a:xfrm>
          </p:grpSpPr>
          <p:sp>
            <p:nvSpPr>
              <p:cNvPr id="38" name="TextBox 37">
                <a:extLst>
                  <a:ext uri="{FF2B5EF4-FFF2-40B4-BE49-F238E27FC236}">
                    <a16:creationId xmlns:a16="http://schemas.microsoft.com/office/drawing/2014/main" id="{AF685F59-8E19-B44F-A5CC-C62A7FEE6261}"/>
                  </a:ext>
                </a:extLst>
              </p:cNvPr>
              <p:cNvSpPr txBox="1"/>
              <p:nvPr/>
            </p:nvSpPr>
            <p:spPr>
              <a:xfrm>
                <a:off x="648000" y="4886414"/>
                <a:ext cx="2313875" cy="684000"/>
              </a:xfrm>
              <a:prstGeom prst="homePlate">
                <a:avLst>
                  <a:gd name="adj" fmla="val 25332"/>
                </a:avLst>
              </a:prstGeom>
              <a:solidFill>
                <a:schemeClr val="bg1">
                  <a:lumMod val="95000"/>
                </a:schemeClr>
              </a:solidFill>
            </p:spPr>
            <p:txBody>
              <a:bodyPr wrap="square" lIns="182880" tIns="108000" rIns="182880" bIns="91440" rtlCol="0" anchor="ctr" anchorCtr="0">
                <a:noAutofit/>
              </a:bodyPr>
              <a:lstStyle/>
              <a:p>
                <a:pPr algn="l">
                  <a:lnSpc>
                    <a:spcPct val="120000"/>
                  </a:lnSpc>
                </a:pPr>
                <a:r>
                  <a:rPr lang="en-US" sz="1200" dirty="0">
                    <a:solidFill>
                      <a:schemeClr val="accent1"/>
                    </a:solidFill>
                    <a:latin typeface="Roboto Light" panose="02000000000000000000" pitchFamily="2" charset="0"/>
                    <a:ea typeface="Roboto Light" panose="02000000000000000000" pitchFamily="2" charset="0"/>
                    <a:cs typeface="Verdana" panose="020B0604030504040204" pitchFamily="34" charset="0"/>
                  </a:rPr>
                  <a:t>Process Step 1</a:t>
                </a:r>
              </a:p>
              <a:p>
                <a:pPr>
                  <a:lnSpc>
                    <a:spcPct val="120000"/>
                  </a:lnSpc>
                </a:pPr>
                <a:r>
                  <a:rPr lang="en-US" sz="1000" dirty="0">
                    <a:latin typeface="Roboto Light" panose="02000000000000000000" pitchFamily="2" charset="0"/>
                    <a:ea typeface="Roboto Light" panose="02000000000000000000" pitchFamily="2" charset="0"/>
                    <a:cs typeface="Verdana" panose="020B0604030504040204" pitchFamily="34" charset="0"/>
                  </a:rPr>
                  <a:t>Include icons as needed</a:t>
                </a:r>
              </a:p>
            </p:txBody>
          </p:sp>
          <p:sp>
            <p:nvSpPr>
              <p:cNvPr id="39" name="Text Placeholder 4">
                <a:extLst>
                  <a:ext uri="{FF2B5EF4-FFF2-40B4-BE49-F238E27FC236}">
                    <a16:creationId xmlns:a16="http://schemas.microsoft.com/office/drawing/2014/main" id="{1BAFF7D5-2316-D64C-8875-73BF7821E6F4}"/>
                  </a:ext>
                </a:extLst>
              </p:cNvPr>
              <p:cNvSpPr txBox="1">
                <a:spLocks/>
              </p:cNvSpPr>
              <p:nvPr/>
            </p:nvSpPr>
            <p:spPr>
              <a:xfrm>
                <a:off x="821686" y="5615375"/>
                <a:ext cx="1787081" cy="355225"/>
              </a:xfrm>
              <a:prstGeom prst="rect">
                <a:avLst/>
              </a:prstGeom>
              <a:noFill/>
            </p:spPr>
            <p:txBody>
              <a:bodyPr lIns="0" tIns="0" rIns="0" bIns="0">
                <a:spAutoFit/>
              </a:bodyPr>
              <a:lstStyle>
                <a:lvl1pPr marL="0" indent="0" algn="l" defTabSz="914400" rtl="0" eaLnBrk="1" latinLnBrk="0" hangingPunct="1">
                  <a:lnSpc>
                    <a:spcPct val="120000"/>
                  </a:lnSpc>
                  <a:spcBef>
                    <a:spcPts val="600"/>
                  </a:spcBef>
                  <a:spcAft>
                    <a:spcPts val="600"/>
                  </a:spcAft>
                  <a:buSzPct val="100000"/>
                  <a:buFontTx/>
                  <a:buNone/>
                  <a:defRPr sz="1400" b="1" kern="1200">
                    <a:solidFill>
                      <a:schemeClr val="tx1"/>
                    </a:solidFill>
                    <a:latin typeface="+mn-lt"/>
                    <a:ea typeface="Verdana" panose="020B0604030504040204" pitchFamily="34" charset="0"/>
                    <a:cs typeface="Verdana" panose="020B0604030504040204" pitchFamily="34" charset="0"/>
                  </a:defRPr>
                </a:lvl1pPr>
                <a:lvl2pPr marL="0" indent="0" algn="l" defTabSz="914400" rtl="0" eaLnBrk="1" latinLnBrk="0" hangingPunct="1">
                  <a:lnSpc>
                    <a:spcPct val="120000"/>
                  </a:lnSpc>
                  <a:spcBef>
                    <a:spcPts val="600"/>
                  </a:spcBef>
                  <a:spcAft>
                    <a:spcPts val="600"/>
                  </a:spcAft>
                  <a:buClr>
                    <a:schemeClr val="tx2"/>
                  </a:buClr>
                  <a:buSzPct val="100000"/>
                  <a:buFontTx/>
                  <a:buNone/>
                  <a:defRPr sz="1400" kern="1200">
                    <a:solidFill>
                      <a:schemeClr val="tx1"/>
                    </a:solidFill>
                    <a:latin typeface="+mn-lt"/>
                    <a:ea typeface="Verdana" panose="020B0604030504040204" pitchFamily="34" charset="0"/>
                    <a:cs typeface="Verdana" panose="020B0604030504040204" pitchFamily="34" charset="0"/>
                  </a:defRPr>
                </a:lvl2pPr>
                <a:lvl3pPr marL="216000" indent="-216000" algn="l" defTabSz="914400" rtl="0" eaLnBrk="1" latinLnBrk="0" hangingPunct="1">
                  <a:lnSpc>
                    <a:spcPct val="120000"/>
                  </a:lnSpc>
                  <a:spcBef>
                    <a:spcPts val="600"/>
                  </a:spcBef>
                  <a:spcAft>
                    <a:spcPts val="0"/>
                  </a:spcAft>
                  <a:buClr>
                    <a:schemeClr val="tx1"/>
                  </a:buClr>
                  <a:buSzPct val="100000"/>
                  <a:buFont typeface="Arial" panose="020B0604020202020204" pitchFamily="34" charset="0"/>
                  <a:buChar char="•"/>
                  <a:defRPr sz="1400" kern="1200">
                    <a:solidFill>
                      <a:schemeClr val="tx1"/>
                    </a:solidFill>
                    <a:latin typeface="+mn-lt"/>
                    <a:ea typeface="Verdana" panose="020B0604030504040204" pitchFamily="34" charset="0"/>
                    <a:cs typeface="Verdana" panose="020B0604030504040204" pitchFamily="34" charset="0"/>
                  </a:defRPr>
                </a:lvl3pPr>
                <a:lvl4pPr marL="432000" indent="-216000" algn="l" defTabSz="914400" rtl="0" eaLnBrk="1" latinLnBrk="0" hangingPunct="1">
                  <a:lnSpc>
                    <a:spcPct val="120000"/>
                  </a:lnSpc>
                  <a:spcBef>
                    <a:spcPts val="600"/>
                  </a:spcBef>
                  <a:spcAft>
                    <a:spcPts val="0"/>
                  </a:spcAft>
                  <a:buClr>
                    <a:schemeClr val="tx1"/>
                  </a:buClr>
                  <a:buSzPct val="100000"/>
                  <a:buFont typeface="Arial" panose="020B0604020202020204"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8000" indent="-216000" algn="l" defTabSz="914400" rtl="0" eaLnBrk="1" latinLnBrk="0" hangingPunct="1">
                  <a:lnSpc>
                    <a:spcPct val="120000"/>
                  </a:lnSpc>
                  <a:spcBef>
                    <a:spcPts val="600"/>
                  </a:spcBef>
                  <a:spcAft>
                    <a:spcPts val="0"/>
                  </a:spcAft>
                  <a:buSzPct val="100000"/>
                  <a:buFont typeface="Verdana" panose="020B0604030504040204" pitchFamily="34" charset="0"/>
                  <a:buChar char="–"/>
                  <a:defRPr sz="14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sz="1000" dirty="0">
                    <a:latin typeface="Roboto Light" panose="02000000000000000000" pitchFamily="2" charset="0"/>
                    <a:ea typeface="Roboto Light" panose="02000000000000000000" pitchFamily="2" charset="0"/>
                  </a:rPr>
                  <a:t>Use this area for additional text</a:t>
                </a:r>
              </a:p>
            </p:txBody>
          </p:sp>
          <p:sp>
            <p:nvSpPr>
              <p:cNvPr id="40" name="TextBox 39">
                <a:extLst>
                  <a:ext uri="{FF2B5EF4-FFF2-40B4-BE49-F238E27FC236}">
                    <a16:creationId xmlns:a16="http://schemas.microsoft.com/office/drawing/2014/main" id="{F538FAF0-7455-494E-AB6A-2BC68E01466D}"/>
                  </a:ext>
                </a:extLst>
              </p:cNvPr>
              <p:cNvSpPr txBox="1"/>
              <p:nvPr/>
            </p:nvSpPr>
            <p:spPr>
              <a:xfrm>
                <a:off x="2875153" y="4886414"/>
                <a:ext cx="2313875" cy="684000"/>
              </a:xfrm>
              <a:prstGeom prst="chevron">
                <a:avLst>
                  <a:gd name="adj" fmla="val 25850"/>
                </a:avLst>
              </a:prstGeom>
              <a:solidFill>
                <a:schemeClr val="bg1">
                  <a:lumMod val="95000"/>
                </a:schemeClr>
              </a:solidFill>
            </p:spPr>
            <p:txBody>
              <a:bodyPr wrap="square" lIns="108000" tIns="108000" rIns="108000" bIns="91440" rtlCol="0" anchor="ctr" anchorCtr="0">
                <a:noAutofit/>
              </a:bodyPr>
              <a:lstStyle/>
              <a:p>
                <a:pPr algn="l">
                  <a:lnSpc>
                    <a:spcPct val="120000"/>
                  </a:lnSpc>
                </a:pPr>
                <a:r>
                  <a:rPr lang="en-US" sz="1200" dirty="0">
                    <a:solidFill>
                      <a:schemeClr val="accent2"/>
                    </a:solidFill>
                    <a:latin typeface="Roboto Light" panose="02000000000000000000" pitchFamily="2" charset="0"/>
                    <a:ea typeface="Roboto Light" panose="02000000000000000000" pitchFamily="2" charset="0"/>
                    <a:cs typeface="Verdana" panose="020B0604030504040204" pitchFamily="34" charset="0"/>
                  </a:rPr>
                  <a:t>Process Step 2</a:t>
                </a:r>
              </a:p>
              <a:p>
                <a:pPr>
                  <a:lnSpc>
                    <a:spcPct val="120000"/>
                  </a:lnSpc>
                </a:pPr>
                <a:r>
                  <a:rPr lang="en-US" sz="1000" dirty="0">
                    <a:latin typeface="Roboto Light" panose="02000000000000000000" pitchFamily="2" charset="0"/>
                    <a:ea typeface="Roboto Light" panose="02000000000000000000" pitchFamily="2" charset="0"/>
                    <a:cs typeface="Verdana" panose="020B0604030504040204" pitchFamily="34" charset="0"/>
                  </a:rPr>
                  <a:t>Include icons </a:t>
                </a:r>
              </a:p>
            </p:txBody>
          </p:sp>
          <p:sp>
            <p:nvSpPr>
              <p:cNvPr id="41" name="Text Placeholder 4">
                <a:extLst>
                  <a:ext uri="{FF2B5EF4-FFF2-40B4-BE49-F238E27FC236}">
                    <a16:creationId xmlns:a16="http://schemas.microsoft.com/office/drawing/2014/main" id="{02F88851-BE32-4547-9A27-6986617F7CFA}"/>
                  </a:ext>
                </a:extLst>
              </p:cNvPr>
              <p:cNvSpPr txBox="1">
                <a:spLocks/>
              </p:cNvSpPr>
              <p:nvPr/>
            </p:nvSpPr>
            <p:spPr>
              <a:xfrm>
                <a:off x="3175558" y="5615375"/>
                <a:ext cx="1787081" cy="355225"/>
              </a:xfrm>
              <a:prstGeom prst="rect">
                <a:avLst/>
              </a:prstGeom>
              <a:noFill/>
            </p:spPr>
            <p:txBody>
              <a:bodyPr lIns="0" tIns="0" rIns="0" bIns="0">
                <a:spAutoFit/>
              </a:bodyPr>
              <a:lstStyle>
                <a:lvl1pPr marL="0" indent="0" algn="l" defTabSz="914400" rtl="0" eaLnBrk="1" latinLnBrk="0" hangingPunct="1">
                  <a:lnSpc>
                    <a:spcPct val="120000"/>
                  </a:lnSpc>
                  <a:spcBef>
                    <a:spcPts val="600"/>
                  </a:spcBef>
                  <a:spcAft>
                    <a:spcPts val="600"/>
                  </a:spcAft>
                  <a:buSzPct val="100000"/>
                  <a:buFontTx/>
                  <a:buNone/>
                  <a:defRPr sz="1400" b="1" kern="1200">
                    <a:solidFill>
                      <a:schemeClr val="tx1"/>
                    </a:solidFill>
                    <a:latin typeface="+mn-lt"/>
                    <a:ea typeface="Verdana" panose="020B0604030504040204" pitchFamily="34" charset="0"/>
                    <a:cs typeface="Verdana" panose="020B0604030504040204" pitchFamily="34" charset="0"/>
                  </a:defRPr>
                </a:lvl1pPr>
                <a:lvl2pPr marL="0" indent="0" algn="l" defTabSz="914400" rtl="0" eaLnBrk="1" latinLnBrk="0" hangingPunct="1">
                  <a:lnSpc>
                    <a:spcPct val="120000"/>
                  </a:lnSpc>
                  <a:spcBef>
                    <a:spcPts val="600"/>
                  </a:spcBef>
                  <a:spcAft>
                    <a:spcPts val="600"/>
                  </a:spcAft>
                  <a:buClr>
                    <a:schemeClr val="tx2"/>
                  </a:buClr>
                  <a:buSzPct val="100000"/>
                  <a:buFontTx/>
                  <a:buNone/>
                  <a:defRPr sz="1400" kern="1200">
                    <a:solidFill>
                      <a:schemeClr val="tx1"/>
                    </a:solidFill>
                    <a:latin typeface="+mn-lt"/>
                    <a:ea typeface="Verdana" panose="020B0604030504040204" pitchFamily="34" charset="0"/>
                    <a:cs typeface="Verdana" panose="020B0604030504040204" pitchFamily="34" charset="0"/>
                  </a:defRPr>
                </a:lvl2pPr>
                <a:lvl3pPr marL="216000" indent="-216000" algn="l" defTabSz="914400" rtl="0" eaLnBrk="1" latinLnBrk="0" hangingPunct="1">
                  <a:lnSpc>
                    <a:spcPct val="120000"/>
                  </a:lnSpc>
                  <a:spcBef>
                    <a:spcPts val="600"/>
                  </a:spcBef>
                  <a:spcAft>
                    <a:spcPts val="0"/>
                  </a:spcAft>
                  <a:buClr>
                    <a:schemeClr val="tx1"/>
                  </a:buClr>
                  <a:buSzPct val="100000"/>
                  <a:buFont typeface="Arial" panose="020B0604020202020204" pitchFamily="34" charset="0"/>
                  <a:buChar char="•"/>
                  <a:defRPr sz="1400" kern="1200">
                    <a:solidFill>
                      <a:schemeClr val="tx1"/>
                    </a:solidFill>
                    <a:latin typeface="+mn-lt"/>
                    <a:ea typeface="Verdana" panose="020B0604030504040204" pitchFamily="34" charset="0"/>
                    <a:cs typeface="Verdana" panose="020B0604030504040204" pitchFamily="34" charset="0"/>
                  </a:defRPr>
                </a:lvl3pPr>
                <a:lvl4pPr marL="432000" indent="-216000" algn="l" defTabSz="914400" rtl="0" eaLnBrk="1" latinLnBrk="0" hangingPunct="1">
                  <a:lnSpc>
                    <a:spcPct val="120000"/>
                  </a:lnSpc>
                  <a:spcBef>
                    <a:spcPts val="600"/>
                  </a:spcBef>
                  <a:spcAft>
                    <a:spcPts val="0"/>
                  </a:spcAft>
                  <a:buClr>
                    <a:schemeClr val="tx1"/>
                  </a:buClr>
                  <a:buSzPct val="100000"/>
                  <a:buFont typeface="Arial" panose="020B0604020202020204"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8000" indent="-216000" algn="l" defTabSz="914400" rtl="0" eaLnBrk="1" latinLnBrk="0" hangingPunct="1">
                  <a:lnSpc>
                    <a:spcPct val="120000"/>
                  </a:lnSpc>
                  <a:spcBef>
                    <a:spcPts val="600"/>
                  </a:spcBef>
                  <a:spcAft>
                    <a:spcPts val="0"/>
                  </a:spcAft>
                  <a:buSzPct val="100000"/>
                  <a:buFont typeface="Verdana" panose="020B0604030504040204" pitchFamily="34" charset="0"/>
                  <a:buChar char="–"/>
                  <a:defRPr sz="14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sz="1000" dirty="0">
                    <a:latin typeface="Roboto Light" panose="02000000000000000000" pitchFamily="2" charset="0"/>
                    <a:ea typeface="Roboto Light" panose="02000000000000000000" pitchFamily="2" charset="0"/>
                  </a:rPr>
                  <a:t>Use this area for additional text</a:t>
                </a:r>
              </a:p>
            </p:txBody>
          </p:sp>
        </p:grpSp>
        <p:sp>
          <p:nvSpPr>
            <p:cNvPr id="36" name="Oval 35">
              <a:extLst>
                <a:ext uri="{FF2B5EF4-FFF2-40B4-BE49-F238E27FC236}">
                  <a16:creationId xmlns:a16="http://schemas.microsoft.com/office/drawing/2014/main" id="{9516B5B2-B536-B143-9354-852E7FAE6B7A}"/>
                </a:ext>
              </a:extLst>
            </p:cNvPr>
            <p:cNvSpPr>
              <a:spLocks noChangeAspect="1"/>
            </p:cNvSpPr>
            <p:nvPr/>
          </p:nvSpPr>
          <p:spPr>
            <a:xfrm rot="5400000">
              <a:off x="830897" y="4604259"/>
              <a:ext cx="432000" cy="43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400" dirty="0">
                  <a:latin typeface="Roboto Medium" pitchFamily="2" charset="0"/>
                  <a:ea typeface="Roboto Medium" pitchFamily="2" charset="0"/>
                  <a:cs typeface="Verdana" panose="020B0604030504040204" pitchFamily="34" charset="0"/>
                </a:rPr>
                <a:t>1</a:t>
              </a:r>
            </a:p>
          </p:txBody>
        </p:sp>
        <p:sp>
          <p:nvSpPr>
            <p:cNvPr id="37" name="Oval 36">
              <a:extLst>
                <a:ext uri="{FF2B5EF4-FFF2-40B4-BE49-F238E27FC236}">
                  <a16:creationId xmlns:a16="http://schemas.microsoft.com/office/drawing/2014/main" id="{234D730E-E4F0-9F4E-9C72-7325F0BB235D}"/>
                </a:ext>
              </a:extLst>
            </p:cNvPr>
            <p:cNvSpPr>
              <a:spLocks noChangeAspect="1"/>
            </p:cNvSpPr>
            <p:nvPr/>
          </p:nvSpPr>
          <p:spPr>
            <a:xfrm rot="5400000">
              <a:off x="2854002" y="4590695"/>
              <a:ext cx="432000" cy="432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400" dirty="0">
                  <a:latin typeface="Roboto Medium" pitchFamily="2" charset="0"/>
                  <a:ea typeface="Roboto Medium" pitchFamily="2" charset="0"/>
                  <a:cs typeface="Verdana" panose="020B0604030504040204" pitchFamily="34" charset="0"/>
                </a:rPr>
                <a:t>2</a:t>
              </a:r>
            </a:p>
          </p:txBody>
        </p:sp>
      </p:grpSp>
      <p:grpSp>
        <p:nvGrpSpPr>
          <p:cNvPr id="43" name="Group 42">
            <a:extLst>
              <a:ext uri="{FF2B5EF4-FFF2-40B4-BE49-F238E27FC236}">
                <a16:creationId xmlns:a16="http://schemas.microsoft.com/office/drawing/2014/main" id="{6C910DBC-1F35-9D4C-8CD5-E62363D982AA}"/>
              </a:ext>
            </a:extLst>
          </p:cNvPr>
          <p:cNvGrpSpPr/>
          <p:nvPr/>
        </p:nvGrpSpPr>
        <p:grpSpPr>
          <a:xfrm>
            <a:off x="471143" y="3211536"/>
            <a:ext cx="2976712" cy="858875"/>
            <a:chOff x="756503" y="4287955"/>
            <a:chExt cx="2976712" cy="858874"/>
          </a:xfrm>
        </p:grpSpPr>
        <p:sp>
          <p:nvSpPr>
            <p:cNvPr id="44" name="TextBox 43">
              <a:extLst>
                <a:ext uri="{FF2B5EF4-FFF2-40B4-BE49-F238E27FC236}">
                  <a16:creationId xmlns:a16="http://schemas.microsoft.com/office/drawing/2014/main" id="{AF8D08BF-3350-074F-986B-45FF220DA025}"/>
                </a:ext>
              </a:extLst>
            </p:cNvPr>
            <p:cNvSpPr txBox="1"/>
            <p:nvPr/>
          </p:nvSpPr>
          <p:spPr>
            <a:xfrm>
              <a:off x="966537" y="4287958"/>
              <a:ext cx="1296000" cy="858871"/>
            </a:xfrm>
            <a:prstGeom prst="homePlate">
              <a:avLst>
                <a:gd name="adj" fmla="val 16672"/>
              </a:avLst>
            </a:prstGeom>
            <a:solidFill>
              <a:schemeClr val="bg1">
                <a:lumMod val="95000"/>
              </a:schemeClr>
            </a:solidFill>
          </p:spPr>
          <p:txBody>
            <a:bodyPr wrap="square" lIns="216000" tIns="91440" rIns="144000" bIns="91440" rtlCol="0" anchor="ctr" anchorCtr="0">
              <a:noAutofit/>
            </a:bodyPr>
            <a:lstStyle/>
            <a:p>
              <a:pPr algn="l">
                <a:lnSpc>
                  <a:spcPct val="120000"/>
                </a:lnSpc>
              </a:pPr>
              <a:r>
                <a:rPr lang="en-US" sz="1200" dirty="0">
                  <a:solidFill>
                    <a:schemeClr val="accent6">
                      <a:lumMod val="75000"/>
                    </a:schemeClr>
                  </a:solidFill>
                  <a:latin typeface="Roboto Light" panose="02000000000000000000" pitchFamily="2" charset="0"/>
                  <a:ea typeface="Roboto Light" panose="02000000000000000000" pitchFamily="2" charset="0"/>
                  <a:cs typeface="Verdana" panose="020B0604030504040204" pitchFamily="34" charset="0"/>
                </a:rPr>
                <a:t>Step 4</a:t>
              </a:r>
            </a:p>
            <a:p>
              <a:pPr>
                <a:lnSpc>
                  <a:spcPct val="120000"/>
                </a:lnSpc>
              </a:pPr>
              <a:r>
                <a:rPr lang="en-US" sz="1000" dirty="0">
                  <a:latin typeface="Roboto Light" panose="02000000000000000000" pitchFamily="2" charset="0"/>
                  <a:ea typeface="Roboto Light" panose="02000000000000000000" pitchFamily="2" charset="0"/>
                  <a:cs typeface="Verdana" panose="020B0604030504040204" pitchFamily="34" charset="0"/>
                </a:rPr>
                <a:t>Include icons, etc.</a:t>
              </a:r>
            </a:p>
          </p:txBody>
        </p:sp>
        <p:sp>
          <p:nvSpPr>
            <p:cNvPr id="45" name="Text Placeholder 4">
              <a:extLst>
                <a:ext uri="{FF2B5EF4-FFF2-40B4-BE49-F238E27FC236}">
                  <a16:creationId xmlns:a16="http://schemas.microsoft.com/office/drawing/2014/main" id="{CA0C6D98-11CB-7540-A4D2-26E8DA372994}"/>
                </a:ext>
              </a:extLst>
            </p:cNvPr>
            <p:cNvSpPr txBox="1">
              <a:spLocks/>
            </p:cNvSpPr>
            <p:nvPr/>
          </p:nvSpPr>
          <p:spPr>
            <a:xfrm>
              <a:off x="2350947" y="4287955"/>
              <a:ext cx="1382268" cy="760484"/>
            </a:xfrm>
            <a:prstGeom prst="rect">
              <a:avLst/>
            </a:prstGeom>
            <a:noFill/>
          </p:spPr>
          <p:txBody>
            <a:bodyPr lIns="0" tIns="0" rIns="0" bIns="0" anchor="ctr">
              <a:noAutofit/>
            </a:bodyPr>
            <a:lstStyle>
              <a:lvl1pPr marL="0" indent="0" algn="l" defTabSz="914400" rtl="0" eaLnBrk="1" latinLnBrk="0" hangingPunct="1">
                <a:lnSpc>
                  <a:spcPct val="120000"/>
                </a:lnSpc>
                <a:spcBef>
                  <a:spcPts val="600"/>
                </a:spcBef>
                <a:spcAft>
                  <a:spcPts val="600"/>
                </a:spcAft>
                <a:buSzPct val="100000"/>
                <a:buFontTx/>
                <a:buNone/>
                <a:defRPr sz="1400" b="1" kern="1200">
                  <a:solidFill>
                    <a:schemeClr val="tx1"/>
                  </a:solidFill>
                  <a:latin typeface="+mn-lt"/>
                  <a:ea typeface="Verdana" panose="020B0604030504040204" pitchFamily="34" charset="0"/>
                  <a:cs typeface="Verdana" panose="020B0604030504040204" pitchFamily="34" charset="0"/>
                </a:defRPr>
              </a:lvl1pPr>
              <a:lvl2pPr marL="0" indent="0" algn="l" defTabSz="914400" rtl="0" eaLnBrk="1" latinLnBrk="0" hangingPunct="1">
                <a:lnSpc>
                  <a:spcPct val="120000"/>
                </a:lnSpc>
                <a:spcBef>
                  <a:spcPts val="600"/>
                </a:spcBef>
                <a:spcAft>
                  <a:spcPts val="600"/>
                </a:spcAft>
                <a:buClr>
                  <a:schemeClr val="tx2"/>
                </a:buClr>
                <a:buSzPct val="100000"/>
                <a:buFontTx/>
                <a:buNone/>
                <a:defRPr sz="1400" kern="1200">
                  <a:solidFill>
                    <a:schemeClr val="tx1"/>
                  </a:solidFill>
                  <a:latin typeface="+mn-lt"/>
                  <a:ea typeface="Verdana" panose="020B0604030504040204" pitchFamily="34" charset="0"/>
                  <a:cs typeface="Verdana" panose="020B0604030504040204" pitchFamily="34" charset="0"/>
                </a:defRPr>
              </a:lvl2pPr>
              <a:lvl3pPr marL="216000" indent="-216000" algn="l" defTabSz="914400" rtl="0" eaLnBrk="1" latinLnBrk="0" hangingPunct="1">
                <a:lnSpc>
                  <a:spcPct val="120000"/>
                </a:lnSpc>
                <a:spcBef>
                  <a:spcPts val="600"/>
                </a:spcBef>
                <a:spcAft>
                  <a:spcPts val="0"/>
                </a:spcAft>
                <a:buClr>
                  <a:schemeClr val="tx1"/>
                </a:buClr>
                <a:buSzPct val="100000"/>
                <a:buFont typeface="Arial" panose="020B0604020202020204" pitchFamily="34" charset="0"/>
                <a:buChar char="•"/>
                <a:defRPr sz="1400" kern="1200">
                  <a:solidFill>
                    <a:schemeClr val="tx1"/>
                  </a:solidFill>
                  <a:latin typeface="+mn-lt"/>
                  <a:ea typeface="Verdana" panose="020B0604030504040204" pitchFamily="34" charset="0"/>
                  <a:cs typeface="Verdana" panose="020B0604030504040204" pitchFamily="34" charset="0"/>
                </a:defRPr>
              </a:lvl3pPr>
              <a:lvl4pPr marL="432000" indent="-216000" algn="l" defTabSz="914400" rtl="0" eaLnBrk="1" latinLnBrk="0" hangingPunct="1">
                <a:lnSpc>
                  <a:spcPct val="120000"/>
                </a:lnSpc>
                <a:spcBef>
                  <a:spcPts val="600"/>
                </a:spcBef>
                <a:spcAft>
                  <a:spcPts val="0"/>
                </a:spcAft>
                <a:buClr>
                  <a:schemeClr val="tx1"/>
                </a:buClr>
                <a:buSzPct val="100000"/>
                <a:buFont typeface="Arial" panose="020B0604020202020204"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8000" indent="-216000" algn="l" defTabSz="914400" rtl="0" eaLnBrk="1" latinLnBrk="0" hangingPunct="1">
                <a:lnSpc>
                  <a:spcPct val="120000"/>
                </a:lnSpc>
                <a:spcBef>
                  <a:spcPts val="600"/>
                </a:spcBef>
                <a:spcAft>
                  <a:spcPts val="0"/>
                </a:spcAft>
                <a:buSzPct val="100000"/>
                <a:buFont typeface="Verdana" panose="020B0604030504040204" pitchFamily="34" charset="0"/>
                <a:buChar char="–"/>
                <a:defRPr sz="1400" kern="1200">
                  <a:solidFill>
                    <a:schemeClr val="tx1"/>
                  </a:solidFill>
                  <a:latin typeface="+mn-lt"/>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2" indent="0">
                <a:lnSpc>
                  <a:spcPct val="100000"/>
                </a:lnSpc>
                <a:spcBef>
                  <a:spcPts val="0"/>
                </a:spcBef>
                <a:buNone/>
              </a:pPr>
              <a:r>
                <a:rPr lang="en-US" sz="1100" dirty="0">
                  <a:latin typeface="Roboto Light" panose="02000000000000000000" pitchFamily="2" charset="0"/>
                  <a:ea typeface="Roboto Light" panose="02000000000000000000" pitchFamily="2" charset="0"/>
                </a:rPr>
                <a:t>Add extra text and commentary</a:t>
              </a:r>
            </a:p>
          </p:txBody>
        </p:sp>
        <p:sp>
          <p:nvSpPr>
            <p:cNvPr id="46" name="Oval 45">
              <a:extLst>
                <a:ext uri="{FF2B5EF4-FFF2-40B4-BE49-F238E27FC236}">
                  <a16:creationId xmlns:a16="http://schemas.microsoft.com/office/drawing/2014/main" id="{E354E1C1-1F82-A147-A006-53B846487326}"/>
                </a:ext>
              </a:extLst>
            </p:cNvPr>
            <p:cNvSpPr>
              <a:spLocks noChangeAspect="1"/>
            </p:cNvSpPr>
            <p:nvPr/>
          </p:nvSpPr>
          <p:spPr>
            <a:xfrm rot="5400000">
              <a:off x="756503" y="4540244"/>
              <a:ext cx="360000" cy="36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600" dirty="0">
                  <a:latin typeface="Roboto Medium" pitchFamily="2" charset="0"/>
                  <a:ea typeface="Roboto Medium" pitchFamily="2" charset="0"/>
                  <a:cs typeface="Verdana" panose="020B0604030504040204" pitchFamily="34" charset="0"/>
                </a:rPr>
                <a:t>4</a:t>
              </a:r>
            </a:p>
          </p:txBody>
        </p:sp>
      </p:grpSp>
      <p:graphicFrame>
        <p:nvGraphicFramePr>
          <p:cNvPr id="49" name="Table 48">
            <a:extLst>
              <a:ext uri="{FF2B5EF4-FFF2-40B4-BE49-F238E27FC236}">
                <a16:creationId xmlns:a16="http://schemas.microsoft.com/office/drawing/2014/main" id="{8648DF90-41AC-C943-93A7-7EA95FAD3129}"/>
              </a:ext>
            </a:extLst>
          </p:cNvPr>
          <p:cNvGraphicFramePr>
            <a:graphicFrameLocks noGrp="1"/>
          </p:cNvGraphicFramePr>
          <p:nvPr>
            <p:extLst>
              <p:ext uri="{D42A27DB-BD31-4B8C-83A1-F6EECF244321}">
                <p14:modId xmlns:p14="http://schemas.microsoft.com/office/powerpoint/2010/main" val="3175255890"/>
              </p:ext>
            </p:extLst>
          </p:nvPr>
        </p:nvGraphicFramePr>
        <p:xfrm>
          <a:off x="4649121" y="1439811"/>
          <a:ext cx="3156148" cy="1246560"/>
        </p:xfrm>
        <a:graphic>
          <a:graphicData uri="http://schemas.openxmlformats.org/drawingml/2006/table">
            <a:tbl>
              <a:tblPr/>
              <a:tblGrid>
                <a:gridCol w="920275">
                  <a:extLst>
                    <a:ext uri="{9D8B030D-6E8A-4147-A177-3AD203B41FA5}">
                      <a16:colId xmlns:a16="http://schemas.microsoft.com/office/drawing/2014/main" val="3852628444"/>
                    </a:ext>
                  </a:extLst>
                </a:gridCol>
                <a:gridCol w="745291">
                  <a:extLst>
                    <a:ext uri="{9D8B030D-6E8A-4147-A177-3AD203B41FA5}">
                      <a16:colId xmlns:a16="http://schemas.microsoft.com/office/drawing/2014/main" val="3926598987"/>
                    </a:ext>
                  </a:extLst>
                </a:gridCol>
                <a:gridCol w="745291">
                  <a:extLst>
                    <a:ext uri="{9D8B030D-6E8A-4147-A177-3AD203B41FA5}">
                      <a16:colId xmlns:a16="http://schemas.microsoft.com/office/drawing/2014/main" val="1210847970"/>
                    </a:ext>
                  </a:extLst>
                </a:gridCol>
                <a:gridCol w="745291">
                  <a:extLst>
                    <a:ext uri="{9D8B030D-6E8A-4147-A177-3AD203B41FA5}">
                      <a16:colId xmlns:a16="http://schemas.microsoft.com/office/drawing/2014/main" val="850343205"/>
                    </a:ext>
                  </a:extLst>
                </a:gridCol>
              </a:tblGrid>
              <a:tr h="0">
                <a:tc>
                  <a:txBody>
                    <a:bodyPr/>
                    <a:lstStyle/>
                    <a:p>
                      <a:pPr algn="l" rtl="0" fontAlgn="b"/>
                      <a:r>
                        <a:rPr lang="en-CA" sz="1100" b="0" i="0" u="none" strike="noStrike" dirty="0">
                          <a:solidFill>
                            <a:srgbClr val="F2F2F2"/>
                          </a:solidFill>
                          <a:effectLst/>
                          <a:latin typeface="Roboto Medium" pitchFamily="2" charset="0"/>
                          <a:ea typeface="Roboto Medium" pitchFamily="2" charset="0"/>
                          <a:cs typeface="Roboto" panose="02000000000000000000" pitchFamily="2" charset="0"/>
                        </a:rPr>
                        <a:t> </a:t>
                      </a:r>
                    </a:p>
                  </a:txBody>
                  <a:tcPr marL="72000" marR="72000" marT="72000" marB="72000" anchor="ctr">
                    <a:lnL>
                      <a:noFill/>
                    </a:lnL>
                    <a:lnR>
                      <a:noFill/>
                    </a:lnR>
                    <a:lnT>
                      <a:noFill/>
                    </a:lnT>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rtl="0" fontAlgn="b"/>
                      <a:r>
                        <a:rPr lang="en-CA" sz="1100" b="0" i="0" u="none" strike="noStrike" dirty="0">
                          <a:solidFill>
                            <a:srgbClr val="F2F2F2"/>
                          </a:solidFill>
                          <a:effectLst/>
                          <a:latin typeface="Roboto Medium" pitchFamily="2" charset="0"/>
                          <a:ea typeface="Roboto Medium" pitchFamily="2" charset="0"/>
                          <a:cs typeface="Roboto" panose="02000000000000000000" pitchFamily="2" charset="0"/>
                        </a:rPr>
                        <a:t>6M</a:t>
                      </a:r>
                    </a:p>
                  </a:txBody>
                  <a:tcPr marL="72000" marR="72000" marT="72000" marB="72000" anchor="ctr">
                    <a:lnL>
                      <a:noFill/>
                    </a:lnL>
                    <a:lnR>
                      <a:noFill/>
                    </a:lnR>
                    <a:lnT>
                      <a:noFill/>
                    </a:lnT>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rtl="0" fontAlgn="b"/>
                      <a:r>
                        <a:rPr lang="en-CA" sz="1100" b="0" i="0" u="none" strike="noStrike" dirty="0">
                          <a:solidFill>
                            <a:srgbClr val="F2F2F2"/>
                          </a:solidFill>
                          <a:effectLst/>
                          <a:latin typeface="Roboto Medium" pitchFamily="2" charset="0"/>
                          <a:ea typeface="Roboto Medium" pitchFamily="2" charset="0"/>
                          <a:cs typeface="Roboto" panose="02000000000000000000" pitchFamily="2" charset="0"/>
                        </a:rPr>
                        <a:t>18M</a:t>
                      </a:r>
                    </a:p>
                  </a:txBody>
                  <a:tcPr marL="72000" marR="72000" marT="72000" marB="72000" anchor="ctr">
                    <a:lnL>
                      <a:noFill/>
                    </a:lnL>
                    <a:lnR>
                      <a:noFill/>
                    </a:lnR>
                    <a:lnT>
                      <a:noFill/>
                    </a:lnT>
                    <a:lnB w="9525"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rtl="0" fontAlgn="b"/>
                      <a:r>
                        <a:rPr lang="en-CA" sz="1100" b="0" i="0" u="none" strike="noStrike" dirty="0">
                          <a:solidFill>
                            <a:srgbClr val="F2F2F2"/>
                          </a:solidFill>
                          <a:effectLst/>
                          <a:latin typeface="Roboto Medium" pitchFamily="2" charset="0"/>
                          <a:ea typeface="Roboto Medium" pitchFamily="2" charset="0"/>
                          <a:cs typeface="Roboto" panose="02000000000000000000" pitchFamily="2" charset="0"/>
                        </a:rPr>
                        <a:t>24M</a:t>
                      </a:r>
                    </a:p>
                  </a:txBody>
                  <a:tcPr marL="72000" marR="72000" marT="72000" marB="72000" anchor="ctr">
                    <a:lnL>
                      <a:noFill/>
                    </a:lnL>
                    <a:lnR>
                      <a:noFill/>
                    </a:lnR>
                    <a:lnT>
                      <a:noFill/>
                    </a:lnT>
                    <a:lnB w="9525"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2727617746"/>
                  </a:ext>
                </a:extLst>
              </a:tr>
              <a:tr h="0">
                <a:tc>
                  <a:txBody>
                    <a:bodyPr/>
                    <a:lstStyle/>
                    <a:p>
                      <a:pPr algn="l" rtl="0" fontAlgn="b"/>
                      <a:r>
                        <a:rPr lang="en-CA" sz="1100" b="0" i="0" u="none" strike="noStrike" dirty="0">
                          <a:solidFill>
                            <a:schemeClr val="accent1"/>
                          </a:solidFill>
                          <a:effectLst/>
                          <a:latin typeface="Roboto Light" panose="02000000000000000000" pitchFamily="2" charset="0"/>
                          <a:ea typeface="Roboto Light" panose="02000000000000000000" pitchFamily="2" charset="0"/>
                          <a:cs typeface="Roboto Light" panose="02000000000000000000" pitchFamily="2" charset="0"/>
                        </a:rPr>
                        <a:t>Name</a:t>
                      </a:r>
                    </a:p>
                  </a:txBody>
                  <a:tcPr marL="72000" marR="72000" marT="72000" marB="72000"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ctr" rtl="0" fontAlgn="b"/>
                      <a:r>
                        <a:rPr lang="en-CA" sz="1100" b="0" i="0" u="none" strike="noStrike" dirty="0">
                          <a:solidFill>
                            <a:schemeClr val="tx1"/>
                          </a:solidFill>
                          <a:effectLst/>
                          <a:latin typeface="Roboto Light" panose="02000000000000000000" pitchFamily="2" charset="0"/>
                          <a:ea typeface="Roboto Light" panose="02000000000000000000" pitchFamily="2" charset="0"/>
                          <a:cs typeface="Roboto Light" panose="02000000000000000000" pitchFamily="2" charset="0"/>
                        </a:rPr>
                        <a:t>22</a:t>
                      </a:r>
                    </a:p>
                  </a:txBody>
                  <a:tcPr marL="72000" marR="72000" marT="72000" marB="72000"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ctr" rtl="0" fontAlgn="b"/>
                      <a:r>
                        <a:rPr lang="en-CA" sz="1100" b="0" i="0" u="none" strike="noStrike" dirty="0">
                          <a:solidFill>
                            <a:schemeClr val="tx1"/>
                          </a:solidFill>
                          <a:effectLst/>
                          <a:latin typeface="Roboto Light" panose="02000000000000000000" pitchFamily="2" charset="0"/>
                          <a:ea typeface="Roboto Light" panose="02000000000000000000" pitchFamily="2" charset="0"/>
                          <a:cs typeface="Roboto Light" panose="02000000000000000000" pitchFamily="2" charset="0"/>
                        </a:rPr>
                        <a:t>22</a:t>
                      </a:r>
                    </a:p>
                  </a:txBody>
                  <a:tcPr marL="72000" marR="72000" marT="72000" marB="72000"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ctr" rtl="0" fontAlgn="b"/>
                      <a:r>
                        <a:rPr lang="en-CA" sz="1100" b="0" i="0" u="none" strike="noStrike" dirty="0">
                          <a:solidFill>
                            <a:schemeClr val="tx1"/>
                          </a:solidFill>
                          <a:effectLst/>
                          <a:latin typeface="Roboto Light" panose="02000000000000000000" pitchFamily="2" charset="0"/>
                          <a:ea typeface="Roboto Light" panose="02000000000000000000" pitchFamily="2" charset="0"/>
                          <a:cs typeface="Roboto Light" panose="02000000000000000000" pitchFamily="2" charset="0"/>
                        </a:rPr>
                        <a:t>22</a:t>
                      </a:r>
                    </a:p>
                  </a:txBody>
                  <a:tcPr marL="72000" marR="72000" marT="72000" marB="72000"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905522371"/>
                  </a:ext>
                </a:extLst>
              </a:tr>
              <a:tr h="0">
                <a:tc>
                  <a:txBody>
                    <a:bodyPr/>
                    <a:lstStyle/>
                    <a:p>
                      <a:pPr algn="l" rtl="0" fontAlgn="b"/>
                      <a:r>
                        <a:rPr lang="en-CA" sz="1100" b="0" i="0" u="none" strike="noStrike" dirty="0">
                          <a:solidFill>
                            <a:schemeClr val="accent1"/>
                          </a:solidFill>
                          <a:effectLst/>
                          <a:latin typeface="Roboto Light" panose="02000000000000000000" pitchFamily="2" charset="0"/>
                          <a:ea typeface="Roboto Light" panose="02000000000000000000" pitchFamily="2" charset="0"/>
                          <a:cs typeface="Roboto Light" panose="02000000000000000000" pitchFamily="2" charset="0"/>
                        </a:rPr>
                        <a:t>Name 2</a:t>
                      </a:r>
                    </a:p>
                  </a:txBody>
                  <a:tcPr marL="72000" marR="72000" marT="72000" marB="72000"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ctr" rtl="0" fontAlgn="b"/>
                      <a:r>
                        <a:rPr lang="en-CA" sz="1100" b="0" i="0" u="none" strike="noStrike" dirty="0">
                          <a:solidFill>
                            <a:schemeClr val="tx1"/>
                          </a:solidFill>
                          <a:effectLst/>
                          <a:latin typeface="Roboto Light" panose="02000000000000000000" pitchFamily="2" charset="0"/>
                          <a:ea typeface="Roboto Light" panose="02000000000000000000" pitchFamily="2" charset="0"/>
                          <a:cs typeface="Roboto Light" panose="02000000000000000000" pitchFamily="2" charset="0"/>
                        </a:rPr>
                        <a:t>33</a:t>
                      </a:r>
                    </a:p>
                  </a:txBody>
                  <a:tcPr marL="72000" marR="72000" marT="72000" marB="72000"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ctr" rtl="0" fontAlgn="b"/>
                      <a:r>
                        <a:rPr lang="en-CA" sz="1100" b="0" i="0" u="none" strike="noStrike" dirty="0">
                          <a:solidFill>
                            <a:schemeClr val="tx1"/>
                          </a:solidFill>
                          <a:effectLst/>
                          <a:latin typeface="Roboto Light" panose="02000000000000000000" pitchFamily="2" charset="0"/>
                          <a:ea typeface="Roboto Light" panose="02000000000000000000" pitchFamily="2" charset="0"/>
                          <a:cs typeface="Roboto Light" panose="02000000000000000000" pitchFamily="2" charset="0"/>
                        </a:rPr>
                        <a:t>33</a:t>
                      </a:r>
                    </a:p>
                  </a:txBody>
                  <a:tcPr marL="72000" marR="72000" marT="72000" marB="72000"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tc>
                  <a:txBody>
                    <a:bodyPr/>
                    <a:lstStyle/>
                    <a:p>
                      <a:pPr algn="ctr" rtl="0" fontAlgn="b"/>
                      <a:r>
                        <a:rPr lang="en-CA" sz="1100" b="0" i="0" u="none" strike="noStrike" dirty="0">
                          <a:solidFill>
                            <a:schemeClr val="tx1"/>
                          </a:solidFill>
                          <a:effectLst/>
                          <a:latin typeface="Roboto Light" panose="02000000000000000000" pitchFamily="2" charset="0"/>
                          <a:ea typeface="Roboto Light" panose="02000000000000000000" pitchFamily="2" charset="0"/>
                          <a:cs typeface="Roboto Light" panose="02000000000000000000" pitchFamily="2" charset="0"/>
                        </a:rPr>
                        <a:t>33</a:t>
                      </a:r>
                    </a:p>
                  </a:txBody>
                  <a:tcPr marL="72000" marR="72000" marT="72000" marB="72000" anchor="ctr">
                    <a:lnL>
                      <a:noFill/>
                    </a:lnL>
                    <a:lnR>
                      <a:noFill/>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26980626"/>
                  </a:ext>
                </a:extLst>
              </a:tr>
              <a:tr h="0">
                <a:tc>
                  <a:txBody>
                    <a:bodyPr/>
                    <a:lstStyle/>
                    <a:p>
                      <a:pPr algn="l" rtl="0" fontAlgn="b"/>
                      <a:r>
                        <a:rPr lang="en-CA" sz="1100" b="0" i="0" u="none" strike="noStrike" dirty="0">
                          <a:solidFill>
                            <a:schemeClr val="accent1"/>
                          </a:solidFill>
                          <a:effectLst/>
                          <a:latin typeface="Roboto Light" panose="02000000000000000000" pitchFamily="2" charset="0"/>
                          <a:ea typeface="Roboto Light" panose="02000000000000000000" pitchFamily="2" charset="0"/>
                          <a:cs typeface="Roboto Light" panose="02000000000000000000" pitchFamily="2" charset="0"/>
                        </a:rPr>
                        <a:t>Name 3</a:t>
                      </a:r>
                    </a:p>
                  </a:txBody>
                  <a:tcPr marL="72000" marR="72000" marT="72000" marB="72000" anchor="ctr">
                    <a:lnL>
                      <a:noFill/>
                    </a:lnL>
                    <a:lnR>
                      <a:noFill/>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
                      <a:r>
                        <a:rPr lang="en-CA" sz="1100" b="0" i="0" u="none" strike="noStrike" dirty="0">
                          <a:solidFill>
                            <a:schemeClr val="tx1"/>
                          </a:solidFill>
                          <a:effectLst/>
                          <a:latin typeface="Roboto Light" panose="02000000000000000000" pitchFamily="2" charset="0"/>
                          <a:ea typeface="Roboto Light" panose="02000000000000000000" pitchFamily="2" charset="0"/>
                          <a:cs typeface="Roboto Light" panose="02000000000000000000" pitchFamily="2" charset="0"/>
                        </a:rPr>
                        <a:t>44</a:t>
                      </a:r>
                    </a:p>
                  </a:txBody>
                  <a:tcPr marL="72000" marR="72000" marT="72000" marB="72000" anchor="ctr">
                    <a:lnL>
                      <a:noFill/>
                    </a:lnL>
                    <a:lnR>
                      <a:noFill/>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
                      <a:r>
                        <a:rPr lang="en-CA" sz="1100" b="0" i="0" u="none" strike="noStrike" dirty="0">
                          <a:solidFill>
                            <a:schemeClr val="tx1"/>
                          </a:solidFill>
                          <a:effectLst/>
                          <a:latin typeface="Roboto Light" panose="02000000000000000000" pitchFamily="2" charset="0"/>
                          <a:ea typeface="Roboto Light" panose="02000000000000000000" pitchFamily="2" charset="0"/>
                          <a:cs typeface="Roboto Light" panose="02000000000000000000" pitchFamily="2" charset="0"/>
                        </a:rPr>
                        <a:t>44</a:t>
                      </a:r>
                    </a:p>
                  </a:txBody>
                  <a:tcPr marL="72000" marR="72000" marT="72000" marB="72000" anchor="ctr">
                    <a:lnL>
                      <a:noFill/>
                    </a:lnL>
                    <a:lnR>
                      <a:noFill/>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ctr" rtl="0" fontAlgn="b"/>
                      <a:r>
                        <a:rPr lang="en-CA" sz="1100" b="0" i="0" u="none" strike="noStrike" dirty="0">
                          <a:solidFill>
                            <a:schemeClr val="tx1"/>
                          </a:solidFill>
                          <a:effectLst/>
                          <a:latin typeface="Roboto Light" panose="02000000000000000000" pitchFamily="2" charset="0"/>
                          <a:ea typeface="Roboto Light" panose="02000000000000000000" pitchFamily="2" charset="0"/>
                          <a:cs typeface="Roboto Light" panose="02000000000000000000" pitchFamily="2" charset="0"/>
                        </a:rPr>
                        <a:t>44</a:t>
                      </a:r>
                    </a:p>
                  </a:txBody>
                  <a:tcPr marL="72000" marR="72000" marT="72000" marB="72000" anchor="ctr">
                    <a:lnL>
                      <a:noFill/>
                    </a:lnL>
                    <a:lnR>
                      <a:noFill/>
                    </a:lnR>
                    <a:lnT w="9525"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24281917"/>
                  </a:ext>
                </a:extLst>
              </a:tr>
            </a:tbl>
          </a:graphicData>
        </a:graphic>
      </p:graphicFrame>
      <p:pic>
        <p:nvPicPr>
          <p:cNvPr id="47" name="Picture 46" descr="A picture containing text, sign&#10;&#10;Description automatically generated">
            <a:extLst>
              <a:ext uri="{FF2B5EF4-FFF2-40B4-BE49-F238E27FC236}">
                <a16:creationId xmlns:a16="http://schemas.microsoft.com/office/drawing/2014/main" id="{F8D19262-214A-E24A-BD14-97809C7D5108}"/>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099592" y="5254135"/>
            <a:ext cx="1103422" cy="350500"/>
          </a:xfrm>
          <a:prstGeom prst="rect">
            <a:avLst/>
          </a:prstGeom>
        </p:spPr>
      </p:pic>
      <p:pic>
        <p:nvPicPr>
          <p:cNvPr id="48" name="Picture 47">
            <a:extLst>
              <a:ext uri="{FF2B5EF4-FFF2-40B4-BE49-F238E27FC236}">
                <a16:creationId xmlns:a16="http://schemas.microsoft.com/office/drawing/2014/main" id="{420A5CBA-A195-7B4A-990B-459A4713A8F4}"/>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820673" y="4818870"/>
            <a:ext cx="943618" cy="237481"/>
          </a:xfrm>
          <a:prstGeom prst="rect">
            <a:avLst/>
          </a:prstGeom>
        </p:spPr>
      </p:pic>
    </p:spTree>
    <p:extLst>
      <p:ext uri="{BB962C8B-B14F-4D97-AF65-F5344CB8AC3E}">
        <p14:creationId xmlns:p14="http://schemas.microsoft.com/office/powerpoint/2010/main" val="38613321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515D52E-22B6-6DD7-82C9-6CC01B094033}"/>
              </a:ext>
            </a:extLst>
          </p:cNvPr>
          <p:cNvGraphicFramePr>
            <a:graphicFrameLocks noChangeAspect="1"/>
          </p:cNvGraphicFramePr>
          <p:nvPr>
            <p:custDataLst>
              <p:tags r:id="rId1"/>
            </p:custDataLst>
            <p:extLst>
              <p:ext uri="{D42A27DB-BD31-4B8C-83A1-F6EECF244321}">
                <p14:modId xmlns:p14="http://schemas.microsoft.com/office/powerpoint/2010/main" val="2526971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think-cell data - do not delete" hidden="1">
                        <a:extLst>
                          <a:ext uri="{FF2B5EF4-FFF2-40B4-BE49-F238E27FC236}">
                            <a16:creationId xmlns:a16="http://schemas.microsoft.com/office/drawing/2014/main" id="{4515D52E-22B6-6DD7-82C9-6CC01B0940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ED59BF25-8337-4F45-B04F-334C460BDE0A}"/>
              </a:ext>
            </a:extLst>
          </p:cNvPr>
          <p:cNvSpPr>
            <a:spLocks noGrp="1"/>
          </p:cNvSpPr>
          <p:nvPr>
            <p:ph type="body" sz="quarter" idx="10"/>
          </p:nvPr>
        </p:nvSpPr>
        <p:spPr>
          <a:xfrm>
            <a:off x="393245" y="881289"/>
            <a:ext cx="9168766" cy="396382"/>
          </a:xfrm>
        </p:spPr>
        <p:txBody>
          <a:bodyPr/>
          <a:lstStyle/>
          <a:p>
            <a:r>
              <a:rPr lang="en-US"/>
              <a:t>Less is more</a:t>
            </a:r>
            <a:endParaRPr lang="en-US" dirty="0"/>
          </a:p>
        </p:txBody>
      </p:sp>
      <p:sp>
        <p:nvSpPr>
          <p:cNvPr id="3" name="Title 2">
            <a:extLst>
              <a:ext uri="{FF2B5EF4-FFF2-40B4-BE49-F238E27FC236}">
                <a16:creationId xmlns:a16="http://schemas.microsoft.com/office/drawing/2014/main" id="{1939EA66-E2A2-FA4F-B5D7-928E77D7A618}"/>
              </a:ext>
            </a:extLst>
          </p:cNvPr>
          <p:cNvSpPr>
            <a:spLocks noGrp="1"/>
          </p:cNvSpPr>
          <p:nvPr>
            <p:ph type="title"/>
          </p:nvPr>
        </p:nvSpPr>
        <p:spPr>
          <a:xfrm>
            <a:off x="392399" y="108000"/>
            <a:ext cx="7560000" cy="576000"/>
          </a:xfrm>
        </p:spPr>
        <p:txBody>
          <a:bodyPr vert="horz"/>
          <a:lstStyle/>
          <a:p>
            <a:r>
              <a:rPr lang="en-US" dirty="0"/>
              <a:t>Guidelines | Content</a:t>
            </a:r>
          </a:p>
        </p:txBody>
      </p:sp>
      <p:sp>
        <p:nvSpPr>
          <p:cNvPr id="6" name="Text Placeholder 5">
            <a:extLst>
              <a:ext uri="{FF2B5EF4-FFF2-40B4-BE49-F238E27FC236}">
                <a16:creationId xmlns:a16="http://schemas.microsoft.com/office/drawing/2014/main" id="{6789A6E8-0FA3-3F6F-71DB-8B69C466CB43}"/>
              </a:ext>
            </a:extLst>
          </p:cNvPr>
          <p:cNvSpPr>
            <a:spLocks noGrp="1"/>
          </p:cNvSpPr>
          <p:nvPr>
            <p:ph type="body" sz="quarter" idx="27"/>
          </p:nvPr>
        </p:nvSpPr>
        <p:spPr/>
        <p:txBody>
          <a:bodyPr/>
          <a:lstStyle/>
          <a:p>
            <a:endParaRPr lang="nl-NL"/>
          </a:p>
        </p:txBody>
      </p:sp>
      <p:sp>
        <p:nvSpPr>
          <p:cNvPr id="15" name="Content Placeholder 9">
            <a:extLst>
              <a:ext uri="{FF2B5EF4-FFF2-40B4-BE49-F238E27FC236}">
                <a16:creationId xmlns:a16="http://schemas.microsoft.com/office/drawing/2014/main" id="{56675A3A-C32E-B02F-16E5-709624097026}"/>
              </a:ext>
            </a:extLst>
          </p:cNvPr>
          <p:cNvSpPr txBox="1">
            <a:spLocks/>
          </p:cNvSpPr>
          <p:nvPr/>
        </p:nvSpPr>
        <p:spPr>
          <a:xfrm>
            <a:off x="392400" y="1474960"/>
            <a:ext cx="9131300" cy="4592151"/>
          </a:xfrm>
          <a:prstGeom prst="rect">
            <a:avLst/>
          </a:prstGeom>
        </p:spPr>
        <p:txBody>
          <a:bodyPr lIns="0"/>
          <a:lstStyle>
            <a:lvl1pPr marL="171450" indent="-171450" algn="l" defTabSz="914400" rtl="0" eaLnBrk="1" latinLnBrk="0" hangingPunct="1">
              <a:spcBef>
                <a:spcPts val="0"/>
              </a:spcBef>
              <a:spcAft>
                <a:spcPts val="600"/>
              </a:spcAft>
              <a:buClr>
                <a:schemeClr val="accent1"/>
              </a:buClr>
              <a:buSzPct val="110000"/>
              <a:buFont typeface="Wingdings" pitchFamily="2" charset="2"/>
              <a:buChar char="§"/>
              <a:defRPr sz="1000" b="0" i="0" kern="1200">
                <a:solidFill>
                  <a:schemeClr val="tx1"/>
                </a:solidFill>
                <a:latin typeface="Roboto Light" panose="02000000000000000000" pitchFamily="2" charset="0"/>
                <a:ea typeface="Roboto Light" panose="02000000000000000000" pitchFamily="2" charset="0"/>
                <a:cs typeface="Roboto Light" panose="02000000000000000000" pitchFamily="2" charset="0"/>
              </a:defRPr>
            </a:lvl1pPr>
            <a:lvl2pPr marL="357188" indent="-179388" algn="l" defTabSz="914400" rtl="0" eaLnBrk="1" latinLnBrk="0" hangingPunct="1">
              <a:spcBef>
                <a:spcPts val="0"/>
              </a:spcBef>
              <a:spcAft>
                <a:spcPts val="600"/>
              </a:spcAft>
              <a:buClr>
                <a:schemeClr val="accent2"/>
              </a:buClr>
              <a:buSzPct val="50000"/>
              <a:buFont typeface="Arial" panose="020B0604020202020204" pitchFamily="34" charset="0"/>
              <a:buChar char="►"/>
              <a:defRPr sz="1000" b="0" i="0" kern="1200">
                <a:solidFill>
                  <a:schemeClr val="tx1"/>
                </a:solidFill>
                <a:latin typeface="Roboto Light" panose="02000000000000000000" pitchFamily="2" charset="0"/>
                <a:ea typeface="Roboto Light" panose="02000000000000000000" pitchFamily="2" charset="0"/>
                <a:cs typeface="Roboto Light" panose="02000000000000000000" pitchFamily="2" charset="0"/>
              </a:defRPr>
            </a:lvl2pPr>
            <a:lvl3pPr marL="528638" indent="-171450" algn="l" defTabSz="914400" rtl="0" eaLnBrk="1" latinLnBrk="0" hangingPunct="1">
              <a:spcBef>
                <a:spcPts val="0"/>
              </a:spcBef>
              <a:spcAft>
                <a:spcPts val="600"/>
              </a:spcAft>
              <a:buClr>
                <a:schemeClr val="tx1"/>
              </a:buClr>
              <a:buSzPct val="100000"/>
              <a:buFont typeface="Arial" panose="020B0604020202020204" pitchFamily="34" charset="0"/>
              <a:buChar char="–"/>
              <a:defRPr sz="1000" b="0" i="0" kern="1200">
                <a:solidFill>
                  <a:schemeClr val="tx1"/>
                </a:solidFill>
                <a:latin typeface="Roboto Light" panose="02000000000000000000" pitchFamily="2" charset="0"/>
                <a:ea typeface="Roboto Light" panose="02000000000000000000" pitchFamily="2" charset="0"/>
                <a:cs typeface="Roboto Light" panose="02000000000000000000" pitchFamily="2" charset="0"/>
              </a:defRPr>
            </a:lvl3pPr>
            <a:lvl4pPr marL="719138" indent="-179388" algn="l" defTabSz="914400" rtl="0" eaLnBrk="1" latinLnBrk="0" hangingPunct="1">
              <a:spcBef>
                <a:spcPts val="0"/>
              </a:spcBef>
              <a:spcAft>
                <a:spcPts val="600"/>
              </a:spcAft>
              <a:buClr>
                <a:srgbClr val="0D2B55"/>
              </a:buClr>
              <a:buSzPct val="50000"/>
              <a:buFont typeface="Arial" panose="020B0604020202020204" pitchFamily="34" charset="0"/>
              <a:buChar char="●"/>
              <a:defRPr sz="1000" b="0" i="0" kern="1200" baseline="0">
                <a:solidFill>
                  <a:schemeClr val="tx1"/>
                </a:solidFill>
                <a:latin typeface="Roboto Light" panose="02000000000000000000" pitchFamily="2" charset="0"/>
                <a:ea typeface="Roboto Light" panose="02000000000000000000" pitchFamily="2" charset="0"/>
                <a:cs typeface="Roboto Light" panose="02000000000000000000" pitchFamily="2" charset="0"/>
              </a:defRPr>
            </a:lvl4pPr>
            <a:lvl5pPr marL="2057400" indent="-228600" algn="l" defTabSz="914400" rtl="0" eaLnBrk="1" latinLnBrk="0" hangingPunct="1">
              <a:spcBef>
                <a:spcPts val="0"/>
              </a:spcBef>
              <a:spcAft>
                <a:spcPts val="360"/>
              </a:spcAft>
              <a:buFont typeface="Calibri" pitchFamily="34" charset="0"/>
              <a:buChar char="—"/>
              <a:defRPr sz="1000" b="0" i="0" kern="1200">
                <a:solidFill>
                  <a:srgbClr val="4D4F53"/>
                </a:solidFill>
                <a:latin typeface="Roboto Light" panose="02000000000000000000" pitchFamily="2" charset="0"/>
                <a:ea typeface="Roboto Light" panose="02000000000000000000" pitchFamily="2"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buClrTx/>
            </a:pPr>
            <a:r>
              <a:rPr lang="en-US" dirty="0">
                <a:latin typeface="Roboto Medium" pitchFamily="2" charset="0"/>
                <a:ea typeface="Roboto Medium" pitchFamily="2" charset="0"/>
              </a:rPr>
              <a:t>Use white space</a:t>
            </a:r>
            <a:r>
              <a:rPr lang="en-US" dirty="0"/>
              <a:t>, don’t try and cram everything on one slide</a:t>
            </a:r>
          </a:p>
          <a:p>
            <a:pPr>
              <a:lnSpc>
                <a:spcPct val="150000"/>
              </a:lnSpc>
              <a:buClrTx/>
            </a:pPr>
            <a:r>
              <a:rPr lang="en-US" dirty="0">
                <a:latin typeface="Roboto Medium" pitchFamily="2" charset="0"/>
                <a:ea typeface="Roboto Medium" pitchFamily="2" charset="0"/>
              </a:rPr>
              <a:t>Keep it simple</a:t>
            </a:r>
            <a:r>
              <a:rPr lang="en-US" dirty="0"/>
              <a:t>, both to read and to look at</a:t>
            </a:r>
          </a:p>
          <a:p>
            <a:pPr>
              <a:lnSpc>
                <a:spcPct val="150000"/>
              </a:lnSpc>
              <a:buClrTx/>
            </a:pPr>
            <a:r>
              <a:rPr lang="en-US" dirty="0"/>
              <a:t>Make sure your </a:t>
            </a:r>
            <a:r>
              <a:rPr lang="en-US" dirty="0">
                <a:latin typeface="Roboto Medium" pitchFamily="2" charset="0"/>
                <a:ea typeface="Roboto Medium" pitchFamily="2" charset="0"/>
              </a:rPr>
              <a:t>sentences are understandable </a:t>
            </a:r>
            <a:r>
              <a:rPr lang="en-US" dirty="0"/>
              <a:t>for someone whose first language is not English</a:t>
            </a:r>
          </a:p>
          <a:p>
            <a:pPr>
              <a:lnSpc>
                <a:spcPct val="150000"/>
              </a:lnSpc>
              <a:buClrTx/>
            </a:pPr>
            <a:r>
              <a:rPr lang="en-US" dirty="0"/>
              <a:t>Not everybody is on the same (technical) level of experience as you. You may need to clarify some terminology or concepts</a:t>
            </a:r>
          </a:p>
          <a:p>
            <a:pPr>
              <a:lnSpc>
                <a:spcPct val="150000"/>
              </a:lnSpc>
              <a:buClrTx/>
            </a:pPr>
            <a:r>
              <a:rPr lang="en-US" dirty="0"/>
              <a:t>Try and use a </a:t>
            </a:r>
            <a:r>
              <a:rPr lang="en-US" dirty="0">
                <a:latin typeface="Roboto Medium" pitchFamily="2" charset="0"/>
                <a:ea typeface="Roboto Medium" pitchFamily="2" charset="0"/>
              </a:rPr>
              <a:t>visual representation </a:t>
            </a:r>
            <a:r>
              <a:rPr lang="en-US" dirty="0"/>
              <a:t>rather than just bullet points</a:t>
            </a:r>
          </a:p>
          <a:p>
            <a:pPr>
              <a:lnSpc>
                <a:spcPct val="150000"/>
              </a:lnSpc>
              <a:buClrTx/>
            </a:pPr>
            <a:r>
              <a:rPr lang="en-US" dirty="0"/>
              <a:t>Every slide should have </a:t>
            </a:r>
            <a:r>
              <a:rPr lang="en-US" dirty="0">
                <a:latin typeface="Roboto Medium" pitchFamily="2" charset="0"/>
                <a:ea typeface="Roboto Medium" pitchFamily="2" charset="0"/>
              </a:rPr>
              <a:t>some </a:t>
            </a:r>
            <a:r>
              <a:rPr lang="en-US" dirty="0" err="1">
                <a:latin typeface="Roboto Medium" pitchFamily="2" charset="0"/>
                <a:ea typeface="Roboto Medium" pitchFamily="2" charset="0"/>
              </a:rPr>
              <a:t>colour</a:t>
            </a:r>
            <a:r>
              <a:rPr lang="en-US" dirty="0">
                <a:latin typeface="Roboto Medium" pitchFamily="2" charset="0"/>
                <a:ea typeface="Roboto Medium" pitchFamily="2" charset="0"/>
              </a:rPr>
              <a:t> </a:t>
            </a:r>
            <a:r>
              <a:rPr lang="en-US" dirty="0"/>
              <a:t>in it. Either a </a:t>
            </a:r>
            <a:r>
              <a:rPr lang="en-US" dirty="0" err="1"/>
              <a:t>coloured</a:t>
            </a:r>
            <a:r>
              <a:rPr lang="en-US" dirty="0"/>
              <a:t> shape or </a:t>
            </a:r>
            <a:r>
              <a:rPr lang="en-US" dirty="0" err="1"/>
              <a:t>coloured</a:t>
            </a:r>
            <a:r>
              <a:rPr lang="en-US" dirty="0"/>
              <a:t> text</a:t>
            </a:r>
          </a:p>
          <a:p>
            <a:pPr>
              <a:lnSpc>
                <a:spcPct val="150000"/>
              </a:lnSpc>
              <a:buClrTx/>
            </a:pPr>
            <a:r>
              <a:rPr lang="en-US" dirty="0"/>
              <a:t>If you have lots of bullets, </a:t>
            </a:r>
            <a:r>
              <a:rPr lang="en-US" dirty="0">
                <a:latin typeface="Roboto Medium" pitchFamily="2" charset="0"/>
                <a:ea typeface="Roboto Medium" pitchFamily="2" charset="0"/>
              </a:rPr>
              <a:t>bolden some words </a:t>
            </a:r>
            <a:r>
              <a:rPr lang="en-US" dirty="0"/>
              <a:t>to </a:t>
            </a:r>
            <a:r>
              <a:rPr lang="en-US" dirty="0" err="1"/>
              <a:t>emphasise</a:t>
            </a:r>
            <a:r>
              <a:rPr lang="en-US" dirty="0"/>
              <a:t> the most important piece</a:t>
            </a:r>
          </a:p>
          <a:p>
            <a:pPr>
              <a:lnSpc>
                <a:spcPct val="150000"/>
              </a:lnSpc>
              <a:buClrTx/>
            </a:pPr>
            <a:r>
              <a:rPr lang="en-US" dirty="0"/>
              <a:t>Always </a:t>
            </a:r>
            <a:r>
              <a:rPr lang="en-US" dirty="0">
                <a:latin typeface="Roboto Medium" pitchFamily="2" charset="0"/>
                <a:ea typeface="Roboto Medium" pitchFamily="2" charset="0"/>
              </a:rPr>
              <a:t>add a disclaimer </a:t>
            </a:r>
            <a:r>
              <a:rPr lang="en-US" dirty="0"/>
              <a:t>to your document</a:t>
            </a:r>
          </a:p>
          <a:p>
            <a:pPr>
              <a:lnSpc>
                <a:spcPct val="150000"/>
              </a:lnSpc>
              <a:buClrTx/>
            </a:pPr>
            <a:r>
              <a:rPr lang="en-US" dirty="0"/>
              <a:t>If the document goes external, add a contact details page</a:t>
            </a:r>
          </a:p>
          <a:p>
            <a:pPr>
              <a:lnSpc>
                <a:spcPct val="150000"/>
              </a:lnSpc>
              <a:buClrTx/>
            </a:pPr>
            <a:endParaRPr lang="en-US" dirty="0"/>
          </a:p>
          <a:p>
            <a:pPr>
              <a:lnSpc>
                <a:spcPct val="150000"/>
              </a:lnSpc>
              <a:buClrTx/>
            </a:pPr>
            <a:endParaRPr lang="en-US" dirty="0"/>
          </a:p>
          <a:p>
            <a:pPr>
              <a:lnSpc>
                <a:spcPct val="150000"/>
              </a:lnSpc>
              <a:buClrTx/>
            </a:pPr>
            <a:endParaRPr lang="en-US" dirty="0"/>
          </a:p>
        </p:txBody>
      </p:sp>
    </p:spTree>
    <p:extLst>
      <p:ext uri="{BB962C8B-B14F-4D97-AF65-F5344CB8AC3E}">
        <p14:creationId xmlns:p14="http://schemas.microsoft.com/office/powerpoint/2010/main" val="42648890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E82AB34-BDB6-A562-B4BA-C91D7794AFC6}"/>
              </a:ext>
            </a:extLst>
          </p:cNvPr>
          <p:cNvGraphicFramePr>
            <a:graphicFrameLocks noChangeAspect="1"/>
          </p:cNvGraphicFramePr>
          <p:nvPr>
            <p:custDataLst>
              <p:tags r:id="rId1"/>
            </p:custDataLst>
            <p:extLst>
              <p:ext uri="{D42A27DB-BD31-4B8C-83A1-F6EECF244321}">
                <p14:modId xmlns:p14="http://schemas.microsoft.com/office/powerpoint/2010/main" val="2078598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think-cell data - do not delete" hidden="1">
                        <a:extLst>
                          <a:ext uri="{FF2B5EF4-FFF2-40B4-BE49-F238E27FC236}">
                            <a16:creationId xmlns:a16="http://schemas.microsoft.com/office/drawing/2014/main" id="{2E82AB34-BDB6-A562-B4BA-C91D7794AF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AFFB22A0-11A3-9487-0139-4E2CB20EA516}"/>
              </a:ext>
            </a:extLst>
          </p:cNvPr>
          <p:cNvSpPr>
            <a:spLocks noGrp="1"/>
          </p:cNvSpPr>
          <p:nvPr>
            <p:ph type="body" sz="quarter" idx="10"/>
          </p:nvPr>
        </p:nvSpPr>
        <p:spPr/>
        <p:txBody>
          <a:bodyPr/>
          <a:lstStyle/>
          <a:p>
            <a:endParaRPr lang="nl-NL"/>
          </a:p>
        </p:txBody>
      </p:sp>
      <p:sp>
        <p:nvSpPr>
          <p:cNvPr id="3" name="Title 2">
            <a:extLst>
              <a:ext uri="{FF2B5EF4-FFF2-40B4-BE49-F238E27FC236}">
                <a16:creationId xmlns:a16="http://schemas.microsoft.com/office/drawing/2014/main" id="{614064D2-9FA9-AD4E-BA4B-0F37DB3868F6}"/>
              </a:ext>
            </a:extLst>
          </p:cNvPr>
          <p:cNvSpPr>
            <a:spLocks noGrp="1"/>
          </p:cNvSpPr>
          <p:nvPr>
            <p:ph type="title"/>
          </p:nvPr>
        </p:nvSpPr>
        <p:spPr/>
        <p:txBody>
          <a:bodyPr vert="horz"/>
          <a:lstStyle/>
          <a:p>
            <a:r>
              <a:rPr lang="en-US" dirty="0"/>
              <a:t>World map</a:t>
            </a:r>
          </a:p>
        </p:txBody>
      </p:sp>
      <p:sp>
        <p:nvSpPr>
          <p:cNvPr id="5" name="Text Placeholder 4">
            <a:extLst>
              <a:ext uri="{FF2B5EF4-FFF2-40B4-BE49-F238E27FC236}">
                <a16:creationId xmlns:a16="http://schemas.microsoft.com/office/drawing/2014/main" id="{085F49D3-F97A-A60D-CB2D-C56B1717BCE6}"/>
              </a:ext>
            </a:extLst>
          </p:cNvPr>
          <p:cNvSpPr>
            <a:spLocks noGrp="1"/>
          </p:cNvSpPr>
          <p:nvPr>
            <p:ph type="body" sz="quarter" idx="27"/>
          </p:nvPr>
        </p:nvSpPr>
        <p:spPr/>
        <p:txBody>
          <a:bodyPr/>
          <a:lstStyle/>
          <a:p>
            <a:endParaRPr lang="nl-NL"/>
          </a:p>
        </p:txBody>
      </p:sp>
      <p:grpSp>
        <p:nvGrpSpPr>
          <p:cNvPr id="244" name="Group 243">
            <a:extLst>
              <a:ext uri="{FF2B5EF4-FFF2-40B4-BE49-F238E27FC236}">
                <a16:creationId xmlns:a16="http://schemas.microsoft.com/office/drawing/2014/main" id="{DA44CC00-94CE-0A48-BBAF-82271E31E8FB}"/>
              </a:ext>
            </a:extLst>
          </p:cNvPr>
          <p:cNvGrpSpPr/>
          <p:nvPr/>
        </p:nvGrpSpPr>
        <p:grpSpPr>
          <a:xfrm>
            <a:off x="392400" y="1568934"/>
            <a:ext cx="9045743" cy="4650069"/>
            <a:chOff x="826461" y="1432635"/>
            <a:chExt cx="8097110" cy="4650069"/>
          </a:xfrm>
          <a:solidFill>
            <a:schemeClr val="accent3">
              <a:lumMod val="20000"/>
              <a:lumOff val="80000"/>
            </a:schemeClr>
          </a:solidFill>
        </p:grpSpPr>
        <p:sp>
          <p:nvSpPr>
            <p:cNvPr id="245" name="Freeform 79">
              <a:extLst>
                <a:ext uri="{FF2B5EF4-FFF2-40B4-BE49-F238E27FC236}">
                  <a16:creationId xmlns:a16="http://schemas.microsoft.com/office/drawing/2014/main" id="{21CBDE1B-91E3-254B-8712-7D5B40024692}"/>
                </a:ext>
              </a:extLst>
            </p:cNvPr>
            <p:cNvSpPr>
              <a:spLocks noChangeAspect="1"/>
            </p:cNvSpPr>
            <p:nvPr/>
          </p:nvSpPr>
          <p:spPr bwMode="gray">
            <a:xfrm>
              <a:off x="5304470" y="4158987"/>
              <a:ext cx="118016" cy="145839"/>
            </a:xfrm>
            <a:custGeom>
              <a:avLst/>
              <a:gdLst>
                <a:gd name="T0" fmla="*/ 37 w 244"/>
                <a:gd name="T1" fmla="*/ 130 h 249"/>
                <a:gd name="T2" fmla="*/ 37 w 244"/>
                <a:gd name="T3" fmla="*/ 137 h 249"/>
                <a:gd name="T4" fmla="*/ 42 w 244"/>
                <a:gd name="T5" fmla="*/ 139 h 249"/>
                <a:gd name="T6" fmla="*/ 59 w 244"/>
                <a:gd name="T7" fmla="*/ 119 h 249"/>
                <a:gd name="T8" fmla="*/ 72 w 244"/>
                <a:gd name="T9" fmla="*/ 110 h 249"/>
                <a:gd name="T10" fmla="*/ 77 w 244"/>
                <a:gd name="T11" fmla="*/ 102 h 249"/>
                <a:gd name="T12" fmla="*/ 76 w 244"/>
                <a:gd name="T13" fmla="*/ 86 h 249"/>
                <a:gd name="T14" fmla="*/ 72 w 244"/>
                <a:gd name="T15" fmla="*/ 86 h 249"/>
                <a:gd name="T16" fmla="*/ 55 w 244"/>
                <a:gd name="T17" fmla="*/ 76 h 249"/>
                <a:gd name="T18" fmla="*/ 51 w 244"/>
                <a:gd name="T19" fmla="*/ 64 h 249"/>
                <a:gd name="T20" fmla="*/ 55 w 244"/>
                <a:gd name="T21" fmla="*/ 20 h 249"/>
                <a:gd name="T22" fmla="*/ 60 w 244"/>
                <a:gd name="T23" fmla="*/ 17 h 249"/>
                <a:gd name="T24" fmla="*/ 102 w 244"/>
                <a:gd name="T25" fmla="*/ 15 h 249"/>
                <a:gd name="T26" fmla="*/ 106 w 244"/>
                <a:gd name="T27" fmla="*/ 21 h 249"/>
                <a:gd name="T28" fmla="*/ 142 w 244"/>
                <a:gd name="T29" fmla="*/ 13 h 249"/>
                <a:gd name="T30" fmla="*/ 173 w 244"/>
                <a:gd name="T31" fmla="*/ 13 h 249"/>
                <a:gd name="T32" fmla="*/ 194 w 244"/>
                <a:gd name="T33" fmla="*/ 0 h 249"/>
                <a:gd name="T34" fmla="*/ 211 w 244"/>
                <a:gd name="T35" fmla="*/ 6 h 249"/>
                <a:gd name="T36" fmla="*/ 219 w 244"/>
                <a:gd name="T37" fmla="*/ 43 h 249"/>
                <a:gd name="T38" fmla="*/ 240 w 244"/>
                <a:gd name="T39" fmla="*/ 60 h 249"/>
                <a:gd name="T40" fmla="*/ 244 w 244"/>
                <a:gd name="T41" fmla="*/ 89 h 249"/>
                <a:gd name="T42" fmla="*/ 240 w 244"/>
                <a:gd name="T43" fmla="*/ 119 h 249"/>
                <a:gd name="T44" fmla="*/ 196 w 244"/>
                <a:gd name="T45" fmla="*/ 178 h 249"/>
                <a:gd name="T46" fmla="*/ 194 w 244"/>
                <a:gd name="T47" fmla="*/ 178 h 249"/>
                <a:gd name="T48" fmla="*/ 185 w 244"/>
                <a:gd name="T49" fmla="*/ 176 h 249"/>
                <a:gd name="T50" fmla="*/ 179 w 244"/>
                <a:gd name="T51" fmla="*/ 179 h 249"/>
                <a:gd name="T52" fmla="*/ 168 w 244"/>
                <a:gd name="T53" fmla="*/ 174 h 249"/>
                <a:gd name="T54" fmla="*/ 164 w 244"/>
                <a:gd name="T55" fmla="*/ 171 h 249"/>
                <a:gd name="T56" fmla="*/ 151 w 244"/>
                <a:gd name="T57" fmla="*/ 184 h 249"/>
                <a:gd name="T58" fmla="*/ 145 w 244"/>
                <a:gd name="T59" fmla="*/ 181 h 249"/>
                <a:gd name="T60" fmla="*/ 137 w 244"/>
                <a:gd name="T61" fmla="*/ 181 h 249"/>
                <a:gd name="T62" fmla="*/ 133 w 244"/>
                <a:gd name="T63" fmla="*/ 178 h 249"/>
                <a:gd name="T64" fmla="*/ 131 w 244"/>
                <a:gd name="T65" fmla="*/ 182 h 249"/>
                <a:gd name="T66" fmla="*/ 127 w 244"/>
                <a:gd name="T67" fmla="*/ 184 h 249"/>
                <a:gd name="T68" fmla="*/ 122 w 244"/>
                <a:gd name="T69" fmla="*/ 182 h 249"/>
                <a:gd name="T70" fmla="*/ 119 w 244"/>
                <a:gd name="T71" fmla="*/ 190 h 249"/>
                <a:gd name="T72" fmla="*/ 110 w 244"/>
                <a:gd name="T73" fmla="*/ 193 h 249"/>
                <a:gd name="T74" fmla="*/ 102 w 244"/>
                <a:gd name="T75" fmla="*/ 195 h 249"/>
                <a:gd name="T76" fmla="*/ 100 w 244"/>
                <a:gd name="T77" fmla="*/ 198 h 249"/>
                <a:gd name="T78" fmla="*/ 102 w 244"/>
                <a:gd name="T79" fmla="*/ 203 h 249"/>
                <a:gd name="T80" fmla="*/ 91 w 244"/>
                <a:gd name="T81" fmla="*/ 227 h 249"/>
                <a:gd name="T82" fmla="*/ 96 w 244"/>
                <a:gd name="T83" fmla="*/ 232 h 249"/>
                <a:gd name="T84" fmla="*/ 34 w 244"/>
                <a:gd name="T85" fmla="*/ 233 h 249"/>
                <a:gd name="T86" fmla="*/ 23 w 244"/>
                <a:gd name="T87" fmla="*/ 237 h 249"/>
                <a:gd name="T88" fmla="*/ 15 w 244"/>
                <a:gd name="T89" fmla="*/ 249 h 249"/>
                <a:gd name="T90" fmla="*/ 0 w 244"/>
                <a:gd name="T91" fmla="*/ 246 h 249"/>
                <a:gd name="T92" fmla="*/ 1 w 244"/>
                <a:gd name="T93" fmla="*/ 204 h 249"/>
                <a:gd name="T94" fmla="*/ 1 w 244"/>
                <a:gd name="T95" fmla="*/ 193 h 249"/>
                <a:gd name="T96" fmla="*/ 8 w 244"/>
                <a:gd name="T97" fmla="*/ 167 h 249"/>
                <a:gd name="T98" fmla="*/ 37 w 244"/>
                <a:gd name="T99" fmla="*/ 13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4" h="249">
                  <a:moveTo>
                    <a:pt x="37" y="130"/>
                  </a:moveTo>
                  <a:lnTo>
                    <a:pt x="37" y="137"/>
                  </a:lnTo>
                  <a:lnTo>
                    <a:pt x="42" y="139"/>
                  </a:lnTo>
                  <a:lnTo>
                    <a:pt x="59" y="119"/>
                  </a:lnTo>
                  <a:lnTo>
                    <a:pt x="72" y="110"/>
                  </a:lnTo>
                  <a:lnTo>
                    <a:pt x="77" y="102"/>
                  </a:lnTo>
                  <a:lnTo>
                    <a:pt x="76" y="86"/>
                  </a:lnTo>
                  <a:lnTo>
                    <a:pt x="72" y="86"/>
                  </a:lnTo>
                  <a:lnTo>
                    <a:pt x="55" y="76"/>
                  </a:lnTo>
                  <a:lnTo>
                    <a:pt x="51" y="64"/>
                  </a:lnTo>
                  <a:lnTo>
                    <a:pt x="55" y="20"/>
                  </a:lnTo>
                  <a:lnTo>
                    <a:pt x="60" y="17"/>
                  </a:lnTo>
                  <a:lnTo>
                    <a:pt x="102" y="15"/>
                  </a:lnTo>
                  <a:lnTo>
                    <a:pt x="106" y="21"/>
                  </a:lnTo>
                  <a:lnTo>
                    <a:pt x="142" y="13"/>
                  </a:lnTo>
                  <a:lnTo>
                    <a:pt x="173" y="13"/>
                  </a:lnTo>
                  <a:lnTo>
                    <a:pt x="194" y="0"/>
                  </a:lnTo>
                  <a:lnTo>
                    <a:pt x="211" y="6"/>
                  </a:lnTo>
                  <a:lnTo>
                    <a:pt x="219" y="43"/>
                  </a:lnTo>
                  <a:lnTo>
                    <a:pt x="240" y="60"/>
                  </a:lnTo>
                  <a:lnTo>
                    <a:pt x="244" y="89"/>
                  </a:lnTo>
                  <a:lnTo>
                    <a:pt x="240" y="119"/>
                  </a:lnTo>
                  <a:lnTo>
                    <a:pt x="196" y="178"/>
                  </a:lnTo>
                  <a:lnTo>
                    <a:pt x="194" y="178"/>
                  </a:lnTo>
                  <a:lnTo>
                    <a:pt x="185" y="176"/>
                  </a:lnTo>
                  <a:lnTo>
                    <a:pt x="179" y="179"/>
                  </a:lnTo>
                  <a:lnTo>
                    <a:pt x="168" y="174"/>
                  </a:lnTo>
                  <a:lnTo>
                    <a:pt x="164" y="171"/>
                  </a:lnTo>
                  <a:lnTo>
                    <a:pt x="151" y="184"/>
                  </a:lnTo>
                  <a:lnTo>
                    <a:pt x="145" y="181"/>
                  </a:lnTo>
                  <a:lnTo>
                    <a:pt x="137" y="181"/>
                  </a:lnTo>
                  <a:lnTo>
                    <a:pt x="133" y="178"/>
                  </a:lnTo>
                  <a:lnTo>
                    <a:pt x="131" y="182"/>
                  </a:lnTo>
                  <a:lnTo>
                    <a:pt x="127" y="184"/>
                  </a:lnTo>
                  <a:lnTo>
                    <a:pt x="122" y="182"/>
                  </a:lnTo>
                  <a:lnTo>
                    <a:pt x="119" y="190"/>
                  </a:lnTo>
                  <a:lnTo>
                    <a:pt x="110" y="193"/>
                  </a:lnTo>
                  <a:lnTo>
                    <a:pt x="102" y="195"/>
                  </a:lnTo>
                  <a:lnTo>
                    <a:pt x="100" y="198"/>
                  </a:lnTo>
                  <a:lnTo>
                    <a:pt x="102" y="203"/>
                  </a:lnTo>
                  <a:lnTo>
                    <a:pt x="91" y="227"/>
                  </a:lnTo>
                  <a:lnTo>
                    <a:pt x="96" y="232"/>
                  </a:lnTo>
                  <a:lnTo>
                    <a:pt x="34" y="233"/>
                  </a:lnTo>
                  <a:lnTo>
                    <a:pt x="23" y="237"/>
                  </a:lnTo>
                  <a:lnTo>
                    <a:pt x="15" y="249"/>
                  </a:lnTo>
                  <a:lnTo>
                    <a:pt x="0" y="246"/>
                  </a:lnTo>
                  <a:lnTo>
                    <a:pt x="1" y="204"/>
                  </a:lnTo>
                  <a:lnTo>
                    <a:pt x="1" y="193"/>
                  </a:lnTo>
                  <a:lnTo>
                    <a:pt x="8" y="167"/>
                  </a:lnTo>
                  <a:lnTo>
                    <a:pt x="37" y="13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46" name="Freeform 120">
              <a:extLst>
                <a:ext uri="{FF2B5EF4-FFF2-40B4-BE49-F238E27FC236}">
                  <a16:creationId xmlns:a16="http://schemas.microsoft.com/office/drawing/2014/main" id="{4646369C-5466-1C43-B7D2-4EDB255B6A2C}"/>
                </a:ext>
              </a:extLst>
            </p:cNvPr>
            <p:cNvSpPr>
              <a:spLocks noChangeAspect="1" noEditPoints="1"/>
            </p:cNvSpPr>
            <p:nvPr/>
          </p:nvSpPr>
          <p:spPr bwMode="gray">
            <a:xfrm>
              <a:off x="5301280" y="4295232"/>
              <a:ext cx="242412" cy="291680"/>
            </a:xfrm>
            <a:custGeom>
              <a:avLst/>
              <a:gdLst>
                <a:gd name="T0" fmla="*/ 42 w 498"/>
                <a:gd name="T1" fmla="*/ 294 h 495"/>
                <a:gd name="T2" fmla="*/ 27 w 498"/>
                <a:gd name="T3" fmla="*/ 258 h 495"/>
                <a:gd name="T4" fmla="*/ 5 w 498"/>
                <a:gd name="T5" fmla="*/ 237 h 495"/>
                <a:gd name="T6" fmla="*/ 8 w 498"/>
                <a:gd name="T7" fmla="*/ 193 h 495"/>
                <a:gd name="T8" fmla="*/ 0 w 498"/>
                <a:gd name="T9" fmla="*/ 156 h 495"/>
                <a:gd name="T10" fmla="*/ 55 w 498"/>
                <a:gd name="T11" fmla="*/ 99 h 495"/>
                <a:gd name="T12" fmla="*/ 41 w 498"/>
                <a:gd name="T13" fmla="*/ 79 h 495"/>
                <a:gd name="T14" fmla="*/ 58 w 498"/>
                <a:gd name="T15" fmla="*/ 43 h 495"/>
                <a:gd name="T16" fmla="*/ 100 w 498"/>
                <a:gd name="T17" fmla="*/ 0 h 495"/>
                <a:gd name="T18" fmla="*/ 100 w 498"/>
                <a:gd name="T19" fmla="*/ 20 h 495"/>
                <a:gd name="T20" fmla="*/ 95 w 498"/>
                <a:gd name="T21" fmla="*/ 49 h 495"/>
                <a:gd name="T22" fmla="*/ 98 w 498"/>
                <a:gd name="T23" fmla="*/ 74 h 495"/>
                <a:gd name="T24" fmla="*/ 109 w 498"/>
                <a:gd name="T25" fmla="*/ 77 h 495"/>
                <a:gd name="T26" fmla="*/ 117 w 498"/>
                <a:gd name="T27" fmla="*/ 71 h 495"/>
                <a:gd name="T28" fmla="*/ 120 w 498"/>
                <a:gd name="T29" fmla="*/ 59 h 495"/>
                <a:gd name="T30" fmla="*/ 132 w 498"/>
                <a:gd name="T31" fmla="*/ 71 h 495"/>
                <a:gd name="T32" fmla="*/ 143 w 498"/>
                <a:gd name="T33" fmla="*/ 71 h 495"/>
                <a:gd name="T34" fmla="*/ 149 w 498"/>
                <a:gd name="T35" fmla="*/ 88 h 495"/>
                <a:gd name="T36" fmla="*/ 154 w 498"/>
                <a:gd name="T37" fmla="*/ 77 h 495"/>
                <a:gd name="T38" fmla="*/ 160 w 498"/>
                <a:gd name="T39" fmla="*/ 69 h 495"/>
                <a:gd name="T40" fmla="*/ 172 w 498"/>
                <a:gd name="T41" fmla="*/ 68 h 495"/>
                <a:gd name="T42" fmla="*/ 189 w 498"/>
                <a:gd name="T43" fmla="*/ 59 h 495"/>
                <a:gd name="T44" fmla="*/ 188 w 498"/>
                <a:gd name="T45" fmla="*/ 52 h 495"/>
                <a:gd name="T46" fmla="*/ 169 w 498"/>
                <a:gd name="T47" fmla="*/ 51 h 495"/>
                <a:gd name="T48" fmla="*/ 178 w 498"/>
                <a:gd name="T49" fmla="*/ 42 h 495"/>
                <a:gd name="T50" fmla="*/ 178 w 498"/>
                <a:gd name="T51" fmla="*/ 37 h 495"/>
                <a:gd name="T52" fmla="*/ 185 w 498"/>
                <a:gd name="T53" fmla="*/ 34 h 495"/>
                <a:gd name="T54" fmla="*/ 189 w 498"/>
                <a:gd name="T55" fmla="*/ 23 h 495"/>
                <a:gd name="T56" fmla="*/ 197 w 498"/>
                <a:gd name="T57" fmla="*/ 15 h 495"/>
                <a:gd name="T58" fmla="*/ 202 w 498"/>
                <a:gd name="T59" fmla="*/ 14 h 495"/>
                <a:gd name="T60" fmla="*/ 202 w 498"/>
                <a:gd name="T61" fmla="*/ 3 h 495"/>
                <a:gd name="T62" fmla="*/ 373 w 498"/>
                <a:gd name="T63" fmla="*/ 93 h 495"/>
                <a:gd name="T64" fmla="*/ 447 w 498"/>
                <a:gd name="T65" fmla="*/ 167 h 495"/>
                <a:gd name="T66" fmla="*/ 426 w 498"/>
                <a:gd name="T67" fmla="*/ 243 h 495"/>
                <a:gd name="T68" fmla="*/ 449 w 498"/>
                <a:gd name="T69" fmla="*/ 308 h 495"/>
                <a:gd name="T70" fmla="*/ 452 w 498"/>
                <a:gd name="T71" fmla="*/ 330 h 495"/>
                <a:gd name="T72" fmla="*/ 446 w 498"/>
                <a:gd name="T73" fmla="*/ 337 h 495"/>
                <a:gd name="T74" fmla="*/ 452 w 498"/>
                <a:gd name="T75" fmla="*/ 363 h 495"/>
                <a:gd name="T76" fmla="*/ 472 w 498"/>
                <a:gd name="T77" fmla="*/ 416 h 495"/>
                <a:gd name="T78" fmla="*/ 497 w 498"/>
                <a:gd name="T79" fmla="*/ 441 h 495"/>
                <a:gd name="T80" fmla="*/ 429 w 498"/>
                <a:gd name="T81" fmla="*/ 477 h 495"/>
                <a:gd name="T82" fmla="*/ 401 w 498"/>
                <a:gd name="T83" fmla="*/ 472 h 495"/>
                <a:gd name="T84" fmla="*/ 367 w 498"/>
                <a:gd name="T85" fmla="*/ 487 h 495"/>
                <a:gd name="T86" fmla="*/ 312 w 498"/>
                <a:gd name="T87" fmla="*/ 495 h 495"/>
                <a:gd name="T88" fmla="*/ 279 w 498"/>
                <a:gd name="T89" fmla="*/ 489 h 495"/>
                <a:gd name="T90" fmla="*/ 232 w 498"/>
                <a:gd name="T91" fmla="*/ 469 h 495"/>
                <a:gd name="T92" fmla="*/ 211 w 498"/>
                <a:gd name="T93" fmla="*/ 397 h 495"/>
                <a:gd name="T94" fmla="*/ 198 w 498"/>
                <a:gd name="T95" fmla="*/ 399 h 495"/>
                <a:gd name="T96" fmla="*/ 177 w 498"/>
                <a:gd name="T97" fmla="*/ 397 h 495"/>
                <a:gd name="T98" fmla="*/ 98 w 498"/>
                <a:gd name="T99" fmla="*/ 367 h 495"/>
                <a:gd name="T100" fmla="*/ 68 w 498"/>
                <a:gd name="T101" fmla="*/ 348 h 495"/>
                <a:gd name="T102" fmla="*/ 469 w 498"/>
                <a:gd name="T103" fmla="*/ 204 h 495"/>
                <a:gd name="T104" fmla="*/ 466 w 498"/>
                <a:gd name="T105" fmla="*/ 179 h 495"/>
                <a:gd name="T106" fmla="*/ 472 w 498"/>
                <a:gd name="T107" fmla="*/ 189 h 495"/>
                <a:gd name="T108" fmla="*/ 459 w 498"/>
                <a:gd name="T109" fmla="*/ 250 h 495"/>
                <a:gd name="T110" fmla="*/ 447 w 498"/>
                <a:gd name="T111" fmla="*/ 22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8" h="495">
                  <a:moveTo>
                    <a:pt x="68" y="348"/>
                  </a:moveTo>
                  <a:lnTo>
                    <a:pt x="42" y="294"/>
                  </a:lnTo>
                  <a:lnTo>
                    <a:pt x="42" y="275"/>
                  </a:lnTo>
                  <a:lnTo>
                    <a:pt x="27" y="258"/>
                  </a:lnTo>
                  <a:lnTo>
                    <a:pt x="8" y="249"/>
                  </a:lnTo>
                  <a:lnTo>
                    <a:pt x="5" y="237"/>
                  </a:lnTo>
                  <a:lnTo>
                    <a:pt x="13" y="227"/>
                  </a:lnTo>
                  <a:lnTo>
                    <a:pt x="8" y="193"/>
                  </a:lnTo>
                  <a:lnTo>
                    <a:pt x="2" y="186"/>
                  </a:lnTo>
                  <a:lnTo>
                    <a:pt x="0" y="156"/>
                  </a:lnTo>
                  <a:lnTo>
                    <a:pt x="24" y="148"/>
                  </a:lnTo>
                  <a:lnTo>
                    <a:pt x="55" y="99"/>
                  </a:lnTo>
                  <a:lnTo>
                    <a:pt x="53" y="88"/>
                  </a:lnTo>
                  <a:lnTo>
                    <a:pt x="41" y="79"/>
                  </a:lnTo>
                  <a:lnTo>
                    <a:pt x="46" y="63"/>
                  </a:lnTo>
                  <a:lnTo>
                    <a:pt x="58" y="43"/>
                  </a:lnTo>
                  <a:lnTo>
                    <a:pt x="38" y="1"/>
                  </a:lnTo>
                  <a:lnTo>
                    <a:pt x="100" y="0"/>
                  </a:lnTo>
                  <a:lnTo>
                    <a:pt x="100" y="3"/>
                  </a:lnTo>
                  <a:lnTo>
                    <a:pt x="100" y="20"/>
                  </a:lnTo>
                  <a:lnTo>
                    <a:pt x="97" y="32"/>
                  </a:lnTo>
                  <a:lnTo>
                    <a:pt x="95" y="49"/>
                  </a:lnTo>
                  <a:lnTo>
                    <a:pt x="98" y="68"/>
                  </a:lnTo>
                  <a:lnTo>
                    <a:pt x="98" y="74"/>
                  </a:lnTo>
                  <a:lnTo>
                    <a:pt x="104" y="80"/>
                  </a:lnTo>
                  <a:lnTo>
                    <a:pt x="109" y="77"/>
                  </a:lnTo>
                  <a:lnTo>
                    <a:pt x="112" y="72"/>
                  </a:lnTo>
                  <a:lnTo>
                    <a:pt x="117" y="71"/>
                  </a:lnTo>
                  <a:lnTo>
                    <a:pt x="115" y="63"/>
                  </a:lnTo>
                  <a:lnTo>
                    <a:pt x="120" y="59"/>
                  </a:lnTo>
                  <a:lnTo>
                    <a:pt x="124" y="60"/>
                  </a:lnTo>
                  <a:lnTo>
                    <a:pt x="132" y="71"/>
                  </a:lnTo>
                  <a:lnTo>
                    <a:pt x="137" y="74"/>
                  </a:lnTo>
                  <a:lnTo>
                    <a:pt x="143" y="71"/>
                  </a:lnTo>
                  <a:lnTo>
                    <a:pt x="146" y="71"/>
                  </a:lnTo>
                  <a:lnTo>
                    <a:pt x="149" y="88"/>
                  </a:lnTo>
                  <a:lnTo>
                    <a:pt x="154" y="85"/>
                  </a:lnTo>
                  <a:lnTo>
                    <a:pt x="154" y="77"/>
                  </a:lnTo>
                  <a:lnTo>
                    <a:pt x="155" y="69"/>
                  </a:lnTo>
                  <a:lnTo>
                    <a:pt x="160" y="69"/>
                  </a:lnTo>
                  <a:lnTo>
                    <a:pt x="169" y="69"/>
                  </a:lnTo>
                  <a:lnTo>
                    <a:pt x="172" y="68"/>
                  </a:lnTo>
                  <a:lnTo>
                    <a:pt x="181" y="66"/>
                  </a:lnTo>
                  <a:lnTo>
                    <a:pt x="189" y="59"/>
                  </a:lnTo>
                  <a:lnTo>
                    <a:pt x="189" y="55"/>
                  </a:lnTo>
                  <a:lnTo>
                    <a:pt x="188" y="52"/>
                  </a:lnTo>
                  <a:lnTo>
                    <a:pt x="177" y="54"/>
                  </a:lnTo>
                  <a:lnTo>
                    <a:pt x="169" y="51"/>
                  </a:lnTo>
                  <a:lnTo>
                    <a:pt x="169" y="48"/>
                  </a:lnTo>
                  <a:lnTo>
                    <a:pt x="178" y="42"/>
                  </a:lnTo>
                  <a:lnTo>
                    <a:pt x="177" y="40"/>
                  </a:lnTo>
                  <a:lnTo>
                    <a:pt x="178" y="37"/>
                  </a:lnTo>
                  <a:lnTo>
                    <a:pt x="185" y="37"/>
                  </a:lnTo>
                  <a:lnTo>
                    <a:pt x="185" y="34"/>
                  </a:lnTo>
                  <a:lnTo>
                    <a:pt x="189" y="29"/>
                  </a:lnTo>
                  <a:lnTo>
                    <a:pt x="189" y="23"/>
                  </a:lnTo>
                  <a:lnTo>
                    <a:pt x="195" y="23"/>
                  </a:lnTo>
                  <a:lnTo>
                    <a:pt x="197" y="15"/>
                  </a:lnTo>
                  <a:lnTo>
                    <a:pt x="202" y="17"/>
                  </a:lnTo>
                  <a:lnTo>
                    <a:pt x="202" y="14"/>
                  </a:lnTo>
                  <a:lnTo>
                    <a:pt x="200" y="8"/>
                  </a:lnTo>
                  <a:lnTo>
                    <a:pt x="202" y="3"/>
                  </a:lnTo>
                  <a:lnTo>
                    <a:pt x="211" y="0"/>
                  </a:lnTo>
                  <a:lnTo>
                    <a:pt x="373" y="93"/>
                  </a:lnTo>
                  <a:lnTo>
                    <a:pt x="383" y="128"/>
                  </a:lnTo>
                  <a:lnTo>
                    <a:pt x="447" y="167"/>
                  </a:lnTo>
                  <a:lnTo>
                    <a:pt x="426" y="235"/>
                  </a:lnTo>
                  <a:lnTo>
                    <a:pt x="426" y="243"/>
                  </a:lnTo>
                  <a:lnTo>
                    <a:pt x="457" y="281"/>
                  </a:lnTo>
                  <a:lnTo>
                    <a:pt x="449" y="308"/>
                  </a:lnTo>
                  <a:lnTo>
                    <a:pt x="452" y="318"/>
                  </a:lnTo>
                  <a:lnTo>
                    <a:pt x="452" y="330"/>
                  </a:lnTo>
                  <a:lnTo>
                    <a:pt x="447" y="330"/>
                  </a:lnTo>
                  <a:lnTo>
                    <a:pt x="446" y="337"/>
                  </a:lnTo>
                  <a:lnTo>
                    <a:pt x="455" y="359"/>
                  </a:lnTo>
                  <a:lnTo>
                    <a:pt x="452" y="363"/>
                  </a:lnTo>
                  <a:lnTo>
                    <a:pt x="464" y="380"/>
                  </a:lnTo>
                  <a:lnTo>
                    <a:pt x="472" y="416"/>
                  </a:lnTo>
                  <a:lnTo>
                    <a:pt x="498" y="433"/>
                  </a:lnTo>
                  <a:lnTo>
                    <a:pt x="497" y="441"/>
                  </a:lnTo>
                  <a:lnTo>
                    <a:pt x="476" y="461"/>
                  </a:lnTo>
                  <a:lnTo>
                    <a:pt x="429" y="477"/>
                  </a:lnTo>
                  <a:lnTo>
                    <a:pt x="414" y="479"/>
                  </a:lnTo>
                  <a:lnTo>
                    <a:pt x="401" y="472"/>
                  </a:lnTo>
                  <a:lnTo>
                    <a:pt x="381" y="475"/>
                  </a:lnTo>
                  <a:lnTo>
                    <a:pt x="367" y="487"/>
                  </a:lnTo>
                  <a:lnTo>
                    <a:pt x="335" y="487"/>
                  </a:lnTo>
                  <a:lnTo>
                    <a:pt x="312" y="495"/>
                  </a:lnTo>
                  <a:lnTo>
                    <a:pt x="293" y="484"/>
                  </a:lnTo>
                  <a:lnTo>
                    <a:pt x="279" y="489"/>
                  </a:lnTo>
                  <a:lnTo>
                    <a:pt x="244" y="487"/>
                  </a:lnTo>
                  <a:lnTo>
                    <a:pt x="232" y="469"/>
                  </a:lnTo>
                  <a:lnTo>
                    <a:pt x="223" y="414"/>
                  </a:lnTo>
                  <a:lnTo>
                    <a:pt x="211" y="397"/>
                  </a:lnTo>
                  <a:lnTo>
                    <a:pt x="200" y="396"/>
                  </a:lnTo>
                  <a:lnTo>
                    <a:pt x="198" y="399"/>
                  </a:lnTo>
                  <a:lnTo>
                    <a:pt x="189" y="394"/>
                  </a:lnTo>
                  <a:lnTo>
                    <a:pt x="177" y="397"/>
                  </a:lnTo>
                  <a:lnTo>
                    <a:pt x="154" y="387"/>
                  </a:lnTo>
                  <a:lnTo>
                    <a:pt x="98" y="367"/>
                  </a:lnTo>
                  <a:lnTo>
                    <a:pt x="80" y="350"/>
                  </a:lnTo>
                  <a:lnTo>
                    <a:pt x="68" y="348"/>
                  </a:lnTo>
                  <a:close/>
                  <a:moveTo>
                    <a:pt x="472" y="189"/>
                  </a:moveTo>
                  <a:lnTo>
                    <a:pt x="469" y="204"/>
                  </a:lnTo>
                  <a:lnTo>
                    <a:pt x="466" y="199"/>
                  </a:lnTo>
                  <a:lnTo>
                    <a:pt x="466" y="179"/>
                  </a:lnTo>
                  <a:lnTo>
                    <a:pt x="471" y="179"/>
                  </a:lnTo>
                  <a:lnTo>
                    <a:pt x="472" y="189"/>
                  </a:lnTo>
                  <a:close/>
                  <a:moveTo>
                    <a:pt x="447" y="220"/>
                  </a:moveTo>
                  <a:lnTo>
                    <a:pt x="459" y="250"/>
                  </a:lnTo>
                  <a:lnTo>
                    <a:pt x="447" y="241"/>
                  </a:lnTo>
                  <a:lnTo>
                    <a:pt x="447" y="22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47" name="Freeform 53">
              <a:extLst>
                <a:ext uri="{FF2B5EF4-FFF2-40B4-BE49-F238E27FC236}">
                  <a16:creationId xmlns:a16="http://schemas.microsoft.com/office/drawing/2014/main" id="{FC818A82-E009-1D4C-B8AB-48EF52C2349C}"/>
                </a:ext>
              </a:extLst>
            </p:cNvPr>
            <p:cNvSpPr>
              <a:spLocks noChangeAspect="1" noEditPoints="1"/>
            </p:cNvSpPr>
            <p:nvPr/>
          </p:nvSpPr>
          <p:spPr bwMode="gray">
            <a:xfrm>
              <a:off x="6165494" y="3225150"/>
              <a:ext cx="660855" cy="819786"/>
            </a:xfrm>
            <a:custGeom>
              <a:avLst/>
              <a:gdLst>
                <a:gd name="T0" fmla="*/ 74 w 1353"/>
                <a:gd name="T1" fmla="*/ 695 h 1397"/>
                <a:gd name="T2" fmla="*/ 81 w 1353"/>
                <a:gd name="T3" fmla="*/ 715 h 1397"/>
                <a:gd name="T4" fmla="*/ 105 w 1353"/>
                <a:gd name="T5" fmla="*/ 794 h 1397"/>
                <a:gd name="T6" fmla="*/ 193 w 1353"/>
                <a:gd name="T7" fmla="*/ 721 h 1397"/>
                <a:gd name="T8" fmla="*/ 201 w 1353"/>
                <a:gd name="T9" fmla="*/ 751 h 1397"/>
                <a:gd name="T10" fmla="*/ 208 w 1353"/>
                <a:gd name="T11" fmla="*/ 848 h 1397"/>
                <a:gd name="T12" fmla="*/ 232 w 1353"/>
                <a:gd name="T13" fmla="*/ 964 h 1397"/>
                <a:gd name="T14" fmla="*/ 266 w 1353"/>
                <a:gd name="T15" fmla="*/ 1060 h 1397"/>
                <a:gd name="T16" fmla="*/ 352 w 1353"/>
                <a:gd name="T17" fmla="*/ 1240 h 1397"/>
                <a:gd name="T18" fmla="*/ 467 w 1353"/>
                <a:gd name="T19" fmla="*/ 1354 h 1397"/>
                <a:gd name="T20" fmla="*/ 539 w 1353"/>
                <a:gd name="T21" fmla="*/ 1233 h 1397"/>
                <a:gd name="T22" fmla="*/ 552 w 1353"/>
                <a:gd name="T23" fmla="*/ 1114 h 1397"/>
                <a:gd name="T24" fmla="*/ 588 w 1353"/>
                <a:gd name="T25" fmla="*/ 1040 h 1397"/>
                <a:gd name="T26" fmla="*/ 648 w 1353"/>
                <a:gd name="T27" fmla="*/ 1005 h 1397"/>
                <a:gd name="T28" fmla="*/ 840 w 1353"/>
                <a:gd name="T29" fmla="*/ 839 h 1397"/>
                <a:gd name="T30" fmla="*/ 922 w 1353"/>
                <a:gd name="T31" fmla="*/ 730 h 1397"/>
                <a:gd name="T32" fmla="*/ 953 w 1353"/>
                <a:gd name="T33" fmla="*/ 757 h 1397"/>
                <a:gd name="T34" fmla="*/ 939 w 1353"/>
                <a:gd name="T35" fmla="*/ 655 h 1397"/>
                <a:gd name="T36" fmla="*/ 931 w 1353"/>
                <a:gd name="T37" fmla="*/ 574 h 1397"/>
                <a:gd name="T38" fmla="*/ 939 w 1353"/>
                <a:gd name="T39" fmla="*/ 511 h 1397"/>
                <a:gd name="T40" fmla="*/ 973 w 1353"/>
                <a:gd name="T41" fmla="*/ 532 h 1397"/>
                <a:gd name="T42" fmla="*/ 1083 w 1353"/>
                <a:gd name="T43" fmla="*/ 573 h 1397"/>
                <a:gd name="T44" fmla="*/ 1066 w 1353"/>
                <a:gd name="T45" fmla="*/ 672 h 1397"/>
                <a:gd name="T46" fmla="*/ 1109 w 1353"/>
                <a:gd name="T47" fmla="*/ 649 h 1397"/>
                <a:gd name="T48" fmla="*/ 1151 w 1353"/>
                <a:gd name="T49" fmla="*/ 693 h 1397"/>
                <a:gd name="T50" fmla="*/ 1205 w 1353"/>
                <a:gd name="T51" fmla="*/ 641 h 1397"/>
                <a:gd name="T52" fmla="*/ 1255 w 1353"/>
                <a:gd name="T53" fmla="*/ 512 h 1397"/>
                <a:gd name="T54" fmla="*/ 1338 w 1353"/>
                <a:gd name="T55" fmla="*/ 447 h 1397"/>
                <a:gd name="T56" fmla="*/ 1306 w 1353"/>
                <a:gd name="T57" fmla="*/ 409 h 1397"/>
                <a:gd name="T58" fmla="*/ 1255 w 1353"/>
                <a:gd name="T59" fmla="*/ 372 h 1397"/>
                <a:gd name="T60" fmla="*/ 1111 w 1353"/>
                <a:gd name="T61" fmla="*/ 468 h 1397"/>
                <a:gd name="T62" fmla="*/ 955 w 1353"/>
                <a:gd name="T63" fmla="*/ 478 h 1397"/>
                <a:gd name="T64" fmla="*/ 924 w 1353"/>
                <a:gd name="T65" fmla="*/ 441 h 1397"/>
                <a:gd name="T66" fmla="*/ 919 w 1353"/>
                <a:gd name="T67" fmla="*/ 515 h 1397"/>
                <a:gd name="T68" fmla="*/ 667 w 1353"/>
                <a:gd name="T69" fmla="*/ 454 h 1397"/>
                <a:gd name="T70" fmla="*/ 563 w 1353"/>
                <a:gd name="T71" fmla="*/ 395 h 1397"/>
                <a:gd name="T72" fmla="*/ 589 w 1353"/>
                <a:gd name="T73" fmla="*/ 317 h 1397"/>
                <a:gd name="T74" fmla="*/ 528 w 1353"/>
                <a:gd name="T75" fmla="*/ 274 h 1397"/>
                <a:gd name="T76" fmla="*/ 481 w 1353"/>
                <a:gd name="T77" fmla="*/ 209 h 1397"/>
                <a:gd name="T78" fmla="*/ 518 w 1353"/>
                <a:gd name="T79" fmla="*/ 190 h 1397"/>
                <a:gd name="T80" fmla="*/ 511 w 1353"/>
                <a:gd name="T81" fmla="*/ 156 h 1397"/>
                <a:gd name="T82" fmla="*/ 530 w 1353"/>
                <a:gd name="T83" fmla="*/ 107 h 1397"/>
                <a:gd name="T84" fmla="*/ 567 w 1353"/>
                <a:gd name="T85" fmla="*/ 28 h 1397"/>
                <a:gd name="T86" fmla="*/ 535 w 1353"/>
                <a:gd name="T87" fmla="*/ 17 h 1397"/>
                <a:gd name="T88" fmla="*/ 444 w 1353"/>
                <a:gd name="T89" fmla="*/ 31 h 1397"/>
                <a:gd name="T90" fmla="*/ 364 w 1353"/>
                <a:gd name="T91" fmla="*/ 73 h 1397"/>
                <a:gd name="T92" fmla="*/ 272 w 1353"/>
                <a:gd name="T93" fmla="*/ 96 h 1397"/>
                <a:gd name="T94" fmla="*/ 271 w 1353"/>
                <a:gd name="T95" fmla="*/ 153 h 1397"/>
                <a:gd name="T96" fmla="*/ 331 w 1353"/>
                <a:gd name="T97" fmla="*/ 198 h 1397"/>
                <a:gd name="T98" fmla="*/ 306 w 1353"/>
                <a:gd name="T99" fmla="*/ 254 h 1397"/>
                <a:gd name="T100" fmla="*/ 266 w 1353"/>
                <a:gd name="T101" fmla="*/ 314 h 1397"/>
                <a:gd name="T102" fmla="*/ 172 w 1353"/>
                <a:gd name="T103" fmla="*/ 438 h 1397"/>
                <a:gd name="T104" fmla="*/ 70 w 1353"/>
                <a:gd name="T105" fmla="*/ 503 h 1397"/>
                <a:gd name="T106" fmla="*/ 120 w 1353"/>
                <a:gd name="T107" fmla="*/ 571 h 1397"/>
                <a:gd name="T108" fmla="*/ 112 w 1353"/>
                <a:gd name="T109" fmla="*/ 615 h 1397"/>
                <a:gd name="T110" fmla="*/ 36 w 1353"/>
                <a:gd name="T111" fmla="*/ 619 h 1397"/>
                <a:gd name="T112" fmla="*/ 1146 w 1353"/>
                <a:gd name="T113" fmla="*/ 1145 h 1397"/>
                <a:gd name="T114" fmla="*/ 1146 w 1353"/>
                <a:gd name="T115" fmla="*/ 1169 h 1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53" h="1397">
                  <a:moveTo>
                    <a:pt x="2" y="658"/>
                  </a:moveTo>
                  <a:lnTo>
                    <a:pt x="8" y="659"/>
                  </a:lnTo>
                  <a:lnTo>
                    <a:pt x="23" y="681"/>
                  </a:lnTo>
                  <a:lnTo>
                    <a:pt x="39" y="695"/>
                  </a:lnTo>
                  <a:lnTo>
                    <a:pt x="74" y="695"/>
                  </a:lnTo>
                  <a:lnTo>
                    <a:pt x="96" y="688"/>
                  </a:lnTo>
                  <a:lnTo>
                    <a:pt x="104" y="680"/>
                  </a:lnTo>
                  <a:lnTo>
                    <a:pt x="105" y="684"/>
                  </a:lnTo>
                  <a:lnTo>
                    <a:pt x="98" y="701"/>
                  </a:lnTo>
                  <a:lnTo>
                    <a:pt x="81" y="715"/>
                  </a:lnTo>
                  <a:lnTo>
                    <a:pt x="51" y="721"/>
                  </a:lnTo>
                  <a:lnTo>
                    <a:pt x="44" y="715"/>
                  </a:lnTo>
                  <a:lnTo>
                    <a:pt x="39" y="720"/>
                  </a:lnTo>
                  <a:lnTo>
                    <a:pt x="42" y="734"/>
                  </a:lnTo>
                  <a:lnTo>
                    <a:pt x="105" y="794"/>
                  </a:lnTo>
                  <a:lnTo>
                    <a:pt x="141" y="794"/>
                  </a:lnTo>
                  <a:lnTo>
                    <a:pt x="174" y="780"/>
                  </a:lnTo>
                  <a:lnTo>
                    <a:pt x="183" y="763"/>
                  </a:lnTo>
                  <a:lnTo>
                    <a:pt x="188" y="717"/>
                  </a:lnTo>
                  <a:lnTo>
                    <a:pt x="193" y="721"/>
                  </a:lnTo>
                  <a:lnTo>
                    <a:pt x="218" y="721"/>
                  </a:lnTo>
                  <a:lnTo>
                    <a:pt x="214" y="729"/>
                  </a:lnTo>
                  <a:lnTo>
                    <a:pt x="205" y="729"/>
                  </a:lnTo>
                  <a:lnTo>
                    <a:pt x="201" y="738"/>
                  </a:lnTo>
                  <a:lnTo>
                    <a:pt x="201" y="751"/>
                  </a:lnTo>
                  <a:lnTo>
                    <a:pt x="209" y="755"/>
                  </a:lnTo>
                  <a:lnTo>
                    <a:pt x="205" y="776"/>
                  </a:lnTo>
                  <a:lnTo>
                    <a:pt x="209" y="781"/>
                  </a:lnTo>
                  <a:lnTo>
                    <a:pt x="215" y="810"/>
                  </a:lnTo>
                  <a:lnTo>
                    <a:pt x="208" y="848"/>
                  </a:lnTo>
                  <a:lnTo>
                    <a:pt x="214" y="881"/>
                  </a:lnTo>
                  <a:lnTo>
                    <a:pt x="220" y="876"/>
                  </a:lnTo>
                  <a:lnTo>
                    <a:pt x="220" y="879"/>
                  </a:lnTo>
                  <a:lnTo>
                    <a:pt x="217" y="913"/>
                  </a:lnTo>
                  <a:lnTo>
                    <a:pt x="232" y="964"/>
                  </a:lnTo>
                  <a:lnTo>
                    <a:pt x="237" y="1003"/>
                  </a:lnTo>
                  <a:lnTo>
                    <a:pt x="256" y="1040"/>
                  </a:lnTo>
                  <a:lnTo>
                    <a:pt x="260" y="1052"/>
                  </a:lnTo>
                  <a:lnTo>
                    <a:pt x="269" y="1052"/>
                  </a:lnTo>
                  <a:lnTo>
                    <a:pt x="266" y="1060"/>
                  </a:lnTo>
                  <a:lnTo>
                    <a:pt x="271" y="1077"/>
                  </a:lnTo>
                  <a:lnTo>
                    <a:pt x="285" y="1091"/>
                  </a:lnTo>
                  <a:lnTo>
                    <a:pt x="306" y="1142"/>
                  </a:lnTo>
                  <a:lnTo>
                    <a:pt x="322" y="1203"/>
                  </a:lnTo>
                  <a:lnTo>
                    <a:pt x="352" y="1240"/>
                  </a:lnTo>
                  <a:lnTo>
                    <a:pt x="395" y="1357"/>
                  </a:lnTo>
                  <a:lnTo>
                    <a:pt x="429" y="1397"/>
                  </a:lnTo>
                  <a:lnTo>
                    <a:pt x="441" y="1397"/>
                  </a:lnTo>
                  <a:lnTo>
                    <a:pt x="460" y="1380"/>
                  </a:lnTo>
                  <a:lnTo>
                    <a:pt x="467" y="1354"/>
                  </a:lnTo>
                  <a:lnTo>
                    <a:pt x="500" y="1343"/>
                  </a:lnTo>
                  <a:lnTo>
                    <a:pt x="500" y="1328"/>
                  </a:lnTo>
                  <a:lnTo>
                    <a:pt x="518" y="1295"/>
                  </a:lnTo>
                  <a:lnTo>
                    <a:pt x="540" y="1297"/>
                  </a:lnTo>
                  <a:lnTo>
                    <a:pt x="539" y="1233"/>
                  </a:lnTo>
                  <a:lnTo>
                    <a:pt x="563" y="1162"/>
                  </a:lnTo>
                  <a:lnTo>
                    <a:pt x="562" y="1150"/>
                  </a:lnTo>
                  <a:lnTo>
                    <a:pt x="554" y="1140"/>
                  </a:lnTo>
                  <a:lnTo>
                    <a:pt x="559" y="1140"/>
                  </a:lnTo>
                  <a:lnTo>
                    <a:pt x="552" y="1114"/>
                  </a:lnTo>
                  <a:lnTo>
                    <a:pt x="555" y="1096"/>
                  </a:lnTo>
                  <a:lnTo>
                    <a:pt x="551" y="1062"/>
                  </a:lnTo>
                  <a:lnTo>
                    <a:pt x="563" y="1042"/>
                  </a:lnTo>
                  <a:lnTo>
                    <a:pt x="579" y="1037"/>
                  </a:lnTo>
                  <a:lnTo>
                    <a:pt x="588" y="1040"/>
                  </a:lnTo>
                  <a:lnTo>
                    <a:pt x="594" y="1038"/>
                  </a:lnTo>
                  <a:lnTo>
                    <a:pt x="599" y="1028"/>
                  </a:lnTo>
                  <a:lnTo>
                    <a:pt x="606" y="1017"/>
                  </a:lnTo>
                  <a:lnTo>
                    <a:pt x="628" y="1011"/>
                  </a:lnTo>
                  <a:lnTo>
                    <a:pt x="648" y="1005"/>
                  </a:lnTo>
                  <a:lnTo>
                    <a:pt x="656" y="980"/>
                  </a:lnTo>
                  <a:lnTo>
                    <a:pt x="740" y="915"/>
                  </a:lnTo>
                  <a:lnTo>
                    <a:pt x="779" y="870"/>
                  </a:lnTo>
                  <a:lnTo>
                    <a:pt x="814" y="847"/>
                  </a:lnTo>
                  <a:lnTo>
                    <a:pt x="840" y="839"/>
                  </a:lnTo>
                  <a:lnTo>
                    <a:pt x="871" y="802"/>
                  </a:lnTo>
                  <a:lnTo>
                    <a:pt x="867" y="781"/>
                  </a:lnTo>
                  <a:lnTo>
                    <a:pt x="871" y="768"/>
                  </a:lnTo>
                  <a:lnTo>
                    <a:pt x="913" y="749"/>
                  </a:lnTo>
                  <a:lnTo>
                    <a:pt x="922" y="730"/>
                  </a:lnTo>
                  <a:lnTo>
                    <a:pt x="922" y="751"/>
                  </a:lnTo>
                  <a:lnTo>
                    <a:pt x="931" y="759"/>
                  </a:lnTo>
                  <a:lnTo>
                    <a:pt x="947" y="755"/>
                  </a:lnTo>
                  <a:lnTo>
                    <a:pt x="948" y="746"/>
                  </a:lnTo>
                  <a:lnTo>
                    <a:pt x="953" y="757"/>
                  </a:lnTo>
                  <a:lnTo>
                    <a:pt x="960" y="755"/>
                  </a:lnTo>
                  <a:lnTo>
                    <a:pt x="953" y="712"/>
                  </a:lnTo>
                  <a:lnTo>
                    <a:pt x="947" y="700"/>
                  </a:lnTo>
                  <a:lnTo>
                    <a:pt x="948" y="678"/>
                  </a:lnTo>
                  <a:lnTo>
                    <a:pt x="939" y="655"/>
                  </a:lnTo>
                  <a:lnTo>
                    <a:pt x="941" y="621"/>
                  </a:lnTo>
                  <a:lnTo>
                    <a:pt x="913" y="596"/>
                  </a:lnTo>
                  <a:lnTo>
                    <a:pt x="918" y="585"/>
                  </a:lnTo>
                  <a:lnTo>
                    <a:pt x="928" y="582"/>
                  </a:lnTo>
                  <a:lnTo>
                    <a:pt x="931" y="574"/>
                  </a:lnTo>
                  <a:lnTo>
                    <a:pt x="948" y="573"/>
                  </a:lnTo>
                  <a:lnTo>
                    <a:pt x="945" y="561"/>
                  </a:lnTo>
                  <a:lnTo>
                    <a:pt x="927" y="557"/>
                  </a:lnTo>
                  <a:lnTo>
                    <a:pt x="921" y="542"/>
                  </a:lnTo>
                  <a:lnTo>
                    <a:pt x="939" y="511"/>
                  </a:lnTo>
                  <a:lnTo>
                    <a:pt x="953" y="531"/>
                  </a:lnTo>
                  <a:lnTo>
                    <a:pt x="956" y="514"/>
                  </a:lnTo>
                  <a:lnTo>
                    <a:pt x="962" y="515"/>
                  </a:lnTo>
                  <a:lnTo>
                    <a:pt x="970" y="536"/>
                  </a:lnTo>
                  <a:lnTo>
                    <a:pt x="973" y="532"/>
                  </a:lnTo>
                  <a:lnTo>
                    <a:pt x="982" y="537"/>
                  </a:lnTo>
                  <a:lnTo>
                    <a:pt x="989" y="525"/>
                  </a:lnTo>
                  <a:lnTo>
                    <a:pt x="998" y="561"/>
                  </a:lnTo>
                  <a:lnTo>
                    <a:pt x="1011" y="573"/>
                  </a:lnTo>
                  <a:lnTo>
                    <a:pt x="1083" y="573"/>
                  </a:lnTo>
                  <a:lnTo>
                    <a:pt x="1116" y="583"/>
                  </a:lnTo>
                  <a:lnTo>
                    <a:pt x="1092" y="613"/>
                  </a:lnTo>
                  <a:lnTo>
                    <a:pt x="1062" y="636"/>
                  </a:lnTo>
                  <a:lnTo>
                    <a:pt x="1060" y="642"/>
                  </a:lnTo>
                  <a:lnTo>
                    <a:pt x="1066" y="672"/>
                  </a:lnTo>
                  <a:lnTo>
                    <a:pt x="1075" y="673"/>
                  </a:lnTo>
                  <a:lnTo>
                    <a:pt x="1085" y="686"/>
                  </a:lnTo>
                  <a:lnTo>
                    <a:pt x="1095" y="661"/>
                  </a:lnTo>
                  <a:lnTo>
                    <a:pt x="1103" y="649"/>
                  </a:lnTo>
                  <a:lnTo>
                    <a:pt x="1109" y="649"/>
                  </a:lnTo>
                  <a:lnTo>
                    <a:pt x="1125" y="690"/>
                  </a:lnTo>
                  <a:lnTo>
                    <a:pt x="1131" y="742"/>
                  </a:lnTo>
                  <a:lnTo>
                    <a:pt x="1154" y="730"/>
                  </a:lnTo>
                  <a:lnTo>
                    <a:pt x="1150" y="703"/>
                  </a:lnTo>
                  <a:lnTo>
                    <a:pt x="1151" y="693"/>
                  </a:lnTo>
                  <a:lnTo>
                    <a:pt x="1165" y="690"/>
                  </a:lnTo>
                  <a:lnTo>
                    <a:pt x="1167" y="650"/>
                  </a:lnTo>
                  <a:lnTo>
                    <a:pt x="1171" y="644"/>
                  </a:lnTo>
                  <a:lnTo>
                    <a:pt x="1202" y="644"/>
                  </a:lnTo>
                  <a:lnTo>
                    <a:pt x="1205" y="641"/>
                  </a:lnTo>
                  <a:lnTo>
                    <a:pt x="1226" y="593"/>
                  </a:lnTo>
                  <a:lnTo>
                    <a:pt x="1227" y="576"/>
                  </a:lnTo>
                  <a:lnTo>
                    <a:pt x="1252" y="549"/>
                  </a:lnTo>
                  <a:lnTo>
                    <a:pt x="1250" y="525"/>
                  </a:lnTo>
                  <a:lnTo>
                    <a:pt x="1255" y="512"/>
                  </a:lnTo>
                  <a:lnTo>
                    <a:pt x="1280" y="497"/>
                  </a:lnTo>
                  <a:lnTo>
                    <a:pt x="1295" y="478"/>
                  </a:lnTo>
                  <a:lnTo>
                    <a:pt x="1320" y="471"/>
                  </a:lnTo>
                  <a:lnTo>
                    <a:pt x="1334" y="477"/>
                  </a:lnTo>
                  <a:lnTo>
                    <a:pt x="1338" y="447"/>
                  </a:lnTo>
                  <a:lnTo>
                    <a:pt x="1353" y="438"/>
                  </a:lnTo>
                  <a:lnTo>
                    <a:pt x="1353" y="426"/>
                  </a:lnTo>
                  <a:lnTo>
                    <a:pt x="1349" y="417"/>
                  </a:lnTo>
                  <a:lnTo>
                    <a:pt x="1341" y="412"/>
                  </a:lnTo>
                  <a:lnTo>
                    <a:pt x="1306" y="409"/>
                  </a:lnTo>
                  <a:lnTo>
                    <a:pt x="1309" y="385"/>
                  </a:lnTo>
                  <a:lnTo>
                    <a:pt x="1298" y="381"/>
                  </a:lnTo>
                  <a:lnTo>
                    <a:pt x="1298" y="367"/>
                  </a:lnTo>
                  <a:lnTo>
                    <a:pt x="1289" y="356"/>
                  </a:lnTo>
                  <a:lnTo>
                    <a:pt x="1255" y="372"/>
                  </a:lnTo>
                  <a:lnTo>
                    <a:pt x="1222" y="367"/>
                  </a:lnTo>
                  <a:lnTo>
                    <a:pt x="1151" y="423"/>
                  </a:lnTo>
                  <a:lnTo>
                    <a:pt x="1092" y="446"/>
                  </a:lnTo>
                  <a:lnTo>
                    <a:pt x="1091" y="458"/>
                  </a:lnTo>
                  <a:lnTo>
                    <a:pt x="1111" y="468"/>
                  </a:lnTo>
                  <a:lnTo>
                    <a:pt x="1111" y="486"/>
                  </a:lnTo>
                  <a:lnTo>
                    <a:pt x="1103" y="489"/>
                  </a:lnTo>
                  <a:lnTo>
                    <a:pt x="995" y="502"/>
                  </a:lnTo>
                  <a:lnTo>
                    <a:pt x="960" y="494"/>
                  </a:lnTo>
                  <a:lnTo>
                    <a:pt x="955" y="478"/>
                  </a:lnTo>
                  <a:lnTo>
                    <a:pt x="962" y="468"/>
                  </a:lnTo>
                  <a:lnTo>
                    <a:pt x="953" y="464"/>
                  </a:lnTo>
                  <a:lnTo>
                    <a:pt x="956" y="443"/>
                  </a:lnTo>
                  <a:lnTo>
                    <a:pt x="953" y="432"/>
                  </a:lnTo>
                  <a:lnTo>
                    <a:pt x="924" y="441"/>
                  </a:lnTo>
                  <a:lnTo>
                    <a:pt x="918" y="456"/>
                  </a:lnTo>
                  <a:lnTo>
                    <a:pt x="918" y="480"/>
                  </a:lnTo>
                  <a:lnTo>
                    <a:pt x="914" y="486"/>
                  </a:lnTo>
                  <a:lnTo>
                    <a:pt x="924" y="498"/>
                  </a:lnTo>
                  <a:lnTo>
                    <a:pt x="919" y="515"/>
                  </a:lnTo>
                  <a:lnTo>
                    <a:pt x="880" y="517"/>
                  </a:lnTo>
                  <a:lnTo>
                    <a:pt x="779" y="497"/>
                  </a:lnTo>
                  <a:lnTo>
                    <a:pt x="750" y="469"/>
                  </a:lnTo>
                  <a:lnTo>
                    <a:pt x="679" y="466"/>
                  </a:lnTo>
                  <a:lnTo>
                    <a:pt x="667" y="454"/>
                  </a:lnTo>
                  <a:lnTo>
                    <a:pt x="623" y="438"/>
                  </a:lnTo>
                  <a:lnTo>
                    <a:pt x="591" y="410"/>
                  </a:lnTo>
                  <a:lnTo>
                    <a:pt x="580" y="404"/>
                  </a:lnTo>
                  <a:lnTo>
                    <a:pt x="574" y="409"/>
                  </a:lnTo>
                  <a:lnTo>
                    <a:pt x="563" y="395"/>
                  </a:lnTo>
                  <a:lnTo>
                    <a:pt x="555" y="393"/>
                  </a:lnTo>
                  <a:lnTo>
                    <a:pt x="555" y="385"/>
                  </a:lnTo>
                  <a:lnTo>
                    <a:pt x="565" y="370"/>
                  </a:lnTo>
                  <a:lnTo>
                    <a:pt x="567" y="341"/>
                  </a:lnTo>
                  <a:lnTo>
                    <a:pt x="589" y="317"/>
                  </a:lnTo>
                  <a:lnTo>
                    <a:pt x="599" y="317"/>
                  </a:lnTo>
                  <a:lnTo>
                    <a:pt x="552" y="291"/>
                  </a:lnTo>
                  <a:lnTo>
                    <a:pt x="548" y="283"/>
                  </a:lnTo>
                  <a:lnTo>
                    <a:pt x="531" y="282"/>
                  </a:lnTo>
                  <a:lnTo>
                    <a:pt x="528" y="274"/>
                  </a:lnTo>
                  <a:lnTo>
                    <a:pt x="503" y="277"/>
                  </a:lnTo>
                  <a:lnTo>
                    <a:pt x="503" y="266"/>
                  </a:lnTo>
                  <a:lnTo>
                    <a:pt x="491" y="253"/>
                  </a:lnTo>
                  <a:lnTo>
                    <a:pt x="494" y="223"/>
                  </a:lnTo>
                  <a:lnTo>
                    <a:pt x="481" y="209"/>
                  </a:lnTo>
                  <a:lnTo>
                    <a:pt x="480" y="194"/>
                  </a:lnTo>
                  <a:lnTo>
                    <a:pt x="491" y="187"/>
                  </a:lnTo>
                  <a:lnTo>
                    <a:pt x="503" y="203"/>
                  </a:lnTo>
                  <a:lnTo>
                    <a:pt x="511" y="200"/>
                  </a:lnTo>
                  <a:lnTo>
                    <a:pt x="518" y="190"/>
                  </a:lnTo>
                  <a:lnTo>
                    <a:pt x="525" y="194"/>
                  </a:lnTo>
                  <a:lnTo>
                    <a:pt x="531" y="183"/>
                  </a:lnTo>
                  <a:lnTo>
                    <a:pt x="523" y="170"/>
                  </a:lnTo>
                  <a:lnTo>
                    <a:pt x="523" y="160"/>
                  </a:lnTo>
                  <a:lnTo>
                    <a:pt x="511" y="156"/>
                  </a:lnTo>
                  <a:lnTo>
                    <a:pt x="503" y="149"/>
                  </a:lnTo>
                  <a:lnTo>
                    <a:pt x="506" y="126"/>
                  </a:lnTo>
                  <a:lnTo>
                    <a:pt x="501" y="115"/>
                  </a:lnTo>
                  <a:lnTo>
                    <a:pt x="523" y="115"/>
                  </a:lnTo>
                  <a:lnTo>
                    <a:pt x="530" y="107"/>
                  </a:lnTo>
                  <a:lnTo>
                    <a:pt x="534" y="90"/>
                  </a:lnTo>
                  <a:lnTo>
                    <a:pt x="542" y="89"/>
                  </a:lnTo>
                  <a:lnTo>
                    <a:pt x="542" y="82"/>
                  </a:lnTo>
                  <a:lnTo>
                    <a:pt x="554" y="72"/>
                  </a:lnTo>
                  <a:lnTo>
                    <a:pt x="567" y="28"/>
                  </a:lnTo>
                  <a:lnTo>
                    <a:pt x="562" y="26"/>
                  </a:lnTo>
                  <a:lnTo>
                    <a:pt x="554" y="33"/>
                  </a:lnTo>
                  <a:lnTo>
                    <a:pt x="551" y="21"/>
                  </a:lnTo>
                  <a:lnTo>
                    <a:pt x="542" y="23"/>
                  </a:lnTo>
                  <a:lnTo>
                    <a:pt x="535" y="17"/>
                  </a:lnTo>
                  <a:lnTo>
                    <a:pt x="535" y="11"/>
                  </a:lnTo>
                  <a:lnTo>
                    <a:pt x="518" y="0"/>
                  </a:lnTo>
                  <a:lnTo>
                    <a:pt x="492" y="6"/>
                  </a:lnTo>
                  <a:lnTo>
                    <a:pt x="457" y="31"/>
                  </a:lnTo>
                  <a:lnTo>
                    <a:pt x="444" y="31"/>
                  </a:lnTo>
                  <a:lnTo>
                    <a:pt x="413" y="51"/>
                  </a:lnTo>
                  <a:lnTo>
                    <a:pt x="404" y="70"/>
                  </a:lnTo>
                  <a:lnTo>
                    <a:pt x="384" y="68"/>
                  </a:lnTo>
                  <a:lnTo>
                    <a:pt x="376" y="75"/>
                  </a:lnTo>
                  <a:lnTo>
                    <a:pt x="364" y="73"/>
                  </a:lnTo>
                  <a:lnTo>
                    <a:pt x="345" y="82"/>
                  </a:lnTo>
                  <a:lnTo>
                    <a:pt x="288" y="64"/>
                  </a:lnTo>
                  <a:lnTo>
                    <a:pt x="269" y="70"/>
                  </a:lnTo>
                  <a:lnTo>
                    <a:pt x="262" y="89"/>
                  </a:lnTo>
                  <a:lnTo>
                    <a:pt x="272" y="96"/>
                  </a:lnTo>
                  <a:lnTo>
                    <a:pt x="268" y="104"/>
                  </a:lnTo>
                  <a:lnTo>
                    <a:pt x="285" y="113"/>
                  </a:lnTo>
                  <a:lnTo>
                    <a:pt x="272" y="124"/>
                  </a:lnTo>
                  <a:lnTo>
                    <a:pt x="285" y="140"/>
                  </a:lnTo>
                  <a:lnTo>
                    <a:pt x="271" y="153"/>
                  </a:lnTo>
                  <a:lnTo>
                    <a:pt x="289" y="169"/>
                  </a:lnTo>
                  <a:lnTo>
                    <a:pt x="288" y="175"/>
                  </a:lnTo>
                  <a:lnTo>
                    <a:pt x="305" y="178"/>
                  </a:lnTo>
                  <a:lnTo>
                    <a:pt x="306" y="194"/>
                  </a:lnTo>
                  <a:lnTo>
                    <a:pt x="331" y="198"/>
                  </a:lnTo>
                  <a:lnTo>
                    <a:pt x="337" y="212"/>
                  </a:lnTo>
                  <a:lnTo>
                    <a:pt x="331" y="219"/>
                  </a:lnTo>
                  <a:lnTo>
                    <a:pt x="305" y="226"/>
                  </a:lnTo>
                  <a:lnTo>
                    <a:pt x="299" y="241"/>
                  </a:lnTo>
                  <a:lnTo>
                    <a:pt x="306" y="254"/>
                  </a:lnTo>
                  <a:lnTo>
                    <a:pt x="299" y="265"/>
                  </a:lnTo>
                  <a:lnTo>
                    <a:pt x="313" y="273"/>
                  </a:lnTo>
                  <a:lnTo>
                    <a:pt x="302" y="273"/>
                  </a:lnTo>
                  <a:lnTo>
                    <a:pt x="289" y="283"/>
                  </a:lnTo>
                  <a:lnTo>
                    <a:pt x="266" y="314"/>
                  </a:lnTo>
                  <a:lnTo>
                    <a:pt x="265" y="325"/>
                  </a:lnTo>
                  <a:lnTo>
                    <a:pt x="245" y="336"/>
                  </a:lnTo>
                  <a:lnTo>
                    <a:pt x="220" y="380"/>
                  </a:lnTo>
                  <a:lnTo>
                    <a:pt x="197" y="400"/>
                  </a:lnTo>
                  <a:lnTo>
                    <a:pt x="172" y="438"/>
                  </a:lnTo>
                  <a:lnTo>
                    <a:pt x="142" y="441"/>
                  </a:lnTo>
                  <a:lnTo>
                    <a:pt x="129" y="449"/>
                  </a:lnTo>
                  <a:lnTo>
                    <a:pt x="112" y="432"/>
                  </a:lnTo>
                  <a:lnTo>
                    <a:pt x="70" y="480"/>
                  </a:lnTo>
                  <a:lnTo>
                    <a:pt x="70" y="503"/>
                  </a:lnTo>
                  <a:lnTo>
                    <a:pt x="99" y="512"/>
                  </a:lnTo>
                  <a:lnTo>
                    <a:pt x="96" y="544"/>
                  </a:lnTo>
                  <a:lnTo>
                    <a:pt x="105" y="553"/>
                  </a:lnTo>
                  <a:lnTo>
                    <a:pt x="120" y="554"/>
                  </a:lnTo>
                  <a:lnTo>
                    <a:pt x="120" y="571"/>
                  </a:lnTo>
                  <a:lnTo>
                    <a:pt x="138" y="598"/>
                  </a:lnTo>
                  <a:lnTo>
                    <a:pt x="135" y="615"/>
                  </a:lnTo>
                  <a:lnTo>
                    <a:pt x="141" y="619"/>
                  </a:lnTo>
                  <a:lnTo>
                    <a:pt x="124" y="625"/>
                  </a:lnTo>
                  <a:lnTo>
                    <a:pt x="112" y="615"/>
                  </a:lnTo>
                  <a:lnTo>
                    <a:pt x="90" y="629"/>
                  </a:lnTo>
                  <a:lnTo>
                    <a:pt x="78" y="629"/>
                  </a:lnTo>
                  <a:lnTo>
                    <a:pt x="71" y="622"/>
                  </a:lnTo>
                  <a:lnTo>
                    <a:pt x="39" y="624"/>
                  </a:lnTo>
                  <a:lnTo>
                    <a:pt x="36" y="619"/>
                  </a:lnTo>
                  <a:lnTo>
                    <a:pt x="34" y="638"/>
                  </a:lnTo>
                  <a:lnTo>
                    <a:pt x="10" y="638"/>
                  </a:lnTo>
                  <a:lnTo>
                    <a:pt x="0" y="650"/>
                  </a:lnTo>
                  <a:lnTo>
                    <a:pt x="2" y="658"/>
                  </a:lnTo>
                  <a:close/>
                  <a:moveTo>
                    <a:pt x="1146" y="1145"/>
                  </a:moveTo>
                  <a:lnTo>
                    <a:pt x="1136" y="1206"/>
                  </a:lnTo>
                  <a:lnTo>
                    <a:pt x="1129" y="1221"/>
                  </a:lnTo>
                  <a:lnTo>
                    <a:pt x="1134" y="1238"/>
                  </a:lnTo>
                  <a:lnTo>
                    <a:pt x="1139" y="1237"/>
                  </a:lnTo>
                  <a:lnTo>
                    <a:pt x="1146" y="1169"/>
                  </a:lnTo>
                  <a:lnTo>
                    <a:pt x="1150" y="1165"/>
                  </a:lnTo>
                  <a:lnTo>
                    <a:pt x="1151" y="1145"/>
                  </a:lnTo>
                  <a:lnTo>
                    <a:pt x="1146" y="1145"/>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248" name="Freeform 5">
              <a:extLst>
                <a:ext uri="{FF2B5EF4-FFF2-40B4-BE49-F238E27FC236}">
                  <a16:creationId xmlns:a16="http://schemas.microsoft.com/office/drawing/2014/main" id="{0424ECC2-AEB0-4643-A36C-EADA2DC28D70}"/>
                </a:ext>
              </a:extLst>
            </p:cNvPr>
            <p:cNvSpPr>
              <a:spLocks noChangeAspect="1"/>
            </p:cNvSpPr>
            <p:nvPr/>
          </p:nvSpPr>
          <p:spPr bwMode="gray">
            <a:xfrm>
              <a:off x="8799361" y="5143103"/>
              <a:ext cx="6371" cy="5761"/>
            </a:xfrm>
            <a:custGeom>
              <a:avLst/>
              <a:gdLst>
                <a:gd name="T0" fmla="*/ 14 w 14"/>
                <a:gd name="T1" fmla="*/ 1 h 9"/>
                <a:gd name="T2" fmla="*/ 14 w 14"/>
                <a:gd name="T3" fmla="*/ 9 h 9"/>
                <a:gd name="T4" fmla="*/ 0 w 14"/>
                <a:gd name="T5" fmla="*/ 0 h 9"/>
                <a:gd name="T6" fmla="*/ 14 w 14"/>
                <a:gd name="T7" fmla="*/ 1 h 9"/>
              </a:gdLst>
              <a:ahLst/>
              <a:cxnLst>
                <a:cxn ang="0">
                  <a:pos x="T0" y="T1"/>
                </a:cxn>
                <a:cxn ang="0">
                  <a:pos x="T2" y="T3"/>
                </a:cxn>
                <a:cxn ang="0">
                  <a:pos x="T4" y="T5"/>
                </a:cxn>
                <a:cxn ang="0">
                  <a:pos x="T6" y="T7"/>
                </a:cxn>
              </a:cxnLst>
              <a:rect l="0" t="0" r="r" b="b"/>
              <a:pathLst>
                <a:path w="14" h="9">
                  <a:moveTo>
                    <a:pt x="14" y="1"/>
                  </a:moveTo>
                  <a:lnTo>
                    <a:pt x="14" y="9"/>
                  </a:lnTo>
                  <a:lnTo>
                    <a:pt x="0" y="0"/>
                  </a:lnTo>
                  <a:lnTo>
                    <a:pt x="14" y="1"/>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49" name="Freeform 6">
              <a:extLst>
                <a:ext uri="{FF2B5EF4-FFF2-40B4-BE49-F238E27FC236}">
                  <a16:creationId xmlns:a16="http://schemas.microsoft.com/office/drawing/2014/main" id="{B349B59C-02C6-964A-97CE-37BCF59F72C1}"/>
                </a:ext>
              </a:extLst>
            </p:cNvPr>
            <p:cNvSpPr>
              <a:spLocks noChangeAspect="1"/>
            </p:cNvSpPr>
            <p:nvPr/>
          </p:nvSpPr>
          <p:spPr bwMode="gray">
            <a:xfrm>
              <a:off x="7335926" y="3563049"/>
              <a:ext cx="41404" cy="95995"/>
            </a:xfrm>
            <a:custGeom>
              <a:avLst/>
              <a:gdLst>
                <a:gd name="T0" fmla="*/ 62 w 80"/>
                <a:gd name="T1" fmla="*/ 0 h 165"/>
                <a:gd name="T2" fmla="*/ 80 w 80"/>
                <a:gd name="T3" fmla="*/ 12 h 165"/>
                <a:gd name="T4" fmla="*/ 79 w 80"/>
                <a:gd name="T5" fmla="*/ 34 h 165"/>
                <a:gd name="T6" fmla="*/ 62 w 80"/>
                <a:gd name="T7" fmla="*/ 94 h 165"/>
                <a:gd name="T8" fmla="*/ 38 w 80"/>
                <a:gd name="T9" fmla="*/ 141 h 165"/>
                <a:gd name="T10" fmla="*/ 34 w 80"/>
                <a:gd name="T11" fmla="*/ 165 h 165"/>
                <a:gd name="T12" fmla="*/ 21 w 80"/>
                <a:gd name="T13" fmla="*/ 142 h 165"/>
                <a:gd name="T14" fmla="*/ 4 w 80"/>
                <a:gd name="T15" fmla="*/ 124 h 165"/>
                <a:gd name="T16" fmla="*/ 0 w 80"/>
                <a:gd name="T17" fmla="*/ 85 h 165"/>
                <a:gd name="T18" fmla="*/ 8 w 80"/>
                <a:gd name="T19" fmla="*/ 65 h 165"/>
                <a:gd name="T20" fmla="*/ 40 w 80"/>
                <a:gd name="T21" fmla="*/ 15 h 165"/>
                <a:gd name="T22" fmla="*/ 62 w 80"/>
                <a:gd name="T23"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165">
                  <a:moveTo>
                    <a:pt x="62" y="0"/>
                  </a:moveTo>
                  <a:lnTo>
                    <a:pt x="80" y="12"/>
                  </a:lnTo>
                  <a:lnTo>
                    <a:pt x="79" y="34"/>
                  </a:lnTo>
                  <a:lnTo>
                    <a:pt x="62" y="94"/>
                  </a:lnTo>
                  <a:lnTo>
                    <a:pt x="38" y="141"/>
                  </a:lnTo>
                  <a:lnTo>
                    <a:pt x="34" y="165"/>
                  </a:lnTo>
                  <a:lnTo>
                    <a:pt x="21" y="142"/>
                  </a:lnTo>
                  <a:lnTo>
                    <a:pt x="4" y="124"/>
                  </a:lnTo>
                  <a:lnTo>
                    <a:pt x="0" y="85"/>
                  </a:lnTo>
                  <a:lnTo>
                    <a:pt x="8" y="65"/>
                  </a:lnTo>
                  <a:lnTo>
                    <a:pt x="40" y="15"/>
                  </a:lnTo>
                  <a:lnTo>
                    <a:pt x="62" y="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50" name="Freeform 7">
              <a:extLst>
                <a:ext uri="{FF2B5EF4-FFF2-40B4-BE49-F238E27FC236}">
                  <a16:creationId xmlns:a16="http://schemas.microsoft.com/office/drawing/2014/main" id="{2842D62A-A4A7-1647-B332-F1703DAE898D}"/>
                </a:ext>
              </a:extLst>
            </p:cNvPr>
            <p:cNvSpPr>
              <a:spLocks noChangeAspect="1" noEditPoints="1"/>
            </p:cNvSpPr>
            <p:nvPr/>
          </p:nvSpPr>
          <p:spPr bwMode="gray">
            <a:xfrm>
              <a:off x="6888453" y="4077575"/>
              <a:ext cx="429956" cy="163190"/>
            </a:xfrm>
            <a:custGeom>
              <a:avLst/>
              <a:gdLst>
                <a:gd name="T0" fmla="*/ 665 w 878"/>
                <a:gd name="T1" fmla="*/ 133 h 275"/>
                <a:gd name="T2" fmla="*/ 670 w 878"/>
                <a:gd name="T3" fmla="*/ 105 h 275"/>
                <a:gd name="T4" fmla="*/ 690 w 878"/>
                <a:gd name="T5" fmla="*/ 113 h 275"/>
                <a:gd name="T6" fmla="*/ 699 w 878"/>
                <a:gd name="T7" fmla="*/ 102 h 275"/>
                <a:gd name="T8" fmla="*/ 707 w 878"/>
                <a:gd name="T9" fmla="*/ 80 h 275"/>
                <a:gd name="T10" fmla="*/ 704 w 878"/>
                <a:gd name="T11" fmla="*/ 68 h 275"/>
                <a:gd name="T12" fmla="*/ 761 w 878"/>
                <a:gd name="T13" fmla="*/ 0 h 275"/>
                <a:gd name="T14" fmla="*/ 775 w 878"/>
                <a:gd name="T15" fmla="*/ 0 h 275"/>
                <a:gd name="T16" fmla="*/ 787 w 878"/>
                <a:gd name="T17" fmla="*/ 15 h 275"/>
                <a:gd name="T18" fmla="*/ 804 w 878"/>
                <a:gd name="T19" fmla="*/ 46 h 275"/>
                <a:gd name="T20" fmla="*/ 821 w 878"/>
                <a:gd name="T21" fmla="*/ 57 h 275"/>
                <a:gd name="T22" fmla="*/ 871 w 878"/>
                <a:gd name="T23" fmla="*/ 71 h 275"/>
                <a:gd name="T24" fmla="*/ 852 w 878"/>
                <a:gd name="T25" fmla="*/ 93 h 275"/>
                <a:gd name="T26" fmla="*/ 832 w 878"/>
                <a:gd name="T27" fmla="*/ 105 h 275"/>
                <a:gd name="T28" fmla="*/ 821 w 878"/>
                <a:gd name="T29" fmla="*/ 125 h 275"/>
                <a:gd name="T30" fmla="*/ 802 w 878"/>
                <a:gd name="T31" fmla="*/ 126 h 275"/>
                <a:gd name="T32" fmla="*/ 721 w 878"/>
                <a:gd name="T33" fmla="*/ 118 h 275"/>
                <a:gd name="T34" fmla="*/ 682 w 878"/>
                <a:gd name="T35" fmla="*/ 193 h 275"/>
                <a:gd name="T36" fmla="*/ 660 w 878"/>
                <a:gd name="T37" fmla="*/ 244 h 275"/>
                <a:gd name="T38" fmla="*/ 608 w 878"/>
                <a:gd name="T39" fmla="*/ 261 h 275"/>
                <a:gd name="T40" fmla="*/ 582 w 878"/>
                <a:gd name="T41" fmla="*/ 249 h 275"/>
                <a:gd name="T42" fmla="*/ 527 w 878"/>
                <a:gd name="T43" fmla="*/ 274 h 275"/>
                <a:gd name="T44" fmla="*/ 495 w 878"/>
                <a:gd name="T45" fmla="*/ 270 h 275"/>
                <a:gd name="T46" fmla="*/ 465 w 878"/>
                <a:gd name="T47" fmla="*/ 272 h 275"/>
                <a:gd name="T48" fmla="*/ 434 w 878"/>
                <a:gd name="T49" fmla="*/ 235 h 275"/>
                <a:gd name="T50" fmla="*/ 438 w 878"/>
                <a:gd name="T51" fmla="*/ 219 h 275"/>
                <a:gd name="T52" fmla="*/ 455 w 878"/>
                <a:gd name="T53" fmla="*/ 236 h 275"/>
                <a:gd name="T54" fmla="*/ 502 w 878"/>
                <a:gd name="T55" fmla="*/ 244 h 275"/>
                <a:gd name="T56" fmla="*/ 507 w 878"/>
                <a:gd name="T57" fmla="*/ 211 h 275"/>
                <a:gd name="T58" fmla="*/ 519 w 878"/>
                <a:gd name="T59" fmla="*/ 199 h 275"/>
                <a:gd name="T60" fmla="*/ 582 w 878"/>
                <a:gd name="T61" fmla="*/ 176 h 275"/>
                <a:gd name="T62" fmla="*/ 634 w 878"/>
                <a:gd name="T63" fmla="*/ 108 h 275"/>
                <a:gd name="T64" fmla="*/ 101 w 878"/>
                <a:gd name="T65" fmla="*/ 34 h 275"/>
                <a:gd name="T66" fmla="*/ 150 w 878"/>
                <a:gd name="T67" fmla="*/ 89 h 275"/>
                <a:gd name="T68" fmla="*/ 157 w 878"/>
                <a:gd name="T69" fmla="*/ 185 h 275"/>
                <a:gd name="T70" fmla="*/ 189 w 878"/>
                <a:gd name="T71" fmla="*/ 232 h 275"/>
                <a:gd name="T72" fmla="*/ 165 w 878"/>
                <a:gd name="T73" fmla="*/ 241 h 275"/>
                <a:gd name="T74" fmla="*/ 94 w 878"/>
                <a:gd name="T75" fmla="*/ 218 h 275"/>
                <a:gd name="T76" fmla="*/ 48 w 878"/>
                <a:gd name="T77" fmla="*/ 164 h 275"/>
                <a:gd name="T78" fmla="*/ 20 w 878"/>
                <a:gd name="T79" fmla="*/ 119 h 275"/>
                <a:gd name="T80" fmla="*/ 11 w 878"/>
                <a:gd name="T81" fmla="*/ 82 h 275"/>
                <a:gd name="T82" fmla="*/ 0 w 878"/>
                <a:gd name="T83" fmla="*/ 9 h 275"/>
                <a:gd name="T84" fmla="*/ 46 w 878"/>
                <a:gd name="T85" fmla="*/ 34 h 275"/>
                <a:gd name="T86" fmla="*/ 68 w 878"/>
                <a:gd name="T87" fmla="*/ 43 h 275"/>
                <a:gd name="T88" fmla="*/ 91 w 878"/>
                <a:gd name="T89" fmla="*/ 34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8" h="275">
                  <a:moveTo>
                    <a:pt x="634" y="108"/>
                  </a:moveTo>
                  <a:lnTo>
                    <a:pt x="665" y="133"/>
                  </a:lnTo>
                  <a:lnTo>
                    <a:pt x="670" y="125"/>
                  </a:lnTo>
                  <a:lnTo>
                    <a:pt x="670" y="105"/>
                  </a:lnTo>
                  <a:lnTo>
                    <a:pt x="679" y="97"/>
                  </a:lnTo>
                  <a:lnTo>
                    <a:pt x="690" y="113"/>
                  </a:lnTo>
                  <a:lnTo>
                    <a:pt x="699" y="116"/>
                  </a:lnTo>
                  <a:lnTo>
                    <a:pt x="699" y="102"/>
                  </a:lnTo>
                  <a:lnTo>
                    <a:pt x="692" y="91"/>
                  </a:lnTo>
                  <a:lnTo>
                    <a:pt x="707" y="80"/>
                  </a:lnTo>
                  <a:lnTo>
                    <a:pt x="701" y="72"/>
                  </a:lnTo>
                  <a:lnTo>
                    <a:pt x="704" y="68"/>
                  </a:lnTo>
                  <a:lnTo>
                    <a:pt x="717" y="66"/>
                  </a:lnTo>
                  <a:lnTo>
                    <a:pt x="761" y="0"/>
                  </a:lnTo>
                  <a:lnTo>
                    <a:pt x="763" y="18"/>
                  </a:lnTo>
                  <a:lnTo>
                    <a:pt x="775" y="0"/>
                  </a:lnTo>
                  <a:lnTo>
                    <a:pt x="780" y="0"/>
                  </a:lnTo>
                  <a:lnTo>
                    <a:pt x="787" y="15"/>
                  </a:lnTo>
                  <a:lnTo>
                    <a:pt x="804" y="21"/>
                  </a:lnTo>
                  <a:lnTo>
                    <a:pt x="804" y="46"/>
                  </a:lnTo>
                  <a:lnTo>
                    <a:pt x="821" y="43"/>
                  </a:lnTo>
                  <a:lnTo>
                    <a:pt x="821" y="57"/>
                  </a:lnTo>
                  <a:lnTo>
                    <a:pt x="835" y="54"/>
                  </a:lnTo>
                  <a:lnTo>
                    <a:pt x="871" y="71"/>
                  </a:lnTo>
                  <a:lnTo>
                    <a:pt x="878" y="79"/>
                  </a:lnTo>
                  <a:lnTo>
                    <a:pt x="852" y="93"/>
                  </a:lnTo>
                  <a:lnTo>
                    <a:pt x="832" y="94"/>
                  </a:lnTo>
                  <a:lnTo>
                    <a:pt x="832" y="105"/>
                  </a:lnTo>
                  <a:lnTo>
                    <a:pt x="846" y="116"/>
                  </a:lnTo>
                  <a:lnTo>
                    <a:pt x="821" y="125"/>
                  </a:lnTo>
                  <a:lnTo>
                    <a:pt x="807" y="118"/>
                  </a:lnTo>
                  <a:lnTo>
                    <a:pt x="802" y="126"/>
                  </a:lnTo>
                  <a:lnTo>
                    <a:pt x="778" y="118"/>
                  </a:lnTo>
                  <a:lnTo>
                    <a:pt x="721" y="118"/>
                  </a:lnTo>
                  <a:lnTo>
                    <a:pt x="704" y="167"/>
                  </a:lnTo>
                  <a:lnTo>
                    <a:pt x="682" y="193"/>
                  </a:lnTo>
                  <a:lnTo>
                    <a:pt x="670" y="230"/>
                  </a:lnTo>
                  <a:lnTo>
                    <a:pt x="660" y="244"/>
                  </a:lnTo>
                  <a:lnTo>
                    <a:pt x="643" y="253"/>
                  </a:lnTo>
                  <a:lnTo>
                    <a:pt x="608" y="261"/>
                  </a:lnTo>
                  <a:lnTo>
                    <a:pt x="587" y="255"/>
                  </a:lnTo>
                  <a:lnTo>
                    <a:pt x="582" y="249"/>
                  </a:lnTo>
                  <a:lnTo>
                    <a:pt x="558" y="247"/>
                  </a:lnTo>
                  <a:lnTo>
                    <a:pt x="527" y="274"/>
                  </a:lnTo>
                  <a:lnTo>
                    <a:pt x="504" y="275"/>
                  </a:lnTo>
                  <a:lnTo>
                    <a:pt x="495" y="270"/>
                  </a:lnTo>
                  <a:lnTo>
                    <a:pt x="476" y="275"/>
                  </a:lnTo>
                  <a:lnTo>
                    <a:pt x="465" y="272"/>
                  </a:lnTo>
                  <a:lnTo>
                    <a:pt x="453" y="269"/>
                  </a:lnTo>
                  <a:lnTo>
                    <a:pt x="434" y="235"/>
                  </a:lnTo>
                  <a:lnTo>
                    <a:pt x="433" y="223"/>
                  </a:lnTo>
                  <a:lnTo>
                    <a:pt x="438" y="219"/>
                  </a:lnTo>
                  <a:lnTo>
                    <a:pt x="442" y="232"/>
                  </a:lnTo>
                  <a:lnTo>
                    <a:pt x="455" y="236"/>
                  </a:lnTo>
                  <a:lnTo>
                    <a:pt x="472" y="236"/>
                  </a:lnTo>
                  <a:lnTo>
                    <a:pt x="502" y="244"/>
                  </a:lnTo>
                  <a:lnTo>
                    <a:pt x="509" y="219"/>
                  </a:lnTo>
                  <a:lnTo>
                    <a:pt x="507" y="211"/>
                  </a:lnTo>
                  <a:lnTo>
                    <a:pt x="519" y="211"/>
                  </a:lnTo>
                  <a:lnTo>
                    <a:pt x="519" y="199"/>
                  </a:lnTo>
                  <a:lnTo>
                    <a:pt x="526" y="187"/>
                  </a:lnTo>
                  <a:lnTo>
                    <a:pt x="582" y="176"/>
                  </a:lnTo>
                  <a:lnTo>
                    <a:pt x="626" y="128"/>
                  </a:lnTo>
                  <a:lnTo>
                    <a:pt x="634" y="108"/>
                  </a:lnTo>
                  <a:close/>
                  <a:moveTo>
                    <a:pt x="91" y="34"/>
                  </a:moveTo>
                  <a:lnTo>
                    <a:pt x="101" y="34"/>
                  </a:lnTo>
                  <a:lnTo>
                    <a:pt x="131" y="60"/>
                  </a:lnTo>
                  <a:lnTo>
                    <a:pt x="150" y="89"/>
                  </a:lnTo>
                  <a:lnTo>
                    <a:pt x="152" y="170"/>
                  </a:lnTo>
                  <a:lnTo>
                    <a:pt x="157" y="185"/>
                  </a:lnTo>
                  <a:lnTo>
                    <a:pt x="170" y="196"/>
                  </a:lnTo>
                  <a:lnTo>
                    <a:pt x="189" y="232"/>
                  </a:lnTo>
                  <a:lnTo>
                    <a:pt x="182" y="252"/>
                  </a:lnTo>
                  <a:lnTo>
                    <a:pt x="165" y="241"/>
                  </a:lnTo>
                  <a:lnTo>
                    <a:pt x="152" y="252"/>
                  </a:lnTo>
                  <a:lnTo>
                    <a:pt x="94" y="218"/>
                  </a:lnTo>
                  <a:lnTo>
                    <a:pt x="55" y="184"/>
                  </a:lnTo>
                  <a:lnTo>
                    <a:pt x="48" y="164"/>
                  </a:lnTo>
                  <a:lnTo>
                    <a:pt x="26" y="134"/>
                  </a:lnTo>
                  <a:lnTo>
                    <a:pt x="20" y="119"/>
                  </a:lnTo>
                  <a:lnTo>
                    <a:pt x="21" y="96"/>
                  </a:lnTo>
                  <a:lnTo>
                    <a:pt x="11" y="82"/>
                  </a:lnTo>
                  <a:lnTo>
                    <a:pt x="3" y="21"/>
                  </a:lnTo>
                  <a:lnTo>
                    <a:pt x="0" y="9"/>
                  </a:lnTo>
                  <a:lnTo>
                    <a:pt x="37" y="21"/>
                  </a:lnTo>
                  <a:lnTo>
                    <a:pt x="46" y="34"/>
                  </a:lnTo>
                  <a:lnTo>
                    <a:pt x="46" y="57"/>
                  </a:lnTo>
                  <a:lnTo>
                    <a:pt x="68" y="43"/>
                  </a:lnTo>
                  <a:lnTo>
                    <a:pt x="86" y="45"/>
                  </a:lnTo>
                  <a:lnTo>
                    <a:pt x="91" y="34"/>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51" name="Freeform 8">
              <a:extLst>
                <a:ext uri="{FF2B5EF4-FFF2-40B4-BE49-F238E27FC236}">
                  <a16:creationId xmlns:a16="http://schemas.microsoft.com/office/drawing/2014/main" id="{EE56CE04-10D3-4E43-AE1D-9B2E6F968C0B}"/>
                </a:ext>
              </a:extLst>
            </p:cNvPr>
            <p:cNvSpPr>
              <a:spLocks noChangeAspect="1"/>
            </p:cNvSpPr>
            <p:nvPr/>
          </p:nvSpPr>
          <p:spPr bwMode="gray">
            <a:xfrm>
              <a:off x="7198976" y="4127491"/>
              <a:ext cx="31849" cy="30716"/>
            </a:xfrm>
            <a:custGeom>
              <a:avLst/>
              <a:gdLst>
                <a:gd name="T0" fmla="*/ 0 w 65"/>
                <a:gd name="T1" fmla="*/ 23 h 48"/>
                <a:gd name="T2" fmla="*/ 31 w 65"/>
                <a:gd name="T3" fmla="*/ 48 h 48"/>
                <a:gd name="T4" fmla="*/ 36 w 65"/>
                <a:gd name="T5" fmla="*/ 40 h 48"/>
                <a:gd name="T6" fmla="*/ 36 w 65"/>
                <a:gd name="T7" fmla="*/ 20 h 48"/>
                <a:gd name="T8" fmla="*/ 45 w 65"/>
                <a:gd name="T9" fmla="*/ 12 h 48"/>
                <a:gd name="T10" fmla="*/ 56 w 65"/>
                <a:gd name="T11" fmla="*/ 28 h 48"/>
                <a:gd name="T12" fmla="*/ 65 w 65"/>
                <a:gd name="T13" fmla="*/ 31 h 48"/>
                <a:gd name="T14" fmla="*/ 65 w 65"/>
                <a:gd name="T15" fmla="*/ 17 h 48"/>
                <a:gd name="T16" fmla="*/ 58 w 65"/>
                <a:gd name="T17" fmla="*/ 6 h 48"/>
                <a:gd name="T18" fmla="*/ 48 w 65"/>
                <a:gd name="T19" fmla="*/ 6 h 48"/>
                <a:gd name="T20" fmla="*/ 45 w 65"/>
                <a:gd name="T21" fmla="*/ 0 h 48"/>
                <a:gd name="T22" fmla="*/ 22 w 65"/>
                <a:gd name="T23" fmla="*/ 17 h 48"/>
                <a:gd name="T24" fmla="*/ 0 w 65"/>
                <a:gd name="T25"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48">
                  <a:moveTo>
                    <a:pt x="0" y="23"/>
                  </a:moveTo>
                  <a:lnTo>
                    <a:pt x="31" y="48"/>
                  </a:lnTo>
                  <a:lnTo>
                    <a:pt x="36" y="40"/>
                  </a:lnTo>
                  <a:lnTo>
                    <a:pt x="36" y="20"/>
                  </a:lnTo>
                  <a:lnTo>
                    <a:pt x="45" y="12"/>
                  </a:lnTo>
                  <a:lnTo>
                    <a:pt x="56" y="28"/>
                  </a:lnTo>
                  <a:lnTo>
                    <a:pt x="65" y="31"/>
                  </a:lnTo>
                  <a:lnTo>
                    <a:pt x="65" y="17"/>
                  </a:lnTo>
                  <a:lnTo>
                    <a:pt x="58" y="6"/>
                  </a:lnTo>
                  <a:lnTo>
                    <a:pt x="48" y="6"/>
                  </a:lnTo>
                  <a:lnTo>
                    <a:pt x="45" y="0"/>
                  </a:lnTo>
                  <a:lnTo>
                    <a:pt x="22" y="17"/>
                  </a:lnTo>
                  <a:lnTo>
                    <a:pt x="0" y="23"/>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52" name="Freeform 9">
              <a:extLst>
                <a:ext uri="{FF2B5EF4-FFF2-40B4-BE49-F238E27FC236}">
                  <a16:creationId xmlns:a16="http://schemas.microsoft.com/office/drawing/2014/main" id="{A60E85DA-9833-7848-B971-B83D1F6AF8DF}"/>
                </a:ext>
              </a:extLst>
            </p:cNvPr>
            <p:cNvSpPr>
              <a:spLocks noChangeAspect="1" noEditPoints="1"/>
            </p:cNvSpPr>
            <p:nvPr/>
          </p:nvSpPr>
          <p:spPr bwMode="gray">
            <a:xfrm>
              <a:off x="7273819" y="3755034"/>
              <a:ext cx="621046" cy="403174"/>
            </a:xfrm>
            <a:custGeom>
              <a:avLst/>
              <a:gdLst>
                <a:gd name="T0" fmla="*/ 1277 w 1277"/>
                <a:gd name="T1" fmla="*/ 242 h 682"/>
                <a:gd name="T2" fmla="*/ 801 w 1277"/>
                <a:gd name="T3" fmla="*/ 528 h 682"/>
                <a:gd name="T4" fmla="*/ 442 w 1277"/>
                <a:gd name="T5" fmla="*/ 682 h 682"/>
                <a:gd name="T6" fmla="*/ 139 w 1277"/>
                <a:gd name="T7" fmla="*/ 631 h 682"/>
                <a:gd name="T8" fmla="*/ 188 w 1277"/>
                <a:gd name="T9" fmla="*/ 600 h 682"/>
                <a:gd name="T10" fmla="*/ 219 w 1277"/>
                <a:gd name="T11" fmla="*/ 572 h 682"/>
                <a:gd name="T12" fmla="*/ 418 w 1277"/>
                <a:gd name="T13" fmla="*/ 462 h 682"/>
                <a:gd name="T14" fmla="*/ 417 w 1277"/>
                <a:gd name="T15" fmla="*/ 553 h 682"/>
                <a:gd name="T16" fmla="*/ 392 w 1277"/>
                <a:gd name="T17" fmla="*/ 533 h 682"/>
                <a:gd name="T18" fmla="*/ 372 w 1277"/>
                <a:gd name="T19" fmla="*/ 606 h 682"/>
                <a:gd name="T20" fmla="*/ 312 w 1277"/>
                <a:gd name="T21" fmla="*/ 545 h 682"/>
                <a:gd name="T22" fmla="*/ 274 w 1277"/>
                <a:gd name="T23" fmla="*/ 521 h 682"/>
                <a:gd name="T24" fmla="*/ 239 w 1277"/>
                <a:gd name="T25" fmla="*/ 523 h 682"/>
                <a:gd name="T26" fmla="*/ 234 w 1277"/>
                <a:gd name="T27" fmla="*/ 498 h 682"/>
                <a:gd name="T28" fmla="*/ 304 w 1277"/>
                <a:gd name="T29" fmla="*/ 482 h 682"/>
                <a:gd name="T30" fmla="*/ 339 w 1277"/>
                <a:gd name="T31" fmla="*/ 474 h 682"/>
                <a:gd name="T32" fmla="*/ 101 w 1277"/>
                <a:gd name="T33" fmla="*/ 343 h 682"/>
                <a:gd name="T34" fmla="*/ 70 w 1277"/>
                <a:gd name="T35" fmla="*/ 425 h 682"/>
                <a:gd name="T36" fmla="*/ 30 w 1277"/>
                <a:gd name="T37" fmla="*/ 442 h 682"/>
                <a:gd name="T38" fmla="*/ 98 w 1277"/>
                <a:gd name="T39" fmla="*/ 369 h 682"/>
                <a:gd name="T40" fmla="*/ 338 w 1277"/>
                <a:gd name="T41" fmla="*/ 401 h 682"/>
                <a:gd name="T42" fmla="*/ 312 w 1277"/>
                <a:gd name="T43" fmla="*/ 388 h 682"/>
                <a:gd name="T44" fmla="*/ 325 w 1277"/>
                <a:gd name="T45" fmla="*/ 337 h 682"/>
                <a:gd name="T46" fmla="*/ 367 w 1277"/>
                <a:gd name="T47" fmla="*/ 396 h 682"/>
                <a:gd name="T48" fmla="*/ 332 w 1277"/>
                <a:gd name="T49" fmla="*/ 366 h 682"/>
                <a:gd name="T50" fmla="*/ 288 w 1277"/>
                <a:gd name="T51" fmla="*/ 374 h 682"/>
                <a:gd name="T52" fmla="*/ 240 w 1277"/>
                <a:gd name="T53" fmla="*/ 409 h 682"/>
                <a:gd name="T54" fmla="*/ 239 w 1277"/>
                <a:gd name="T55" fmla="*/ 334 h 682"/>
                <a:gd name="T56" fmla="*/ 219 w 1277"/>
                <a:gd name="T57" fmla="*/ 388 h 682"/>
                <a:gd name="T58" fmla="*/ 358 w 1277"/>
                <a:gd name="T59" fmla="*/ 286 h 682"/>
                <a:gd name="T60" fmla="*/ 369 w 1277"/>
                <a:gd name="T61" fmla="*/ 355 h 682"/>
                <a:gd name="T62" fmla="*/ 276 w 1277"/>
                <a:gd name="T63" fmla="*/ 287 h 682"/>
                <a:gd name="T64" fmla="*/ 274 w 1277"/>
                <a:gd name="T65" fmla="*/ 313 h 682"/>
                <a:gd name="T66" fmla="*/ 239 w 1277"/>
                <a:gd name="T67" fmla="*/ 293 h 682"/>
                <a:gd name="T68" fmla="*/ 219 w 1277"/>
                <a:gd name="T69" fmla="*/ 293 h 682"/>
                <a:gd name="T70" fmla="*/ 211 w 1277"/>
                <a:gd name="T71" fmla="*/ 252 h 682"/>
                <a:gd name="T72" fmla="*/ 214 w 1277"/>
                <a:gd name="T73" fmla="*/ 173 h 682"/>
                <a:gd name="T74" fmla="*/ 240 w 1277"/>
                <a:gd name="T75" fmla="*/ 72 h 682"/>
                <a:gd name="T76" fmla="*/ 191 w 1277"/>
                <a:gd name="T77" fmla="*/ 157 h 682"/>
                <a:gd name="T78" fmla="*/ 231 w 1277"/>
                <a:gd name="T79" fmla="*/ 224 h 682"/>
                <a:gd name="T80" fmla="*/ 278 w 1277"/>
                <a:gd name="T81" fmla="*/ 227 h 682"/>
                <a:gd name="T82" fmla="*/ 293 w 1277"/>
                <a:gd name="T83" fmla="*/ 247 h 682"/>
                <a:gd name="T84" fmla="*/ 304 w 1277"/>
                <a:gd name="T85" fmla="*/ 278 h 682"/>
                <a:gd name="T86" fmla="*/ 249 w 1277"/>
                <a:gd name="T87" fmla="*/ 227 h 682"/>
                <a:gd name="T88" fmla="*/ 188 w 1277"/>
                <a:gd name="T89" fmla="*/ 237 h 682"/>
                <a:gd name="T90" fmla="*/ 169 w 1277"/>
                <a:gd name="T91" fmla="*/ 188 h 682"/>
                <a:gd name="T92" fmla="*/ 131 w 1277"/>
                <a:gd name="T93" fmla="*/ 169 h 682"/>
                <a:gd name="T94" fmla="*/ 146 w 1277"/>
                <a:gd name="T95" fmla="*/ 34 h 682"/>
                <a:gd name="T96" fmla="*/ 219 w 1277"/>
                <a:gd name="T97" fmla="*/ 12 h 682"/>
                <a:gd name="T98" fmla="*/ 174 w 1277"/>
                <a:gd name="T99" fmla="*/ 245 h 682"/>
                <a:gd name="T100" fmla="*/ 173 w 1277"/>
                <a:gd name="T101" fmla="*/ 293 h 682"/>
                <a:gd name="T102" fmla="*/ 127 w 1277"/>
                <a:gd name="T103" fmla="*/ 31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77" h="682">
                  <a:moveTo>
                    <a:pt x="120" y="317"/>
                  </a:moveTo>
                  <a:lnTo>
                    <a:pt x="129" y="323"/>
                  </a:lnTo>
                  <a:lnTo>
                    <a:pt x="127" y="329"/>
                  </a:lnTo>
                  <a:lnTo>
                    <a:pt x="120" y="317"/>
                  </a:lnTo>
                  <a:close/>
                  <a:moveTo>
                    <a:pt x="1277" y="242"/>
                  </a:moveTo>
                  <a:lnTo>
                    <a:pt x="1271" y="253"/>
                  </a:lnTo>
                  <a:lnTo>
                    <a:pt x="1269" y="249"/>
                  </a:lnTo>
                  <a:lnTo>
                    <a:pt x="1277" y="242"/>
                  </a:lnTo>
                  <a:close/>
                  <a:moveTo>
                    <a:pt x="806" y="515"/>
                  </a:moveTo>
                  <a:lnTo>
                    <a:pt x="801" y="528"/>
                  </a:lnTo>
                  <a:lnTo>
                    <a:pt x="801" y="518"/>
                  </a:lnTo>
                  <a:lnTo>
                    <a:pt x="806" y="515"/>
                  </a:lnTo>
                  <a:close/>
                  <a:moveTo>
                    <a:pt x="439" y="659"/>
                  </a:moveTo>
                  <a:lnTo>
                    <a:pt x="443" y="672"/>
                  </a:lnTo>
                  <a:lnTo>
                    <a:pt x="442" y="682"/>
                  </a:lnTo>
                  <a:lnTo>
                    <a:pt x="439" y="659"/>
                  </a:lnTo>
                  <a:close/>
                  <a:moveTo>
                    <a:pt x="120" y="638"/>
                  </a:moveTo>
                  <a:lnTo>
                    <a:pt x="126" y="629"/>
                  </a:lnTo>
                  <a:lnTo>
                    <a:pt x="137" y="628"/>
                  </a:lnTo>
                  <a:lnTo>
                    <a:pt x="139" y="631"/>
                  </a:lnTo>
                  <a:lnTo>
                    <a:pt x="120" y="638"/>
                  </a:lnTo>
                  <a:close/>
                  <a:moveTo>
                    <a:pt x="171" y="598"/>
                  </a:moveTo>
                  <a:lnTo>
                    <a:pt x="178" y="589"/>
                  </a:lnTo>
                  <a:lnTo>
                    <a:pt x="191" y="594"/>
                  </a:lnTo>
                  <a:lnTo>
                    <a:pt x="188" y="600"/>
                  </a:lnTo>
                  <a:lnTo>
                    <a:pt x="171" y="598"/>
                  </a:lnTo>
                  <a:close/>
                  <a:moveTo>
                    <a:pt x="211" y="562"/>
                  </a:moveTo>
                  <a:lnTo>
                    <a:pt x="222" y="558"/>
                  </a:lnTo>
                  <a:lnTo>
                    <a:pt x="234" y="564"/>
                  </a:lnTo>
                  <a:lnTo>
                    <a:pt x="219" y="572"/>
                  </a:lnTo>
                  <a:lnTo>
                    <a:pt x="211" y="562"/>
                  </a:lnTo>
                  <a:close/>
                  <a:moveTo>
                    <a:pt x="376" y="420"/>
                  </a:moveTo>
                  <a:lnTo>
                    <a:pt x="384" y="418"/>
                  </a:lnTo>
                  <a:lnTo>
                    <a:pt x="414" y="447"/>
                  </a:lnTo>
                  <a:lnTo>
                    <a:pt x="418" y="462"/>
                  </a:lnTo>
                  <a:lnTo>
                    <a:pt x="410" y="473"/>
                  </a:lnTo>
                  <a:lnTo>
                    <a:pt x="418" y="477"/>
                  </a:lnTo>
                  <a:lnTo>
                    <a:pt x="431" y="523"/>
                  </a:lnTo>
                  <a:lnTo>
                    <a:pt x="431" y="538"/>
                  </a:lnTo>
                  <a:lnTo>
                    <a:pt x="417" y="553"/>
                  </a:lnTo>
                  <a:lnTo>
                    <a:pt x="417" y="574"/>
                  </a:lnTo>
                  <a:lnTo>
                    <a:pt x="410" y="569"/>
                  </a:lnTo>
                  <a:lnTo>
                    <a:pt x="406" y="545"/>
                  </a:lnTo>
                  <a:lnTo>
                    <a:pt x="398" y="532"/>
                  </a:lnTo>
                  <a:lnTo>
                    <a:pt x="392" y="533"/>
                  </a:lnTo>
                  <a:lnTo>
                    <a:pt x="380" y="552"/>
                  </a:lnTo>
                  <a:lnTo>
                    <a:pt x="376" y="564"/>
                  </a:lnTo>
                  <a:lnTo>
                    <a:pt x="389" y="587"/>
                  </a:lnTo>
                  <a:lnTo>
                    <a:pt x="380" y="609"/>
                  </a:lnTo>
                  <a:lnTo>
                    <a:pt x="372" y="606"/>
                  </a:lnTo>
                  <a:lnTo>
                    <a:pt x="369" y="591"/>
                  </a:lnTo>
                  <a:lnTo>
                    <a:pt x="354" y="598"/>
                  </a:lnTo>
                  <a:lnTo>
                    <a:pt x="329" y="586"/>
                  </a:lnTo>
                  <a:lnTo>
                    <a:pt x="322" y="579"/>
                  </a:lnTo>
                  <a:lnTo>
                    <a:pt x="312" y="545"/>
                  </a:lnTo>
                  <a:lnTo>
                    <a:pt x="322" y="525"/>
                  </a:lnTo>
                  <a:lnTo>
                    <a:pt x="296" y="507"/>
                  </a:lnTo>
                  <a:lnTo>
                    <a:pt x="291" y="507"/>
                  </a:lnTo>
                  <a:lnTo>
                    <a:pt x="285" y="525"/>
                  </a:lnTo>
                  <a:lnTo>
                    <a:pt x="274" y="521"/>
                  </a:lnTo>
                  <a:lnTo>
                    <a:pt x="274" y="515"/>
                  </a:lnTo>
                  <a:lnTo>
                    <a:pt x="261" y="530"/>
                  </a:lnTo>
                  <a:lnTo>
                    <a:pt x="256" y="513"/>
                  </a:lnTo>
                  <a:lnTo>
                    <a:pt x="249" y="513"/>
                  </a:lnTo>
                  <a:lnTo>
                    <a:pt x="239" y="523"/>
                  </a:lnTo>
                  <a:lnTo>
                    <a:pt x="228" y="549"/>
                  </a:lnTo>
                  <a:lnTo>
                    <a:pt x="219" y="549"/>
                  </a:lnTo>
                  <a:lnTo>
                    <a:pt x="217" y="540"/>
                  </a:lnTo>
                  <a:lnTo>
                    <a:pt x="225" y="507"/>
                  </a:lnTo>
                  <a:lnTo>
                    <a:pt x="234" y="498"/>
                  </a:lnTo>
                  <a:lnTo>
                    <a:pt x="261" y="491"/>
                  </a:lnTo>
                  <a:lnTo>
                    <a:pt x="262" y="482"/>
                  </a:lnTo>
                  <a:lnTo>
                    <a:pt x="282" y="467"/>
                  </a:lnTo>
                  <a:lnTo>
                    <a:pt x="299" y="473"/>
                  </a:lnTo>
                  <a:lnTo>
                    <a:pt x="304" y="482"/>
                  </a:lnTo>
                  <a:lnTo>
                    <a:pt x="298" y="499"/>
                  </a:lnTo>
                  <a:lnTo>
                    <a:pt x="316" y="491"/>
                  </a:lnTo>
                  <a:lnTo>
                    <a:pt x="324" y="477"/>
                  </a:lnTo>
                  <a:lnTo>
                    <a:pt x="332" y="473"/>
                  </a:lnTo>
                  <a:lnTo>
                    <a:pt x="339" y="474"/>
                  </a:lnTo>
                  <a:lnTo>
                    <a:pt x="349" y="456"/>
                  </a:lnTo>
                  <a:lnTo>
                    <a:pt x="359" y="459"/>
                  </a:lnTo>
                  <a:lnTo>
                    <a:pt x="380" y="451"/>
                  </a:lnTo>
                  <a:lnTo>
                    <a:pt x="376" y="420"/>
                  </a:lnTo>
                  <a:close/>
                  <a:moveTo>
                    <a:pt x="101" y="343"/>
                  </a:moveTo>
                  <a:lnTo>
                    <a:pt x="106" y="343"/>
                  </a:lnTo>
                  <a:lnTo>
                    <a:pt x="107" y="357"/>
                  </a:lnTo>
                  <a:lnTo>
                    <a:pt x="107" y="388"/>
                  </a:lnTo>
                  <a:lnTo>
                    <a:pt x="73" y="413"/>
                  </a:lnTo>
                  <a:lnTo>
                    <a:pt x="70" y="425"/>
                  </a:lnTo>
                  <a:lnTo>
                    <a:pt x="30" y="462"/>
                  </a:lnTo>
                  <a:lnTo>
                    <a:pt x="5" y="481"/>
                  </a:lnTo>
                  <a:lnTo>
                    <a:pt x="0" y="479"/>
                  </a:lnTo>
                  <a:lnTo>
                    <a:pt x="8" y="459"/>
                  </a:lnTo>
                  <a:lnTo>
                    <a:pt x="30" y="442"/>
                  </a:lnTo>
                  <a:lnTo>
                    <a:pt x="75" y="394"/>
                  </a:lnTo>
                  <a:lnTo>
                    <a:pt x="89" y="388"/>
                  </a:lnTo>
                  <a:lnTo>
                    <a:pt x="93" y="368"/>
                  </a:lnTo>
                  <a:lnTo>
                    <a:pt x="95" y="371"/>
                  </a:lnTo>
                  <a:lnTo>
                    <a:pt x="98" y="369"/>
                  </a:lnTo>
                  <a:lnTo>
                    <a:pt x="93" y="363"/>
                  </a:lnTo>
                  <a:lnTo>
                    <a:pt x="101" y="343"/>
                  </a:lnTo>
                  <a:close/>
                  <a:moveTo>
                    <a:pt x="304" y="413"/>
                  </a:moveTo>
                  <a:lnTo>
                    <a:pt x="321" y="400"/>
                  </a:lnTo>
                  <a:lnTo>
                    <a:pt x="338" y="401"/>
                  </a:lnTo>
                  <a:lnTo>
                    <a:pt x="333" y="422"/>
                  </a:lnTo>
                  <a:lnTo>
                    <a:pt x="310" y="425"/>
                  </a:lnTo>
                  <a:lnTo>
                    <a:pt x="304" y="413"/>
                  </a:lnTo>
                  <a:close/>
                  <a:moveTo>
                    <a:pt x="312" y="351"/>
                  </a:moveTo>
                  <a:lnTo>
                    <a:pt x="312" y="388"/>
                  </a:lnTo>
                  <a:lnTo>
                    <a:pt x="302" y="397"/>
                  </a:lnTo>
                  <a:lnTo>
                    <a:pt x="285" y="431"/>
                  </a:lnTo>
                  <a:lnTo>
                    <a:pt x="281" y="413"/>
                  </a:lnTo>
                  <a:lnTo>
                    <a:pt x="312" y="351"/>
                  </a:lnTo>
                  <a:close/>
                  <a:moveTo>
                    <a:pt x="325" y="337"/>
                  </a:moveTo>
                  <a:lnTo>
                    <a:pt x="330" y="343"/>
                  </a:lnTo>
                  <a:lnTo>
                    <a:pt x="350" y="343"/>
                  </a:lnTo>
                  <a:lnTo>
                    <a:pt x="358" y="352"/>
                  </a:lnTo>
                  <a:lnTo>
                    <a:pt x="358" y="374"/>
                  </a:lnTo>
                  <a:lnTo>
                    <a:pt x="367" y="396"/>
                  </a:lnTo>
                  <a:lnTo>
                    <a:pt x="358" y="396"/>
                  </a:lnTo>
                  <a:lnTo>
                    <a:pt x="358" y="405"/>
                  </a:lnTo>
                  <a:lnTo>
                    <a:pt x="347" y="394"/>
                  </a:lnTo>
                  <a:lnTo>
                    <a:pt x="342" y="364"/>
                  </a:lnTo>
                  <a:lnTo>
                    <a:pt x="332" y="366"/>
                  </a:lnTo>
                  <a:lnTo>
                    <a:pt x="325" y="337"/>
                  </a:lnTo>
                  <a:close/>
                  <a:moveTo>
                    <a:pt x="262" y="368"/>
                  </a:moveTo>
                  <a:lnTo>
                    <a:pt x="271" y="363"/>
                  </a:lnTo>
                  <a:lnTo>
                    <a:pt x="288" y="366"/>
                  </a:lnTo>
                  <a:lnTo>
                    <a:pt x="288" y="374"/>
                  </a:lnTo>
                  <a:lnTo>
                    <a:pt x="274" y="413"/>
                  </a:lnTo>
                  <a:lnTo>
                    <a:pt x="274" y="447"/>
                  </a:lnTo>
                  <a:lnTo>
                    <a:pt x="268" y="451"/>
                  </a:lnTo>
                  <a:lnTo>
                    <a:pt x="239" y="420"/>
                  </a:lnTo>
                  <a:lnTo>
                    <a:pt x="240" y="409"/>
                  </a:lnTo>
                  <a:lnTo>
                    <a:pt x="254" y="405"/>
                  </a:lnTo>
                  <a:lnTo>
                    <a:pt x="262" y="368"/>
                  </a:lnTo>
                  <a:close/>
                  <a:moveTo>
                    <a:pt x="215" y="320"/>
                  </a:moveTo>
                  <a:lnTo>
                    <a:pt x="225" y="320"/>
                  </a:lnTo>
                  <a:lnTo>
                    <a:pt x="239" y="334"/>
                  </a:lnTo>
                  <a:lnTo>
                    <a:pt x="270" y="337"/>
                  </a:lnTo>
                  <a:lnTo>
                    <a:pt x="266" y="355"/>
                  </a:lnTo>
                  <a:lnTo>
                    <a:pt x="248" y="374"/>
                  </a:lnTo>
                  <a:lnTo>
                    <a:pt x="225" y="381"/>
                  </a:lnTo>
                  <a:lnTo>
                    <a:pt x="219" y="388"/>
                  </a:lnTo>
                  <a:lnTo>
                    <a:pt x="217" y="368"/>
                  </a:lnTo>
                  <a:lnTo>
                    <a:pt x="222" y="334"/>
                  </a:lnTo>
                  <a:lnTo>
                    <a:pt x="215" y="320"/>
                  </a:lnTo>
                  <a:close/>
                  <a:moveTo>
                    <a:pt x="325" y="289"/>
                  </a:moveTo>
                  <a:lnTo>
                    <a:pt x="358" y="286"/>
                  </a:lnTo>
                  <a:lnTo>
                    <a:pt x="369" y="292"/>
                  </a:lnTo>
                  <a:lnTo>
                    <a:pt x="380" y="303"/>
                  </a:lnTo>
                  <a:lnTo>
                    <a:pt x="380" y="334"/>
                  </a:lnTo>
                  <a:lnTo>
                    <a:pt x="392" y="357"/>
                  </a:lnTo>
                  <a:lnTo>
                    <a:pt x="369" y="355"/>
                  </a:lnTo>
                  <a:lnTo>
                    <a:pt x="354" y="338"/>
                  </a:lnTo>
                  <a:lnTo>
                    <a:pt x="356" y="327"/>
                  </a:lnTo>
                  <a:lnTo>
                    <a:pt x="338" y="310"/>
                  </a:lnTo>
                  <a:lnTo>
                    <a:pt x="325" y="289"/>
                  </a:lnTo>
                  <a:close/>
                  <a:moveTo>
                    <a:pt x="276" y="287"/>
                  </a:moveTo>
                  <a:lnTo>
                    <a:pt x="310" y="312"/>
                  </a:lnTo>
                  <a:lnTo>
                    <a:pt x="313" y="325"/>
                  </a:lnTo>
                  <a:lnTo>
                    <a:pt x="298" y="317"/>
                  </a:lnTo>
                  <a:lnTo>
                    <a:pt x="290" y="306"/>
                  </a:lnTo>
                  <a:lnTo>
                    <a:pt x="274" y="313"/>
                  </a:lnTo>
                  <a:lnTo>
                    <a:pt x="276" y="287"/>
                  </a:lnTo>
                  <a:close/>
                  <a:moveTo>
                    <a:pt x="239" y="293"/>
                  </a:moveTo>
                  <a:lnTo>
                    <a:pt x="244" y="292"/>
                  </a:lnTo>
                  <a:lnTo>
                    <a:pt x="249" y="300"/>
                  </a:lnTo>
                  <a:lnTo>
                    <a:pt x="239" y="293"/>
                  </a:lnTo>
                  <a:close/>
                  <a:moveTo>
                    <a:pt x="219" y="293"/>
                  </a:moveTo>
                  <a:lnTo>
                    <a:pt x="219" y="284"/>
                  </a:lnTo>
                  <a:lnTo>
                    <a:pt x="223" y="284"/>
                  </a:lnTo>
                  <a:lnTo>
                    <a:pt x="220" y="309"/>
                  </a:lnTo>
                  <a:lnTo>
                    <a:pt x="219" y="293"/>
                  </a:lnTo>
                  <a:close/>
                  <a:moveTo>
                    <a:pt x="211" y="252"/>
                  </a:moveTo>
                  <a:lnTo>
                    <a:pt x="211" y="242"/>
                  </a:lnTo>
                  <a:lnTo>
                    <a:pt x="223" y="244"/>
                  </a:lnTo>
                  <a:lnTo>
                    <a:pt x="222" y="258"/>
                  </a:lnTo>
                  <a:lnTo>
                    <a:pt x="211" y="252"/>
                  </a:lnTo>
                  <a:close/>
                  <a:moveTo>
                    <a:pt x="214" y="173"/>
                  </a:moveTo>
                  <a:lnTo>
                    <a:pt x="219" y="171"/>
                  </a:lnTo>
                  <a:lnTo>
                    <a:pt x="220" y="186"/>
                  </a:lnTo>
                  <a:lnTo>
                    <a:pt x="215" y="188"/>
                  </a:lnTo>
                  <a:lnTo>
                    <a:pt x="214" y="173"/>
                  </a:lnTo>
                  <a:close/>
                  <a:moveTo>
                    <a:pt x="231" y="9"/>
                  </a:moveTo>
                  <a:lnTo>
                    <a:pt x="234" y="13"/>
                  </a:lnTo>
                  <a:lnTo>
                    <a:pt x="227" y="29"/>
                  </a:lnTo>
                  <a:lnTo>
                    <a:pt x="227" y="55"/>
                  </a:lnTo>
                  <a:lnTo>
                    <a:pt x="240" y="72"/>
                  </a:lnTo>
                  <a:lnTo>
                    <a:pt x="240" y="81"/>
                  </a:lnTo>
                  <a:lnTo>
                    <a:pt x="225" y="120"/>
                  </a:lnTo>
                  <a:lnTo>
                    <a:pt x="205" y="131"/>
                  </a:lnTo>
                  <a:lnTo>
                    <a:pt x="197" y="154"/>
                  </a:lnTo>
                  <a:lnTo>
                    <a:pt x="191" y="157"/>
                  </a:lnTo>
                  <a:lnTo>
                    <a:pt x="203" y="186"/>
                  </a:lnTo>
                  <a:lnTo>
                    <a:pt x="202" y="199"/>
                  </a:lnTo>
                  <a:lnTo>
                    <a:pt x="206" y="213"/>
                  </a:lnTo>
                  <a:lnTo>
                    <a:pt x="219" y="225"/>
                  </a:lnTo>
                  <a:lnTo>
                    <a:pt x="231" y="224"/>
                  </a:lnTo>
                  <a:lnTo>
                    <a:pt x="228" y="211"/>
                  </a:lnTo>
                  <a:lnTo>
                    <a:pt x="253" y="203"/>
                  </a:lnTo>
                  <a:lnTo>
                    <a:pt x="264" y="211"/>
                  </a:lnTo>
                  <a:lnTo>
                    <a:pt x="273" y="232"/>
                  </a:lnTo>
                  <a:lnTo>
                    <a:pt x="278" y="227"/>
                  </a:lnTo>
                  <a:lnTo>
                    <a:pt x="276" y="219"/>
                  </a:lnTo>
                  <a:lnTo>
                    <a:pt x="304" y="228"/>
                  </a:lnTo>
                  <a:lnTo>
                    <a:pt x="307" y="233"/>
                  </a:lnTo>
                  <a:lnTo>
                    <a:pt x="291" y="241"/>
                  </a:lnTo>
                  <a:lnTo>
                    <a:pt x="293" y="247"/>
                  </a:lnTo>
                  <a:lnTo>
                    <a:pt x="305" y="252"/>
                  </a:lnTo>
                  <a:lnTo>
                    <a:pt x="304" y="262"/>
                  </a:lnTo>
                  <a:lnTo>
                    <a:pt x="315" y="269"/>
                  </a:lnTo>
                  <a:lnTo>
                    <a:pt x="312" y="289"/>
                  </a:lnTo>
                  <a:lnTo>
                    <a:pt x="304" y="278"/>
                  </a:lnTo>
                  <a:lnTo>
                    <a:pt x="310" y="273"/>
                  </a:lnTo>
                  <a:lnTo>
                    <a:pt x="295" y="273"/>
                  </a:lnTo>
                  <a:lnTo>
                    <a:pt x="281" y="264"/>
                  </a:lnTo>
                  <a:lnTo>
                    <a:pt x="273" y="247"/>
                  </a:lnTo>
                  <a:lnTo>
                    <a:pt x="249" y="227"/>
                  </a:lnTo>
                  <a:lnTo>
                    <a:pt x="240" y="225"/>
                  </a:lnTo>
                  <a:lnTo>
                    <a:pt x="251" y="258"/>
                  </a:lnTo>
                  <a:lnTo>
                    <a:pt x="215" y="225"/>
                  </a:lnTo>
                  <a:lnTo>
                    <a:pt x="200" y="225"/>
                  </a:lnTo>
                  <a:lnTo>
                    <a:pt x="188" y="237"/>
                  </a:lnTo>
                  <a:lnTo>
                    <a:pt x="182" y="237"/>
                  </a:lnTo>
                  <a:lnTo>
                    <a:pt x="165" y="227"/>
                  </a:lnTo>
                  <a:lnTo>
                    <a:pt x="161" y="230"/>
                  </a:lnTo>
                  <a:lnTo>
                    <a:pt x="156" y="213"/>
                  </a:lnTo>
                  <a:lnTo>
                    <a:pt x="169" y="188"/>
                  </a:lnTo>
                  <a:lnTo>
                    <a:pt x="156" y="185"/>
                  </a:lnTo>
                  <a:lnTo>
                    <a:pt x="152" y="199"/>
                  </a:lnTo>
                  <a:lnTo>
                    <a:pt x="141" y="185"/>
                  </a:lnTo>
                  <a:lnTo>
                    <a:pt x="135" y="183"/>
                  </a:lnTo>
                  <a:lnTo>
                    <a:pt x="131" y="169"/>
                  </a:lnTo>
                  <a:lnTo>
                    <a:pt x="117" y="115"/>
                  </a:lnTo>
                  <a:lnTo>
                    <a:pt x="126" y="115"/>
                  </a:lnTo>
                  <a:lnTo>
                    <a:pt x="132" y="122"/>
                  </a:lnTo>
                  <a:lnTo>
                    <a:pt x="143" y="120"/>
                  </a:lnTo>
                  <a:lnTo>
                    <a:pt x="146" y="34"/>
                  </a:lnTo>
                  <a:lnTo>
                    <a:pt x="154" y="7"/>
                  </a:lnTo>
                  <a:lnTo>
                    <a:pt x="160" y="0"/>
                  </a:lnTo>
                  <a:lnTo>
                    <a:pt x="185" y="4"/>
                  </a:lnTo>
                  <a:lnTo>
                    <a:pt x="203" y="13"/>
                  </a:lnTo>
                  <a:lnTo>
                    <a:pt x="219" y="12"/>
                  </a:lnTo>
                  <a:lnTo>
                    <a:pt x="220" y="4"/>
                  </a:lnTo>
                  <a:lnTo>
                    <a:pt x="227" y="4"/>
                  </a:lnTo>
                  <a:lnTo>
                    <a:pt x="231" y="9"/>
                  </a:lnTo>
                  <a:close/>
                  <a:moveTo>
                    <a:pt x="144" y="247"/>
                  </a:moveTo>
                  <a:lnTo>
                    <a:pt x="174" y="245"/>
                  </a:lnTo>
                  <a:lnTo>
                    <a:pt x="195" y="259"/>
                  </a:lnTo>
                  <a:lnTo>
                    <a:pt x="198" y="286"/>
                  </a:lnTo>
                  <a:lnTo>
                    <a:pt x="195" y="296"/>
                  </a:lnTo>
                  <a:lnTo>
                    <a:pt x="183" y="304"/>
                  </a:lnTo>
                  <a:lnTo>
                    <a:pt x="173" y="293"/>
                  </a:lnTo>
                  <a:lnTo>
                    <a:pt x="160" y="258"/>
                  </a:lnTo>
                  <a:lnTo>
                    <a:pt x="144" y="247"/>
                  </a:lnTo>
                  <a:close/>
                  <a:moveTo>
                    <a:pt x="123" y="300"/>
                  </a:moveTo>
                  <a:lnTo>
                    <a:pt x="139" y="312"/>
                  </a:lnTo>
                  <a:lnTo>
                    <a:pt x="127" y="310"/>
                  </a:lnTo>
                  <a:lnTo>
                    <a:pt x="123" y="30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53" name="Freeform 10">
              <a:extLst>
                <a:ext uri="{FF2B5EF4-FFF2-40B4-BE49-F238E27FC236}">
                  <a16:creationId xmlns:a16="http://schemas.microsoft.com/office/drawing/2014/main" id="{53E21B61-3DA6-4F44-B4EC-2A8E03720373}"/>
                </a:ext>
              </a:extLst>
            </p:cNvPr>
            <p:cNvSpPr>
              <a:spLocks noChangeAspect="1" noEditPoints="1"/>
            </p:cNvSpPr>
            <p:nvPr/>
          </p:nvSpPr>
          <p:spPr bwMode="gray">
            <a:xfrm>
              <a:off x="7808874" y="4302197"/>
              <a:ext cx="336002" cy="251502"/>
            </a:xfrm>
            <a:custGeom>
              <a:avLst/>
              <a:gdLst>
                <a:gd name="T0" fmla="*/ 5 w 690"/>
                <a:gd name="T1" fmla="*/ 230 h 430"/>
                <a:gd name="T2" fmla="*/ 12 w 690"/>
                <a:gd name="T3" fmla="*/ 359 h 430"/>
                <a:gd name="T4" fmla="*/ 95 w 690"/>
                <a:gd name="T5" fmla="*/ 323 h 430"/>
                <a:gd name="T6" fmla="*/ 136 w 690"/>
                <a:gd name="T7" fmla="*/ 305 h 430"/>
                <a:gd name="T8" fmla="*/ 159 w 690"/>
                <a:gd name="T9" fmla="*/ 283 h 430"/>
                <a:gd name="T10" fmla="*/ 278 w 690"/>
                <a:gd name="T11" fmla="*/ 355 h 430"/>
                <a:gd name="T12" fmla="*/ 416 w 690"/>
                <a:gd name="T13" fmla="*/ 418 h 430"/>
                <a:gd name="T14" fmla="*/ 447 w 690"/>
                <a:gd name="T15" fmla="*/ 421 h 430"/>
                <a:gd name="T16" fmla="*/ 458 w 690"/>
                <a:gd name="T17" fmla="*/ 413 h 430"/>
                <a:gd name="T18" fmla="*/ 408 w 690"/>
                <a:gd name="T19" fmla="*/ 394 h 430"/>
                <a:gd name="T20" fmla="*/ 383 w 690"/>
                <a:gd name="T21" fmla="*/ 357 h 430"/>
                <a:gd name="T22" fmla="*/ 353 w 690"/>
                <a:gd name="T23" fmla="*/ 351 h 430"/>
                <a:gd name="T24" fmla="*/ 325 w 690"/>
                <a:gd name="T25" fmla="*/ 308 h 430"/>
                <a:gd name="T26" fmla="*/ 285 w 690"/>
                <a:gd name="T27" fmla="*/ 250 h 430"/>
                <a:gd name="T28" fmla="*/ 308 w 690"/>
                <a:gd name="T29" fmla="*/ 218 h 430"/>
                <a:gd name="T30" fmla="*/ 212 w 690"/>
                <a:gd name="T31" fmla="*/ 150 h 430"/>
                <a:gd name="T32" fmla="*/ 70 w 690"/>
                <a:gd name="T33" fmla="*/ 85 h 430"/>
                <a:gd name="T34" fmla="*/ 645 w 690"/>
                <a:gd name="T35" fmla="*/ 189 h 430"/>
                <a:gd name="T36" fmla="*/ 676 w 690"/>
                <a:gd name="T37" fmla="*/ 252 h 430"/>
                <a:gd name="T38" fmla="*/ 636 w 690"/>
                <a:gd name="T39" fmla="*/ 203 h 430"/>
                <a:gd name="T40" fmla="*/ 464 w 690"/>
                <a:gd name="T41" fmla="*/ 396 h 430"/>
                <a:gd name="T42" fmla="*/ 469 w 690"/>
                <a:gd name="T43" fmla="*/ 404 h 430"/>
                <a:gd name="T44" fmla="*/ 459 w 690"/>
                <a:gd name="T45" fmla="*/ 376 h 430"/>
                <a:gd name="T46" fmla="*/ 441 w 690"/>
                <a:gd name="T47" fmla="*/ 368 h 430"/>
                <a:gd name="T48" fmla="*/ 552 w 690"/>
                <a:gd name="T49" fmla="*/ 365 h 430"/>
                <a:gd name="T50" fmla="*/ 315 w 690"/>
                <a:gd name="T51" fmla="*/ 193 h 430"/>
                <a:gd name="T52" fmla="*/ 323 w 690"/>
                <a:gd name="T53" fmla="*/ 204 h 430"/>
                <a:gd name="T54" fmla="*/ 289 w 690"/>
                <a:gd name="T55" fmla="*/ 186 h 430"/>
                <a:gd name="T56" fmla="*/ 416 w 690"/>
                <a:gd name="T57" fmla="*/ 52 h 430"/>
                <a:gd name="T58" fmla="*/ 427 w 690"/>
                <a:gd name="T59" fmla="*/ 62 h 430"/>
                <a:gd name="T60" fmla="*/ 283 w 690"/>
                <a:gd name="T61" fmla="*/ 31 h 430"/>
                <a:gd name="T62" fmla="*/ 263 w 690"/>
                <a:gd name="T63" fmla="*/ 42 h 430"/>
                <a:gd name="T64" fmla="*/ 405 w 690"/>
                <a:gd name="T65" fmla="*/ 8 h 430"/>
                <a:gd name="T66" fmla="*/ 456 w 690"/>
                <a:gd name="T67" fmla="*/ 59 h 430"/>
                <a:gd name="T68" fmla="*/ 544 w 690"/>
                <a:gd name="T69" fmla="*/ 118 h 430"/>
                <a:gd name="T70" fmla="*/ 555 w 690"/>
                <a:gd name="T71" fmla="*/ 157 h 430"/>
                <a:gd name="T72" fmla="*/ 527 w 690"/>
                <a:gd name="T73" fmla="*/ 103 h 430"/>
                <a:gd name="T74" fmla="*/ 339 w 690"/>
                <a:gd name="T75" fmla="*/ 190 h 430"/>
                <a:gd name="T76" fmla="*/ 407 w 690"/>
                <a:gd name="T77" fmla="*/ 190 h 430"/>
                <a:gd name="T78" fmla="*/ 421 w 690"/>
                <a:gd name="T79" fmla="*/ 187 h 430"/>
                <a:gd name="T80" fmla="*/ 495 w 690"/>
                <a:gd name="T81" fmla="*/ 162 h 430"/>
                <a:gd name="T82" fmla="*/ 527 w 690"/>
                <a:gd name="T83" fmla="*/ 142 h 430"/>
                <a:gd name="T84" fmla="*/ 517 w 690"/>
                <a:gd name="T85" fmla="*/ 182 h 430"/>
                <a:gd name="T86" fmla="*/ 481 w 690"/>
                <a:gd name="T87" fmla="*/ 213 h 430"/>
                <a:gd name="T88" fmla="*/ 395 w 690"/>
                <a:gd name="T89" fmla="*/ 220 h 430"/>
                <a:gd name="T90" fmla="*/ 339 w 690"/>
                <a:gd name="T91" fmla="*/ 19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90" h="430">
                  <a:moveTo>
                    <a:pt x="2" y="57"/>
                  </a:moveTo>
                  <a:lnTo>
                    <a:pt x="3" y="169"/>
                  </a:lnTo>
                  <a:lnTo>
                    <a:pt x="5" y="230"/>
                  </a:lnTo>
                  <a:lnTo>
                    <a:pt x="0" y="250"/>
                  </a:lnTo>
                  <a:lnTo>
                    <a:pt x="6" y="264"/>
                  </a:lnTo>
                  <a:lnTo>
                    <a:pt x="12" y="359"/>
                  </a:lnTo>
                  <a:lnTo>
                    <a:pt x="85" y="363"/>
                  </a:lnTo>
                  <a:lnTo>
                    <a:pt x="110" y="348"/>
                  </a:lnTo>
                  <a:lnTo>
                    <a:pt x="95" y="323"/>
                  </a:lnTo>
                  <a:lnTo>
                    <a:pt x="117" y="314"/>
                  </a:lnTo>
                  <a:lnTo>
                    <a:pt x="119" y="306"/>
                  </a:lnTo>
                  <a:lnTo>
                    <a:pt x="136" y="305"/>
                  </a:lnTo>
                  <a:lnTo>
                    <a:pt x="130" y="286"/>
                  </a:lnTo>
                  <a:lnTo>
                    <a:pt x="146" y="292"/>
                  </a:lnTo>
                  <a:lnTo>
                    <a:pt x="159" y="283"/>
                  </a:lnTo>
                  <a:lnTo>
                    <a:pt x="244" y="318"/>
                  </a:lnTo>
                  <a:lnTo>
                    <a:pt x="263" y="354"/>
                  </a:lnTo>
                  <a:lnTo>
                    <a:pt x="278" y="355"/>
                  </a:lnTo>
                  <a:lnTo>
                    <a:pt x="278" y="365"/>
                  </a:lnTo>
                  <a:lnTo>
                    <a:pt x="314" y="401"/>
                  </a:lnTo>
                  <a:lnTo>
                    <a:pt x="416" y="418"/>
                  </a:lnTo>
                  <a:lnTo>
                    <a:pt x="419" y="427"/>
                  </a:lnTo>
                  <a:lnTo>
                    <a:pt x="432" y="430"/>
                  </a:lnTo>
                  <a:lnTo>
                    <a:pt x="447" y="421"/>
                  </a:lnTo>
                  <a:lnTo>
                    <a:pt x="433" y="414"/>
                  </a:lnTo>
                  <a:lnTo>
                    <a:pt x="449" y="416"/>
                  </a:lnTo>
                  <a:lnTo>
                    <a:pt x="458" y="413"/>
                  </a:lnTo>
                  <a:lnTo>
                    <a:pt x="456" y="410"/>
                  </a:lnTo>
                  <a:lnTo>
                    <a:pt x="435" y="405"/>
                  </a:lnTo>
                  <a:lnTo>
                    <a:pt x="408" y="394"/>
                  </a:lnTo>
                  <a:lnTo>
                    <a:pt x="419" y="384"/>
                  </a:lnTo>
                  <a:lnTo>
                    <a:pt x="381" y="372"/>
                  </a:lnTo>
                  <a:lnTo>
                    <a:pt x="383" y="357"/>
                  </a:lnTo>
                  <a:lnTo>
                    <a:pt x="379" y="354"/>
                  </a:lnTo>
                  <a:lnTo>
                    <a:pt x="359" y="355"/>
                  </a:lnTo>
                  <a:lnTo>
                    <a:pt x="353" y="351"/>
                  </a:lnTo>
                  <a:lnTo>
                    <a:pt x="334" y="328"/>
                  </a:lnTo>
                  <a:lnTo>
                    <a:pt x="334" y="311"/>
                  </a:lnTo>
                  <a:lnTo>
                    <a:pt x="325" y="308"/>
                  </a:lnTo>
                  <a:lnTo>
                    <a:pt x="294" y="283"/>
                  </a:lnTo>
                  <a:lnTo>
                    <a:pt x="281" y="255"/>
                  </a:lnTo>
                  <a:lnTo>
                    <a:pt x="285" y="250"/>
                  </a:lnTo>
                  <a:lnTo>
                    <a:pt x="319" y="247"/>
                  </a:lnTo>
                  <a:lnTo>
                    <a:pt x="320" y="235"/>
                  </a:lnTo>
                  <a:lnTo>
                    <a:pt x="308" y="218"/>
                  </a:lnTo>
                  <a:lnTo>
                    <a:pt x="227" y="190"/>
                  </a:lnTo>
                  <a:lnTo>
                    <a:pt x="226" y="170"/>
                  </a:lnTo>
                  <a:lnTo>
                    <a:pt x="212" y="150"/>
                  </a:lnTo>
                  <a:lnTo>
                    <a:pt x="170" y="125"/>
                  </a:lnTo>
                  <a:lnTo>
                    <a:pt x="158" y="111"/>
                  </a:lnTo>
                  <a:lnTo>
                    <a:pt x="70" y="85"/>
                  </a:lnTo>
                  <a:lnTo>
                    <a:pt x="2" y="57"/>
                  </a:lnTo>
                  <a:close/>
                  <a:moveTo>
                    <a:pt x="634" y="187"/>
                  </a:moveTo>
                  <a:lnTo>
                    <a:pt x="645" y="189"/>
                  </a:lnTo>
                  <a:lnTo>
                    <a:pt x="688" y="233"/>
                  </a:lnTo>
                  <a:lnTo>
                    <a:pt x="690" y="249"/>
                  </a:lnTo>
                  <a:lnTo>
                    <a:pt x="676" y="252"/>
                  </a:lnTo>
                  <a:lnTo>
                    <a:pt x="661" y="243"/>
                  </a:lnTo>
                  <a:lnTo>
                    <a:pt x="657" y="224"/>
                  </a:lnTo>
                  <a:lnTo>
                    <a:pt x="636" y="203"/>
                  </a:lnTo>
                  <a:lnTo>
                    <a:pt x="634" y="187"/>
                  </a:lnTo>
                  <a:close/>
                  <a:moveTo>
                    <a:pt x="456" y="388"/>
                  </a:moveTo>
                  <a:lnTo>
                    <a:pt x="464" y="396"/>
                  </a:lnTo>
                  <a:lnTo>
                    <a:pt x="475" y="397"/>
                  </a:lnTo>
                  <a:lnTo>
                    <a:pt x="475" y="404"/>
                  </a:lnTo>
                  <a:lnTo>
                    <a:pt x="469" y="404"/>
                  </a:lnTo>
                  <a:lnTo>
                    <a:pt x="456" y="388"/>
                  </a:lnTo>
                  <a:close/>
                  <a:moveTo>
                    <a:pt x="441" y="368"/>
                  </a:moveTo>
                  <a:lnTo>
                    <a:pt x="459" y="376"/>
                  </a:lnTo>
                  <a:lnTo>
                    <a:pt x="461" y="384"/>
                  </a:lnTo>
                  <a:lnTo>
                    <a:pt x="444" y="380"/>
                  </a:lnTo>
                  <a:lnTo>
                    <a:pt x="441" y="368"/>
                  </a:lnTo>
                  <a:close/>
                  <a:moveTo>
                    <a:pt x="537" y="350"/>
                  </a:moveTo>
                  <a:lnTo>
                    <a:pt x="552" y="360"/>
                  </a:lnTo>
                  <a:lnTo>
                    <a:pt x="552" y="365"/>
                  </a:lnTo>
                  <a:lnTo>
                    <a:pt x="547" y="365"/>
                  </a:lnTo>
                  <a:lnTo>
                    <a:pt x="537" y="350"/>
                  </a:lnTo>
                  <a:close/>
                  <a:moveTo>
                    <a:pt x="315" y="193"/>
                  </a:moveTo>
                  <a:lnTo>
                    <a:pt x="327" y="196"/>
                  </a:lnTo>
                  <a:lnTo>
                    <a:pt x="329" y="204"/>
                  </a:lnTo>
                  <a:lnTo>
                    <a:pt x="323" y="204"/>
                  </a:lnTo>
                  <a:lnTo>
                    <a:pt x="315" y="193"/>
                  </a:lnTo>
                  <a:close/>
                  <a:moveTo>
                    <a:pt x="281" y="179"/>
                  </a:moveTo>
                  <a:lnTo>
                    <a:pt x="289" y="186"/>
                  </a:lnTo>
                  <a:lnTo>
                    <a:pt x="286" y="189"/>
                  </a:lnTo>
                  <a:lnTo>
                    <a:pt x="281" y="179"/>
                  </a:lnTo>
                  <a:close/>
                  <a:moveTo>
                    <a:pt x="416" y="52"/>
                  </a:moveTo>
                  <a:lnTo>
                    <a:pt x="433" y="49"/>
                  </a:lnTo>
                  <a:lnTo>
                    <a:pt x="438" y="59"/>
                  </a:lnTo>
                  <a:lnTo>
                    <a:pt x="427" y="62"/>
                  </a:lnTo>
                  <a:lnTo>
                    <a:pt x="416" y="52"/>
                  </a:lnTo>
                  <a:close/>
                  <a:moveTo>
                    <a:pt x="260" y="31"/>
                  </a:moveTo>
                  <a:lnTo>
                    <a:pt x="283" y="31"/>
                  </a:lnTo>
                  <a:lnTo>
                    <a:pt x="278" y="40"/>
                  </a:lnTo>
                  <a:lnTo>
                    <a:pt x="269" y="37"/>
                  </a:lnTo>
                  <a:lnTo>
                    <a:pt x="263" y="42"/>
                  </a:lnTo>
                  <a:lnTo>
                    <a:pt x="260" y="31"/>
                  </a:lnTo>
                  <a:close/>
                  <a:moveTo>
                    <a:pt x="396" y="0"/>
                  </a:moveTo>
                  <a:lnTo>
                    <a:pt x="405" y="8"/>
                  </a:lnTo>
                  <a:lnTo>
                    <a:pt x="402" y="12"/>
                  </a:lnTo>
                  <a:lnTo>
                    <a:pt x="396" y="0"/>
                  </a:lnTo>
                  <a:close/>
                  <a:moveTo>
                    <a:pt x="456" y="59"/>
                  </a:moveTo>
                  <a:lnTo>
                    <a:pt x="500" y="86"/>
                  </a:lnTo>
                  <a:lnTo>
                    <a:pt x="510" y="88"/>
                  </a:lnTo>
                  <a:lnTo>
                    <a:pt x="544" y="118"/>
                  </a:lnTo>
                  <a:lnTo>
                    <a:pt x="554" y="118"/>
                  </a:lnTo>
                  <a:lnTo>
                    <a:pt x="564" y="136"/>
                  </a:lnTo>
                  <a:lnTo>
                    <a:pt x="555" y="157"/>
                  </a:lnTo>
                  <a:lnTo>
                    <a:pt x="547" y="157"/>
                  </a:lnTo>
                  <a:lnTo>
                    <a:pt x="537" y="118"/>
                  </a:lnTo>
                  <a:lnTo>
                    <a:pt x="527" y="103"/>
                  </a:lnTo>
                  <a:lnTo>
                    <a:pt x="456" y="63"/>
                  </a:lnTo>
                  <a:lnTo>
                    <a:pt x="456" y="59"/>
                  </a:lnTo>
                  <a:close/>
                  <a:moveTo>
                    <a:pt x="339" y="190"/>
                  </a:moveTo>
                  <a:lnTo>
                    <a:pt x="344" y="187"/>
                  </a:lnTo>
                  <a:lnTo>
                    <a:pt x="381" y="195"/>
                  </a:lnTo>
                  <a:lnTo>
                    <a:pt x="407" y="190"/>
                  </a:lnTo>
                  <a:lnTo>
                    <a:pt x="413" y="187"/>
                  </a:lnTo>
                  <a:lnTo>
                    <a:pt x="422" y="170"/>
                  </a:lnTo>
                  <a:lnTo>
                    <a:pt x="421" y="187"/>
                  </a:lnTo>
                  <a:lnTo>
                    <a:pt x="452" y="190"/>
                  </a:lnTo>
                  <a:lnTo>
                    <a:pt x="475" y="170"/>
                  </a:lnTo>
                  <a:lnTo>
                    <a:pt x="495" y="162"/>
                  </a:lnTo>
                  <a:lnTo>
                    <a:pt x="492" y="133"/>
                  </a:lnTo>
                  <a:lnTo>
                    <a:pt x="517" y="131"/>
                  </a:lnTo>
                  <a:lnTo>
                    <a:pt x="527" y="142"/>
                  </a:lnTo>
                  <a:lnTo>
                    <a:pt x="526" y="161"/>
                  </a:lnTo>
                  <a:lnTo>
                    <a:pt x="515" y="167"/>
                  </a:lnTo>
                  <a:lnTo>
                    <a:pt x="517" y="182"/>
                  </a:lnTo>
                  <a:lnTo>
                    <a:pt x="510" y="193"/>
                  </a:lnTo>
                  <a:lnTo>
                    <a:pt x="493" y="193"/>
                  </a:lnTo>
                  <a:lnTo>
                    <a:pt x="481" y="213"/>
                  </a:lnTo>
                  <a:lnTo>
                    <a:pt x="450" y="224"/>
                  </a:lnTo>
                  <a:lnTo>
                    <a:pt x="405" y="229"/>
                  </a:lnTo>
                  <a:lnTo>
                    <a:pt x="395" y="220"/>
                  </a:lnTo>
                  <a:lnTo>
                    <a:pt x="379" y="223"/>
                  </a:lnTo>
                  <a:lnTo>
                    <a:pt x="351" y="207"/>
                  </a:lnTo>
                  <a:lnTo>
                    <a:pt x="339" y="19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54" name="Freeform 11">
              <a:extLst>
                <a:ext uri="{FF2B5EF4-FFF2-40B4-BE49-F238E27FC236}">
                  <a16:creationId xmlns:a16="http://schemas.microsoft.com/office/drawing/2014/main" id="{9BC54605-A41B-CE4B-B8D1-6B249DF9ECEE}"/>
                </a:ext>
              </a:extLst>
            </p:cNvPr>
            <p:cNvSpPr>
              <a:spLocks noChangeAspect="1" noEditPoints="1"/>
            </p:cNvSpPr>
            <p:nvPr/>
          </p:nvSpPr>
          <p:spPr bwMode="gray">
            <a:xfrm>
              <a:off x="8157615" y="4442350"/>
              <a:ext cx="213385" cy="145910"/>
            </a:xfrm>
            <a:custGeom>
              <a:avLst/>
              <a:gdLst>
                <a:gd name="T0" fmla="*/ 154 w 439"/>
                <a:gd name="T1" fmla="*/ 240 h 246"/>
                <a:gd name="T2" fmla="*/ 173 w 439"/>
                <a:gd name="T3" fmla="*/ 246 h 246"/>
                <a:gd name="T4" fmla="*/ 422 w 439"/>
                <a:gd name="T5" fmla="*/ 195 h 246"/>
                <a:gd name="T6" fmla="*/ 437 w 439"/>
                <a:gd name="T7" fmla="*/ 190 h 246"/>
                <a:gd name="T8" fmla="*/ 427 w 439"/>
                <a:gd name="T9" fmla="*/ 198 h 246"/>
                <a:gd name="T10" fmla="*/ 227 w 439"/>
                <a:gd name="T11" fmla="*/ 167 h 246"/>
                <a:gd name="T12" fmla="*/ 269 w 439"/>
                <a:gd name="T13" fmla="*/ 194 h 246"/>
                <a:gd name="T14" fmla="*/ 247 w 439"/>
                <a:gd name="T15" fmla="*/ 190 h 246"/>
                <a:gd name="T16" fmla="*/ 142 w 439"/>
                <a:gd name="T17" fmla="*/ 124 h 246"/>
                <a:gd name="T18" fmla="*/ 201 w 439"/>
                <a:gd name="T19" fmla="*/ 143 h 246"/>
                <a:gd name="T20" fmla="*/ 196 w 439"/>
                <a:gd name="T21" fmla="*/ 153 h 246"/>
                <a:gd name="T22" fmla="*/ 142 w 439"/>
                <a:gd name="T23" fmla="*/ 135 h 246"/>
                <a:gd name="T24" fmla="*/ 170 w 439"/>
                <a:gd name="T25" fmla="*/ 110 h 246"/>
                <a:gd name="T26" fmla="*/ 181 w 439"/>
                <a:gd name="T27" fmla="*/ 118 h 246"/>
                <a:gd name="T28" fmla="*/ 195 w 439"/>
                <a:gd name="T29" fmla="*/ 84 h 246"/>
                <a:gd name="T30" fmla="*/ 201 w 439"/>
                <a:gd name="T31" fmla="*/ 84 h 246"/>
                <a:gd name="T32" fmla="*/ 222 w 439"/>
                <a:gd name="T33" fmla="*/ 118 h 246"/>
                <a:gd name="T34" fmla="*/ 230 w 439"/>
                <a:gd name="T35" fmla="*/ 126 h 246"/>
                <a:gd name="T36" fmla="*/ 210 w 439"/>
                <a:gd name="T37" fmla="*/ 121 h 246"/>
                <a:gd name="T38" fmla="*/ 94 w 439"/>
                <a:gd name="T39" fmla="*/ 43 h 246"/>
                <a:gd name="T40" fmla="*/ 154 w 439"/>
                <a:gd name="T41" fmla="*/ 85 h 246"/>
                <a:gd name="T42" fmla="*/ 94 w 439"/>
                <a:gd name="T43" fmla="*/ 43 h 246"/>
                <a:gd name="T44" fmla="*/ 72 w 439"/>
                <a:gd name="T45" fmla="*/ 88 h 246"/>
                <a:gd name="T46" fmla="*/ 68 w 439"/>
                <a:gd name="T47" fmla="*/ 93 h 246"/>
                <a:gd name="T48" fmla="*/ 40 w 439"/>
                <a:gd name="T49" fmla="*/ 84 h 246"/>
                <a:gd name="T50" fmla="*/ 37 w 439"/>
                <a:gd name="T51" fmla="*/ 90 h 246"/>
                <a:gd name="T52" fmla="*/ 37 w 439"/>
                <a:gd name="T53" fmla="*/ 65 h 246"/>
                <a:gd name="T54" fmla="*/ 59 w 439"/>
                <a:gd name="T55" fmla="*/ 77 h 246"/>
                <a:gd name="T56" fmla="*/ 35 w 439"/>
                <a:gd name="T57" fmla="*/ 73 h 246"/>
                <a:gd name="T58" fmla="*/ 30 w 439"/>
                <a:gd name="T59" fmla="*/ 67 h 246"/>
                <a:gd name="T60" fmla="*/ 23 w 439"/>
                <a:gd name="T61" fmla="*/ 55 h 246"/>
                <a:gd name="T62" fmla="*/ 3 w 439"/>
                <a:gd name="T63" fmla="*/ 42 h 246"/>
                <a:gd name="T64" fmla="*/ 10 w 439"/>
                <a:gd name="T65" fmla="*/ 60 h 246"/>
                <a:gd name="T66" fmla="*/ 0 w 439"/>
                <a:gd name="T67" fmla="*/ 0 h 246"/>
                <a:gd name="T68" fmla="*/ 47 w 439"/>
                <a:gd name="T69" fmla="*/ 31 h 246"/>
                <a:gd name="T70" fmla="*/ 0 w 439"/>
                <a:gd name="T7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9" h="246">
                  <a:moveTo>
                    <a:pt x="156" y="243"/>
                  </a:moveTo>
                  <a:lnTo>
                    <a:pt x="154" y="240"/>
                  </a:lnTo>
                  <a:lnTo>
                    <a:pt x="161" y="237"/>
                  </a:lnTo>
                  <a:lnTo>
                    <a:pt x="173" y="246"/>
                  </a:lnTo>
                  <a:lnTo>
                    <a:pt x="156" y="243"/>
                  </a:lnTo>
                  <a:close/>
                  <a:moveTo>
                    <a:pt x="422" y="195"/>
                  </a:moveTo>
                  <a:lnTo>
                    <a:pt x="427" y="189"/>
                  </a:lnTo>
                  <a:lnTo>
                    <a:pt x="437" y="190"/>
                  </a:lnTo>
                  <a:lnTo>
                    <a:pt x="439" y="194"/>
                  </a:lnTo>
                  <a:lnTo>
                    <a:pt x="427" y="198"/>
                  </a:lnTo>
                  <a:lnTo>
                    <a:pt x="422" y="195"/>
                  </a:lnTo>
                  <a:close/>
                  <a:moveTo>
                    <a:pt x="227" y="167"/>
                  </a:moveTo>
                  <a:lnTo>
                    <a:pt x="258" y="178"/>
                  </a:lnTo>
                  <a:lnTo>
                    <a:pt x="269" y="194"/>
                  </a:lnTo>
                  <a:lnTo>
                    <a:pt x="266" y="197"/>
                  </a:lnTo>
                  <a:lnTo>
                    <a:pt x="247" y="190"/>
                  </a:lnTo>
                  <a:lnTo>
                    <a:pt x="227" y="167"/>
                  </a:lnTo>
                  <a:close/>
                  <a:moveTo>
                    <a:pt x="142" y="124"/>
                  </a:moveTo>
                  <a:lnTo>
                    <a:pt x="178" y="127"/>
                  </a:lnTo>
                  <a:lnTo>
                    <a:pt x="201" y="143"/>
                  </a:lnTo>
                  <a:lnTo>
                    <a:pt x="201" y="150"/>
                  </a:lnTo>
                  <a:lnTo>
                    <a:pt x="196" y="153"/>
                  </a:lnTo>
                  <a:lnTo>
                    <a:pt x="161" y="150"/>
                  </a:lnTo>
                  <a:lnTo>
                    <a:pt x="142" y="135"/>
                  </a:lnTo>
                  <a:lnTo>
                    <a:pt x="142" y="124"/>
                  </a:lnTo>
                  <a:close/>
                  <a:moveTo>
                    <a:pt x="170" y="110"/>
                  </a:moveTo>
                  <a:lnTo>
                    <a:pt x="178" y="109"/>
                  </a:lnTo>
                  <a:lnTo>
                    <a:pt x="181" y="118"/>
                  </a:lnTo>
                  <a:lnTo>
                    <a:pt x="170" y="110"/>
                  </a:lnTo>
                  <a:close/>
                  <a:moveTo>
                    <a:pt x="195" y="84"/>
                  </a:moveTo>
                  <a:lnTo>
                    <a:pt x="196" y="80"/>
                  </a:lnTo>
                  <a:lnTo>
                    <a:pt x="201" y="84"/>
                  </a:lnTo>
                  <a:lnTo>
                    <a:pt x="208" y="101"/>
                  </a:lnTo>
                  <a:lnTo>
                    <a:pt x="222" y="118"/>
                  </a:lnTo>
                  <a:lnTo>
                    <a:pt x="222" y="124"/>
                  </a:lnTo>
                  <a:lnTo>
                    <a:pt x="230" y="126"/>
                  </a:lnTo>
                  <a:lnTo>
                    <a:pt x="233" y="139"/>
                  </a:lnTo>
                  <a:lnTo>
                    <a:pt x="210" y="121"/>
                  </a:lnTo>
                  <a:lnTo>
                    <a:pt x="195" y="84"/>
                  </a:lnTo>
                  <a:close/>
                  <a:moveTo>
                    <a:pt x="94" y="43"/>
                  </a:moveTo>
                  <a:lnTo>
                    <a:pt x="148" y="72"/>
                  </a:lnTo>
                  <a:lnTo>
                    <a:pt x="154" y="85"/>
                  </a:lnTo>
                  <a:lnTo>
                    <a:pt x="108" y="59"/>
                  </a:lnTo>
                  <a:lnTo>
                    <a:pt x="94" y="43"/>
                  </a:lnTo>
                  <a:close/>
                  <a:moveTo>
                    <a:pt x="68" y="93"/>
                  </a:moveTo>
                  <a:lnTo>
                    <a:pt x="72" y="88"/>
                  </a:lnTo>
                  <a:lnTo>
                    <a:pt x="72" y="93"/>
                  </a:lnTo>
                  <a:lnTo>
                    <a:pt x="68" y="93"/>
                  </a:lnTo>
                  <a:close/>
                  <a:moveTo>
                    <a:pt x="37" y="90"/>
                  </a:moveTo>
                  <a:lnTo>
                    <a:pt x="40" y="84"/>
                  </a:lnTo>
                  <a:lnTo>
                    <a:pt x="40" y="93"/>
                  </a:lnTo>
                  <a:lnTo>
                    <a:pt x="37" y="90"/>
                  </a:lnTo>
                  <a:close/>
                  <a:moveTo>
                    <a:pt x="35" y="73"/>
                  </a:moveTo>
                  <a:lnTo>
                    <a:pt x="37" y="65"/>
                  </a:lnTo>
                  <a:lnTo>
                    <a:pt x="47" y="64"/>
                  </a:lnTo>
                  <a:lnTo>
                    <a:pt x="59" y="77"/>
                  </a:lnTo>
                  <a:lnTo>
                    <a:pt x="63" y="87"/>
                  </a:lnTo>
                  <a:lnTo>
                    <a:pt x="35" y="73"/>
                  </a:lnTo>
                  <a:close/>
                  <a:moveTo>
                    <a:pt x="29" y="59"/>
                  </a:moveTo>
                  <a:lnTo>
                    <a:pt x="30" y="67"/>
                  </a:lnTo>
                  <a:lnTo>
                    <a:pt x="27" y="68"/>
                  </a:lnTo>
                  <a:lnTo>
                    <a:pt x="23" y="55"/>
                  </a:lnTo>
                  <a:lnTo>
                    <a:pt x="29" y="59"/>
                  </a:lnTo>
                  <a:close/>
                  <a:moveTo>
                    <a:pt x="3" y="42"/>
                  </a:moveTo>
                  <a:lnTo>
                    <a:pt x="13" y="51"/>
                  </a:lnTo>
                  <a:lnTo>
                    <a:pt x="10" y="60"/>
                  </a:lnTo>
                  <a:lnTo>
                    <a:pt x="3" y="42"/>
                  </a:lnTo>
                  <a:close/>
                  <a:moveTo>
                    <a:pt x="0" y="0"/>
                  </a:moveTo>
                  <a:lnTo>
                    <a:pt x="21" y="9"/>
                  </a:lnTo>
                  <a:lnTo>
                    <a:pt x="47" y="31"/>
                  </a:lnTo>
                  <a:lnTo>
                    <a:pt x="20" y="25"/>
                  </a:lnTo>
                  <a:lnTo>
                    <a:pt x="0" y="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77" name="Freeform 12">
              <a:extLst>
                <a:ext uri="{FF2B5EF4-FFF2-40B4-BE49-F238E27FC236}">
                  <a16:creationId xmlns:a16="http://schemas.microsoft.com/office/drawing/2014/main" id="{064FCD09-C6FE-CB41-8526-24DE4FDA37C0}"/>
                </a:ext>
              </a:extLst>
            </p:cNvPr>
            <p:cNvSpPr>
              <a:spLocks noChangeAspect="1" noEditPoints="1"/>
            </p:cNvSpPr>
            <p:nvPr/>
          </p:nvSpPr>
          <p:spPr bwMode="gray">
            <a:xfrm>
              <a:off x="8378963" y="4665056"/>
              <a:ext cx="62104" cy="140149"/>
            </a:xfrm>
            <a:custGeom>
              <a:avLst/>
              <a:gdLst>
                <a:gd name="T0" fmla="*/ 0 w 128"/>
                <a:gd name="T1" fmla="*/ 0 h 234"/>
                <a:gd name="T2" fmla="*/ 8 w 128"/>
                <a:gd name="T3" fmla="*/ 22 h 234"/>
                <a:gd name="T4" fmla="*/ 22 w 128"/>
                <a:gd name="T5" fmla="*/ 14 h 234"/>
                <a:gd name="T6" fmla="*/ 25 w 128"/>
                <a:gd name="T7" fmla="*/ 38 h 234"/>
                <a:gd name="T8" fmla="*/ 9 w 128"/>
                <a:gd name="T9" fmla="*/ 42 h 234"/>
                <a:gd name="T10" fmla="*/ 0 w 128"/>
                <a:gd name="T11" fmla="*/ 0 h 234"/>
                <a:gd name="T12" fmla="*/ 121 w 128"/>
                <a:gd name="T13" fmla="*/ 223 h 234"/>
                <a:gd name="T14" fmla="*/ 128 w 128"/>
                <a:gd name="T15" fmla="*/ 228 h 234"/>
                <a:gd name="T16" fmla="*/ 127 w 128"/>
                <a:gd name="T17" fmla="*/ 234 h 234"/>
                <a:gd name="T18" fmla="*/ 119 w 128"/>
                <a:gd name="T19" fmla="*/ 228 h 234"/>
                <a:gd name="T20" fmla="*/ 121 w 128"/>
                <a:gd name="T21" fmla="*/ 223 h 234"/>
                <a:gd name="T22" fmla="*/ 110 w 128"/>
                <a:gd name="T23" fmla="*/ 187 h 234"/>
                <a:gd name="T24" fmla="*/ 114 w 128"/>
                <a:gd name="T25" fmla="*/ 187 h 234"/>
                <a:gd name="T26" fmla="*/ 118 w 128"/>
                <a:gd name="T27" fmla="*/ 203 h 234"/>
                <a:gd name="T28" fmla="*/ 111 w 128"/>
                <a:gd name="T29" fmla="*/ 197 h 234"/>
                <a:gd name="T30" fmla="*/ 110 w 128"/>
                <a:gd name="T31" fmla="*/ 187 h 234"/>
                <a:gd name="T32" fmla="*/ 111 w 128"/>
                <a:gd name="T33" fmla="*/ 197 h 234"/>
                <a:gd name="T34" fmla="*/ 110 w 128"/>
                <a:gd name="T35" fmla="*/ 187 h 234"/>
                <a:gd name="T36" fmla="*/ 84 w 128"/>
                <a:gd name="T37" fmla="*/ 135 h 234"/>
                <a:gd name="T38" fmla="*/ 90 w 128"/>
                <a:gd name="T39" fmla="*/ 144 h 234"/>
                <a:gd name="T40" fmla="*/ 77 w 128"/>
                <a:gd name="T41" fmla="*/ 146 h 234"/>
                <a:gd name="T42" fmla="*/ 76 w 128"/>
                <a:gd name="T43" fmla="*/ 140 h 234"/>
                <a:gd name="T44" fmla="*/ 84 w 128"/>
                <a:gd name="T45" fmla="*/ 135 h 234"/>
                <a:gd name="T46" fmla="*/ 71 w 128"/>
                <a:gd name="T47" fmla="*/ 65 h 234"/>
                <a:gd name="T48" fmla="*/ 77 w 128"/>
                <a:gd name="T49" fmla="*/ 77 h 234"/>
                <a:gd name="T50" fmla="*/ 68 w 128"/>
                <a:gd name="T51" fmla="*/ 77 h 234"/>
                <a:gd name="T52" fmla="*/ 62 w 128"/>
                <a:gd name="T53" fmla="*/ 72 h 234"/>
                <a:gd name="T54" fmla="*/ 71 w 128"/>
                <a:gd name="T55" fmla="*/ 65 h 234"/>
                <a:gd name="T56" fmla="*/ 73 w 128"/>
                <a:gd name="T57" fmla="*/ 36 h 234"/>
                <a:gd name="T58" fmla="*/ 76 w 128"/>
                <a:gd name="T59" fmla="*/ 56 h 234"/>
                <a:gd name="T60" fmla="*/ 73 w 128"/>
                <a:gd name="T61" fmla="*/ 36 h 234"/>
                <a:gd name="T62" fmla="*/ 26 w 128"/>
                <a:gd name="T63" fmla="*/ 55 h 234"/>
                <a:gd name="T64" fmla="*/ 50 w 128"/>
                <a:gd name="T65" fmla="*/ 76 h 234"/>
                <a:gd name="T66" fmla="*/ 52 w 128"/>
                <a:gd name="T67" fmla="*/ 84 h 234"/>
                <a:gd name="T68" fmla="*/ 39 w 128"/>
                <a:gd name="T69" fmla="*/ 84 h 234"/>
                <a:gd name="T70" fmla="*/ 35 w 128"/>
                <a:gd name="T71" fmla="*/ 64 h 234"/>
                <a:gd name="T72" fmla="*/ 28 w 128"/>
                <a:gd name="T73" fmla="*/ 62 h 234"/>
                <a:gd name="T74" fmla="*/ 26 w 128"/>
                <a:gd name="T75" fmla="*/ 5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 h="234">
                  <a:moveTo>
                    <a:pt x="0" y="0"/>
                  </a:moveTo>
                  <a:lnTo>
                    <a:pt x="8" y="22"/>
                  </a:lnTo>
                  <a:lnTo>
                    <a:pt x="22" y="14"/>
                  </a:lnTo>
                  <a:lnTo>
                    <a:pt x="25" y="38"/>
                  </a:lnTo>
                  <a:lnTo>
                    <a:pt x="9" y="42"/>
                  </a:lnTo>
                  <a:lnTo>
                    <a:pt x="0" y="0"/>
                  </a:lnTo>
                  <a:close/>
                  <a:moveTo>
                    <a:pt x="121" y="223"/>
                  </a:moveTo>
                  <a:lnTo>
                    <a:pt x="128" y="228"/>
                  </a:lnTo>
                  <a:lnTo>
                    <a:pt x="127" y="234"/>
                  </a:lnTo>
                  <a:lnTo>
                    <a:pt x="119" y="228"/>
                  </a:lnTo>
                  <a:lnTo>
                    <a:pt x="121" y="223"/>
                  </a:lnTo>
                  <a:close/>
                  <a:moveTo>
                    <a:pt x="110" y="187"/>
                  </a:moveTo>
                  <a:lnTo>
                    <a:pt x="114" y="187"/>
                  </a:lnTo>
                  <a:lnTo>
                    <a:pt x="118" y="203"/>
                  </a:lnTo>
                  <a:lnTo>
                    <a:pt x="111" y="197"/>
                  </a:lnTo>
                  <a:lnTo>
                    <a:pt x="110" y="187"/>
                  </a:lnTo>
                  <a:lnTo>
                    <a:pt x="111" y="197"/>
                  </a:lnTo>
                  <a:lnTo>
                    <a:pt x="110" y="187"/>
                  </a:lnTo>
                  <a:close/>
                  <a:moveTo>
                    <a:pt x="84" y="135"/>
                  </a:moveTo>
                  <a:lnTo>
                    <a:pt x="90" y="144"/>
                  </a:lnTo>
                  <a:lnTo>
                    <a:pt x="77" y="146"/>
                  </a:lnTo>
                  <a:lnTo>
                    <a:pt x="76" y="140"/>
                  </a:lnTo>
                  <a:lnTo>
                    <a:pt x="84" y="135"/>
                  </a:lnTo>
                  <a:close/>
                  <a:moveTo>
                    <a:pt x="71" y="65"/>
                  </a:moveTo>
                  <a:lnTo>
                    <a:pt x="77" y="77"/>
                  </a:lnTo>
                  <a:lnTo>
                    <a:pt x="68" y="77"/>
                  </a:lnTo>
                  <a:lnTo>
                    <a:pt x="62" y="72"/>
                  </a:lnTo>
                  <a:lnTo>
                    <a:pt x="71" y="65"/>
                  </a:lnTo>
                  <a:close/>
                  <a:moveTo>
                    <a:pt x="73" y="36"/>
                  </a:moveTo>
                  <a:lnTo>
                    <a:pt x="76" y="56"/>
                  </a:lnTo>
                  <a:lnTo>
                    <a:pt x="73" y="36"/>
                  </a:lnTo>
                  <a:close/>
                  <a:moveTo>
                    <a:pt x="26" y="55"/>
                  </a:moveTo>
                  <a:lnTo>
                    <a:pt x="50" y="76"/>
                  </a:lnTo>
                  <a:lnTo>
                    <a:pt x="52" y="84"/>
                  </a:lnTo>
                  <a:lnTo>
                    <a:pt x="39" y="84"/>
                  </a:lnTo>
                  <a:lnTo>
                    <a:pt x="35" y="64"/>
                  </a:lnTo>
                  <a:lnTo>
                    <a:pt x="28" y="62"/>
                  </a:lnTo>
                  <a:lnTo>
                    <a:pt x="26" y="55"/>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80" name="Freeform 13">
              <a:extLst>
                <a:ext uri="{FF2B5EF4-FFF2-40B4-BE49-F238E27FC236}">
                  <a16:creationId xmlns:a16="http://schemas.microsoft.com/office/drawing/2014/main" id="{B5C5ABAE-1B87-E64B-A924-DAE1F26343AB}"/>
                </a:ext>
              </a:extLst>
            </p:cNvPr>
            <p:cNvSpPr>
              <a:spLocks noChangeAspect="1" noEditPoints="1"/>
            </p:cNvSpPr>
            <p:nvPr/>
          </p:nvSpPr>
          <p:spPr bwMode="gray">
            <a:xfrm>
              <a:off x="8323227" y="4820563"/>
              <a:ext cx="89176" cy="67194"/>
            </a:xfrm>
            <a:custGeom>
              <a:avLst/>
              <a:gdLst>
                <a:gd name="T0" fmla="*/ 51 w 185"/>
                <a:gd name="T1" fmla="*/ 57 h 110"/>
                <a:gd name="T2" fmla="*/ 33 w 185"/>
                <a:gd name="T3" fmla="*/ 49 h 110"/>
                <a:gd name="T4" fmla="*/ 5 w 185"/>
                <a:gd name="T5" fmla="*/ 14 h 110"/>
                <a:gd name="T6" fmla="*/ 0 w 185"/>
                <a:gd name="T7" fmla="*/ 0 h 110"/>
                <a:gd name="T8" fmla="*/ 17 w 185"/>
                <a:gd name="T9" fmla="*/ 1 h 110"/>
                <a:gd name="T10" fmla="*/ 34 w 185"/>
                <a:gd name="T11" fmla="*/ 12 h 110"/>
                <a:gd name="T12" fmla="*/ 38 w 185"/>
                <a:gd name="T13" fmla="*/ 20 h 110"/>
                <a:gd name="T14" fmla="*/ 50 w 185"/>
                <a:gd name="T15" fmla="*/ 23 h 110"/>
                <a:gd name="T16" fmla="*/ 64 w 185"/>
                <a:gd name="T17" fmla="*/ 48 h 110"/>
                <a:gd name="T18" fmla="*/ 85 w 185"/>
                <a:gd name="T19" fmla="*/ 68 h 110"/>
                <a:gd name="T20" fmla="*/ 104 w 185"/>
                <a:gd name="T21" fmla="*/ 71 h 110"/>
                <a:gd name="T22" fmla="*/ 121 w 185"/>
                <a:gd name="T23" fmla="*/ 90 h 110"/>
                <a:gd name="T24" fmla="*/ 132 w 185"/>
                <a:gd name="T25" fmla="*/ 94 h 110"/>
                <a:gd name="T26" fmla="*/ 135 w 185"/>
                <a:gd name="T27" fmla="*/ 102 h 110"/>
                <a:gd name="T28" fmla="*/ 127 w 185"/>
                <a:gd name="T29" fmla="*/ 110 h 110"/>
                <a:gd name="T30" fmla="*/ 118 w 185"/>
                <a:gd name="T31" fmla="*/ 99 h 110"/>
                <a:gd name="T32" fmla="*/ 99 w 185"/>
                <a:gd name="T33" fmla="*/ 94 h 110"/>
                <a:gd name="T34" fmla="*/ 95 w 185"/>
                <a:gd name="T35" fmla="*/ 86 h 110"/>
                <a:gd name="T36" fmla="*/ 56 w 185"/>
                <a:gd name="T37" fmla="*/ 68 h 110"/>
                <a:gd name="T38" fmla="*/ 51 w 185"/>
                <a:gd name="T39" fmla="*/ 57 h 110"/>
                <a:gd name="T40" fmla="*/ 175 w 185"/>
                <a:gd name="T41" fmla="*/ 59 h 110"/>
                <a:gd name="T42" fmla="*/ 185 w 185"/>
                <a:gd name="T43" fmla="*/ 59 h 110"/>
                <a:gd name="T44" fmla="*/ 185 w 185"/>
                <a:gd name="T45" fmla="*/ 69 h 110"/>
                <a:gd name="T46" fmla="*/ 180 w 185"/>
                <a:gd name="T47" fmla="*/ 68 h 110"/>
                <a:gd name="T48" fmla="*/ 175 w 185"/>
                <a:gd name="T49" fmla="*/ 59 h 110"/>
                <a:gd name="T50" fmla="*/ 143 w 185"/>
                <a:gd name="T51" fmla="*/ 27 h 110"/>
                <a:gd name="T52" fmla="*/ 149 w 185"/>
                <a:gd name="T53" fmla="*/ 29 h 110"/>
                <a:gd name="T54" fmla="*/ 155 w 185"/>
                <a:gd name="T55" fmla="*/ 46 h 110"/>
                <a:gd name="T56" fmla="*/ 143 w 185"/>
                <a:gd name="T57" fmla="*/ 40 h 110"/>
                <a:gd name="T58" fmla="*/ 143 w 185"/>
                <a:gd name="T59" fmla="*/ 2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5" h="110">
                  <a:moveTo>
                    <a:pt x="51" y="57"/>
                  </a:moveTo>
                  <a:lnTo>
                    <a:pt x="33" y="49"/>
                  </a:lnTo>
                  <a:lnTo>
                    <a:pt x="5" y="14"/>
                  </a:lnTo>
                  <a:lnTo>
                    <a:pt x="0" y="0"/>
                  </a:lnTo>
                  <a:lnTo>
                    <a:pt x="17" y="1"/>
                  </a:lnTo>
                  <a:lnTo>
                    <a:pt x="34" y="12"/>
                  </a:lnTo>
                  <a:lnTo>
                    <a:pt x="38" y="20"/>
                  </a:lnTo>
                  <a:lnTo>
                    <a:pt x="50" y="23"/>
                  </a:lnTo>
                  <a:lnTo>
                    <a:pt x="64" y="48"/>
                  </a:lnTo>
                  <a:lnTo>
                    <a:pt x="85" y="68"/>
                  </a:lnTo>
                  <a:lnTo>
                    <a:pt x="104" y="71"/>
                  </a:lnTo>
                  <a:lnTo>
                    <a:pt x="121" y="90"/>
                  </a:lnTo>
                  <a:lnTo>
                    <a:pt x="132" y="94"/>
                  </a:lnTo>
                  <a:lnTo>
                    <a:pt x="135" y="102"/>
                  </a:lnTo>
                  <a:lnTo>
                    <a:pt x="127" y="110"/>
                  </a:lnTo>
                  <a:lnTo>
                    <a:pt x="118" y="99"/>
                  </a:lnTo>
                  <a:lnTo>
                    <a:pt x="99" y="94"/>
                  </a:lnTo>
                  <a:lnTo>
                    <a:pt x="95" y="86"/>
                  </a:lnTo>
                  <a:lnTo>
                    <a:pt x="56" y="68"/>
                  </a:lnTo>
                  <a:lnTo>
                    <a:pt x="51" y="57"/>
                  </a:lnTo>
                  <a:close/>
                  <a:moveTo>
                    <a:pt x="175" y="59"/>
                  </a:moveTo>
                  <a:lnTo>
                    <a:pt x="185" y="59"/>
                  </a:lnTo>
                  <a:lnTo>
                    <a:pt x="185" y="69"/>
                  </a:lnTo>
                  <a:lnTo>
                    <a:pt x="180" y="68"/>
                  </a:lnTo>
                  <a:lnTo>
                    <a:pt x="175" y="59"/>
                  </a:lnTo>
                  <a:close/>
                  <a:moveTo>
                    <a:pt x="143" y="27"/>
                  </a:moveTo>
                  <a:lnTo>
                    <a:pt x="149" y="29"/>
                  </a:lnTo>
                  <a:lnTo>
                    <a:pt x="155" y="46"/>
                  </a:lnTo>
                  <a:lnTo>
                    <a:pt x="143" y="40"/>
                  </a:lnTo>
                  <a:lnTo>
                    <a:pt x="143" y="27"/>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82" name="Freeform 14">
              <a:extLst>
                <a:ext uri="{FF2B5EF4-FFF2-40B4-BE49-F238E27FC236}">
                  <a16:creationId xmlns:a16="http://schemas.microsoft.com/office/drawing/2014/main" id="{54D35A81-AE65-2F4B-B8FE-83DBBF784BE2}"/>
                </a:ext>
              </a:extLst>
            </p:cNvPr>
            <p:cNvSpPr>
              <a:spLocks noChangeAspect="1" noEditPoints="1"/>
            </p:cNvSpPr>
            <p:nvPr/>
          </p:nvSpPr>
          <p:spPr bwMode="gray">
            <a:xfrm>
              <a:off x="8619418" y="4705370"/>
              <a:ext cx="60513" cy="59517"/>
            </a:xfrm>
            <a:custGeom>
              <a:avLst/>
              <a:gdLst>
                <a:gd name="T0" fmla="*/ 31 w 124"/>
                <a:gd name="T1" fmla="*/ 59 h 101"/>
                <a:gd name="T2" fmla="*/ 40 w 124"/>
                <a:gd name="T3" fmla="*/ 58 h 101"/>
                <a:gd name="T4" fmla="*/ 53 w 124"/>
                <a:gd name="T5" fmla="*/ 67 h 101"/>
                <a:gd name="T6" fmla="*/ 59 w 124"/>
                <a:gd name="T7" fmla="*/ 93 h 101"/>
                <a:gd name="T8" fmla="*/ 34 w 124"/>
                <a:gd name="T9" fmla="*/ 101 h 101"/>
                <a:gd name="T10" fmla="*/ 0 w 124"/>
                <a:gd name="T11" fmla="*/ 90 h 101"/>
                <a:gd name="T12" fmla="*/ 3 w 124"/>
                <a:gd name="T13" fmla="*/ 72 h 101"/>
                <a:gd name="T14" fmla="*/ 14 w 124"/>
                <a:gd name="T15" fmla="*/ 64 h 101"/>
                <a:gd name="T16" fmla="*/ 31 w 124"/>
                <a:gd name="T17" fmla="*/ 59 h 101"/>
                <a:gd name="T18" fmla="*/ 74 w 124"/>
                <a:gd name="T19" fmla="*/ 14 h 101"/>
                <a:gd name="T20" fmla="*/ 79 w 124"/>
                <a:gd name="T21" fmla="*/ 17 h 101"/>
                <a:gd name="T22" fmla="*/ 107 w 124"/>
                <a:gd name="T23" fmla="*/ 4 h 101"/>
                <a:gd name="T24" fmla="*/ 124 w 124"/>
                <a:gd name="T25" fmla="*/ 0 h 101"/>
                <a:gd name="T26" fmla="*/ 117 w 124"/>
                <a:gd name="T27" fmla="*/ 14 h 101"/>
                <a:gd name="T28" fmla="*/ 119 w 124"/>
                <a:gd name="T29" fmla="*/ 30 h 101"/>
                <a:gd name="T30" fmla="*/ 93 w 124"/>
                <a:gd name="T31" fmla="*/ 30 h 101"/>
                <a:gd name="T32" fmla="*/ 90 w 124"/>
                <a:gd name="T33" fmla="*/ 24 h 101"/>
                <a:gd name="T34" fmla="*/ 82 w 124"/>
                <a:gd name="T35" fmla="*/ 36 h 101"/>
                <a:gd name="T36" fmla="*/ 70 w 124"/>
                <a:gd name="T37" fmla="*/ 39 h 101"/>
                <a:gd name="T38" fmla="*/ 56 w 124"/>
                <a:gd name="T39" fmla="*/ 30 h 101"/>
                <a:gd name="T40" fmla="*/ 56 w 124"/>
                <a:gd name="T41" fmla="*/ 24 h 101"/>
                <a:gd name="T42" fmla="*/ 74 w 124"/>
                <a:gd name="T43" fmla="*/ 1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4" h="101">
                  <a:moveTo>
                    <a:pt x="31" y="59"/>
                  </a:moveTo>
                  <a:lnTo>
                    <a:pt x="40" y="58"/>
                  </a:lnTo>
                  <a:lnTo>
                    <a:pt x="53" y="67"/>
                  </a:lnTo>
                  <a:lnTo>
                    <a:pt x="59" y="93"/>
                  </a:lnTo>
                  <a:lnTo>
                    <a:pt x="34" y="101"/>
                  </a:lnTo>
                  <a:lnTo>
                    <a:pt x="0" y="90"/>
                  </a:lnTo>
                  <a:lnTo>
                    <a:pt x="3" y="72"/>
                  </a:lnTo>
                  <a:lnTo>
                    <a:pt x="14" y="64"/>
                  </a:lnTo>
                  <a:lnTo>
                    <a:pt x="31" y="59"/>
                  </a:lnTo>
                  <a:close/>
                  <a:moveTo>
                    <a:pt x="74" y="14"/>
                  </a:moveTo>
                  <a:lnTo>
                    <a:pt x="79" y="17"/>
                  </a:lnTo>
                  <a:lnTo>
                    <a:pt x="107" y="4"/>
                  </a:lnTo>
                  <a:lnTo>
                    <a:pt x="124" y="0"/>
                  </a:lnTo>
                  <a:lnTo>
                    <a:pt x="117" y="14"/>
                  </a:lnTo>
                  <a:lnTo>
                    <a:pt x="119" y="30"/>
                  </a:lnTo>
                  <a:lnTo>
                    <a:pt x="93" y="30"/>
                  </a:lnTo>
                  <a:lnTo>
                    <a:pt x="90" y="24"/>
                  </a:lnTo>
                  <a:lnTo>
                    <a:pt x="82" y="36"/>
                  </a:lnTo>
                  <a:lnTo>
                    <a:pt x="70" y="39"/>
                  </a:lnTo>
                  <a:lnTo>
                    <a:pt x="56" y="30"/>
                  </a:lnTo>
                  <a:lnTo>
                    <a:pt x="56" y="24"/>
                  </a:lnTo>
                  <a:lnTo>
                    <a:pt x="74" y="14"/>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83" name="Freeform 15">
              <a:extLst>
                <a:ext uri="{FF2B5EF4-FFF2-40B4-BE49-F238E27FC236}">
                  <a16:creationId xmlns:a16="http://schemas.microsoft.com/office/drawing/2014/main" id="{A73D7B8D-A37B-684A-BA00-FA36743D5C57}"/>
                </a:ext>
              </a:extLst>
            </p:cNvPr>
            <p:cNvSpPr>
              <a:spLocks noChangeAspect="1" noEditPoints="1"/>
            </p:cNvSpPr>
            <p:nvPr/>
          </p:nvSpPr>
          <p:spPr bwMode="gray">
            <a:xfrm>
              <a:off x="8367816" y="5254456"/>
              <a:ext cx="280267" cy="610520"/>
            </a:xfrm>
            <a:custGeom>
              <a:avLst/>
              <a:gdLst>
                <a:gd name="T0" fmla="*/ 0 w 575"/>
                <a:gd name="T1" fmla="*/ 1037 h 1037"/>
                <a:gd name="T2" fmla="*/ 318 w 575"/>
                <a:gd name="T3" fmla="*/ 0 h 1037"/>
                <a:gd name="T4" fmla="*/ 340 w 575"/>
                <a:gd name="T5" fmla="*/ 24 h 1037"/>
                <a:gd name="T6" fmla="*/ 374 w 575"/>
                <a:gd name="T7" fmla="*/ 41 h 1037"/>
                <a:gd name="T8" fmla="*/ 396 w 575"/>
                <a:gd name="T9" fmla="*/ 80 h 1037"/>
                <a:gd name="T10" fmla="*/ 410 w 575"/>
                <a:gd name="T11" fmla="*/ 114 h 1037"/>
                <a:gd name="T12" fmla="*/ 430 w 575"/>
                <a:gd name="T13" fmla="*/ 156 h 1037"/>
                <a:gd name="T14" fmla="*/ 431 w 575"/>
                <a:gd name="T15" fmla="*/ 118 h 1037"/>
                <a:gd name="T16" fmla="*/ 461 w 575"/>
                <a:gd name="T17" fmla="*/ 180 h 1037"/>
                <a:gd name="T18" fmla="*/ 557 w 575"/>
                <a:gd name="T19" fmla="*/ 175 h 1037"/>
                <a:gd name="T20" fmla="*/ 554 w 575"/>
                <a:gd name="T21" fmla="*/ 244 h 1037"/>
                <a:gd name="T22" fmla="*/ 547 w 575"/>
                <a:gd name="T23" fmla="*/ 266 h 1037"/>
                <a:gd name="T24" fmla="*/ 501 w 575"/>
                <a:gd name="T25" fmla="*/ 290 h 1037"/>
                <a:gd name="T26" fmla="*/ 493 w 575"/>
                <a:gd name="T27" fmla="*/ 346 h 1037"/>
                <a:gd name="T28" fmla="*/ 433 w 575"/>
                <a:gd name="T29" fmla="*/ 415 h 1037"/>
                <a:gd name="T30" fmla="*/ 403 w 575"/>
                <a:gd name="T31" fmla="*/ 398 h 1037"/>
                <a:gd name="T32" fmla="*/ 428 w 575"/>
                <a:gd name="T33" fmla="*/ 342 h 1037"/>
                <a:gd name="T34" fmla="*/ 393 w 575"/>
                <a:gd name="T35" fmla="*/ 308 h 1037"/>
                <a:gd name="T36" fmla="*/ 369 w 575"/>
                <a:gd name="T37" fmla="*/ 265 h 1037"/>
                <a:gd name="T38" fmla="*/ 410 w 575"/>
                <a:gd name="T39" fmla="*/ 208 h 1037"/>
                <a:gd name="T40" fmla="*/ 405 w 575"/>
                <a:gd name="T41" fmla="*/ 143 h 1037"/>
                <a:gd name="T42" fmla="*/ 379 w 575"/>
                <a:gd name="T43" fmla="*/ 115 h 1037"/>
                <a:gd name="T44" fmla="*/ 383 w 575"/>
                <a:gd name="T45" fmla="*/ 109 h 1037"/>
                <a:gd name="T46" fmla="*/ 374 w 575"/>
                <a:gd name="T47" fmla="*/ 109 h 1037"/>
                <a:gd name="T48" fmla="*/ 349 w 575"/>
                <a:gd name="T49" fmla="*/ 50 h 1037"/>
                <a:gd name="T50" fmla="*/ 329 w 575"/>
                <a:gd name="T51" fmla="*/ 30 h 1037"/>
                <a:gd name="T52" fmla="*/ 284 w 575"/>
                <a:gd name="T53" fmla="*/ 383 h 1037"/>
                <a:gd name="T54" fmla="*/ 309 w 575"/>
                <a:gd name="T55" fmla="*/ 366 h 1037"/>
                <a:gd name="T56" fmla="*/ 334 w 575"/>
                <a:gd name="T57" fmla="*/ 401 h 1037"/>
                <a:gd name="T58" fmla="*/ 362 w 575"/>
                <a:gd name="T59" fmla="*/ 384 h 1037"/>
                <a:gd name="T60" fmla="*/ 373 w 575"/>
                <a:gd name="T61" fmla="*/ 383 h 1037"/>
                <a:gd name="T62" fmla="*/ 379 w 575"/>
                <a:gd name="T63" fmla="*/ 403 h 1037"/>
                <a:gd name="T64" fmla="*/ 340 w 575"/>
                <a:gd name="T65" fmla="*/ 496 h 1037"/>
                <a:gd name="T66" fmla="*/ 326 w 575"/>
                <a:gd name="T67" fmla="*/ 553 h 1037"/>
                <a:gd name="T68" fmla="*/ 295 w 575"/>
                <a:gd name="T69" fmla="*/ 562 h 1037"/>
                <a:gd name="T70" fmla="*/ 255 w 575"/>
                <a:gd name="T71" fmla="*/ 570 h 1037"/>
                <a:gd name="T72" fmla="*/ 218 w 575"/>
                <a:gd name="T73" fmla="*/ 698 h 1037"/>
                <a:gd name="T74" fmla="*/ 170 w 575"/>
                <a:gd name="T75" fmla="*/ 735 h 1037"/>
                <a:gd name="T76" fmla="*/ 111 w 575"/>
                <a:gd name="T77" fmla="*/ 737 h 1037"/>
                <a:gd name="T78" fmla="*/ 78 w 575"/>
                <a:gd name="T79" fmla="*/ 709 h 1037"/>
                <a:gd name="T80" fmla="*/ 44 w 575"/>
                <a:gd name="T81" fmla="*/ 692 h 1037"/>
                <a:gd name="T82" fmla="*/ 27 w 575"/>
                <a:gd name="T83" fmla="*/ 696 h 1037"/>
                <a:gd name="T84" fmla="*/ 40 w 575"/>
                <a:gd name="T85" fmla="*/ 675 h 1037"/>
                <a:gd name="T86" fmla="*/ 46 w 575"/>
                <a:gd name="T87" fmla="*/ 657 h 1037"/>
                <a:gd name="T88" fmla="*/ 51 w 575"/>
                <a:gd name="T89" fmla="*/ 646 h 1037"/>
                <a:gd name="T90" fmla="*/ 69 w 575"/>
                <a:gd name="T91" fmla="*/ 633 h 1037"/>
                <a:gd name="T92" fmla="*/ 102 w 575"/>
                <a:gd name="T93" fmla="*/ 573 h 1037"/>
                <a:gd name="T94" fmla="*/ 241 w 575"/>
                <a:gd name="T95" fmla="*/ 476 h 1037"/>
                <a:gd name="T96" fmla="*/ 284 w 575"/>
                <a:gd name="T97" fmla="*/ 383 h 1037"/>
                <a:gd name="T98" fmla="*/ 93 w 575"/>
                <a:gd name="T99" fmla="*/ 760 h 1037"/>
                <a:gd name="T100" fmla="*/ 83 w 575"/>
                <a:gd name="T101" fmla="*/ 745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5" h="1037">
                  <a:moveTo>
                    <a:pt x="12" y="1014"/>
                  </a:moveTo>
                  <a:lnTo>
                    <a:pt x="15" y="1034"/>
                  </a:lnTo>
                  <a:lnTo>
                    <a:pt x="0" y="1037"/>
                  </a:lnTo>
                  <a:lnTo>
                    <a:pt x="1" y="1026"/>
                  </a:lnTo>
                  <a:lnTo>
                    <a:pt x="12" y="1014"/>
                  </a:lnTo>
                  <a:close/>
                  <a:moveTo>
                    <a:pt x="318" y="0"/>
                  </a:moveTo>
                  <a:lnTo>
                    <a:pt x="323" y="0"/>
                  </a:lnTo>
                  <a:lnTo>
                    <a:pt x="332" y="30"/>
                  </a:lnTo>
                  <a:lnTo>
                    <a:pt x="340" y="24"/>
                  </a:lnTo>
                  <a:lnTo>
                    <a:pt x="340" y="30"/>
                  </a:lnTo>
                  <a:lnTo>
                    <a:pt x="366" y="34"/>
                  </a:lnTo>
                  <a:lnTo>
                    <a:pt x="374" y="41"/>
                  </a:lnTo>
                  <a:lnTo>
                    <a:pt x="368" y="42"/>
                  </a:lnTo>
                  <a:lnTo>
                    <a:pt x="383" y="50"/>
                  </a:lnTo>
                  <a:lnTo>
                    <a:pt x="396" y="80"/>
                  </a:lnTo>
                  <a:lnTo>
                    <a:pt x="383" y="75"/>
                  </a:lnTo>
                  <a:lnTo>
                    <a:pt x="385" y="81"/>
                  </a:lnTo>
                  <a:lnTo>
                    <a:pt x="410" y="114"/>
                  </a:lnTo>
                  <a:lnTo>
                    <a:pt x="403" y="139"/>
                  </a:lnTo>
                  <a:lnTo>
                    <a:pt x="427" y="143"/>
                  </a:lnTo>
                  <a:lnTo>
                    <a:pt x="430" y="156"/>
                  </a:lnTo>
                  <a:lnTo>
                    <a:pt x="436" y="158"/>
                  </a:lnTo>
                  <a:lnTo>
                    <a:pt x="437" y="130"/>
                  </a:lnTo>
                  <a:lnTo>
                    <a:pt x="431" y="118"/>
                  </a:lnTo>
                  <a:lnTo>
                    <a:pt x="436" y="118"/>
                  </a:lnTo>
                  <a:lnTo>
                    <a:pt x="450" y="127"/>
                  </a:lnTo>
                  <a:lnTo>
                    <a:pt x="461" y="180"/>
                  </a:lnTo>
                  <a:lnTo>
                    <a:pt x="513" y="202"/>
                  </a:lnTo>
                  <a:lnTo>
                    <a:pt x="521" y="203"/>
                  </a:lnTo>
                  <a:lnTo>
                    <a:pt x="557" y="175"/>
                  </a:lnTo>
                  <a:lnTo>
                    <a:pt x="575" y="183"/>
                  </a:lnTo>
                  <a:lnTo>
                    <a:pt x="567" y="236"/>
                  </a:lnTo>
                  <a:lnTo>
                    <a:pt x="554" y="244"/>
                  </a:lnTo>
                  <a:lnTo>
                    <a:pt x="554" y="270"/>
                  </a:lnTo>
                  <a:lnTo>
                    <a:pt x="549" y="276"/>
                  </a:lnTo>
                  <a:lnTo>
                    <a:pt x="547" y="266"/>
                  </a:lnTo>
                  <a:lnTo>
                    <a:pt x="537" y="265"/>
                  </a:lnTo>
                  <a:lnTo>
                    <a:pt x="515" y="271"/>
                  </a:lnTo>
                  <a:lnTo>
                    <a:pt x="501" y="290"/>
                  </a:lnTo>
                  <a:lnTo>
                    <a:pt x="510" y="304"/>
                  </a:lnTo>
                  <a:lnTo>
                    <a:pt x="510" y="310"/>
                  </a:lnTo>
                  <a:lnTo>
                    <a:pt x="493" y="346"/>
                  </a:lnTo>
                  <a:lnTo>
                    <a:pt x="456" y="403"/>
                  </a:lnTo>
                  <a:lnTo>
                    <a:pt x="440" y="413"/>
                  </a:lnTo>
                  <a:lnTo>
                    <a:pt x="433" y="415"/>
                  </a:lnTo>
                  <a:lnTo>
                    <a:pt x="423" y="405"/>
                  </a:lnTo>
                  <a:lnTo>
                    <a:pt x="406" y="405"/>
                  </a:lnTo>
                  <a:lnTo>
                    <a:pt x="403" y="398"/>
                  </a:lnTo>
                  <a:lnTo>
                    <a:pt x="403" y="390"/>
                  </a:lnTo>
                  <a:lnTo>
                    <a:pt x="423" y="361"/>
                  </a:lnTo>
                  <a:lnTo>
                    <a:pt x="428" y="342"/>
                  </a:lnTo>
                  <a:lnTo>
                    <a:pt x="425" y="329"/>
                  </a:lnTo>
                  <a:lnTo>
                    <a:pt x="413" y="315"/>
                  </a:lnTo>
                  <a:lnTo>
                    <a:pt x="393" y="308"/>
                  </a:lnTo>
                  <a:lnTo>
                    <a:pt x="360" y="283"/>
                  </a:lnTo>
                  <a:lnTo>
                    <a:pt x="360" y="273"/>
                  </a:lnTo>
                  <a:lnTo>
                    <a:pt x="369" y="265"/>
                  </a:lnTo>
                  <a:lnTo>
                    <a:pt x="396" y="249"/>
                  </a:lnTo>
                  <a:lnTo>
                    <a:pt x="403" y="211"/>
                  </a:lnTo>
                  <a:lnTo>
                    <a:pt x="410" y="208"/>
                  </a:lnTo>
                  <a:lnTo>
                    <a:pt x="410" y="164"/>
                  </a:lnTo>
                  <a:lnTo>
                    <a:pt x="397" y="154"/>
                  </a:lnTo>
                  <a:lnTo>
                    <a:pt x="405" y="143"/>
                  </a:lnTo>
                  <a:lnTo>
                    <a:pt x="393" y="144"/>
                  </a:lnTo>
                  <a:lnTo>
                    <a:pt x="385" y="127"/>
                  </a:lnTo>
                  <a:lnTo>
                    <a:pt x="379" y="115"/>
                  </a:lnTo>
                  <a:lnTo>
                    <a:pt x="385" y="124"/>
                  </a:lnTo>
                  <a:lnTo>
                    <a:pt x="390" y="112"/>
                  </a:lnTo>
                  <a:lnTo>
                    <a:pt x="383" y="109"/>
                  </a:lnTo>
                  <a:lnTo>
                    <a:pt x="385" y="97"/>
                  </a:lnTo>
                  <a:lnTo>
                    <a:pt x="373" y="97"/>
                  </a:lnTo>
                  <a:lnTo>
                    <a:pt x="374" y="109"/>
                  </a:lnTo>
                  <a:lnTo>
                    <a:pt x="348" y="72"/>
                  </a:lnTo>
                  <a:lnTo>
                    <a:pt x="342" y="61"/>
                  </a:lnTo>
                  <a:lnTo>
                    <a:pt x="349" y="50"/>
                  </a:lnTo>
                  <a:lnTo>
                    <a:pt x="339" y="58"/>
                  </a:lnTo>
                  <a:lnTo>
                    <a:pt x="334" y="50"/>
                  </a:lnTo>
                  <a:lnTo>
                    <a:pt x="329" y="30"/>
                  </a:lnTo>
                  <a:lnTo>
                    <a:pt x="312" y="2"/>
                  </a:lnTo>
                  <a:lnTo>
                    <a:pt x="318" y="0"/>
                  </a:lnTo>
                  <a:close/>
                  <a:moveTo>
                    <a:pt x="284" y="383"/>
                  </a:moveTo>
                  <a:lnTo>
                    <a:pt x="286" y="373"/>
                  </a:lnTo>
                  <a:lnTo>
                    <a:pt x="308" y="355"/>
                  </a:lnTo>
                  <a:lnTo>
                    <a:pt x="309" y="366"/>
                  </a:lnTo>
                  <a:lnTo>
                    <a:pt x="323" y="373"/>
                  </a:lnTo>
                  <a:lnTo>
                    <a:pt x="326" y="392"/>
                  </a:lnTo>
                  <a:lnTo>
                    <a:pt x="334" y="401"/>
                  </a:lnTo>
                  <a:lnTo>
                    <a:pt x="362" y="380"/>
                  </a:lnTo>
                  <a:lnTo>
                    <a:pt x="368" y="380"/>
                  </a:lnTo>
                  <a:lnTo>
                    <a:pt x="362" y="384"/>
                  </a:lnTo>
                  <a:lnTo>
                    <a:pt x="362" y="400"/>
                  </a:lnTo>
                  <a:lnTo>
                    <a:pt x="371" y="395"/>
                  </a:lnTo>
                  <a:lnTo>
                    <a:pt x="373" y="383"/>
                  </a:lnTo>
                  <a:lnTo>
                    <a:pt x="382" y="388"/>
                  </a:lnTo>
                  <a:lnTo>
                    <a:pt x="374" y="398"/>
                  </a:lnTo>
                  <a:lnTo>
                    <a:pt x="379" y="403"/>
                  </a:lnTo>
                  <a:lnTo>
                    <a:pt x="376" y="412"/>
                  </a:lnTo>
                  <a:lnTo>
                    <a:pt x="379" y="434"/>
                  </a:lnTo>
                  <a:lnTo>
                    <a:pt x="340" y="496"/>
                  </a:lnTo>
                  <a:lnTo>
                    <a:pt x="317" y="514"/>
                  </a:lnTo>
                  <a:lnTo>
                    <a:pt x="314" y="545"/>
                  </a:lnTo>
                  <a:lnTo>
                    <a:pt x="326" y="553"/>
                  </a:lnTo>
                  <a:lnTo>
                    <a:pt x="329" y="562"/>
                  </a:lnTo>
                  <a:lnTo>
                    <a:pt x="300" y="553"/>
                  </a:lnTo>
                  <a:lnTo>
                    <a:pt x="295" y="562"/>
                  </a:lnTo>
                  <a:lnTo>
                    <a:pt x="288" y="559"/>
                  </a:lnTo>
                  <a:lnTo>
                    <a:pt x="266" y="576"/>
                  </a:lnTo>
                  <a:lnTo>
                    <a:pt x="255" y="570"/>
                  </a:lnTo>
                  <a:lnTo>
                    <a:pt x="241" y="637"/>
                  </a:lnTo>
                  <a:lnTo>
                    <a:pt x="221" y="683"/>
                  </a:lnTo>
                  <a:lnTo>
                    <a:pt x="218" y="698"/>
                  </a:lnTo>
                  <a:lnTo>
                    <a:pt x="205" y="703"/>
                  </a:lnTo>
                  <a:lnTo>
                    <a:pt x="182" y="721"/>
                  </a:lnTo>
                  <a:lnTo>
                    <a:pt x="170" y="735"/>
                  </a:lnTo>
                  <a:lnTo>
                    <a:pt x="140" y="743"/>
                  </a:lnTo>
                  <a:lnTo>
                    <a:pt x="134" y="734"/>
                  </a:lnTo>
                  <a:lnTo>
                    <a:pt x="111" y="737"/>
                  </a:lnTo>
                  <a:lnTo>
                    <a:pt x="110" y="726"/>
                  </a:lnTo>
                  <a:lnTo>
                    <a:pt x="86" y="723"/>
                  </a:lnTo>
                  <a:lnTo>
                    <a:pt x="78" y="709"/>
                  </a:lnTo>
                  <a:lnTo>
                    <a:pt x="57" y="715"/>
                  </a:lnTo>
                  <a:lnTo>
                    <a:pt x="35" y="709"/>
                  </a:lnTo>
                  <a:lnTo>
                    <a:pt x="44" y="692"/>
                  </a:lnTo>
                  <a:lnTo>
                    <a:pt x="32" y="703"/>
                  </a:lnTo>
                  <a:lnTo>
                    <a:pt x="35" y="691"/>
                  </a:lnTo>
                  <a:lnTo>
                    <a:pt x="27" y="696"/>
                  </a:lnTo>
                  <a:lnTo>
                    <a:pt x="26" y="691"/>
                  </a:lnTo>
                  <a:lnTo>
                    <a:pt x="44" y="680"/>
                  </a:lnTo>
                  <a:lnTo>
                    <a:pt x="40" y="675"/>
                  </a:lnTo>
                  <a:lnTo>
                    <a:pt x="48" y="667"/>
                  </a:lnTo>
                  <a:lnTo>
                    <a:pt x="37" y="661"/>
                  </a:lnTo>
                  <a:lnTo>
                    <a:pt x="46" y="657"/>
                  </a:lnTo>
                  <a:lnTo>
                    <a:pt x="43" y="652"/>
                  </a:lnTo>
                  <a:lnTo>
                    <a:pt x="57" y="652"/>
                  </a:lnTo>
                  <a:lnTo>
                    <a:pt x="51" y="646"/>
                  </a:lnTo>
                  <a:lnTo>
                    <a:pt x="54" y="630"/>
                  </a:lnTo>
                  <a:lnTo>
                    <a:pt x="63" y="624"/>
                  </a:lnTo>
                  <a:lnTo>
                    <a:pt x="69" y="633"/>
                  </a:lnTo>
                  <a:lnTo>
                    <a:pt x="71" y="620"/>
                  </a:lnTo>
                  <a:lnTo>
                    <a:pt x="88" y="603"/>
                  </a:lnTo>
                  <a:lnTo>
                    <a:pt x="102" y="573"/>
                  </a:lnTo>
                  <a:lnTo>
                    <a:pt x="144" y="559"/>
                  </a:lnTo>
                  <a:lnTo>
                    <a:pt x="229" y="493"/>
                  </a:lnTo>
                  <a:lnTo>
                    <a:pt x="241" y="476"/>
                  </a:lnTo>
                  <a:lnTo>
                    <a:pt x="252" y="432"/>
                  </a:lnTo>
                  <a:lnTo>
                    <a:pt x="276" y="415"/>
                  </a:lnTo>
                  <a:lnTo>
                    <a:pt x="284" y="383"/>
                  </a:lnTo>
                  <a:close/>
                  <a:moveTo>
                    <a:pt x="91" y="746"/>
                  </a:moveTo>
                  <a:lnTo>
                    <a:pt x="99" y="755"/>
                  </a:lnTo>
                  <a:lnTo>
                    <a:pt x="93" y="760"/>
                  </a:lnTo>
                  <a:lnTo>
                    <a:pt x="102" y="769"/>
                  </a:lnTo>
                  <a:lnTo>
                    <a:pt x="73" y="782"/>
                  </a:lnTo>
                  <a:lnTo>
                    <a:pt x="83" y="745"/>
                  </a:lnTo>
                  <a:lnTo>
                    <a:pt x="91" y="746"/>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284" name="Freeform 16">
              <a:extLst>
                <a:ext uri="{FF2B5EF4-FFF2-40B4-BE49-F238E27FC236}">
                  <a16:creationId xmlns:a16="http://schemas.microsoft.com/office/drawing/2014/main" id="{D774ACC5-64B3-444C-8A80-A8E5ED19DDB8}"/>
                </a:ext>
              </a:extLst>
            </p:cNvPr>
            <p:cNvSpPr>
              <a:spLocks noChangeAspect="1" noEditPoints="1"/>
            </p:cNvSpPr>
            <p:nvPr/>
          </p:nvSpPr>
          <p:spPr bwMode="gray">
            <a:xfrm>
              <a:off x="6741951" y="4067975"/>
              <a:ext cx="1071701" cy="491487"/>
            </a:xfrm>
            <a:custGeom>
              <a:avLst/>
              <a:gdLst>
                <a:gd name="T0" fmla="*/ 391 w 2198"/>
                <a:gd name="T1" fmla="*/ 257 h 836"/>
                <a:gd name="T2" fmla="*/ 367 w 2198"/>
                <a:gd name="T3" fmla="*/ 249 h 836"/>
                <a:gd name="T4" fmla="*/ 1516 w 2198"/>
                <a:gd name="T5" fmla="*/ 508 h 836"/>
                <a:gd name="T6" fmla="*/ 1456 w 2198"/>
                <a:gd name="T7" fmla="*/ 417 h 836"/>
                <a:gd name="T8" fmla="*/ 1360 w 2198"/>
                <a:gd name="T9" fmla="*/ 386 h 836"/>
                <a:gd name="T10" fmla="*/ 1573 w 2198"/>
                <a:gd name="T11" fmla="*/ 398 h 836"/>
                <a:gd name="T12" fmla="*/ 1580 w 2198"/>
                <a:gd name="T13" fmla="*/ 232 h 836"/>
                <a:gd name="T14" fmla="*/ 1612 w 2198"/>
                <a:gd name="T15" fmla="*/ 308 h 836"/>
                <a:gd name="T16" fmla="*/ 1609 w 2198"/>
                <a:gd name="T17" fmla="*/ 212 h 836"/>
                <a:gd name="T18" fmla="*/ 1668 w 2198"/>
                <a:gd name="T19" fmla="*/ 698 h 836"/>
                <a:gd name="T20" fmla="*/ 1881 w 2198"/>
                <a:gd name="T21" fmla="*/ 635 h 836"/>
                <a:gd name="T22" fmla="*/ 1878 w 2198"/>
                <a:gd name="T23" fmla="*/ 618 h 836"/>
                <a:gd name="T24" fmla="*/ 1669 w 2198"/>
                <a:gd name="T25" fmla="*/ 472 h 836"/>
                <a:gd name="T26" fmla="*/ 1665 w 2198"/>
                <a:gd name="T27" fmla="*/ 418 h 836"/>
                <a:gd name="T28" fmla="*/ 1934 w 2198"/>
                <a:gd name="T29" fmla="*/ 409 h 836"/>
                <a:gd name="T30" fmla="*/ 2191 w 2198"/>
                <a:gd name="T31" fmla="*/ 625 h 836"/>
                <a:gd name="T32" fmla="*/ 2037 w 2198"/>
                <a:gd name="T33" fmla="*/ 720 h 836"/>
                <a:gd name="T34" fmla="*/ 2064 w 2198"/>
                <a:gd name="T35" fmla="*/ 599 h 836"/>
                <a:gd name="T36" fmla="*/ 1836 w 2198"/>
                <a:gd name="T37" fmla="*/ 515 h 836"/>
                <a:gd name="T38" fmla="*/ 1850 w 2198"/>
                <a:gd name="T39" fmla="*/ 447 h 836"/>
                <a:gd name="T40" fmla="*/ 1785 w 2198"/>
                <a:gd name="T41" fmla="*/ 350 h 836"/>
                <a:gd name="T42" fmla="*/ 1934 w 2198"/>
                <a:gd name="T43" fmla="*/ 488 h 836"/>
                <a:gd name="T44" fmla="*/ 1353 w 2198"/>
                <a:gd name="T45" fmla="*/ 518 h 836"/>
                <a:gd name="T46" fmla="*/ 1343 w 2198"/>
                <a:gd name="T47" fmla="*/ 562 h 836"/>
                <a:gd name="T48" fmla="*/ 1280 w 2198"/>
                <a:gd name="T49" fmla="*/ 274 h 836"/>
                <a:gd name="T50" fmla="*/ 1369 w 2198"/>
                <a:gd name="T51" fmla="*/ 320 h 836"/>
                <a:gd name="T52" fmla="*/ 1282 w 2198"/>
                <a:gd name="T53" fmla="*/ 378 h 836"/>
                <a:gd name="T54" fmla="*/ 1346 w 2198"/>
                <a:gd name="T55" fmla="*/ 378 h 836"/>
                <a:gd name="T56" fmla="*/ 1344 w 2198"/>
                <a:gd name="T57" fmla="*/ 534 h 836"/>
                <a:gd name="T58" fmla="*/ 1231 w 2198"/>
                <a:gd name="T59" fmla="*/ 467 h 836"/>
                <a:gd name="T60" fmla="*/ 1165 w 2198"/>
                <a:gd name="T61" fmla="*/ 483 h 836"/>
                <a:gd name="T62" fmla="*/ 1265 w 2198"/>
                <a:gd name="T63" fmla="*/ 273 h 836"/>
                <a:gd name="T64" fmla="*/ 1123 w 2198"/>
                <a:gd name="T65" fmla="*/ 229 h 836"/>
                <a:gd name="T66" fmla="*/ 1044 w 2198"/>
                <a:gd name="T67" fmla="*/ 415 h 836"/>
                <a:gd name="T68" fmla="*/ 927 w 2198"/>
                <a:gd name="T69" fmla="*/ 491 h 836"/>
                <a:gd name="T70" fmla="*/ 786 w 2198"/>
                <a:gd name="T71" fmla="*/ 472 h 836"/>
                <a:gd name="T72" fmla="*/ 716 w 2198"/>
                <a:gd name="T73" fmla="*/ 260 h 836"/>
                <a:gd name="T74" fmla="*/ 910 w 2198"/>
                <a:gd name="T75" fmla="*/ 277 h 836"/>
                <a:gd name="T76" fmla="*/ 670 w 2198"/>
                <a:gd name="T77" fmla="*/ 477 h 836"/>
                <a:gd name="T78" fmla="*/ 605 w 2198"/>
                <a:gd name="T79" fmla="*/ 472 h 836"/>
                <a:gd name="T80" fmla="*/ 1010 w 2198"/>
                <a:gd name="T81" fmla="*/ 650 h 836"/>
                <a:gd name="T82" fmla="*/ 986 w 2198"/>
                <a:gd name="T83" fmla="*/ 704 h 836"/>
                <a:gd name="T84" fmla="*/ 1114 w 2198"/>
                <a:gd name="T85" fmla="*/ 708 h 836"/>
                <a:gd name="T86" fmla="*/ 1078 w 2198"/>
                <a:gd name="T87" fmla="*/ 750 h 836"/>
                <a:gd name="T88" fmla="*/ 1214 w 2198"/>
                <a:gd name="T89" fmla="*/ 760 h 836"/>
                <a:gd name="T90" fmla="*/ 1241 w 2198"/>
                <a:gd name="T91" fmla="*/ 738 h 836"/>
                <a:gd name="T92" fmla="*/ 1399 w 2198"/>
                <a:gd name="T93" fmla="*/ 723 h 836"/>
                <a:gd name="T94" fmla="*/ 1348 w 2198"/>
                <a:gd name="T95" fmla="*/ 834 h 836"/>
                <a:gd name="T96" fmla="*/ 1383 w 2198"/>
                <a:gd name="T97" fmla="*/ 799 h 836"/>
                <a:gd name="T98" fmla="*/ 1482 w 2198"/>
                <a:gd name="T99" fmla="*/ 698 h 836"/>
                <a:gd name="T100" fmla="*/ 198 w 2198"/>
                <a:gd name="T101" fmla="*/ 107 h 836"/>
                <a:gd name="T102" fmla="*/ 388 w 2198"/>
                <a:gd name="T103" fmla="*/ 266 h 836"/>
                <a:gd name="T104" fmla="*/ 457 w 2198"/>
                <a:gd name="T105" fmla="*/ 342 h 836"/>
                <a:gd name="T106" fmla="*/ 572 w 2198"/>
                <a:gd name="T107" fmla="*/ 469 h 836"/>
                <a:gd name="T108" fmla="*/ 470 w 2198"/>
                <a:gd name="T109" fmla="*/ 560 h 836"/>
                <a:gd name="T110" fmla="*/ 193 w 2198"/>
                <a:gd name="T111" fmla="*/ 227 h 836"/>
                <a:gd name="T112" fmla="*/ 792 w 2198"/>
                <a:gd name="T113" fmla="*/ 709 h 836"/>
                <a:gd name="T114" fmla="*/ 571 w 2198"/>
                <a:gd name="T115" fmla="*/ 608 h 836"/>
                <a:gd name="T116" fmla="*/ 800 w 2198"/>
                <a:gd name="T117" fmla="*/ 627 h 836"/>
                <a:gd name="T118" fmla="*/ 953 w 2198"/>
                <a:gd name="T119" fmla="*/ 729 h 836"/>
                <a:gd name="T120" fmla="*/ 200 w 2198"/>
                <a:gd name="T121" fmla="*/ 305 h 836"/>
                <a:gd name="T122" fmla="*/ 464 w 2198"/>
                <a:gd name="T123" fmla="*/ 26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8" h="836">
                  <a:moveTo>
                    <a:pt x="882" y="652"/>
                  </a:moveTo>
                  <a:lnTo>
                    <a:pt x="935" y="649"/>
                  </a:lnTo>
                  <a:lnTo>
                    <a:pt x="939" y="657"/>
                  </a:lnTo>
                  <a:lnTo>
                    <a:pt x="914" y="666"/>
                  </a:lnTo>
                  <a:lnTo>
                    <a:pt x="889" y="662"/>
                  </a:lnTo>
                  <a:lnTo>
                    <a:pt x="882" y="652"/>
                  </a:lnTo>
                  <a:close/>
                  <a:moveTo>
                    <a:pt x="506" y="279"/>
                  </a:moveTo>
                  <a:lnTo>
                    <a:pt x="511" y="288"/>
                  </a:lnTo>
                  <a:lnTo>
                    <a:pt x="504" y="293"/>
                  </a:lnTo>
                  <a:lnTo>
                    <a:pt x="495" y="279"/>
                  </a:lnTo>
                  <a:lnTo>
                    <a:pt x="506" y="279"/>
                  </a:lnTo>
                  <a:close/>
                  <a:moveTo>
                    <a:pt x="391" y="257"/>
                  </a:moveTo>
                  <a:lnTo>
                    <a:pt x="408" y="259"/>
                  </a:lnTo>
                  <a:lnTo>
                    <a:pt x="412" y="271"/>
                  </a:lnTo>
                  <a:lnTo>
                    <a:pt x="391" y="257"/>
                  </a:lnTo>
                  <a:close/>
                  <a:moveTo>
                    <a:pt x="496" y="356"/>
                  </a:moveTo>
                  <a:lnTo>
                    <a:pt x="501" y="349"/>
                  </a:lnTo>
                  <a:lnTo>
                    <a:pt x="504" y="350"/>
                  </a:lnTo>
                  <a:lnTo>
                    <a:pt x="508" y="356"/>
                  </a:lnTo>
                  <a:lnTo>
                    <a:pt x="506" y="361"/>
                  </a:lnTo>
                  <a:lnTo>
                    <a:pt x="498" y="359"/>
                  </a:lnTo>
                  <a:lnTo>
                    <a:pt x="496" y="356"/>
                  </a:lnTo>
                  <a:close/>
                  <a:moveTo>
                    <a:pt x="374" y="252"/>
                  </a:moveTo>
                  <a:lnTo>
                    <a:pt x="367" y="249"/>
                  </a:lnTo>
                  <a:lnTo>
                    <a:pt x="362" y="239"/>
                  </a:lnTo>
                  <a:lnTo>
                    <a:pt x="374" y="235"/>
                  </a:lnTo>
                  <a:lnTo>
                    <a:pt x="379" y="240"/>
                  </a:lnTo>
                  <a:lnTo>
                    <a:pt x="374" y="252"/>
                  </a:lnTo>
                  <a:close/>
                  <a:moveTo>
                    <a:pt x="1493" y="474"/>
                  </a:moveTo>
                  <a:lnTo>
                    <a:pt x="1497" y="480"/>
                  </a:lnTo>
                  <a:lnTo>
                    <a:pt x="1524" y="472"/>
                  </a:lnTo>
                  <a:lnTo>
                    <a:pt x="1544" y="486"/>
                  </a:lnTo>
                  <a:lnTo>
                    <a:pt x="1547" y="497"/>
                  </a:lnTo>
                  <a:lnTo>
                    <a:pt x="1544" y="503"/>
                  </a:lnTo>
                  <a:lnTo>
                    <a:pt x="1527" y="509"/>
                  </a:lnTo>
                  <a:lnTo>
                    <a:pt x="1516" y="508"/>
                  </a:lnTo>
                  <a:lnTo>
                    <a:pt x="1501" y="497"/>
                  </a:lnTo>
                  <a:lnTo>
                    <a:pt x="1493" y="474"/>
                  </a:lnTo>
                  <a:close/>
                  <a:moveTo>
                    <a:pt x="1487" y="426"/>
                  </a:moveTo>
                  <a:lnTo>
                    <a:pt x="1488" y="423"/>
                  </a:lnTo>
                  <a:lnTo>
                    <a:pt x="1492" y="446"/>
                  </a:lnTo>
                  <a:lnTo>
                    <a:pt x="1487" y="426"/>
                  </a:lnTo>
                  <a:close/>
                  <a:moveTo>
                    <a:pt x="1463" y="417"/>
                  </a:moveTo>
                  <a:lnTo>
                    <a:pt x="1504" y="415"/>
                  </a:lnTo>
                  <a:lnTo>
                    <a:pt x="1470" y="423"/>
                  </a:lnTo>
                  <a:lnTo>
                    <a:pt x="1463" y="417"/>
                  </a:lnTo>
                  <a:close/>
                  <a:moveTo>
                    <a:pt x="1417" y="410"/>
                  </a:moveTo>
                  <a:lnTo>
                    <a:pt x="1456" y="417"/>
                  </a:lnTo>
                  <a:lnTo>
                    <a:pt x="1426" y="427"/>
                  </a:lnTo>
                  <a:lnTo>
                    <a:pt x="1420" y="426"/>
                  </a:lnTo>
                  <a:lnTo>
                    <a:pt x="1417" y="410"/>
                  </a:lnTo>
                  <a:close/>
                  <a:moveTo>
                    <a:pt x="1361" y="396"/>
                  </a:moveTo>
                  <a:lnTo>
                    <a:pt x="1369" y="392"/>
                  </a:lnTo>
                  <a:lnTo>
                    <a:pt x="1377" y="393"/>
                  </a:lnTo>
                  <a:lnTo>
                    <a:pt x="1374" y="404"/>
                  </a:lnTo>
                  <a:lnTo>
                    <a:pt x="1366" y="401"/>
                  </a:lnTo>
                  <a:lnTo>
                    <a:pt x="1365" y="407"/>
                  </a:lnTo>
                  <a:lnTo>
                    <a:pt x="1361" y="396"/>
                  </a:lnTo>
                  <a:close/>
                  <a:moveTo>
                    <a:pt x="1355" y="386"/>
                  </a:moveTo>
                  <a:lnTo>
                    <a:pt x="1360" y="386"/>
                  </a:lnTo>
                  <a:lnTo>
                    <a:pt x="1360" y="393"/>
                  </a:lnTo>
                  <a:lnTo>
                    <a:pt x="1353" y="404"/>
                  </a:lnTo>
                  <a:lnTo>
                    <a:pt x="1346" y="404"/>
                  </a:lnTo>
                  <a:lnTo>
                    <a:pt x="1346" y="393"/>
                  </a:lnTo>
                  <a:lnTo>
                    <a:pt x="1355" y="386"/>
                  </a:lnTo>
                  <a:close/>
                  <a:moveTo>
                    <a:pt x="1584" y="508"/>
                  </a:moveTo>
                  <a:lnTo>
                    <a:pt x="1584" y="500"/>
                  </a:lnTo>
                  <a:lnTo>
                    <a:pt x="1597" y="494"/>
                  </a:lnTo>
                  <a:lnTo>
                    <a:pt x="1593" y="505"/>
                  </a:lnTo>
                  <a:lnTo>
                    <a:pt x="1584" y="508"/>
                  </a:lnTo>
                  <a:close/>
                  <a:moveTo>
                    <a:pt x="1555" y="400"/>
                  </a:moveTo>
                  <a:lnTo>
                    <a:pt x="1573" y="398"/>
                  </a:lnTo>
                  <a:lnTo>
                    <a:pt x="1590" y="407"/>
                  </a:lnTo>
                  <a:lnTo>
                    <a:pt x="1589" y="412"/>
                  </a:lnTo>
                  <a:lnTo>
                    <a:pt x="1561" y="413"/>
                  </a:lnTo>
                  <a:lnTo>
                    <a:pt x="1556" y="410"/>
                  </a:lnTo>
                  <a:lnTo>
                    <a:pt x="1555" y="400"/>
                  </a:lnTo>
                  <a:close/>
                  <a:moveTo>
                    <a:pt x="1553" y="350"/>
                  </a:moveTo>
                  <a:lnTo>
                    <a:pt x="1559" y="350"/>
                  </a:lnTo>
                  <a:lnTo>
                    <a:pt x="1575" y="369"/>
                  </a:lnTo>
                  <a:lnTo>
                    <a:pt x="1573" y="373"/>
                  </a:lnTo>
                  <a:lnTo>
                    <a:pt x="1559" y="371"/>
                  </a:lnTo>
                  <a:lnTo>
                    <a:pt x="1553" y="350"/>
                  </a:lnTo>
                  <a:close/>
                  <a:moveTo>
                    <a:pt x="1580" y="232"/>
                  </a:moveTo>
                  <a:lnTo>
                    <a:pt x="1583" y="237"/>
                  </a:lnTo>
                  <a:lnTo>
                    <a:pt x="1576" y="249"/>
                  </a:lnTo>
                  <a:lnTo>
                    <a:pt x="1583" y="260"/>
                  </a:lnTo>
                  <a:lnTo>
                    <a:pt x="1583" y="276"/>
                  </a:lnTo>
                  <a:lnTo>
                    <a:pt x="1566" y="293"/>
                  </a:lnTo>
                  <a:lnTo>
                    <a:pt x="1573" y="294"/>
                  </a:lnTo>
                  <a:lnTo>
                    <a:pt x="1601" y="265"/>
                  </a:lnTo>
                  <a:lnTo>
                    <a:pt x="1610" y="265"/>
                  </a:lnTo>
                  <a:lnTo>
                    <a:pt x="1615" y="273"/>
                  </a:lnTo>
                  <a:lnTo>
                    <a:pt x="1615" y="283"/>
                  </a:lnTo>
                  <a:lnTo>
                    <a:pt x="1597" y="300"/>
                  </a:lnTo>
                  <a:lnTo>
                    <a:pt x="1612" y="308"/>
                  </a:lnTo>
                  <a:lnTo>
                    <a:pt x="1620" y="322"/>
                  </a:lnTo>
                  <a:lnTo>
                    <a:pt x="1584" y="311"/>
                  </a:lnTo>
                  <a:lnTo>
                    <a:pt x="1580" y="317"/>
                  </a:lnTo>
                  <a:lnTo>
                    <a:pt x="1580" y="345"/>
                  </a:lnTo>
                  <a:lnTo>
                    <a:pt x="1600" y="373"/>
                  </a:lnTo>
                  <a:lnTo>
                    <a:pt x="1595" y="375"/>
                  </a:lnTo>
                  <a:lnTo>
                    <a:pt x="1572" y="345"/>
                  </a:lnTo>
                  <a:lnTo>
                    <a:pt x="1564" y="299"/>
                  </a:lnTo>
                  <a:lnTo>
                    <a:pt x="1553" y="282"/>
                  </a:lnTo>
                  <a:lnTo>
                    <a:pt x="1561" y="252"/>
                  </a:lnTo>
                  <a:lnTo>
                    <a:pt x="1580" y="232"/>
                  </a:lnTo>
                  <a:close/>
                  <a:moveTo>
                    <a:pt x="1609" y="212"/>
                  </a:moveTo>
                  <a:lnTo>
                    <a:pt x="1612" y="229"/>
                  </a:lnTo>
                  <a:lnTo>
                    <a:pt x="1607" y="239"/>
                  </a:lnTo>
                  <a:lnTo>
                    <a:pt x="1598" y="239"/>
                  </a:lnTo>
                  <a:lnTo>
                    <a:pt x="1595" y="222"/>
                  </a:lnTo>
                  <a:lnTo>
                    <a:pt x="1609" y="212"/>
                  </a:lnTo>
                  <a:close/>
                  <a:moveTo>
                    <a:pt x="1610" y="664"/>
                  </a:moveTo>
                  <a:lnTo>
                    <a:pt x="1614" y="662"/>
                  </a:lnTo>
                  <a:lnTo>
                    <a:pt x="1614" y="666"/>
                  </a:lnTo>
                  <a:lnTo>
                    <a:pt x="1610" y="664"/>
                  </a:lnTo>
                  <a:close/>
                  <a:moveTo>
                    <a:pt x="1658" y="696"/>
                  </a:moveTo>
                  <a:lnTo>
                    <a:pt x="1668" y="695"/>
                  </a:lnTo>
                  <a:lnTo>
                    <a:pt x="1668" y="698"/>
                  </a:lnTo>
                  <a:lnTo>
                    <a:pt x="1665" y="703"/>
                  </a:lnTo>
                  <a:lnTo>
                    <a:pt x="1658" y="696"/>
                  </a:lnTo>
                  <a:close/>
                  <a:moveTo>
                    <a:pt x="1729" y="691"/>
                  </a:moveTo>
                  <a:lnTo>
                    <a:pt x="1733" y="689"/>
                  </a:lnTo>
                  <a:lnTo>
                    <a:pt x="1731" y="679"/>
                  </a:lnTo>
                  <a:lnTo>
                    <a:pt x="1745" y="662"/>
                  </a:lnTo>
                  <a:lnTo>
                    <a:pt x="1754" y="664"/>
                  </a:lnTo>
                  <a:lnTo>
                    <a:pt x="1753" y="683"/>
                  </a:lnTo>
                  <a:lnTo>
                    <a:pt x="1739" y="703"/>
                  </a:lnTo>
                  <a:lnTo>
                    <a:pt x="1729" y="691"/>
                  </a:lnTo>
                  <a:close/>
                  <a:moveTo>
                    <a:pt x="1867" y="619"/>
                  </a:moveTo>
                  <a:lnTo>
                    <a:pt x="1881" y="635"/>
                  </a:lnTo>
                  <a:lnTo>
                    <a:pt x="1878" y="650"/>
                  </a:lnTo>
                  <a:lnTo>
                    <a:pt x="1872" y="652"/>
                  </a:lnTo>
                  <a:lnTo>
                    <a:pt x="1864" y="638"/>
                  </a:lnTo>
                  <a:lnTo>
                    <a:pt x="1866" y="635"/>
                  </a:lnTo>
                  <a:lnTo>
                    <a:pt x="1869" y="641"/>
                  </a:lnTo>
                  <a:lnTo>
                    <a:pt x="1867" y="619"/>
                  </a:lnTo>
                  <a:close/>
                  <a:moveTo>
                    <a:pt x="1873" y="599"/>
                  </a:moveTo>
                  <a:lnTo>
                    <a:pt x="1883" y="582"/>
                  </a:lnTo>
                  <a:lnTo>
                    <a:pt x="1890" y="585"/>
                  </a:lnTo>
                  <a:lnTo>
                    <a:pt x="1895" y="596"/>
                  </a:lnTo>
                  <a:lnTo>
                    <a:pt x="1892" y="627"/>
                  </a:lnTo>
                  <a:lnTo>
                    <a:pt x="1878" y="618"/>
                  </a:lnTo>
                  <a:lnTo>
                    <a:pt x="1880" y="601"/>
                  </a:lnTo>
                  <a:lnTo>
                    <a:pt x="1873" y="599"/>
                  </a:lnTo>
                  <a:close/>
                  <a:moveTo>
                    <a:pt x="1818" y="581"/>
                  </a:moveTo>
                  <a:lnTo>
                    <a:pt x="1822" y="579"/>
                  </a:lnTo>
                  <a:lnTo>
                    <a:pt x="1813" y="594"/>
                  </a:lnTo>
                  <a:lnTo>
                    <a:pt x="1818" y="581"/>
                  </a:lnTo>
                  <a:close/>
                  <a:moveTo>
                    <a:pt x="1581" y="494"/>
                  </a:moveTo>
                  <a:lnTo>
                    <a:pt x="1578" y="483"/>
                  </a:lnTo>
                  <a:lnTo>
                    <a:pt x="1593" y="464"/>
                  </a:lnTo>
                  <a:lnTo>
                    <a:pt x="1637" y="467"/>
                  </a:lnTo>
                  <a:lnTo>
                    <a:pt x="1654" y="463"/>
                  </a:lnTo>
                  <a:lnTo>
                    <a:pt x="1669" y="472"/>
                  </a:lnTo>
                  <a:lnTo>
                    <a:pt x="1699" y="474"/>
                  </a:lnTo>
                  <a:lnTo>
                    <a:pt x="1707" y="491"/>
                  </a:lnTo>
                  <a:lnTo>
                    <a:pt x="1714" y="492"/>
                  </a:lnTo>
                  <a:lnTo>
                    <a:pt x="1716" y="505"/>
                  </a:lnTo>
                  <a:lnTo>
                    <a:pt x="1711" y="513"/>
                  </a:lnTo>
                  <a:lnTo>
                    <a:pt x="1661" y="488"/>
                  </a:lnTo>
                  <a:lnTo>
                    <a:pt x="1640" y="491"/>
                  </a:lnTo>
                  <a:lnTo>
                    <a:pt x="1624" y="484"/>
                  </a:lnTo>
                  <a:lnTo>
                    <a:pt x="1607" y="492"/>
                  </a:lnTo>
                  <a:lnTo>
                    <a:pt x="1590" y="480"/>
                  </a:lnTo>
                  <a:lnTo>
                    <a:pt x="1581" y="494"/>
                  </a:lnTo>
                  <a:close/>
                  <a:moveTo>
                    <a:pt x="1665" y="418"/>
                  </a:moveTo>
                  <a:lnTo>
                    <a:pt x="1688" y="412"/>
                  </a:lnTo>
                  <a:lnTo>
                    <a:pt x="1694" y="426"/>
                  </a:lnTo>
                  <a:lnTo>
                    <a:pt x="1677" y="429"/>
                  </a:lnTo>
                  <a:lnTo>
                    <a:pt x="1665" y="418"/>
                  </a:lnTo>
                  <a:close/>
                  <a:moveTo>
                    <a:pt x="1694" y="339"/>
                  </a:moveTo>
                  <a:lnTo>
                    <a:pt x="1707" y="336"/>
                  </a:lnTo>
                  <a:lnTo>
                    <a:pt x="1733" y="349"/>
                  </a:lnTo>
                  <a:lnTo>
                    <a:pt x="1714" y="354"/>
                  </a:lnTo>
                  <a:lnTo>
                    <a:pt x="1695" y="347"/>
                  </a:lnTo>
                  <a:lnTo>
                    <a:pt x="1691" y="344"/>
                  </a:lnTo>
                  <a:lnTo>
                    <a:pt x="1694" y="339"/>
                  </a:lnTo>
                  <a:close/>
                  <a:moveTo>
                    <a:pt x="1934" y="409"/>
                  </a:moveTo>
                  <a:lnTo>
                    <a:pt x="1986" y="412"/>
                  </a:lnTo>
                  <a:lnTo>
                    <a:pt x="1991" y="420"/>
                  </a:lnTo>
                  <a:lnTo>
                    <a:pt x="1965" y="418"/>
                  </a:lnTo>
                  <a:lnTo>
                    <a:pt x="1934" y="409"/>
                  </a:lnTo>
                  <a:close/>
                  <a:moveTo>
                    <a:pt x="1927" y="367"/>
                  </a:moveTo>
                  <a:lnTo>
                    <a:pt x="1946" y="367"/>
                  </a:lnTo>
                  <a:lnTo>
                    <a:pt x="1966" y="386"/>
                  </a:lnTo>
                  <a:lnTo>
                    <a:pt x="1954" y="387"/>
                  </a:lnTo>
                  <a:lnTo>
                    <a:pt x="1927" y="367"/>
                  </a:lnTo>
                  <a:close/>
                  <a:moveTo>
                    <a:pt x="2188" y="452"/>
                  </a:moveTo>
                  <a:lnTo>
                    <a:pt x="2189" y="564"/>
                  </a:lnTo>
                  <a:lnTo>
                    <a:pt x="2191" y="625"/>
                  </a:lnTo>
                  <a:lnTo>
                    <a:pt x="2186" y="645"/>
                  </a:lnTo>
                  <a:lnTo>
                    <a:pt x="2192" y="659"/>
                  </a:lnTo>
                  <a:lnTo>
                    <a:pt x="2198" y="754"/>
                  </a:lnTo>
                  <a:lnTo>
                    <a:pt x="2181" y="745"/>
                  </a:lnTo>
                  <a:lnTo>
                    <a:pt x="2137" y="704"/>
                  </a:lnTo>
                  <a:lnTo>
                    <a:pt x="2118" y="709"/>
                  </a:lnTo>
                  <a:lnTo>
                    <a:pt x="2101" y="706"/>
                  </a:lnTo>
                  <a:lnTo>
                    <a:pt x="2095" y="713"/>
                  </a:lnTo>
                  <a:lnTo>
                    <a:pt x="2091" y="708"/>
                  </a:lnTo>
                  <a:lnTo>
                    <a:pt x="2088" y="718"/>
                  </a:lnTo>
                  <a:lnTo>
                    <a:pt x="2078" y="715"/>
                  </a:lnTo>
                  <a:lnTo>
                    <a:pt x="2037" y="720"/>
                  </a:lnTo>
                  <a:lnTo>
                    <a:pt x="2047" y="691"/>
                  </a:lnTo>
                  <a:lnTo>
                    <a:pt x="2061" y="675"/>
                  </a:lnTo>
                  <a:lnTo>
                    <a:pt x="2079" y="672"/>
                  </a:lnTo>
                  <a:lnTo>
                    <a:pt x="2093" y="681"/>
                  </a:lnTo>
                  <a:lnTo>
                    <a:pt x="2093" y="674"/>
                  </a:lnTo>
                  <a:lnTo>
                    <a:pt x="2084" y="667"/>
                  </a:lnTo>
                  <a:lnTo>
                    <a:pt x="2091" y="662"/>
                  </a:lnTo>
                  <a:lnTo>
                    <a:pt x="2073" y="653"/>
                  </a:lnTo>
                  <a:lnTo>
                    <a:pt x="2078" y="650"/>
                  </a:lnTo>
                  <a:lnTo>
                    <a:pt x="2081" y="636"/>
                  </a:lnTo>
                  <a:lnTo>
                    <a:pt x="2068" y="619"/>
                  </a:lnTo>
                  <a:lnTo>
                    <a:pt x="2064" y="599"/>
                  </a:lnTo>
                  <a:lnTo>
                    <a:pt x="2053" y="582"/>
                  </a:lnTo>
                  <a:lnTo>
                    <a:pt x="2042" y="581"/>
                  </a:lnTo>
                  <a:lnTo>
                    <a:pt x="2033" y="571"/>
                  </a:lnTo>
                  <a:lnTo>
                    <a:pt x="1983" y="552"/>
                  </a:lnTo>
                  <a:lnTo>
                    <a:pt x="1912" y="539"/>
                  </a:lnTo>
                  <a:lnTo>
                    <a:pt x="1900" y="530"/>
                  </a:lnTo>
                  <a:lnTo>
                    <a:pt x="1893" y="517"/>
                  </a:lnTo>
                  <a:lnTo>
                    <a:pt x="1878" y="517"/>
                  </a:lnTo>
                  <a:lnTo>
                    <a:pt x="1878" y="522"/>
                  </a:lnTo>
                  <a:lnTo>
                    <a:pt x="1852" y="501"/>
                  </a:lnTo>
                  <a:lnTo>
                    <a:pt x="1855" y="469"/>
                  </a:lnTo>
                  <a:lnTo>
                    <a:pt x="1836" y="515"/>
                  </a:lnTo>
                  <a:lnTo>
                    <a:pt x="1830" y="522"/>
                  </a:lnTo>
                  <a:lnTo>
                    <a:pt x="1810" y="522"/>
                  </a:lnTo>
                  <a:lnTo>
                    <a:pt x="1805" y="488"/>
                  </a:lnTo>
                  <a:lnTo>
                    <a:pt x="1801" y="488"/>
                  </a:lnTo>
                  <a:lnTo>
                    <a:pt x="1785" y="471"/>
                  </a:lnTo>
                  <a:lnTo>
                    <a:pt x="1767" y="469"/>
                  </a:lnTo>
                  <a:lnTo>
                    <a:pt x="1768" y="461"/>
                  </a:lnTo>
                  <a:lnTo>
                    <a:pt x="1776" y="457"/>
                  </a:lnTo>
                  <a:lnTo>
                    <a:pt x="1798" y="458"/>
                  </a:lnTo>
                  <a:lnTo>
                    <a:pt x="1824" y="447"/>
                  </a:lnTo>
                  <a:lnTo>
                    <a:pt x="1842" y="450"/>
                  </a:lnTo>
                  <a:lnTo>
                    <a:pt x="1850" y="447"/>
                  </a:lnTo>
                  <a:lnTo>
                    <a:pt x="1856" y="429"/>
                  </a:lnTo>
                  <a:lnTo>
                    <a:pt x="1812" y="440"/>
                  </a:lnTo>
                  <a:lnTo>
                    <a:pt x="1784" y="440"/>
                  </a:lnTo>
                  <a:lnTo>
                    <a:pt x="1771" y="433"/>
                  </a:lnTo>
                  <a:lnTo>
                    <a:pt x="1758" y="407"/>
                  </a:lnTo>
                  <a:lnTo>
                    <a:pt x="1736" y="400"/>
                  </a:lnTo>
                  <a:lnTo>
                    <a:pt x="1734" y="407"/>
                  </a:lnTo>
                  <a:lnTo>
                    <a:pt x="1719" y="400"/>
                  </a:lnTo>
                  <a:lnTo>
                    <a:pt x="1733" y="373"/>
                  </a:lnTo>
                  <a:lnTo>
                    <a:pt x="1759" y="367"/>
                  </a:lnTo>
                  <a:lnTo>
                    <a:pt x="1775" y="353"/>
                  </a:lnTo>
                  <a:lnTo>
                    <a:pt x="1785" y="350"/>
                  </a:lnTo>
                  <a:lnTo>
                    <a:pt x="1809" y="353"/>
                  </a:lnTo>
                  <a:lnTo>
                    <a:pt x="1832" y="369"/>
                  </a:lnTo>
                  <a:lnTo>
                    <a:pt x="1861" y="369"/>
                  </a:lnTo>
                  <a:lnTo>
                    <a:pt x="1869" y="392"/>
                  </a:lnTo>
                  <a:lnTo>
                    <a:pt x="1866" y="427"/>
                  </a:lnTo>
                  <a:lnTo>
                    <a:pt x="1869" y="446"/>
                  </a:lnTo>
                  <a:lnTo>
                    <a:pt x="1881" y="463"/>
                  </a:lnTo>
                  <a:lnTo>
                    <a:pt x="1883" y="450"/>
                  </a:lnTo>
                  <a:lnTo>
                    <a:pt x="1892" y="452"/>
                  </a:lnTo>
                  <a:lnTo>
                    <a:pt x="1901" y="480"/>
                  </a:lnTo>
                  <a:lnTo>
                    <a:pt x="1917" y="488"/>
                  </a:lnTo>
                  <a:lnTo>
                    <a:pt x="1934" y="488"/>
                  </a:lnTo>
                  <a:lnTo>
                    <a:pt x="1939" y="477"/>
                  </a:lnTo>
                  <a:lnTo>
                    <a:pt x="1968" y="450"/>
                  </a:lnTo>
                  <a:lnTo>
                    <a:pt x="1973" y="437"/>
                  </a:lnTo>
                  <a:lnTo>
                    <a:pt x="2002" y="432"/>
                  </a:lnTo>
                  <a:lnTo>
                    <a:pt x="2010" y="427"/>
                  </a:lnTo>
                  <a:lnTo>
                    <a:pt x="2011" y="415"/>
                  </a:lnTo>
                  <a:lnTo>
                    <a:pt x="2039" y="398"/>
                  </a:lnTo>
                  <a:lnTo>
                    <a:pt x="2122" y="438"/>
                  </a:lnTo>
                  <a:lnTo>
                    <a:pt x="2159" y="440"/>
                  </a:lnTo>
                  <a:lnTo>
                    <a:pt x="2176" y="452"/>
                  </a:lnTo>
                  <a:lnTo>
                    <a:pt x="2188" y="452"/>
                  </a:lnTo>
                  <a:close/>
                  <a:moveTo>
                    <a:pt x="1353" y="518"/>
                  </a:moveTo>
                  <a:lnTo>
                    <a:pt x="1361" y="518"/>
                  </a:lnTo>
                  <a:lnTo>
                    <a:pt x="1361" y="526"/>
                  </a:lnTo>
                  <a:lnTo>
                    <a:pt x="1355" y="525"/>
                  </a:lnTo>
                  <a:lnTo>
                    <a:pt x="1353" y="518"/>
                  </a:lnTo>
                  <a:close/>
                  <a:moveTo>
                    <a:pt x="1343" y="562"/>
                  </a:moveTo>
                  <a:lnTo>
                    <a:pt x="1351" y="534"/>
                  </a:lnTo>
                  <a:lnTo>
                    <a:pt x="1361" y="552"/>
                  </a:lnTo>
                  <a:lnTo>
                    <a:pt x="1353" y="560"/>
                  </a:lnTo>
                  <a:lnTo>
                    <a:pt x="1360" y="579"/>
                  </a:lnTo>
                  <a:lnTo>
                    <a:pt x="1343" y="593"/>
                  </a:lnTo>
                  <a:lnTo>
                    <a:pt x="1336" y="582"/>
                  </a:lnTo>
                  <a:lnTo>
                    <a:pt x="1343" y="562"/>
                  </a:lnTo>
                  <a:close/>
                  <a:moveTo>
                    <a:pt x="1323" y="551"/>
                  </a:moveTo>
                  <a:lnTo>
                    <a:pt x="1338" y="547"/>
                  </a:lnTo>
                  <a:lnTo>
                    <a:pt x="1336" y="581"/>
                  </a:lnTo>
                  <a:lnTo>
                    <a:pt x="1321" y="577"/>
                  </a:lnTo>
                  <a:lnTo>
                    <a:pt x="1323" y="551"/>
                  </a:lnTo>
                  <a:close/>
                  <a:moveTo>
                    <a:pt x="1298" y="573"/>
                  </a:moveTo>
                  <a:lnTo>
                    <a:pt x="1307" y="569"/>
                  </a:lnTo>
                  <a:lnTo>
                    <a:pt x="1310" y="581"/>
                  </a:lnTo>
                  <a:lnTo>
                    <a:pt x="1306" y="582"/>
                  </a:lnTo>
                  <a:lnTo>
                    <a:pt x="1298" y="573"/>
                  </a:lnTo>
                  <a:close/>
                  <a:moveTo>
                    <a:pt x="1265" y="273"/>
                  </a:moveTo>
                  <a:lnTo>
                    <a:pt x="1280" y="274"/>
                  </a:lnTo>
                  <a:lnTo>
                    <a:pt x="1287" y="283"/>
                  </a:lnTo>
                  <a:lnTo>
                    <a:pt x="1326" y="285"/>
                  </a:lnTo>
                  <a:lnTo>
                    <a:pt x="1346" y="293"/>
                  </a:lnTo>
                  <a:lnTo>
                    <a:pt x="1363" y="288"/>
                  </a:lnTo>
                  <a:lnTo>
                    <a:pt x="1394" y="293"/>
                  </a:lnTo>
                  <a:lnTo>
                    <a:pt x="1405" y="290"/>
                  </a:lnTo>
                  <a:lnTo>
                    <a:pt x="1446" y="254"/>
                  </a:lnTo>
                  <a:lnTo>
                    <a:pt x="1453" y="257"/>
                  </a:lnTo>
                  <a:lnTo>
                    <a:pt x="1453" y="271"/>
                  </a:lnTo>
                  <a:lnTo>
                    <a:pt x="1428" y="305"/>
                  </a:lnTo>
                  <a:lnTo>
                    <a:pt x="1411" y="317"/>
                  </a:lnTo>
                  <a:lnTo>
                    <a:pt x="1369" y="320"/>
                  </a:lnTo>
                  <a:lnTo>
                    <a:pt x="1348" y="311"/>
                  </a:lnTo>
                  <a:lnTo>
                    <a:pt x="1302" y="315"/>
                  </a:lnTo>
                  <a:lnTo>
                    <a:pt x="1276" y="310"/>
                  </a:lnTo>
                  <a:lnTo>
                    <a:pt x="1265" y="315"/>
                  </a:lnTo>
                  <a:lnTo>
                    <a:pt x="1236" y="313"/>
                  </a:lnTo>
                  <a:lnTo>
                    <a:pt x="1230" y="322"/>
                  </a:lnTo>
                  <a:lnTo>
                    <a:pt x="1221" y="344"/>
                  </a:lnTo>
                  <a:lnTo>
                    <a:pt x="1221" y="367"/>
                  </a:lnTo>
                  <a:lnTo>
                    <a:pt x="1236" y="378"/>
                  </a:lnTo>
                  <a:lnTo>
                    <a:pt x="1248" y="398"/>
                  </a:lnTo>
                  <a:lnTo>
                    <a:pt x="1267" y="396"/>
                  </a:lnTo>
                  <a:lnTo>
                    <a:pt x="1282" y="378"/>
                  </a:lnTo>
                  <a:lnTo>
                    <a:pt x="1290" y="373"/>
                  </a:lnTo>
                  <a:lnTo>
                    <a:pt x="1309" y="378"/>
                  </a:lnTo>
                  <a:lnTo>
                    <a:pt x="1312" y="371"/>
                  </a:lnTo>
                  <a:lnTo>
                    <a:pt x="1344" y="369"/>
                  </a:lnTo>
                  <a:lnTo>
                    <a:pt x="1346" y="362"/>
                  </a:lnTo>
                  <a:lnTo>
                    <a:pt x="1360" y="359"/>
                  </a:lnTo>
                  <a:lnTo>
                    <a:pt x="1368" y="359"/>
                  </a:lnTo>
                  <a:lnTo>
                    <a:pt x="1374" y="366"/>
                  </a:lnTo>
                  <a:lnTo>
                    <a:pt x="1374" y="375"/>
                  </a:lnTo>
                  <a:lnTo>
                    <a:pt x="1368" y="381"/>
                  </a:lnTo>
                  <a:lnTo>
                    <a:pt x="1357" y="375"/>
                  </a:lnTo>
                  <a:lnTo>
                    <a:pt x="1346" y="378"/>
                  </a:lnTo>
                  <a:lnTo>
                    <a:pt x="1323" y="404"/>
                  </a:lnTo>
                  <a:lnTo>
                    <a:pt x="1293" y="418"/>
                  </a:lnTo>
                  <a:lnTo>
                    <a:pt x="1278" y="417"/>
                  </a:lnTo>
                  <a:lnTo>
                    <a:pt x="1280" y="426"/>
                  </a:lnTo>
                  <a:lnTo>
                    <a:pt x="1292" y="432"/>
                  </a:lnTo>
                  <a:lnTo>
                    <a:pt x="1327" y="481"/>
                  </a:lnTo>
                  <a:lnTo>
                    <a:pt x="1319" y="488"/>
                  </a:lnTo>
                  <a:lnTo>
                    <a:pt x="1319" y="500"/>
                  </a:lnTo>
                  <a:lnTo>
                    <a:pt x="1335" y="513"/>
                  </a:lnTo>
                  <a:lnTo>
                    <a:pt x="1335" y="520"/>
                  </a:lnTo>
                  <a:lnTo>
                    <a:pt x="1344" y="523"/>
                  </a:lnTo>
                  <a:lnTo>
                    <a:pt x="1344" y="534"/>
                  </a:lnTo>
                  <a:lnTo>
                    <a:pt x="1315" y="540"/>
                  </a:lnTo>
                  <a:lnTo>
                    <a:pt x="1302" y="557"/>
                  </a:lnTo>
                  <a:lnTo>
                    <a:pt x="1290" y="556"/>
                  </a:lnTo>
                  <a:lnTo>
                    <a:pt x="1285" y="534"/>
                  </a:lnTo>
                  <a:lnTo>
                    <a:pt x="1289" y="523"/>
                  </a:lnTo>
                  <a:lnTo>
                    <a:pt x="1265" y="501"/>
                  </a:lnTo>
                  <a:lnTo>
                    <a:pt x="1258" y="489"/>
                  </a:lnTo>
                  <a:lnTo>
                    <a:pt x="1265" y="475"/>
                  </a:lnTo>
                  <a:lnTo>
                    <a:pt x="1264" y="458"/>
                  </a:lnTo>
                  <a:lnTo>
                    <a:pt x="1261" y="454"/>
                  </a:lnTo>
                  <a:lnTo>
                    <a:pt x="1252" y="454"/>
                  </a:lnTo>
                  <a:lnTo>
                    <a:pt x="1231" y="467"/>
                  </a:lnTo>
                  <a:lnTo>
                    <a:pt x="1228" y="477"/>
                  </a:lnTo>
                  <a:lnTo>
                    <a:pt x="1233" y="489"/>
                  </a:lnTo>
                  <a:lnTo>
                    <a:pt x="1236" y="551"/>
                  </a:lnTo>
                  <a:lnTo>
                    <a:pt x="1231" y="562"/>
                  </a:lnTo>
                  <a:lnTo>
                    <a:pt x="1235" y="588"/>
                  </a:lnTo>
                  <a:lnTo>
                    <a:pt x="1199" y="593"/>
                  </a:lnTo>
                  <a:lnTo>
                    <a:pt x="1193" y="590"/>
                  </a:lnTo>
                  <a:lnTo>
                    <a:pt x="1187" y="576"/>
                  </a:lnTo>
                  <a:lnTo>
                    <a:pt x="1199" y="520"/>
                  </a:lnTo>
                  <a:lnTo>
                    <a:pt x="1193" y="492"/>
                  </a:lnTo>
                  <a:lnTo>
                    <a:pt x="1171" y="494"/>
                  </a:lnTo>
                  <a:lnTo>
                    <a:pt x="1165" y="483"/>
                  </a:lnTo>
                  <a:lnTo>
                    <a:pt x="1163" y="455"/>
                  </a:lnTo>
                  <a:lnTo>
                    <a:pt x="1185" y="418"/>
                  </a:lnTo>
                  <a:lnTo>
                    <a:pt x="1185" y="393"/>
                  </a:lnTo>
                  <a:lnTo>
                    <a:pt x="1204" y="361"/>
                  </a:lnTo>
                  <a:lnTo>
                    <a:pt x="1207" y="342"/>
                  </a:lnTo>
                  <a:lnTo>
                    <a:pt x="1202" y="336"/>
                  </a:lnTo>
                  <a:lnTo>
                    <a:pt x="1210" y="327"/>
                  </a:lnTo>
                  <a:lnTo>
                    <a:pt x="1216" y="302"/>
                  </a:lnTo>
                  <a:lnTo>
                    <a:pt x="1226" y="293"/>
                  </a:lnTo>
                  <a:lnTo>
                    <a:pt x="1241" y="296"/>
                  </a:lnTo>
                  <a:lnTo>
                    <a:pt x="1252" y="276"/>
                  </a:lnTo>
                  <a:lnTo>
                    <a:pt x="1265" y="273"/>
                  </a:lnTo>
                  <a:close/>
                  <a:moveTo>
                    <a:pt x="1041" y="484"/>
                  </a:moveTo>
                  <a:lnTo>
                    <a:pt x="1046" y="511"/>
                  </a:lnTo>
                  <a:lnTo>
                    <a:pt x="1038" y="518"/>
                  </a:lnTo>
                  <a:lnTo>
                    <a:pt x="1035" y="494"/>
                  </a:lnTo>
                  <a:lnTo>
                    <a:pt x="1041" y="484"/>
                  </a:lnTo>
                  <a:close/>
                  <a:moveTo>
                    <a:pt x="1104" y="142"/>
                  </a:moveTo>
                  <a:lnTo>
                    <a:pt x="1095" y="147"/>
                  </a:lnTo>
                  <a:lnTo>
                    <a:pt x="1112" y="158"/>
                  </a:lnTo>
                  <a:lnTo>
                    <a:pt x="1112" y="164"/>
                  </a:lnTo>
                  <a:lnTo>
                    <a:pt x="1087" y="171"/>
                  </a:lnTo>
                  <a:lnTo>
                    <a:pt x="1103" y="197"/>
                  </a:lnTo>
                  <a:lnTo>
                    <a:pt x="1123" y="229"/>
                  </a:lnTo>
                  <a:lnTo>
                    <a:pt x="1119" y="248"/>
                  </a:lnTo>
                  <a:lnTo>
                    <a:pt x="1167" y="293"/>
                  </a:lnTo>
                  <a:lnTo>
                    <a:pt x="1143" y="296"/>
                  </a:lnTo>
                  <a:lnTo>
                    <a:pt x="1129" y="293"/>
                  </a:lnTo>
                  <a:lnTo>
                    <a:pt x="1123" y="285"/>
                  </a:lnTo>
                  <a:lnTo>
                    <a:pt x="1123" y="296"/>
                  </a:lnTo>
                  <a:lnTo>
                    <a:pt x="1114" y="302"/>
                  </a:lnTo>
                  <a:lnTo>
                    <a:pt x="1104" y="317"/>
                  </a:lnTo>
                  <a:lnTo>
                    <a:pt x="1099" y="356"/>
                  </a:lnTo>
                  <a:lnTo>
                    <a:pt x="1082" y="387"/>
                  </a:lnTo>
                  <a:lnTo>
                    <a:pt x="1070" y="392"/>
                  </a:lnTo>
                  <a:lnTo>
                    <a:pt x="1044" y="415"/>
                  </a:lnTo>
                  <a:lnTo>
                    <a:pt x="1050" y="418"/>
                  </a:lnTo>
                  <a:lnTo>
                    <a:pt x="1052" y="432"/>
                  </a:lnTo>
                  <a:lnTo>
                    <a:pt x="1061" y="437"/>
                  </a:lnTo>
                  <a:lnTo>
                    <a:pt x="1057" y="452"/>
                  </a:lnTo>
                  <a:lnTo>
                    <a:pt x="1050" y="452"/>
                  </a:lnTo>
                  <a:lnTo>
                    <a:pt x="1032" y="497"/>
                  </a:lnTo>
                  <a:lnTo>
                    <a:pt x="979" y="523"/>
                  </a:lnTo>
                  <a:lnTo>
                    <a:pt x="972" y="525"/>
                  </a:lnTo>
                  <a:lnTo>
                    <a:pt x="965" y="497"/>
                  </a:lnTo>
                  <a:lnTo>
                    <a:pt x="958" y="492"/>
                  </a:lnTo>
                  <a:lnTo>
                    <a:pt x="952" y="488"/>
                  </a:lnTo>
                  <a:lnTo>
                    <a:pt x="927" y="491"/>
                  </a:lnTo>
                  <a:lnTo>
                    <a:pt x="922" y="480"/>
                  </a:lnTo>
                  <a:lnTo>
                    <a:pt x="908" y="480"/>
                  </a:lnTo>
                  <a:lnTo>
                    <a:pt x="894" y="472"/>
                  </a:lnTo>
                  <a:lnTo>
                    <a:pt x="893" y="480"/>
                  </a:lnTo>
                  <a:lnTo>
                    <a:pt x="874" y="488"/>
                  </a:lnTo>
                  <a:lnTo>
                    <a:pt x="868" y="489"/>
                  </a:lnTo>
                  <a:lnTo>
                    <a:pt x="842" y="492"/>
                  </a:lnTo>
                  <a:lnTo>
                    <a:pt x="833" y="461"/>
                  </a:lnTo>
                  <a:lnTo>
                    <a:pt x="826" y="469"/>
                  </a:lnTo>
                  <a:lnTo>
                    <a:pt x="818" y="466"/>
                  </a:lnTo>
                  <a:lnTo>
                    <a:pt x="806" y="472"/>
                  </a:lnTo>
                  <a:lnTo>
                    <a:pt x="786" y="472"/>
                  </a:lnTo>
                  <a:lnTo>
                    <a:pt x="777" y="466"/>
                  </a:lnTo>
                  <a:lnTo>
                    <a:pt x="767" y="469"/>
                  </a:lnTo>
                  <a:lnTo>
                    <a:pt x="753" y="418"/>
                  </a:lnTo>
                  <a:lnTo>
                    <a:pt x="755" y="404"/>
                  </a:lnTo>
                  <a:lnTo>
                    <a:pt x="752" y="387"/>
                  </a:lnTo>
                  <a:lnTo>
                    <a:pt x="738" y="366"/>
                  </a:lnTo>
                  <a:lnTo>
                    <a:pt x="718" y="354"/>
                  </a:lnTo>
                  <a:lnTo>
                    <a:pt x="716" y="345"/>
                  </a:lnTo>
                  <a:lnTo>
                    <a:pt x="715" y="327"/>
                  </a:lnTo>
                  <a:lnTo>
                    <a:pt x="706" y="311"/>
                  </a:lnTo>
                  <a:lnTo>
                    <a:pt x="706" y="285"/>
                  </a:lnTo>
                  <a:lnTo>
                    <a:pt x="716" y="260"/>
                  </a:lnTo>
                  <a:lnTo>
                    <a:pt x="735" y="239"/>
                  </a:lnTo>
                  <a:lnTo>
                    <a:pt x="736" y="251"/>
                  </a:lnTo>
                  <a:lnTo>
                    <a:pt x="755" y="285"/>
                  </a:lnTo>
                  <a:lnTo>
                    <a:pt x="767" y="288"/>
                  </a:lnTo>
                  <a:lnTo>
                    <a:pt x="778" y="291"/>
                  </a:lnTo>
                  <a:lnTo>
                    <a:pt x="797" y="286"/>
                  </a:lnTo>
                  <a:lnTo>
                    <a:pt x="806" y="291"/>
                  </a:lnTo>
                  <a:lnTo>
                    <a:pt x="829" y="290"/>
                  </a:lnTo>
                  <a:lnTo>
                    <a:pt x="860" y="263"/>
                  </a:lnTo>
                  <a:lnTo>
                    <a:pt x="884" y="265"/>
                  </a:lnTo>
                  <a:lnTo>
                    <a:pt x="889" y="271"/>
                  </a:lnTo>
                  <a:lnTo>
                    <a:pt x="910" y="277"/>
                  </a:lnTo>
                  <a:lnTo>
                    <a:pt x="945" y="269"/>
                  </a:lnTo>
                  <a:lnTo>
                    <a:pt x="962" y="260"/>
                  </a:lnTo>
                  <a:lnTo>
                    <a:pt x="972" y="246"/>
                  </a:lnTo>
                  <a:lnTo>
                    <a:pt x="984" y="209"/>
                  </a:lnTo>
                  <a:lnTo>
                    <a:pt x="1006" y="183"/>
                  </a:lnTo>
                  <a:lnTo>
                    <a:pt x="1023" y="134"/>
                  </a:lnTo>
                  <a:lnTo>
                    <a:pt x="1080" y="134"/>
                  </a:lnTo>
                  <a:lnTo>
                    <a:pt x="1104" y="142"/>
                  </a:lnTo>
                  <a:close/>
                  <a:moveTo>
                    <a:pt x="650" y="450"/>
                  </a:moveTo>
                  <a:lnTo>
                    <a:pt x="662" y="449"/>
                  </a:lnTo>
                  <a:lnTo>
                    <a:pt x="676" y="458"/>
                  </a:lnTo>
                  <a:lnTo>
                    <a:pt x="670" y="477"/>
                  </a:lnTo>
                  <a:lnTo>
                    <a:pt x="648" y="474"/>
                  </a:lnTo>
                  <a:lnTo>
                    <a:pt x="645" y="463"/>
                  </a:lnTo>
                  <a:lnTo>
                    <a:pt x="650" y="450"/>
                  </a:lnTo>
                  <a:close/>
                  <a:moveTo>
                    <a:pt x="534" y="420"/>
                  </a:moveTo>
                  <a:lnTo>
                    <a:pt x="545" y="404"/>
                  </a:lnTo>
                  <a:lnTo>
                    <a:pt x="555" y="404"/>
                  </a:lnTo>
                  <a:lnTo>
                    <a:pt x="560" y="412"/>
                  </a:lnTo>
                  <a:lnTo>
                    <a:pt x="563" y="401"/>
                  </a:lnTo>
                  <a:lnTo>
                    <a:pt x="569" y="401"/>
                  </a:lnTo>
                  <a:lnTo>
                    <a:pt x="586" y="444"/>
                  </a:lnTo>
                  <a:lnTo>
                    <a:pt x="605" y="449"/>
                  </a:lnTo>
                  <a:lnTo>
                    <a:pt x="605" y="472"/>
                  </a:lnTo>
                  <a:lnTo>
                    <a:pt x="599" y="474"/>
                  </a:lnTo>
                  <a:lnTo>
                    <a:pt x="577" y="463"/>
                  </a:lnTo>
                  <a:lnTo>
                    <a:pt x="562" y="432"/>
                  </a:lnTo>
                  <a:lnTo>
                    <a:pt x="534" y="420"/>
                  </a:lnTo>
                  <a:close/>
                  <a:moveTo>
                    <a:pt x="6" y="0"/>
                  </a:moveTo>
                  <a:lnTo>
                    <a:pt x="0" y="3"/>
                  </a:lnTo>
                  <a:lnTo>
                    <a:pt x="3" y="20"/>
                  </a:lnTo>
                  <a:lnTo>
                    <a:pt x="8" y="16"/>
                  </a:lnTo>
                  <a:lnTo>
                    <a:pt x="6" y="0"/>
                  </a:lnTo>
                  <a:close/>
                  <a:moveTo>
                    <a:pt x="998" y="645"/>
                  </a:moveTo>
                  <a:lnTo>
                    <a:pt x="1007" y="644"/>
                  </a:lnTo>
                  <a:lnTo>
                    <a:pt x="1010" y="650"/>
                  </a:lnTo>
                  <a:lnTo>
                    <a:pt x="1001" y="655"/>
                  </a:lnTo>
                  <a:lnTo>
                    <a:pt x="998" y="645"/>
                  </a:lnTo>
                  <a:close/>
                  <a:moveTo>
                    <a:pt x="986" y="704"/>
                  </a:moveTo>
                  <a:lnTo>
                    <a:pt x="1001" y="704"/>
                  </a:lnTo>
                  <a:lnTo>
                    <a:pt x="1015" y="715"/>
                  </a:lnTo>
                  <a:lnTo>
                    <a:pt x="1015" y="721"/>
                  </a:lnTo>
                  <a:lnTo>
                    <a:pt x="1001" y="729"/>
                  </a:lnTo>
                  <a:lnTo>
                    <a:pt x="996" y="738"/>
                  </a:lnTo>
                  <a:lnTo>
                    <a:pt x="981" y="720"/>
                  </a:lnTo>
                  <a:lnTo>
                    <a:pt x="964" y="715"/>
                  </a:lnTo>
                  <a:lnTo>
                    <a:pt x="965" y="703"/>
                  </a:lnTo>
                  <a:lnTo>
                    <a:pt x="986" y="704"/>
                  </a:lnTo>
                  <a:close/>
                  <a:moveTo>
                    <a:pt x="1035" y="721"/>
                  </a:moveTo>
                  <a:lnTo>
                    <a:pt x="1046" y="711"/>
                  </a:lnTo>
                  <a:lnTo>
                    <a:pt x="1061" y="715"/>
                  </a:lnTo>
                  <a:lnTo>
                    <a:pt x="1060" y="743"/>
                  </a:lnTo>
                  <a:lnTo>
                    <a:pt x="1027" y="741"/>
                  </a:lnTo>
                  <a:lnTo>
                    <a:pt x="1035" y="721"/>
                  </a:lnTo>
                  <a:close/>
                  <a:moveTo>
                    <a:pt x="1080" y="720"/>
                  </a:moveTo>
                  <a:lnTo>
                    <a:pt x="1104" y="721"/>
                  </a:lnTo>
                  <a:lnTo>
                    <a:pt x="1117" y="733"/>
                  </a:lnTo>
                  <a:lnTo>
                    <a:pt x="1133" y="729"/>
                  </a:lnTo>
                  <a:lnTo>
                    <a:pt x="1116" y="715"/>
                  </a:lnTo>
                  <a:lnTo>
                    <a:pt x="1114" y="708"/>
                  </a:lnTo>
                  <a:lnTo>
                    <a:pt x="1121" y="704"/>
                  </a:lnTo>
                  <a:lnTo>
                    <a:pt x="1134" y="716"/>
                  </a:lnTo>
                  <a:lnTo>
                    <a:pt x="1148" y="713"/>
                  </a:lnTo>
                  <a:lnTo>
                    <a:pt x="1154" y="724"/>
                  </a:lnTo>
                  <a:lnTo>
                    <a:pt x="1163" y="713"/>
                  </a:lnTo>
                  <a:lnTo>
                    <a:pt x="1177" y="733"/>
                  </a:lnTo>
                  <a:lnTo>
                    <a:pt x="1165" y="732"/>
                  </a:lnTo>
                  <a:lnTo>
                    <a:pt x="1163" y="738"/>
                  </a:lnTo>
                  <a:lnTo>
                    <a:pt x="1153" y="740"/>
                  </a:lnTo>
                  <a:lnTo>
                    <a:pt x="1143" y="733"/>
                  </a:lnTo>
                  <a:lnTo>
                    <a:pt x="1108" y="746"/>
                  </a:lnTo>
                  <a:lnTo>
                    <a:pt x="1078" y="750"/>
                  </a:lnTo>
                  <a:lnTo>
                    <a:pt x="1070" y="746"/>
                  </a:lnTo>
                  <a:lnTo>
                    <a:pt x="1067" y="729"/>
                  </a:lnTo>
                  <a:lnTo>
                    <a:pt x="1080" y="720"/>
                  </a:lnTo>
                  <a:close/>
                  <a:moveTo>
                    <a:pt x="1214" y="760"/>
                  </a:moveTo>
                  <a:lnTo>
                    <a:pt x="1241" y="780"/>
                  </a:lnTo>
                  <a:lnTo>
                    <a:pt x="1253" y="799"/>
                  </a:lnTo>
                  <a:lnTo>
                    <a:pt x="1239" y="808"/>
                  </a:lnTo>
                  <a:lnTo>
                    <a:pt x="1228" y="806"/>
                  </a:lnTo>
                  <a:lnTo>
                    <a:pt x="1199" y="783"/>
                  </a:lnTo>
                  <a:lnTo>
                    <a:pt x="1179" y="782"/>
                  </a:lnTo>
                  <a:lnTo>
                    <a:pt x="1171" y="769"/>
                  </a:lnTo>
                  <a:lnTo>
                    <a:pt x="1214" y="760"/>
                  </a:lnTo>
                  <a:close/>
                  <a:moveTo>
                    <a:pt x="1214" y="721"/>
                  </a:moveTo>
                  <a:lnTo>
                    <a:pt x="1244" y="711"/>
                  </a:lnTo>
                  <a:lnTo>
                    <a:pt x="1267" y="716"/>
                  </a:lnTo>
                  <a:lnTo>
                    <a:pt x="1282" y="728"/>
                  </a:lnTo>
                  <a:lnTo>
                    <a:pt x="1309" y="721"/>
                  </a:lnTo>
                  <a:lnTo>
                    <a:pt x="1326" y="728"/>
                  </a:lnTo>
                  <a:lnTo>
                    <a:pt x="1348" y="715"/>
                  </a:lnTo>
                  <a:lnTo>
                    <a:pt x="1346" y="703"/>
                  </a:lnTo>
                  <a:lnTo>
                    <a:pt x="1353" y="716"/>
                  </a:lnTo>
                  <a:lnTo>
                    <a:pt x="1332" y="733"/>
                  </a:lnTo>
                  <a:lnTo>
                    <a:pt x="1265" y="745"/>
                  </a:lnTo>
                  <a:lnTo>
                    <a:pt x="1241" y="738"/>
                  </a:lnTo>
                  <a:lnTo>
                    <a:pt x="1211" y="738"/>
                  </a:lnTo>
                  <a:lnTo>
                    <a:pt x="1207" y="723"/>
                  </a:lnTo>
                  <a:lnTo>
                    <a:pt x="1214" y="721"/>
                  </a:lnTo>
                  <a:close/>
                  <a:moveTo>
                    <a:pt x="1368" y="724"/>
                  </a:moveTo>
                  <a:lnTo>
                    <a:pt x="1374" y="711"/>
                  </a:lnTo>
                  <a:lnTo>
                    <a:pt x="1378" y="716"/>
                  </a:lnTo>
                  <a:lnTo>
                    <a:pt x="1386" y="709"/>
                  </a:lnTo>
                  <a:lnTo>
                    <a:pt x="1391" y="713"/>
                  </a:lnTo>
                  <a:lnTo>
                    <a:pt x="1382" y="724"/>
                  </a:lnTo>
                  <a:lnTo>
                    <a:pt x="1377" y="728"/>
                  </a:lnTo>
                  <a:lnTo>
                    <a:pt x="1368" y="724"/>
                  </a:lnTo>
                  <a:close/>
                  <a:moveTo>
                    <a:pt x="1399" y="723"/>
                  </a:moveTo>
                  <a:lnTo>
                    <a:pt x="1399" y="718"/>
                  </a:lnTo>
                  <a:lnTo>
                    <a:pt x="1411" y="711"/>
                  </a:lnTo>
                  <a:lnTo>
                    <a:pt x="1405" y="726"/>
                  </a:lnTo>
                  <a:lnTo>
                    <a:pt x="1399" y="723"/>
                  </a:lnTo>
                  <a:close/>
                  <a:moveTo>
                    <a:pt x="1420" y="709"/>
                  </a:moveTo>
                  <a:lnTo>
                    <a:pt x="1446" y="708"/>
                  </a:lnTo>
                  <a:lnTo>
                    <a:pt x="1450" y="713"/>
                  </a:lnTo>
                  <a:lnTo>
                    <a:pt x="1439" y="721"/>
                  </a:lnTo>
                  <a:lnTo>
                    <a:pt x="1425" y="721"/>
                  </a:lnTo>
                  <a:lnTo>
                    <a:pt x="1419" y="720"/>
                  </a:lnTo>
                  <a:lnTo>
                    <a:pt x="1420" y="709"/>
                  </a:lnTo>
                  <a:close/>
                  <a:moveTo>
                    <a:pt x="1348" y="834"/>
                  </a:moveTo>
                  <a:lnTo>
                    <a:pt x="1348" y="830"/>
                  </a:lnTo>
                  <a:lnTo>
                    <a:pt x="1372" y="816"/>
                  </a:lnTo>
                  <a:lnTo>
                    <a:pt x="1363" y="831"/>
                  </a:lnTo>
                  <a:lnTo>
                    <a:pt x="1357" y="836"/>
                  </a:lnTo>
                  <a:lnTo>
                    <a:pt x="1348" y="834"/>
                  </a:lnTo>
                  <a:close/>
                  <a:moveTo>
                    <a:pt x="1450" y="767"/>
                  </a:moveTo>
                  <a:lnTo>
                    <a:pt x="1446" y="779"/>
                  </a:lnTo>
                  <a:lnTo>
                    <a:pt x="1431" y="796"/>
                  </a:lnTo>
                  <a:lnTo>
                    <a:pt x="1397" y="809"/>
                  </a:lnTo>
                  <a:lnTo>
                    <a:pt x="1382" y="809"/>
                  </a:lnTo>
                  <a:lnTo>
                    <a:pt x="1378" y="806"/>
                  </a:lnTo>
                  <a:lnTo>
                    <a:pt x="1383" y="799"/>
                  </a:lnTo>
                  <a:lnTo>
                    <a:pt x="1385" y="775"/>
                  </a:lnTo>
                  <a:lnTo>
                    <a:pt x="1391" y="771"/>
                  </a:lnTo>
                  <a:lnTo>
                    <a:pt x="1434" y="750"/>
                  </a:lnTo>
                  <a:lnTo>
                    <a:pt x="1450" y="732"/>
                  </a:lnTo>
                  <a:lnTo>
                    <a:pt x="1538" y="718"/>
                  </a:lnTo>
                  <a:lnTo>
                    <a:pt x="1546" y="720"/>
                  </a:lnTo>
                  <a:lnTo>
                    <a:pt x="1543" y="733"/>
                  </a:lnTo>
                  <a:lnTo>
                    <a:pt x="1468" y="760"/>
                  </a:lnTo>
                  <a:lnTo>
                    <a:pt x="1454" y="769"/>
                  </a:lnTo>
                  <a:lnTo>
                    <a:pt x="1450" y="767"/>
                  </a:lnTo>
                  <a:close/>
                  <a:moveTo>
                    <a:pt x="1487" y="703"/>
                  </a:moveTo>
                  <a:lnTo>
                    <a:pt x="1482" y="698"/>
                  </a:lnTo>
                  <a:lnTo>
                    <a:pt x="1488" y="687"/>
                  </a:lnTo>
                  <a:lnTo>
                    <a:pt x="1502" y="687"/>
                  </a:lnTo>
                  <a:lnTo>
                    <a:pt x="1519" y="679"/>
                  </a:lnTo>
                  <a:lnTo>
                    <a:pt x="1529" y="689"/>
                  </a:lnTo>
                  <a:lnTo>
                    <a:pt x="1514" y="700"/>
                  </a:lnTo>
                  <a:lnTo>
                    <a:pt x="1487" y="703"/>
                  </a:lnTo>
                  <a:close/>
                  <a:moveTo>
                    <a:pt x="76" y="76"/>
                  </a:moveTo>
                  <a:lnTo>
                    <a:pt x="99" y="76"/>
                  </a:lnTo>
                  <a:lnTo>
                    <a:pt x="110" y="88"/>
                  </a:lnTo>
                  <a:lnTo>
                    <a:pt x="127" y="92"/>
                  </a:lnTo>
                  <a:lnTo>
                    <a:pt x="184" y="96"/>
                  </a:lnTo>
                  <a:lnTo>
                    <a:pt x="198" y="107"/>
                  </a:lnTo>
                  <a:lnTo>
                    <a:pt x="218" y="142"/>
                  </a:lnTo>
                  <a:lnTo>
                    <a:pt x="238" y="163"/>
                  </a:lnTo>
                  <a:lnTo>
                    <a:pt x="269" y="175"/>
                  </a:lnTo>
                  <a:lnTo>
                    <a:pt x="293" y="198"/>
                  </a:lnTo>
                  <a:lnTo>
                    <a:pt x="296" y="206"/>
                  </a:lnTo>
                  <a:lnTo>
                    <a:pt x="306" y="210"/>
                  </a:lnTo>
                  <a:lnTo>
                    <a:pt x="323" y="232"/>
                  </a:lnTo>
                  <a:lnTo>
                    <a:pt x="334" y="237"/>
                  </a:lnTo>
                  <a:lnTo>
                    <a:pt x="337" y="231"/>
                  </a:lnTo>
                  <a:lnTo>
                    <a:pt x="344" y="231"/>
                  </a:lnTo>
                  <a:lnTo>
                    <a:pt x="359" y="252"/>
                  </a:lnTo>
                  <a:lnTo>
                    <a:pt x="388" y="266"/>
                  </a:lnTo>
                  <a:lnTo>
                    <a:pt x="396" y="277"/>
                  </a:lnTo>
                  <a:lnTo>
                    <a:pt x="399" y="282"/>
                  </a:lnTo>
                  <a:lnTo>
                    <a:pt x="401" y="271"/>
                  </a:lnTo>
                  <a:lnTo>
                    <a:pt x="415" y="285"/>
                  </a:lnTo>
                  <a:lnTo>
                    <a:pt x="437" y="286"/>
                  </a:lnTo>
                  <a:lnTo>
                    <a:pt x="437" y="293"/>
                  </a:lnTo>
                  <a:lnTo>
                    <a:pt x="432" y="296"/>
                  </a:lnTo>
                  <a:lnTo>
                    <a:pt x="435" y="313"/>
                  </a:lnTo>
                  <a:lnTo>
                    <a:pt x="454" y="310"/>
                  </a:lnTo>
                  <a:lnTo>
                    <a:pt x="464" y="319"/>
                  </a:lnTo>
                  <a:lnTo>
                    <a:pt x="467" y="330"/>
                  </a:lnTo>
                  <a:lnTo>
                    <a:pt x="457" y="342"/>
                  </a:lnTo>
                  <a:lnTo>
                    <a:pt x="466" y="345"/>
                  </a:lnTo>
                  <a:lnTo>
                    <a:pt x="454" y="364"/>
                  </a:lnTo>
                  <a:lnTo>
                    <a:pt x="457" y="371"/>
                  </a:lnTo>
                  <a:lnTo>
                    <a:pt x="474" y="379"/>
                  </a:lnTo>
                  <a:lnTo>
                    <a:pt x="484" y="383"/>
                  </a:lnTo>
                  <a:lnTo>
                    <a:pt x="496" y="383"/>
                  </a:lnTo>
                  <a:lnTo>
                    <a:pt x="504" y="420"/>
                  </a:lnTo>
                  <a:lnTo>
                    <a:pt x="521" y="429"/>
                  </a:lnTo>
                  <a:lnTo>
                    <a:pt x="517" y="440"/>
                  </a:lnTo>
                  <a:lnTo>
                    <a:pt x="523" y="441"/>
                  </a:lnTo>
                  <a:lnTo>
                    <a:pt x="555" y="446"/>
                  </a:lnTo>
                  <a:lnTo>
                    <a:pt x="572" y="469"/>
                  </a:lnTo>
                  <a:lnTo>
                    <a:pt x="574" y="477"/>
                  </a:lnTo>
                  <a:lnTo>
                    <a:pt x="568" y="505"/>
                  </a:lnTo>
                  <a:lnTo>
                    <a:pt x="571" y="511"/>
                  </a:lnTo>
                  <a:lnTo>
                    <a:pt x="562" y="598"/>
                  </a:lnTo>
                  <a:lnTo>
                    <a:pt x="542" y="585"/>
                  </a:lnTo>
                  <a:lnTo>
                    <a:pt x="537" y="596"/>
                  </a:lnTo>
                  <a:lnTo>
                    <a:pt x="532" y="598"/>
                  </a:lnTo>
                  <a:lnTo>
                    <a:pt x="515" y="585"/>
                  </a:lnTo>
                  <a:lnTo>
                    <a:pt x="509" y="588"/>
                  </a:lnTo>
                  <a:lnTo>
                    <a:pt x="515" y="599"/>
                  </a:lnTo>
                  <a:lnTo>
                    <a:pt x="511" y="602"/>
                  </a:lnTo>
                  <a:lnTo>
                    <a:pt x="470" y="560"/>
                  </a:lnTo>
                  <a:lnTo>
                    <a:pt x="412" y="522"/>
                  </a:lnTo>
                  <a:lnTo>
                    <a:pt x="398" y="498"/>
                  </a:lnTo>
                  <a:lnTo>
                    <a:pt x="342" y="440"/>
                  </a:lnTo>
                  <a:lnTo>
                    <a:pt x="337" y="420"/>
                  </a:lnTo>
                  <a:lnTo>
                    <a:pt x="322" y="387"/>
                  </a:lnTo>
                  <a:lnTo>
                    <a:pt x="308" y="362"/>
                  </a:lnTo>
                  <a:lnTo>
                    <a:pt x="293" y="347"/>
                  </a:lnTo>
                  <a:lnTo>
                    <a:pt x="285" y="332"/>
                  </a:lnTo>
                  <a:lnTo>
                    <a:pt x="260" y="320"/>
                  </a:lnTo>
                  <a:lnTo>
                    <a:pt x="242" y="256"/>
                  </a:lnTo>
                  <a:lnTo>
                    <a:pt x="227" y="240"/>
                  </a:lnTo>
                  <a:lnTo>
                    <a:pt x="193" y="227"/>
                  </a:lnTo>
                  <a:lnTo>
                    <a:pt x="184" y="201"/>
                  </a:lnTo>
                  <a:lnTo>
                    <a:pt x="180" y="198"/>
                  </a:lnTo>
                  <a:lnTo>
                    <a:pt x="163" y="175"/>
                  </a:lnTo>
                  <a:lnTo>
                    <a:pt x="147" y="163"/>
                  </a:lnTo>
                  <a:lnTo>
                    <a:pt x="139" y="163"/>
                  </a:lnTo>
                  <a:lnTo>
                    <a:pt x="90" y="115"/>
                  </a:lnTo>
                  <a:lnTo>
                    <a:pt x="78" y="93"/>
                  </a:lnTo>
                  <a:lnTo>
                    <a:pt x="76" y="76"/>
                  </a:lnTo>
                  <a:close/>
                  <a:moveTo>
                    <a:pt x="851" y="713"/>
                  </a:moveTo>
                  <a:lnTo>
                    <a:pt x="833" y="718"/>
                  </a:lnTo>
                  <a:lnTo>
                    <a:pt x="811" y="708"/>
                  </a:lnTo>
                  <a:lnTo>
                    <a:pt x="792" y="709"/>
                  </a:lnTo>
                  <a:lnTo>
                    <a:pt x="741" y="687"/>
                  </a:lnTo>
                  <a:lnTo>
                    <a:pt x="698" y="684"/>
                  </a:lnTo>
                  <a:lnTo>
                    <a:pt x="686" y="691"/>
                  </a:lnTo>
                  <a:lnTo>
                    <a:pt x="645" y="679"/>
                  </a:lnTo>
                  <a:lnTo>
                    <a:pt x="616" y="678"/>
                  </a:lnTo>
                  <a:lnTo>
                    <a:pt x="589" y="666"/>
                  </a:lnTo>
                  <a:lnTo>
                    <a:pt x="596" y="653"/>
                  </a:lnTo>
                  <a:lnTo>
                    <a:pt x="542" y="644"/>
                  </a:lnTo>
                  <a:lnTo>
                    <a:pt x="538" y="633"/>
                  </a:lnTo>
                  <a:lnTo>
                    <a:pt x="543" y="638"/>
                  </a:lnTo>
                  <a:lnTo>
                    <a:pt x="554" y="636"/>
                  </a:lnTo>
                  <a:lnTo>
                    <a:pt x="571" y="608"/>
                  </a:lnTo>
                  <a:lnTo>
                    <a:pt x="582" y="605"/>
                  </a:lnTo>
                  <a:lnTo>
                    <a:pt x="611" y="610"/>
                  </a:lnTo>
                  <a:lnTo>
                    <a:pt x="631" y="605"/>
                  </a:lnTo>
                  <a:lnTo>
                    <a:pt x="640" y="616"/>
                  </a:lnTo>
                  <a:lnTo>
                    <a:pt x="676" y="621"/>
                  </a:lnTo>
                  <a:lnTo>
                    <a:pt x="693" y="644"/>
                  </a:lnTo>
                  <a:lnTo>
                    <a:pt x="701" y="645"/>
                  </a:lnTo>
                  <a:lnTo>
                    <a:pt x="733" y="645"/>
                  </a:lnTo>
                  <a:lnTo>
                    <a:pt x="772" y="652"/>
                  </a:lnTo>
                  <a:lnTo>
                    <a:pt x="777" y="649"/>
                  </a:lnTo>
                  <a:lnTo>
                    <a:pt x="786" y="630"/>
                  </a:lnTo>
                  <a:lnTo>
                    <a:pt x="800" y="627"/>
                  </a:lnTo>
                  <a:lnTo>
                    <a:pt x="809" y="638"/>
                  </a:lnTo>
                  <a:lnTo>
                    <a:pt x="825" y="635"/>
                  </a:lnTo>
                  <a:lnTo>
                    <a:pt x="850" y="647"/>
                  </a:lnTo>
                  <a:lnTo>
                    <a:pt x="871" y="650"/>
                  </a:lnTo>
                  <a:lnTo>
                    <a:pt x="884" y="667"/>
                  </a:lnTo>
                  <a:lnTo>
                    <a:pt x="885" y="681"/>
                  </a:lnTo>
                  <a:lnTo>
                    <a:pt x="894" y="684"/>
                  </a:lnTo>
                  <a:lnTo>
                    <a:pt x="942" y="684"/>
                  </a:lnTo>
                  <a:lnTo>
                    <a:pt x="956" y="691"/>
                  </a:lnTo>
                  <a:lnTo>
                    <a:pt x="955" y="720"/>
                  </a:lnTo>
                  <a:lnTo>
                    <a:pt x="962" y="738"/>
                  </a:lnTo>
                  <a:lnTo>
                    <a:pt x="953" y="729"/>
                  </a:lnTo>
                  <a:lnTo>
                    <a:pt x="901" y="715"/>
                  </a:lnTo>
                  <a:lnTo>
                    <a:pt x="879" y="720"/>
                  </a:lnTo>
                  <a:lnTo>
                    <a:pt x="851" y="713"/>
                  </a:lnTo>
                  <a:close/>
                  <a:moveTo>
                    <a:pt x="99" y="205"/>
                  </a:moveTo>
                  <a:lnTo>
                    <a:pt x="104" y="200"/>
                  </a:lnTo>
                  <a:lnTo>
                    <a:pt x="129" y="217"/>
                  </a:lnTo>
                  <a:lnTo>
                    <a:pt x="132" y="225"/>
                  </a:lnTo>
                  <a:lnTo>
                    <a:pt x="99" y="205"/>
                  </a:lnTo>
                  <a:close/>
                  <a:moveTo>
                    <a:pt x="167" y="269"/>
                  </a:moveTo>
                  <a:lnTo>
                    <a:pt x="176" y="263"/>
                  </a:lnTo>
                  <a:lnTo>
                    <a:pt x="200" y="286"/>
                  </a:lnTo>
                  <a:lnTo>
                    <a:pt x="200" y="305"/>
                  </a:lnTo>
                  <a:lnTo>
                    <a:pt x="195" y="305"/>
                  </a:lnTo>
                  <a:lnTo>
                    <a:pt x="167" y="269"/>
                  </a:lnTo>
                  <a:close/>
                  <a:moveTo>
                    <a:pt x="237" y="376"/>
                  </a:moveTo>
                  <a:lnTo>
                    <a:pt x="249" y="378"/>
                  </a:lnTo>
                  <a:lnTo>
                    <a:pt x="263" y="412"/>
                  </a:lnTo>
                  <a:lnTo>
                    <a:pt x="251" y="412"/>
                  </a:lnTo>
                  <a:lnTo>
                    <a:pt x="240" y="401"/>
                  </a:lnTo>
                  <a:lnTo>
                    <a:pt x="234" y="384"/>
                  </a:lnTo>
                  <a:lnTo>
                    <a:pt x="237" y="376"/>
                  </a:lnTo>
                  <a:close/>
                  <a:moveTo>
                    <a:pt x="478" y="268"/>
                  </a:moveTo>
                  <a:lnTo>
                    <a:pt x="472" y="263"/>
                  </a:lnTo>
                  <a:lnTo>
                    <a:pt x="464" y="266"/>
                  </a:lnTo>
                  <a:lnTo>
                    <a:pt x="464" y="273"/>
                  </a:lnTo>
                  <a:lnTo>
                    <a:pt x="478" y="268"/>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285" name="Freeform 17">
              <a:extLst>
                <a:ext uri="{FF2B5EF4-FFF2-40B4-BE49-F238E27FC236}">
                  <a16:creationId xmlns:a16="http://schemas.microsoft.com/office/drawing/2014/main" id="{97B160FC-09F7-A748-ADF1-DE670E236C09}"/>
                </a:ext>
              </a:extLst>
            </p:cNvPr>
            <p:cNvSpPr>
              <a:spLocks noChangeAspect="1" noEditPoints="1"/>
            </p:cNvSpPr>
            <p:nvPr/>
          </p:nvSpPr>
          <p:spPr bwMode="gray">
            <a:xfrm>
              <a:off x="8195833" y="3956622"/>
              <a:ext cx="363073" cy="332139"/>
            </a:xfrm>
            <a:custGeom>
              <a:avLst/>
              <a:gdLst>
                <a:gd name="T0" fmla="*/ 399 w 744"/>
                <a:gd name="T1" fmla="*/ 100 h 569"/>
                <a:gd name="T2" fmla="*/ 424 w 744"/>
                <a:gd name="T3" fmla="*/ 99 h 569"/>
                <a:gd name="T4" fmla="*/ 433 w 744"/>
                <a:gd name="T5" fmla="*/ 114 h 569"/>
                <a:gd name="T6" fmla="*/ 433 w 744"/>
                <a:gd name="T7" fmla="*/ 127 h 569"/>
                <a:gd name="T8" fmla="*/ 421 w 744"/>
                <a:gd name="T9" fmla="*/ 108 h 569"/>
                <a:gd name="T10" fmla="*/ 399 w 744"/>
                <a:gd name="T11" fmla="*/ 100 h 569"/>
                <a:gd name="T12" fmla="*/ 0 w 744"/>
                <a:gd name="T13" fmla="*/ 205 h 569"/>
                <a:gd name="T14" fmla="*/ 6 w 744"/>
                <a:gd name="T15" fmla="*/ 213 h 569"/>
                <a:gd name="T16" fmla="*/ 0 w 744"/>
                <a:gd name="T17" fmla="*/ 212 h 569"/>
                <a:gd name="T18" fmla="*/ 0 w 744"/>
                <a:gd name="T19" fmla="*/ 205 h 569"/>
                <a:gd name="T20" fmla="*/ 741 w 744"/>
                <a:gd name="T21" fmla="*/ 555 h 569"/>
                <a:gd name="T22" fmla="*/ 744 w 744"/>
                <a:gd name="T23" fmla="*/ 564 h 569"/>
                <a:gd name="T24" fmla="*/ 741 w 744"/>
                <a:gd name="T25" fmla="*/ 555 h 569"/>
                <a:gd name="T26" fmla="*/ 673 w 744"/>
                <a:gd name="T27" fmla="*/ 441 h 569"/>
                <a:gd name="T28" fmla="*/ 682 w 744"/>
                <a:gd name="T29" fmla="*/ 467 h 569"/>
                <a:gd name="T30" fmla="*/ 676 w 744"/>
                <a:gd name="T31" fmla="*/ 464 h 569"/>
                <a:gd name="T32" fmla="*/ 673 w 744"/>
                <a:gd name="T33" fmla="*/ 441 h 569"/>
                <a:gd name="T34" fmla="*/ 521 w 744"/>
                <a:gd name="T35" fmla="*/ 566 h 569"/>
                <a:gd name="T36" fmla="*/ 523 w 744"/>
                <a:gd name="T37" fmla="*/ 569 h 569"/>
                <a:gd name="T38" fmla="*/ 521 w 744"/>
                <a:gd name="T39" fmla="*/ 566 h 569"/>
                <a:gd name="T40" fmla="*/ 224 w 744"/>
                <a:gd name="T41" fmla="*/ 281 h 569"/>
                <a:gd name="T42" fmla="*/ 219 w 744"/>
                <a:gd name="T43" fmla="*/ 285 h 569"/>
                <a:gd name="T44" fmla="*/ 224 w 744"/>
                <a:gd name="T45" fmla="*/ 281 h 569"/>
                <a:gd name="T46" fmla="*/ 582 w 744"/>
                <a:gd name="T47" fmla="*/ 119 h 569"/>
                <a:gd name="T48" fmla="*/ 595 w 744"/>
                <a:gd name="T49" fmla="*/ 128 h 569"/>
                <a:gd name="T50" fmla="*/ 592 w 744"/>
                <a:gd name="T51" fmla="*/ 137 h 569"/>
                <a:gd name="T52" fmla="*/ 583 w 744"/>
                <a:gd name="T53" fmla="*/ 128 h 569"/>
                <a:gd name="T54" fmla="*/ 582 w 744"/>
                <a:gd name="T55" fmla="*/ 119 h 569"/>
                <a:gd name="T56" fmla="*/ 399 w 744"/>
                <a:gd name="T57" fmla="*/ 0 h 569"/>
                <a:gd name="T58" fmla="*/ 405 w 744"/>
                <a:gd name="T59" fmla="*/ 2 h 569"/>
                <a:gd name="T60" fmla="*/ 397 w 744"/>
                <a:gd name="T61" fmla="*/ 14 h 569"/>
                <a:gd name="T62" fmla="*/ 392 w 744"/>
                <a:gd name="T63" fmla="*/ 14 h 569"/>
                <a:gd name="T64" fmla="*/ 390 w 744"/>
                <a:gd name="T65" fmla="*/ 3 h 569"/>
                <a:gd name="T66" fmla="*/ 399 w 744"/>
                <a:gd name="T67"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4" h="569">
                  <a:moveTo>
                    <a:pt x="399" y="100"/>
                  </a:moveTo>
                  <a:lnTo>
                    <a:pt x="424" y="99"/>
                  </a:lnTo>
                  <a:lnTo>
                    <a:pt x="433" y="114"/>
                  </a:lnTo>
                  <a:lnTo>
                    <a:pt x="433" y="127"/>
                  </a:lnTo>
                  <a:lnTo>
                    <a:pt x="421" y="108"/>
                  </a:lnTo>
                  <a:lnTo>
                    <a:pt x="399" y="100"/>
                  </a:lnTo>
                  <a:close/>
                  <a:moveTo>
                    <a:pt x="0" y="205"/>
                  </a:moveTo>
                  <a:lnTo>
                    <a:pt x="6" y="213"/>
                  </a:lnTo>
                  <a:lnTo>
                    <a:pt x="0" y="212"/>
                  </a:lnTo>
                  <a:lnTo>
                    <a:pt x="0" y="205"/>
                  </a:lnTo>
                  <a:close/>
                  <a:moveTo>
                    <a:pt x="741" y="555"/>
                  </a:moveTo>
                  <a:lnTo>
                    <a:pt x="744" y="564"/>
                  </a:lnTo>
                  <a:lnTo>
                    <a:pt x="741" y="555"/>
                  </a:lnTo>
                  <a:close/>
                  <a:moveTo>
                    <a:pt x="673" y="441"/>
                  </a:moveTo>
                  <a:lnTo>
                    <a:pt x="682" y="467"/>
                  </a:lnTo>
                  <a:lnTo>
                    <a:pt x="676" y="464"/>
                  </a:lnTo>
                  <a:lnTo>
                    <a:pt x="673" y="441"/>
                  </a:lnTo>
                  <a:close/>
                  <a:moveTo>
                    <a:pt x="521" y="566"/>
                  </a:moveTo>
                  <a:lnTo>
                    <a:pt x="523" y="569"/>
                  </a:lnTo>
                  <a:lnTo>
                    <a:pt x="521" y="566"/>
                  </a:lnTo>
                  <a:close/>
                  <a:moveTo>
                    <a:pt x="224" y="281"/>
                  </a:moveTo>
                  <a:lnTo>
                    <a:pt x="219" y="285"/>
                  </a:lnTo>
                  <a:lnTo>
                    <a:pt x="224" y="281"/>
                  </a:lnTo>
                  <a:close/>
                  <a:moveTo>
                    <a:pt x="582" y="119"/>
                  </a:moveTo>
                  <a:lnTo>
                    <a:pt x="595" y="128"/>
                  </a:lnTo>
                  <a:lnTo>
                    <a:pt x="592" y="137"/>
                  </a:lnTo>
                  <a:lnTo>
                    <a:pt x="583" y="128"/>
                  </a:lnTo>
                  <a:lnTo>
                    <a:pt x="582" y="119"/>
                  </a:lnTo>
                  <a:close/>
                  <a:moveTo>
                    <a:pt x="399" y="0"/>
                  </a:moveTo>
                  <a:lnTo>
                    <a:pt x="405" y="2"/>
                  </a:lnTo>
                  <a:lnTo>
                    <a:pt x="397" y="14"/>
                  </a:lnTo>
                  <a:lnTo>
                    <a:pt x="392" y="14"/>
                  </a:lnTo>
                  <a:lnTo>
                    <a:pt x="390" y="3"/>
                  </a:lnTo>
                  <a:lnTo>
                    <a:pt x="399" y="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88" name="Freeform 18">
              <a:extLst>
                <a:ext uri="{FF2B5EF4-FFF2-40B4-BE49-F238E27FC236}">
                  <a16:creationId xmlns:a16="http://schemas.microsoft.com/office/drawing/2014/main" id="{77F9D4E9-554B-3844-9085-D98DE119170C}"/>
                </a:ext>
              </a:extLst>
            </p:cNvPr>
            <p:cNvSpPr>
              <a:spLocks noChangeAspect="1" noEditPoints="1"/>
            </p:cNvSpPr>
            <p:nvPr/>
          </p:nvSpPr>
          <p:spPr bwMode="gray">
            <a:xfrm>
              <a:off x="7179865" y="4555622"/>
              <a:ext cx="910866" cy="1015612"/>
            </a:xfrm>
            <a:custGeom>
              <a:avLst/>
              <a:gdLst>
                <a:gd name="T0" fmla="*/ 219 w 1865"/>
                <a:gd name="T1" fmla="*/ 1224 h 1730"/>
                <a:gd name="T2" fmla="*/ 417 w 1865"/>
                <a:gd name="T3" fmla="*/ 1161 h 1730"/>
                <a:gd name="T4" fmla="*/ 856 w 1865"/>
                <a:gd name="T5" fmla="*/ 1034 h 1730"/>
                <a:gd name="T6" fmla="*/ 979 w 1865"/>
                <a:gd name="T7" fmla="*/ 1119 h 1730"/>
                <a:gd name="T8" fmla="*/ 1047 w 1865"/>
                <a:gd name="T9" fmla="*/ 1209 h 1730"/>
                <a:gd name="T10" fmla="*/ 1136 w 1865"/>
                <a:gd name="T11" fmla="*/ 1084 h 1730"/>
                <a:gd name="T12" fmla="*/ 1100 w 1865"/>
                <a:gd name="T13" fmla="*/ 1238 h 1730"/>
                <a:gd name="T14" fmla="*/ 1208 w 1865"/>
                <a:gd name="T15" fmla="*/ 1245 h 1730"/>
                <a:gd name="T16" fmla="*/ 1308 w 1865"/>
                <a:gd name="T17" fmla="*/ 1413 h 1730"/>
                <a:gd name="T18" fmla="*/ 1464 w 1865"/>
                <a:gd name="T19" fmla="*/ 1385 h 1730"/>
                <a:gd name="T20" fmla="*/ 1496 w 1865"/>
                <a:gd name="T21" fmla="*/ 1410 h 1730"/>
                <a:gd name="T22" fmla="*/ 1595 w 1865"/>
                <a:gd name="T23" fmla="*/ 1395 h 1730"/>
                <a:gd name="T24" fmla="*/ 1710 w 1865"/>
                <a:gd name="T25" fmla="*/ 1299 h 1730"/>
                <a:gd name="T26" fmla="*/ 1785 w 1865"/>
                <a:gd name="T27" fmla="*/ 1105 h 1730"/>
                <a:gd name="T28" fmla="*/ 1849 w 1865"/>
                <a:gd name="T29" fmla="*/ 960 h 1730"/>
                <a:gd name="T30" fmla="*/ 1840 w 1865"/>
                <a:gd name="T31" fmla="*/ 737 h 1730"/>
                <a:gd name="T32" fmla="*/ 1765 w 1865"/>
                <a:gd name="T33" fmla="*/ 640 h 1730"/>
                <a:gd name="T34" fmla="*/ 1697 w 1865"/>
                <a:gd name="T35" fmla="*/ 562 h 1730"/>
                <a:gd name="T36" fmla="*/ 1650 w 1865"/>
                <a:gd name="T37" fmla="*/ 468 h 1730"/>
                <a:gd name="T38" fmla="*/ 1574 w 1865"/>
                <a:gd name="T39" fmla="*/ 412 h 1730"/>
                <a:gd name="T40" fmla="*/ 1509 w 1865"/>
                <a:gd name="T41" fmla="*/ 293 h 1730"/>
                <a:gd name="T42" fmla="*/ 1423 w 1865"/>
                <a:gd name="T43" fmla="*/ 178 h 1730"/>
                <a:gd name="T44" fmla="*/ 1363 w 1865"/>
                <a:gd name="T45" fmla="*/ 2 h 1730"/>
                <a:gd name="T46" fmla="*/ 1311 w 1865"/>
                <a:gd name="T47" fmla="*/ 90 h 1730"/>
                <a:gd name="T48" fmla="*/ 1241 w 1865"/>
                <a:gd name="T49" fmla="*/ 335 h 1730"/>
                <a:gd name="T50" fmla="*/ 1047 w 1865"/>
                <a:gd name="T51" fmla="*/ 212 h 1730"/>
                <a:gd name="T52" fmla="*/ 1062 w 1865"/>
                <a:gd name="T53" fmla="*/ 115 h 1730"/>
                <a:gd name="T54" fmla="*/ 1077 w 1865"/>
                <a:gd name="T55" fmla="*/ 78 h 1730"/>
                <a:gd name="T56" fmla="*/ 1047 w 1865"/>
                <a:gd name="T57" fmla="*/ 61 h 1730"/>
                <a:gd name="T58" fmla="*/ 916 w 1865"/>
                <a:gd name="T59" fmla="*/ 50 h 1730"/>
                <a:gd name="T60" fmla="*/ 862 w 1865"/>
                <a:gd name="T61" fmla="*/ 33 h 1730"/>
                <a:gd name="T62" fmla="*/ 822 w 1865"/>
                <a:gd name="T63" fmla="*/ 75 h 1730"/>
                <a:gd name="T64" fmla="*/ 788 w 1865"/>
                <a:gd name="T65" fmla="*/ 129 h 1730"/>
                <a:gd name="T66" fmla="*/ 760 w 1865"/>
                <a:gd name="T67" fmla="*/ 214 h 1730"/>
                <a:gd name="T68" fmla="*/ 662 w 1865"/>
                <a:gd name="T69" fmla="*/ 163 h 1730"/>
                <a:gd name="T70" fmla="*/ 588 w 1865"/>
                <a:gd name="T71" fmla="*/ 160 h 1730"/>
                <a:gd name="T72" fmla="*/ 539 w 1865"/>
                <a:gd name="T73" fmla="*/ 214 h 1730"/>
                <a:gd name="T74" fmla="*/ 519 w 1865"/>
                <a:gd name="T75" fmla="*/ 276 h 1730"/>
                <a:gd name="T76" fmla="*/ 478 w 1865"/>
                <a:gd name="T77" fmla="*/ 304 h 1730"/>
                <a:gd name="T78" fmla="*/ 395 w 1865"/>
                <a:gd name="T79" fmla="*/ 369 h 1730"/>
                <a:gd name="T80" fmla="*/ 161 w 1865"/>
                <a:gd name="T81" fmla="*/ 471 h 1730"/>
                <a:gd name="T82" fmla="*/ 41 w 1865"/>
                <a:gd name="T83" fmla="*/ 528 h 1730"/>
                <a:gd name="T84" fmla="*/ 33 w 1865"/>
                <a:gd name="T85" fmla="*/ 709 h 1730"/>
                <a:gd name="T86" fmla="*/ 11 w 1865"/>
                <a:gd name="T87" fmla="*/ 720 h 1730"/>
                <a:gd name="T88" fmla="*/ 0 w 1865"/>
                <a:gd name="T89" fmla="*/ 752 h 1730"/>
                <a:gd name="T90" fmla="*/ 119 w 1865"/>
                <a:gd name="T91" fmla="*/ 1082 h 1730"/>
                <a:gd name="T92" fmla="*/ 1840 w 1865"/>
                <a:gd name="T93" fmla="*/ 725 h 1730"/>
                <a:gd name="T94" fmla="*/ 1074 w 1865"/>
                <a:gd name="T95" fmla="*/ 39 h 1730"/>
                <a:gd name="T96" fmla="*/ 840 w 1865"/>
                <a:gd name="T97" fmla="*/ 33 h 1730"/>
                <a:gd name="T98" fmla="*/ 786 w 1865"/>
                <a:gd name="T99" fmla="*/ 34 h 1730"/>
                <a:gd name="T100" fmla="*/ 1072 w 1865"/>
                <a:gd name="T101" fmla="*/ 146 h 1730"/>
                <a:gd name="T102" fmla="*/ 1072 w 1865"/>
                <a:gd name="T103" fmla="*/ 146 h 1730"/>
                <a:gd name="T104" fmla="*/ 1614 w 1865"/>
                <a:gd name="T105" fmla="*/ 1536 h 1730"/>
                <a:gd name="T106" fmla="*/ 1123 w 1865"/>
                <a:gd name="T107" fmla="*/ 1282 h 1730"/>
                <a:gd name="T108" fmla="*/ 1543 w 1865"/>
                <a:gd name="T109" fmla="*/ 1582 h 1730"/>
                <a:gd name="T110" fmla="*/ 1626 w 1865"/>
                <a:gd name="T111" fmla="*/ 1653 h 1730"/>
                <a:gd name="T112" fmla="*/ 1563 w 1865"/>
                <a:gd name="T113" fmla="*/ 1724 h 1730"/>
                <a:gd name="T114" fmla="*/ 1490 w 1865"/>
                <a:gd name="T115" fmla="*/ 1659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65" h="1730">
                  <a:moveTo>
                    <a:pt x="89" y="1139"/>
                  </a:moveTo>
                  <a:lnTo>
                    <a:pt x="90" y="1177"/>
                  </a:lnTo>
                  <a:lnTo>
                    <a:pt x="109" y="1181"/>
                  </a:lnTo>
                  <a:lnTo>
                    <a:pt x="138" y="1209"/>
                  </a:lnTo>
                  <a:lnTo>
                    <a:pt x="160" y="1220"/>
                  </a:lnTo>
                  <a:lnTo>
                    <a:pt x="200" y="1220"/>
                  </a:lnTo>
                  <a:lnTo>
                    <a:pt x="206" y="1226"/>
                  </a:lnTo>
                  <a:lnTo>
                    <a:pt x="219" y="1224"/>
                  </a:lnTo>
                  <a:lnTo>
                    <a:pt x="220" y="1215"/>
                  </a:lnTo>
                  <a:lnTo>
                    <a:pt x="236" y="1217"/>
                  </a:lnTo>
                  <a:lnTo>
                    <a:pt x="265" y="1190"/>
                  </a:lnTo>
                  <a:lnTo>
                    <a:pt x="288" y="1187"/>
                  </a:lnTo>
                  <a:lnTo>
                    <a:pt x="299" y="1170"/>
                  </a:lnTo>
                  <a:lnTo>
                    <a:pt x="316" y="1158"/>
                  </a:lnTo>
                  <a:lnTo>
                    <a:pt x="409" y="1153"/>
                  </a:lnTo>
                  <a:lnTo>
                    <a:pt x="417" y="1161"/>
                  </a:lnTo>
                  <a:lnTo>
                    <a:pt x="485" y="1153"/>
                  </a:lnTo>
                  <a:lnTo>
                    <a:pt x="505" y="1110"/>
                  </a:lnTo>
                  <a:lnTo>
                    <a:pt x="596" y="1067"/>
                  </a:lnTo>
                  <a:lnTo>
                    <a:pt x="638" y="1070"/>
                  </a:lnTo>
                  <a:lnTo>
                    <a:pt x="690" y="1060"/>
                  </a:lnTo>
                  <a:lnTo>
                    <a:pt x="740" y="1033"/>
                  </a:lnTo>
                  <a:lnTo>
                    <a:pt x="819" y="1029"/>
                  </a:lnTo>
                  <a:lnTo>
                    <a:pt x="856" y="1034"/>
                  </a:lnTo>
                  <a:lnTo>
                    <a:pt x="885" y="1059"/>
                  </a:lnTo>
                  <a:lnTo>
                    <a:pt x="898" y="1053"/>
                  </a:lnTo>
                  <a:lnTo>
                    <a:pt x="933" y="1068"/>
                  </a:lnTo>
                  <a:lnTo>
                    <a:pt x="932" y="1062"/>
                  </a:lnTo>
                  <a:lnTo>
                    <a:pt x="955" y="1082"/>
                  </a:lnTo>
                  <a:lnTo>
                    <a:pt x="972" y="1085"/>
                  </a:lnTo>
                  <a:lnTo>
                    <a:pt x="966" y="1105"/>
                  </a:lnTo>
                  <a:lnTo>
                    <a:pt x="979" y="1119"/>
                  </a:lnTo>
                  <a:lnTo>
                    <a:pt x="995" y="1121"/>
                  </a:lnTo>
                  <a:lnTo>
                    <a:pt x="1025" y="1180"/>
                  </a:lnTo>
                  <a:lnTo>
                    <a:pt x="1026" y="1200"/>
                  </a:lnTo>
                  <a:lnTo>
                    <a:pt x="1013" y="1190"/>
                  </a:lnTo>
                  <a:lnTo>
                    <a:pt x="1013" y="1198"/>
                  </a:lnTo>
                  <a:lnTo>
                    <a:pt x="1052" y="1223"/>
                  </a:lnTo>
                  <a:lnTo>
                    <a:pt x="1052" y="1207"/>
                  </a:lnTo>
                  <a:lnTo>
                    <a:pt x="1047" y="1209"/>
                  </a:lnTo>
                  <a:lnTo>
                    <a:pt x="1051" y="1198"/>
                  </a:lnTo>
                  <a:lnTo>
                    <a:pt x="1068" y="1181"/>
                  </a:lnTo>
                  <a:lnTo>
                    <a:pt x="1072" y="1169"/>
                  </a:lnTo>
                  <a:lnTo>
                    <a:pt x="1096" y="1152"/>
                  </a:lnTo>
                  <a:lnTo>
                    <a:pt x="1108" y="1150"/>
                  </a:lnTo>
                  <a:lnTo>
                    <a:pt x="1123" y="1119"/>
                  </a:lnTo>
                  <a:lnTo>
                    <a:pt x="1133" y="1107"/>
                  </a:lnTo>
                  <a:lnTo>
                    <a:pt x="1136" y="1084"/>
                  </a:lnTo>
                  <a:lnTo>
                    <a:pt x="1147" y="1119"/>
                  </a:lnTo>
                  <a:lnTo>
                    <a:pt x="1142" y="1118"/>
                  </a:lnTo>
                  <a:lnTo>
                    <a:pt x="1142" y="1139"/>
                  </a:lnTo>
                  <a:lnTo>
                    <a:pt x="1122" y="1173"/>
                  </a:lnTo>
                  <a:lnTo>
                    <a:pt x="1120" y="1212"/>
                  </a:lnTo>
                  <a:lnTo>
                    <a:pt x="1097" y="1217"/>
                  </a:lnTo>
                  <a:lnTo>
                    <a:pt x="1094" y="1232"/>
                  </a:lnTo>
                  <a:lnTo>
                    <a:pt x="1100" y="1238"/>
                  </a:lnTo>
                  <a:lnTo>
                    <a:pt x="1136" y="1229"/>
                  </a:lnTo>
                  <a:lnTo>
                    <a:pt x="1140" y="1197"/>
                  </a:lnTo>
                  <a:lnTo>
                    <a:pt x="1150" y="1177"/>
                  </a:lnTo>
                  <a:lnTo>
                    <a:pt x="1169" y="1207"/>
                  </a:lnTo>
                  <a:lnTo>
                    <a:pt x="1167" y="1234"/>
                  </a:lnTo>
                  <a:lnTo>
                    <a:pt x="1154" y="1257"/>
                  </a:lnTo>
                  <a:lnTo>
                    <a:pt x="1169" y="1258"/>
                  </a:lnTo>
                  <a:lnTo>
                    <a:pt x="1208" y="1245"/>
                  </a:lnTo>
                  <a:lnTo>
                    <a:pt x="1202" y="1260"/>
                  </a:lnTo>
                  <a:lnTo>
                    <a:pt x="1221" y="1287"/>
                  </a:lnTo>
                  <a:lnTo>
                    <a:pt x="1230" y="1311"/>
                  </a:lnTo>
                  <a:lnTo>
                    <a:pt x="1227" y="1334"/>
                  </a:lnTo>
                  <a:lnTo>
                    <a:pt x="1236" y="1359"/>
                  </a:lnTo>
                  <a:lnTo>
                    <a:pt x="1258" y="1387"/>
                  </a:lnTo>
                  <a:lnTo>
                    <a:pt x="1286" y="1395"/>
                  </a:lnTo>
                  <a:lnTo>
                    <a:pt x="1308" y="1413"/>
                  </a:lnTo>
                  <a:lnTo>
                    <a:pt x="1323" y="1407"/>
                  </a:lnTo>
                  <a:lnTo>
                    <a:pt x="1352" y="1413"/>
                  </a:lnTo>
                  <a:lnTo>
                    <a:pt x="1396" y="1441"/>
                  </a:lnTo>
                  <a:lnTo>
                    <a:pt x="1422" y="1429"/>
                  </a:lnTo>
                  <a:lnTo>
                    <a:pt x="1438" y="1410"/>
                  </a:lnTo>
                  <a:lnTo>
                    <a:pt x="1455" y="1405"/>
                  </a:lnTo>
                  <a:lnTo>
                    <a:pt x="1442" y="1395"/>
                  </a:lnTo>
                  <a:lnTo>
                    <a:pt x="1464" y="1385"/>
                  </a:lnTo>
                  <a:lnTo>
                    <a:pt x="1472" y="1388"/>
                  </a:lnTo>
                  <a:lnTo>
                    <a:pt x="1472" y="1398"/>
                  </a:lnTo>
                  <a:lnTo>
                    <a:pt x="1470" y="1409"/>
                  </a:lnTo>
                  <a:lnTo>
                    <a:pt x="1461" y="1409"/>
                  </a:lnTo>
                  <a:lnTo>
                    <a:pt x="1464" y="1413"/>
                  </a:lnTo>
                  <a:lnTo>
                    <a:pt x="1472" y="1418"/>
                  </a:lnTo>
                  <a:lnTo>
                    <a:pt x="1490" y="1405"/>
                  </a:lnTo>
                  <a:lnTo>
                    <a:pt x="1496" y="1410"/>
                  </a:lnTo>
                  <a:lnTo>
                    <a:pt x="1494" y="1426"/>
                  </a:lnTo>
                  <a:lnTo>
                    <a:pt x="1524" y="1443"/>
                  </a:lnTo>
                  <a:lnTo>
                    <a:pt x="1536" y="1458"/>
                  </a:lnTo>
                  <a:lnTo>
                    <a:pt x="1544" y="1436"/>
                  </a:lnTo>
                  <a:lnTo>
                    <a:pt x="1532" y="1444"/>
                  </a:lnTo>
                  <a:lnTo>
                    <a:pt x="1530" y="1434"/>
                  </a:lnTo>
                  <a:lnTo>
                    <a:pt x="1553" y="1432"/>
                  </a:lnTo>
                  <a:lnTo>
                    <a:pt x="1595" y="1395"/>
                  </a:lnTo>
                  <a:lnTo>
                    <a:pt x="1616" y="1385"/>
                  </a:lnTo>
                  <a:lnTo>
                    <a:pt x="1672" y="1382"/>
                  </a:lnTo>
                  <a:lnTo>
                    <a:pt x="1687" y="1376"/>
                  </a:lnTo>
                  <a:lnTo>
                    <a:pt x="1688" y="1365"/>
                  </a:lnTo>
                  <a:lnTo>
                    <a:pt x="1699" y="1368"/>
                  </a:lnTo>
                  <a:lnTo>
                    <a:pt x="1701" y="1362"/>
                  </a:lnTo>
                  <a:lnTo>
                    <a:pt x="1699" y="1334"/>
                  </a:lnTo>
                  <a:lnTo>
                    <a:pt x="1710" y="1299"/>
                  </a:lnTo>
                  <a:lnTo>
                    <a:pt x="1711" y="1266"/>
                  </a:lnTo>
                  <a:lnTo>
                    <a:pt x="1730" y="1229"/>
                  </a:lnTo>
                  <a:lnTo>
                    <a:pt x="1736" y="1234"/>
                  </a:lnTo>
                  <a:lnTo>
                    <a:pt x="1748" y="1187"/>
                  </a:lnTo>
                  <a:lnTo>
                    <a:pt x="1764" y="1160"/>
                  </a:lnTo>
                  <a:lnTo>
                    <a:pt x="1758" y="1143"/>
                  </a:lnTo>
                  <a:lnTo>
                    <a:pt x="1773" y="1133"/>
                  </a:lnTo>
                  <a:lnTo>
                    <a:pt x="1785" y="1105"/>
                  </a:lnTo>
                  <a:lnTo>
                    <a:pt x="1801" y="1099"/>
                  </a:lnTo>
                  <a:lnTo>
                    <a:pt x="1798" y="1094"/>
                  </a:lnTo>
                  <a:lnTo>
                    <a:pt x="1816" y="1080"/>
                  </a:lnTo>
                  <a:lnTo>
                    <a:pt x="1815" y="1070"/>
                  </a:lnTo>
                  <a:lnTo>
                    <a:pt x="1826" y="1053"/>
                  </a:lnTo>
                  <a:lnTo>
                    <a:pt x="1838" y="1019"/>
                  </a:lnTo>
                  <a:lnTo>
                    <a:pt x="1841" y="979"/>
                  </a:lnTo>
                  <a:lnTo>
                    <a:pt x="1849" y="960"/>
                  </a:lnTo>
                  <a:lnTo>
                    <a:pt x="1865" y="884"/>
                  </a:lnTo>
                  <a:lnTo>
                    <a:pt x="1863" y="861"/>
                  </a:lnTo>
                  <a:lnTo>
                    <a:pt x="1843" y="801"/>
                  </a:lnTo>
                  <a:lnTo>
                    <a:pt x="1844" y="794"/>
                  </a:lnTo>
                  <a:lnTo>
                    <a:pt x="1848" y="797"/>
                  </a:lnTo>
                  <a:lnTo>
                    <a:pt x="1841" y="757"/>
                  </a:lnTo>
                  <a:lnTo>
                    <a:pt x="1841" y="731"/>
                  </a:lnTo>
                  <a:lnTo>
                    <a:pt x="1840" y="737"/>
                  </a:lnTo>
                  <a:lnTo>
                    <a:pt x="1836" y="734"/>
                  </a:lnTo>
                  <a:lnTo>
                    <a:pt x="1827" y="703"/>
                  </a:lnTo>
                  <a:lnTo>
                    <a:pt x="1818" y="698"/>
                  </a:lnTo>
                  <a:lnTo>
                    <a:pt x="1819" y="692"/>
                  </a:lnTo>
                  <a:lnTo>
                    <a:pt x="1809" y="675"/>
                  </a:lnTo>
                  <a:lnTo>
                    <a:pt x="1793" y="666"/>
                  </a:lnTo>
                  <a:lnTo>
                    <a:pt x="1781" y="644"/>
                  </a:lnTo>
                  <a:lnTo>
                    <a:pt x="1765" y="640"/>
                  </a:lnTo>
                  <a:lnTo>
                    <a:pt x="1739" y="616"/>
                  </a:lnTo>
                  <a:lnTo>
                    <a:pt x="1731" y="559"/>
                  </a:lnTo>
                  <a:lnTo>
                    <a:pt x="1728" y="556"/>
                  </a:lnTo>
                  <a:lnTo>
                    <a:pt x="1724" y="569"/>
                  </a:lnTo>
                  <a:lnTo>
                    <a:pt x="1704" y="554"/>
                  </a:lnTo>
                  <a:lnTo>
                    <a:pt x="1702" y="547"/>
                  </a:lnTo>
                  <a:lnTo>
                    <a:pt x="1697" y="550"/>
                  </a:lnTo>
                  <a:lnTo>
                    <a:pt x="1697" y="562"/>
                  </a:lnTo>
                  <a:lnTo>
                    <a:pt x="1685" y="564"/>
                  </a:lnTo>
                  <a:lnTo>
                    <a:pt x="1677" y="542"/>
                  </a:lnTo>
                  <a:lnTo>
                    <a:pt x="1676" y="514"/>
                  </a:lnTo>
                  <a:lnTo>
                    <a:pt x="1668" y="513"/>
                  </a:lnTo>
                  <a:lnTo>
                    <a:pt x="1655" y="483"/>
                  </a:lnTo>
                  <a:lnTo>
                    <a:pt x="1643" y="476"/>
                  </a:lnTo>
                  <a:lnTo>
                    <a:pt x="1643" y="468"/>
                  </a:lnTo>
                  <a:lnTo>
                    <a:pt x="1650" y="468"/>
                  </a:lnTo>
                  <a:lnTo>
                    <a:pt x="1646" y="459"/>
                  </a:lnTo>
                  <a:lnTo>
                    <a:pt x="1629" y="446"/>
                  </a:lnTo>
                  <a:lnTo>
                    <a:pt x="1625" y="449"/>
                  </a:lnTo>
                  <a:lnTo>
                    <a:pt x="1614" y="437"/>
                  </a:lnTo>
                  <a:lnTo>
                    <a:pt x="1601" y="431"/>
                  </a:lnTo>
                  <a:lnTo>
                    <a:pt x="1592" y="434"/>
                  </a:lnTo>
                  <a:lnTo>
                    <a:pt x="1583" y="409"/>
                  </a:lnTo>
                  <a:lnTo>
                    <a:pt x="1574" y="412"/>
                  </a:lnTo>
                  <a:lnTo>
                    <a:pt x="1557" y="409"/>
                  </a:lnTo>
                  <a:lnTo>
                    <a:pt x="1535" y="397"/>
                  </a:lnTo>
                  <a:lnTo>
                    <a:pt x="1532" y="375"/>
                  </a:lnTo>
                  <a:lnTo>
                    <a:pt x="1530" y="378"/>
                  </a:lnTo>
                  <a:lnTo>
                    <a:pt x="1530" y="375"/>
                  </a:lnTo>
                  <a:lnTo>
                    <a:pt x="1521" y="367"/>
                  </a:lnTo>
                  <a:lnTo>
                    <a:pt x="1519" y="330"/>
                  </a:lnTo>
                  <a:lnTo>
                    <a:pt x="1509" y="293"/>
                  </a:lnTo>
                  <a:lnTo>
                    <a:pt x="1502" y="293"/>
                  </a:lnTo>
                  <a:lnTo>
                    <a:pt x="1493" y="279"/>
                  </a:lnTo>
                  <a:lnTo>
                    <a:pt x="1482" y="232"/>
                  </a:lnTo>
                  <a:lnTo>
                    <a:pt x="1484" y="203"/>
                  </a:lnTo>
                  <a:lnTo>
                    <a:pt x="1455" y="181"/>
                  </a:lnTo>
                  <a:lnTo>
                    <a:pt x="1448" y="168"/>
                  </a:lnTo>
                  <a:lnTo>
                    <a:pt x="1442" y="166"/>
                  </a:lnTo>
                  <a:lnTo>
                    <a:pt x="1423" y="178"/>
                  </a:lnTo>
                  <a:lnTo>
                    <a:pt x="1410" y="168"/>
                  </a:lnTo>
                  <a:lnTo>
                    <a:pt x="1393" y="92"/>
                  </a:lnTo>
                  <a:lnTo>
                    <a:pt x="1379" y="75"/>
                  </a:lnTo>
                  <a:lnTo>
                    <a:pt x="1379" y="58"/>
                  </a:lnTo>
                  <a:lnTo>
                    <a:pt x="1369" y="58"/>
                  </a:lnTo>
                  <a:lnTo>
                    <a:pt x="1368" y="50"/>
                  </a:lnTo>
                  <a:lnTo>
                    <a:pt x="1365" y="16"/>
                  </a:lnTo>
                  <a:lnTo>
                    <a:pt x="1363" y="2"/>
                  </a:lnTo>
                  <a:lnTo>
                    <a:pt x="1360" y="0"/>
                  </a:lnTo>
                  <a:lnTo>
                    <a:pt x="1342" y="14"/>
                  </a:lnTo>
                  <a:lnTo>
                    <a:pt x="1342" y="25"/>
                  </a:lnTo>
                  <a:lnTo>
                    <a:pt x="1332" y="39"/>
                  </a:lnTo>
                  <a:lnTo>
                    <a:pt x="1325" y="61"/>
                  </a:lnTo>
                  <a:lnTo>
                    <a:pt x="1315" y="64"/>
                  </a:lnTo>
                  <a:lnTo>
                    <a:pt x="1311" y="80"/>
                  </a:lnTo>
                  <a:lnTo>
                    <a:pt x="1311" y="90"/>
                  </a:lnTo>
                  <a:lnTo>
                    <a:pt x="1318" y="92"/>
                  </a:lnTo>
                  <a:lnTo>
                    <a:pt x="1312" y="123"/>
                  </a:lnTo>
                  <a:lnTo>
                    <a:pt x="1306" y="140"/>
                  </a:lnTo>
                  <a:lnTo>
                    <a:pt x="1306" y="180"/>
                  </a:lnTo>
                  <a:lnTo>
                    <a:pt x="1312" y="206"/>
                  </a:lnTo>
                  <a:lnTo>
                    <a:pt x="1292" y="279"/>
                  </a:lnTo>
                  <a:lnTo>
                    <a:pt x="1275" y="324"/>
                  </a:lnTo>
                  <a:lnTo>
                    <a:pt x="1241" y="335"/>
                  </a:lnTo>
                  <a:lnTo>
                    <a:pt x="1202" y="312"/>
                  </a:lnTo>
                  <a:lnTo>
                    <a:pt x="1187" y="291"/>
                  </a:lnTo>
                  <a:lnTo>
                    <a:pt x="1152" y="281"/>
                  </a:lnTo>
                  <a:lnTo>
                    <a:pt x="1110" y="249"/>
                  </a:lnTo>
                  <a:lnTo>
                    <a:pt x="1080" y="244"/>
                  </a:lnTo>
                  <a:lnTo>
                    <a:pt x="1072" y="251"/>
                  </a:lnTo>
                  <a:lnTo>
                    <a:pt x="1068" y="222"/>
                  </a:lnTo>
                  <a:lnTo>
                    <a:pt x="1047" y="212"/>
                  </a:lnTo>
                  <a:lnTo>
                    <a:pt x="1042" y="212"/>
                  </a:lnTo>
                  <a:lnTo>
                    <a:pt x="1034" y="203"/>
                  </a:lnTo>
                  <a:lnTo>
                    <a:pt x="1054" y="143"/>
                  </a:lnTo>
                  <a:lnTo>
                    <a:pt x="1046" y="144"/>
                  </a:lnTo>
                  <a:lnTo>
                    <a:pt x="1051" y="123"/>
                  </a:lnTo>
                  <a:lnTo>
                    <a:pt x="1060" y="131"/>
                  </a:lnTo>
                  <a:lnTo>
                    <a:pt x="1057" y="121"/>
                  </a:lnTo>
                  <a:lnTo>
                    <a:pt x="1062" y="115"/>
                  </a:lnTo>
                  <a:lnTo>
                    <a:pt x="1064" y="121"/>
                  </a:lnTo>
                  <a:lnTo>
                    <a:pt x="1074" y="118"/>
                  </a:lnTo>
                  <a:lnTo>
                    <a:pt x="1079" y="110"/>
                  </a:lnTo>
                  <a:lnTo>
                    <a:pt x="1074" y="101"/>
                  </a:lnTo>
                  <a:lnTo>
                    <a:pt x="1083" y="98"/>
                  </a:lnTo>
                  <a:lnTo>
                    <a:pt x="1093" y="78"/>
                  </a:lnTo>
                  <a:lnTo>
                    <a:pt x="1089" y="73"/>
                  </a:lnTo>
                  <a:lnTo>
                    <a:pt x="1077" y="78"/>
                  </a:lnTo>
                  <a:lnTo>
                    <a:pt x="1071" y="59"/>
                  </a:lnTo>
                  <a:lnTo>
                    <a:pt x="1062" y="67"/>
                  </a:lnTo>
                  <a:lnTo>
                    <a:pt x="1059" y="85"/>
                  </a:lnTo>
                  <a:lnTo>
                    <a:pt x="1051" y="89"/>
                  </a:lnTo>
                  <a:lnTo>
                    <a:pt x="1051" y="70"/>
                  </a:lnTo>
                  <a:lnTo>
                    <a:pt x="1046" y="73"/>
                  </a:lnTo>
                  <a:lnTo>
                    <a:pt x="1042" y="70"/>
                  </a:lnTo>
                  <a:lnTo>
                    <a:pt x="1047" y="61"/>
                  </a:lnTo>
                  <a:lnTo>
                    <a:pt x="1026" y="64"/>
                  </a:lnTo>
                  <a:lnTo>
                    <a:pt x="1013" y="76"/>
                  </a:lnTo>
                  <a:lnTo>
                    <a:pt x="991" y="63"/>
                  </a:lnTo>
                  <a:lnTo>
                    <a:pt x="967" y="64"/>
                  </a:lnTo>
                  <a:lnTo>
                    <a:pt x="947" y="56"/>
                  </a:lnTo>
                  <a:lnTo>
                    <a:pt x="947" y="51"/>
                  </a:lnTo>
                  <a:lnTo>
                    <a:pt x="939" y="56"/>
                  </a:lnTo>
                  <a:lnTo>
                    <a:pt x="916" y="50"/>
                  </a:lnTo>
                  <a:lnTo>
                    <a:pt x="904" y="36"/>
                  </a:lnTo>
                  <a:lnTo>
                    <a:pt x="898" y="42"/>
                  </a:lnTo>
                  <a:lnTo>
                    <a:pt x="878" y="25"/>
                  </a:lnTo>
                  <a:lnTo>
                    <a:pt x="871" y="39"/>
                  </a:lnTo>
                  <a:lnTo>
                    <a:pt x="865" y="24"/>
                  </a:lnTo>
                  <a:lnTo>
                    <a:pt x="862" y="29"/>
                  </a:lnTo>
                  <a:lnTo>
                    <a:pt x="856" y="29"/>
                  </a:lnTo>
                  <a:lnTo>
                    <a:pt x="862" y="33"/>
                  </a:lnTo>
                  <a:lnTo>
                    <a:pt x="873" y="42"/>
                  </a:lnTo>
                  <a:lnTo>
                    <a:pt x="888" y="41"/>
                  </a:lnTo>
                  <a:lnTo>
                    <a:pt x="893" y="46"/>
                  </a:lnTo>
                  <a:lnTo>
                    <a:pt x="893" y="67"/>
                  </a:lnTo>
                  <a:lnTo>
                    <a:pt x="870" y="76"/>
                  </a:lnTo>
                  <a:lnTo>
                    <a:pt x="834" y="75"/>
                  </a:lnTo>
                  <a:lnTo>
                    <a:pt x="834" y="78"/>
                  </a:lnTo>
                  <a:lnTo>
                    <a:pt x="822" y="75"/>
                  </a:lnTo>
                  <a:lnTo>
                    <a:pt x="815" y="83"/>
                  </a:lnTo>
                  <a:lnTo>
                    <a:pt x="819" y="97"/>
                  </a:lnTo>
                  <a:lnTo>
                    <a:pt x="803" y="87"/>
                  </a:lnTo>
                  <a:lnTo>
                    <a:pt x="802" y="93"/>
                  </a:lnTo>
                  <a:lnTo>
                    <a:pt x="786" y="98"/>
                  </a:lnTo>
                  <a:lnTo>
                    <a:pt x="781" y="121"/>
                  </a:lnTo>
                  <a:lnTo>
                    <a:pt x="788" y="118"/>
                  </a:lnTo>
                  <a:lnTo>
                    <a:pt x="788" y="129"/>
                  </a:lnTo>
                  <a:lnTo>
                    <a:pt x="783" y="135"/>
                  </a:lnTo>
                  <a:lnTo>
                    <a:pt x="769" y="134"/>
                  </a:lnTo>
                  <a:lnTo>
                    <a:pt x="755" y="160"/>
                  </a:lnTo>
                  <a:lnTo>
                    <a:pt x="749" y="160"/>
                  </a:lnTo>
                  <a:lnTo>
                    <a:pt x="746" y="173"/>
                  </a:lnTo>
                  <a:lnTo>
                    <a:pt x="763" y="195"/>
                  </a:lnTo>
                  <a:lnTo>
                    <a:pt x="755" y="200"/>
                  </a:lnTo>
                  <a:lnTo>
                    <a:pt x="760" y="214"/>
                  </a:lnTo>
                  <a:lnTo>
                    <a:pt x="734" y="195"/>
                  </a:lnTo>
                  <a:lnTo>
                    <a:pt x="707" y="195"/>
                  </a:lnTo>
                  <a:lnTo>
                    <a:pt x="703" y="202"/>
                  </a:lnTo>
                  <a:lnTo>
                    <a:pt x="690" y="205"/>
                  </a:lnTo>
                  <a:lnTo>
                    <a:pt x="678" y="232"/>
                  </a:lnTo>
                  <a:lnTo>
                    <a:pt x="683" y="222"/>
                  </a:lnTo>
                  <a:lnTo>
                    <a:pt x="687" y="189"/>
                  </a:lnTo>
                  <a:lnTo>
                    <a:pt x="662" y="163"/>
                  </a:lnTo>
                  <a:lnTo>
                    <a:pt x="630" y="148"/>
                  </a:lnTo>
                  <a:lnTo>
                    <a:pt x="624" y="148"/>
                  </a:lnTo>
                  <a:lnTo>
                    <a:pt x="622" y="158"/>
                  </a:lnTo>
                  <a:lnTo>
                    <a:pt x="607" y="163"/>
                  </a:lnTo>
                  <a:lnTo>
                    <a:pt x="605" y="158"/>
                  </a:lnTo>
                  <a:lnTo>
                    <a:pt x="596" y="166"/>
                  </a:lnTo>
                  <a:lnTo>
                    <a:pt x="590" y="154"/>
                  </a:lnTo>
                  <a:lnTo>
                    <a:pt x="588" y="160"/>
                  </a:lnTo>
                  <a:lnTo>
                    <a:pt x="593" y="171"/>
                  </a:lnTo>
                  <a:lnTo>
                    <a:pt x="588" y="180"/>
                  </a:lnTo>
                  <a:lnTo>
                    <a:pt x="578" y="188"/>
                  </a:lnTo>
                  <a:lnTo>
                    <a:pt x="576" y="181"/>
                  </a:lnTo>
                  <a:lnTo>
                    <a:pt x="553" y="186"/>
                  </a:lnTo>
                  <a:lnTo>
                    <a:pt x="557" y="211"/>
                  </a:lnTo>
                  <a:lnTo>
                    <a:pt x="544" y="205"/>
                  </a:lnTo>
                  <a:lnTo>
                    <a:pt x="539" y="214"/>
                  </a:lnTo>
                  <a:lnTo>
                    <a:pt x="544" y="223"/>
                  </a:lnTo>
                  <a:lnTo>
                    <a:pt x="532" y="220"/>
                  </a:lnTo>
                  <a:lnTo>
                    <a:pt x="522" y="227"/>
                  </a:lnTo>
                  <a:lnTo>
                    <a:pt x="525" y="242"/>
                  </a:lnTo>
                  <a:lnTo>
                    <a:pt x="515" y="256"/>
                  </a:lnTo>
                  <a:lnTo>
                    <a:pt x="514" y="266"/>
                  </a:lnTo>
                  <a:lnTo>
                    <a:pt x="520" y="270"/>
                  </a:lnTo>
                  <a:lnTo>
                    <a:pt x="519" y="276"/>
                  </a:lnTo>
                  <a:lnTo>
                    <a:pt x="505" y="273"/>
                  </a:lnTo>
                  <a:lnTo>
                    <a:pt x="495" y="259"/>
                  </a:lnTo>
                  <a:lnTo>
                    <a:pt x="480" y="257"/>
                  </a:lnTo>
                  <a:lnTo>
                    <a:pt x="475" y="261"/>
                  </a:lnTo>
                  <a:lnTo>
                    <a:pt x="475" y="278"/>
                  </a:lnTo>
                  <a:lnTo>
                    <a:pt x="485" y="291"/>
                  </a:lnTo>
                  <a:lnTo>
                    <a:pt x="486" y="302"/>
                  </a:lnTo>
                  <a:lnTo>
                    <a:pt x="478" y="304"/>
                  </a:lnTo>
                  <a:lnTo>
                    <a:pt x="475" y="325"/>
                  </a:lnTo>
                  <a:lnTo>
                    <a:pt x="446" y="271"/>
                  </a:lnTo>
                  <a:lnTo>
                    <a:pt x="441" y="285"/>
                  </a:lnTo>
                  <a:lnTo>
                    <a:pt x="418" y="299"/>
                  </a:lnTo>
                  <a:lnTo>
                    <a:pt x="412" y="321"/>
                  </a:lnTo>
                  <a:lnTo>
                    <a:pt x="421" y="347"/>
                  </a:lnTo>
                  <a:lnTo>
                    <a:pt x="400" y="369"/>
                  </a:lnTo>
                  <a:lnTo>
                    <a:pt x="395" y="369"/>
                  </a:lnTo>
                  <a:lnTo>
                    <a:pt x="383" y="401"/>
                  </a:lnTo>
                  <a:lnTo>
                    <a:pt x="356" y="423"/>
                  </a:lnTo>
                  <a:lnTo>
                    <a:pt x="290" y="443"/>
                  </a:lnTo>
                  <a:lnTo>
                    <a:pt x="271" y="440"/>
                  </a:lnTo>
                  <a:lnTo>
                    <a:pt x="253" y="455"/>
                  </a:lnTo>
                  <a:lnTo>
                    <a:pt x="228" y="460"/>
                  </a:lnTo>
                  <a:lnTo>
                    <a:pt x="202" y="474"/>
                  </a:lnTo>
                  <a:lnTo>
                    <a:pt x="161" y="471"/>
                  </a:lnTo>
                  <a:lnTo>
                    <a:pt x="122" y="493"/>
                  </a:lnTo>
                  <a:lnTo>
                    <a:pt x="102" y="519"/>
                  </a:lnTo>
                  <a:lnTo>
                    <a:pt x="85" y="522"/>
                  </a:lnTo>
                  <a:lnTo>
                    <a:pt x="61" y="536"/>
                  </a:lnTo>
                  <a:lnTo>
                    <a:pt x="42" y="565"/>
                  </a:lnTo>
                  <a:lnTo>
                    <a:pt x="38" y="564"/>
                  </a:lnTo>
                  <a:lnTo>
                    <a:pt x="38" y="553"/>
                  </a:lnTo>
                  <a:lnTo>
                    <a:pt x="41" y="528"/>
                  </a:lnTo>
                  <a:lnTo>
                    <a:pt x="36" y="533"/>
                  </a:lnTo>
                  <a:lnTo>
                    <a:pt x="22" y="556"/>
                  </a:lnTo>
                  <a:lnTo>
                    <a:pt x="19" y="574"/>
                  </a:lnTo>
                  <a:lnTo>
                    <a:pt x="24" y="586"/>
                  </a:lnTo>
                  <a:lnTo>
                    <a:pt x="24" y="610"/>
                  </a:lnTo>
                  <a:lnTo>
                    <a:pt x="7" y="637"/>
                  </a:lnTo>
                  <a:lnTo>
                    <a:pt x="7" y="663"/>
                  </a:lnTo>
                  <a:lnTo>
                    <a:pt x="33" y="709"/>
                  </a:lnTo>
                  <a:lnTo>
                    <a:pt x="31" y="717"/>
                  </a:lnTo>
                  <a:lnTo>
                    <a:pt x="45" y="730"/>
                  </a:lnTo>
                  <a:lnTo>
                    <a:pt x="47" y="745"/>
                  </a:lnTo>
                  <a:lnTo>
                    <a:pt x="39" y="762"/>
                  </a:lnTo>
                  <a:lnTo>
                    <a:pt x="33" y="760"/>
                  </a:lnTo>
                  <a:lnTo>
                    <a:pt x="30" y="743"/>
                  </a:lnTo>
                  <a:lnTo>
                    <a:pt x="24" y="748"/>
                  </a:lnTo>
                  <a:lnTo>
                    <a:pt x="11" y="720"/>
                  </a:lnTo>
                  <a:lnTo>
                    <a:pt x="11" y="722"/>
                  </a:lnTo>
                  <a:lnTo>
                    <a:pt x="30" y="767"/>
                  </a:lnTo>
                  <a:lnTo>
                    <a:pt x="19" y="772"/>
                  </a:lnTo>
                  <a:lnTo>
                    <a:pt x="17" y="767"/>
                  </a:lnTo>
                  <a:lnTo>
                    <a:pt x="14" y="768"/>
                  </a:lnTo>
                  <a:lnTo>
                    <a:pt x="11" y="754"/>
                  </a:lnTo>
                  <a:lnTo>
                    <a:pt x="0" y="748"/>
                  </a:lnTo>
                  <a:lnTo>
                    <a:pt x="0" y="752"/>
                  </a:lnTo>
                  <a:lnTo>
                    <a:pt x="17" y="779"/>
                  </a:lnTo>
                  <a:lnTo>
                    <a:pt x="34" y="794"/>
                  </a:lnTo>
                  <a:lnTo>
                    <a:pt x="45" y="825"/>
                  </a:lnTo>
                  <a:lnTo>
                    <a:pt x="47" y="844"/>
                  </a:lnTo>
                  <a:lnTo>
                    <a:pt x="81" y="907"/>
                  </a:lnTo>
                  <a:lnTo>
                    <a:pt x="87" y="966"/>
                  </a:lnTo>
                  <a:lnTo>
                    <a:pt x="119" y="1037"/>
                  </a:lnTo>
                  <a:lnTo>
                    <a:pt x="119" y="1082"/>
                  </a:lnTo>
                  <a:lnTo>
                    <a:pt x="115" y="1097"/>
                  </a:lnTo>
                  <a:lnTo>
                    <a:pt x="119" y="1116"/>
                  </a:lnTo>
                  <a:lnTo>
                    <a:pt x="106" y="1141"/>
                  </a:lnTo>
                  <a:lnTo>
                    <a:pt x="89" y="1139"/>
                  </a:lnTo>
                  <a:close/>
                  <a:moveTo>
                    <a:pt x="1843" y="680"/>
                  </a:moveTo>
                  <a:lnTo>
                    <a:pt x="1852" y="689"/>
                  </a:lnTo>
                  <a:lnTo>
                    <a:pt x="1852" y="701"/>
                  </a:lnTo>
                  <a:lnTo>
                    <a:pt x="1840" y="725"/>
                  </a:lnTo>
                  <a:lnTo>
                    <a:pt x="1838" y="701"/>
                  </a:lnTo>
                  <a:lnTo>
                    <a:pt x="1846" y="686"/>
                  </a:lnTo>
                  <a:lnTo>
                    <a:pt x="1843" y="680"/>
                  </a:lnTo>
                  <a:close/>
                  <a:moveTo>
                    <a:pt x="1860" y="810"/>
                  </a:moveTo>
                  <a:lnTo>
                    <a:pt x="1863" y="813"/>
                  </a:lnTo>
                  <a:lnTo>
                    <a:pt x="1860" y="825"/>
                  </a:lnTo>
                  <a:lnTo>
                    <a:pt x="1860" y="810"/>
                  </a:lnTo>
                  <a:close/>
                  <a:moveTo>
                    <a:pt x="1074" y="39"/>
                  </a:moveTo>
                  <a:lnTo>
                    <a:pt x="1074" y="27"/>
                  </a:lnTo>
                  <a:lnTo>
                    <a:pt x="1083" y="19"/>
                  </a:lnTo>
                  <a:lnTo>
                    <a:pt x="1074" y="39"/>
                  </a:lnTo>
                  <a:close/>
                  <a:moveTo>
                    <a:pt x="789" y="25"/>
                  </a:moveTo>
                  <a:lnTo>
                    <a:pt x="806" y="36"/>
                  </a:lnTo>
                  <a:lnTo>
                    <a:pt x="822" y="34"/>
                  </a:lnTo>
                  <a:lnTo>
                    <a:pt x="832" y="25"/>
                  </a:lnTo>
                  <a:lnTo>
                    <a:pt x="840" y="33"/>
                  </a:lnTo>
                  <a:lnTo>
                    <a:pt x="842" y="41"/>
                  </a:lnTo>
                  <a:lnTo>
                    <a:pt x="836" y="50"/>
                  </a:lnTo>
                  <a:lnTo>
                    <a:pt x="817" y="56"/>
                  </a:lnTo>
                  <a:lnTo>
                    <a:pt x="798" y="44"/>
                  </a:lnTo>
                  <a:lnTo>
                    <a:pt x="789" y="25"/>
                  </a:lnTo>
                  <a:close/>
                  <a:moveTo>
                    <a:pt x="780" y="53"/>
                  </a:moveTo>
                  <a:lnTo>
                    <a:pt x="776" y="46"/>
                  </a:lnTo>
                  <a:lnTo>
                    <a:pt x="786" y="34"/>
                  </a:lnTo>
                  <a:lnTo>
                    <a:pt x="798" y="53"/>
                  </a:lnTo>
                  <a:lnTo>
                    <a:pt x="780" y="53"/>
                  </a:lnTo>
                  <a:close/>
                  <a:moveTo>
                    <a:pt x="1219" y="271"/>
                  </a:moveTo>
                  <a:lnTo>
                    <a:pt x="1228" y="276"/>
                  </a:lnTo>
                  <a:lnTo>
                    <a:pt x="1207" y="287"/>
                  </a:lnTo>
                  <a:lnTo>
                    <a:pt x="1202" y="281"/>
                  </a:lnTo>
                  <a:lnTo>
                    <a:pt x="1219" y="271"/>
                  </a:lnTo>
                  <a:close/>
                  <a:moveTo>
                    <a:pt x="1072" y="146"/>
                  </a:moveTo>
                  <a:lnTo>
                    <a:pt x="1077" y="149"/>
                  </a:lnTo>
                  <a:lnTo>
                    <a:pt x="1080" y="143"/>
                  </a:lnTo>
                  <a:lnTo>
                    <a:pt x="1083" y="149"/>
                  </a:lnTo>
                  <a:lnTo>
                    <a:pt x="1089" y="146"/>
                  </a:lnTo>
                  <a:lnTo>
                    <a:pt x="1094" y="166"/>
                  </a:lnTo>
                  <a:lnTo>
                    <a:pt x="1077" y="169"/>
                  </a:lnTo>
                  <a:lnTo>
                    <a:pt x="1072" y="163"/>
                  </a:lnTo>
                  <a:lnTo>
                    <a:pt x="1072" y="146"/>
                  </a:lnTo>
                  <a:close/>
                  <a:moveTo>
                    <a:pt x="1604" y="1498"/>
                  </a:moveTo>
                  <a:lnTo>
                    <a:pt x="1606" y="1495"/>
                  </a:lnTo>
                  <a:lnTo>
                    <a:pt x="1621" y="1506"/>
                  </a:lnTo>
                  <a:lnTo>
                    <a:pt x="1623" y="1523"/>
                  </a:lnTo>
                  <a:lnTo>
                    <a:pt x="1614" y="1528"/>
                  </a:lnTo>
                  <a:lnTo>
                    <a:pt x="1601" y="1502"/>
                  </a:lnTo>
                  <a:lnTo>
                    <a:pt x="1604" y="1498"/>
                  </a:lnTo>
                  <a:close/>
                  <a:moveTo>
                    <a:pt x="1614" y="1536"/>
                  </a:moveTo>
                  <a:lnTo>
                    <a:pt x="1625" y="1529"/>
                  </a:lnTo>
                  <a:lnTo>
                    <a:pt x="1631" y="1537"/>
                  </a:lnTo>
                  <a:lnTo>
                    <a:pt x="1614" y="1536"/>
                  </a:lnTo>
                  <a:close/>
                  <a:moveTo>
                    <a:pt x="1079" y="1266"/>
                  </a:moveTo>
                  <a:lnTo>
                    <a:pt x="1114" y="1253"/>
                  </a:lnTo>
                  <a:lnTo>
                    <a:pt x="1152" y="1271"/>
                  </a:lnTo>
                  <a:lnTo>
                    <a:pt x="1130" y="1271"/>
                  </a:lnTo>
                  <a:lnTo>
                    <a:pt x="1123" y="1282"/>
                  </a:lnTo>
                  <a:lnTo>
                    <a:pt x="1094" y="1279"/>
                  </a:lnTo>
                  <a:lnTo>
                    <a:pt x="1085" y="1279"/>
                  </a:lnTo>
                  <a:lnTo>
                    <a:pt x="1079" y="1266"/>
                  </a:lnTo>
                  <a:close/>
                  <a:moveTo>
                    <a:pt x="1461" y="1551"/>
                  </a:moveTo>
                  <a:lnTo>
                    <a:pt x="1476" y="1559"/>
                  </a:lnTo>
                  <a:lnTo>
                    <a:pt x="1496" y="1562"/>
                  </a:lnTo>
                  <a:lnTo>
                    <a:pt x="1516" y="1576"/>
                  </a:lnTo>
                  <a:lnTo>
                    <a:pt x="1543" y="1582"/>
                  </a:lnTo>
                  <a:lnTo>
                    <a:pt x="1584" y="1570"/>
                  </a:lnTo>
                  <a:lnTo>
                    <a:pt x="1592" y="1559"/>
                  </a:lnTo>
                  <a:lnTo>
                    <a:pt x="1604" y="1565"/>
                  </a:lnTo>
                  <a:lnTo>
                    <a:pt x="1606" y="1556"/>
                  </a:lnTo>
                  <a:lnTo>
                    <a:pt x="1614" y="1559"/>
                  </a:lnTo>
                  <a:lnTo>
                    <a:pt x="1621" y="1568"/>
                  </a:lnTo>
                  <a:lnTo>
                    <a:pt x="1625" y="1587"/>
                  </a:lnTo>
                  <a:lnTo>
                    <a:pt x="1626" y="1653"/>
                  </a:lnTo>
                  <a:lnTo>
                    <a:pt x="1621" y="1630"/>
                  </a:lnTo>
                  <a:lnTo>
                    <a:pt x="1611" y="1649"/>
                  </a:lnTo>
                  <a:lnTo>
                    <a:pt x="1608" y="1679"/>
                  </a:lnTo>
                  <a:lnTo>
                    <a:pt x="1591" y="1679"/>
                  </a:lnTo>
                  <a:lnTo>
                    <a:pt x="1577" y="1710"/>
                  </a:lnTo>
                  <a:lnTo>
                    <a:pt x="1569" y="1703"/>
                  </a:lnTo>
                  <a:lnTo>
                    <a:pt x="1566" y="1707"/>
                  </a:lnTo>
                  <a:lnTo>
                    <a:pt x="1563" y="1724"/>
                  </a:lnTo>
                  <a:lnTo>
                    <a:pt x="1557" y="1730"/>
                  </a:lnTo>
                  <a:lnTo>
                    <a:pt x="1519" y="1726"/>
                  </a:lnTo>
                  <a:lnTo>
                    <a:pt x="1518" y="1720"/>
                  </a:lnTo>
                  <a:lnTo>
                    <a:pt x="1526" y="1712"/>
                  </a:lnTo>
                  <a:lnTo>
                    <a:pt x="1509" y="1709"/>
                  </a:lnTo>
                  <a:lnTo>
                    <a:pt x="1489" y="1676"/>
                  </a:lnTo>
                  <a:lnTo>
                    <a:pt x="1479" y="1641"/>
                  </a:lnTo>
                  <a:lnTo>
                    <a:pt x="1490" y="1659"/>
                  </a:lnTo>
                  <a:lnTo>
                    <a:pt x="1496" y="1649"/>
                  </a:lnTo>
                  <a:lnTo>
                    <a:pt x="1479" y="1627"/>
                  </a:lnTo>
                  <a:lnTo>
                    <a:pt x="1459" y="1583"/>
                  </a:lnTo>
                  <a:lnTo>
                    <a:pt x="1461" y="1551"/>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289" name="Freeform 19">
              <a:extLst>
                <a:ext uri="{FF2B5EF4-FFF2-40B4-BE49-F238E27FC236}">
                  <a16:creationId xmlns:a16="http://schemas.microsoft.com/office/drawing/2014/main" id="{FFAEDBCD-D918-FC41-89D1-6BFB4CACCAD5}"/>
                </a:ext>
              </a:extLst>
            </p:cNvPr>
            <p:cNvSpPr>
              <a:spLocks noChangeAspect="1" noEditPoints="1"/>
            </p:cNvSpPr>
            <p:nvPr/>
          </p:nvSpPr>
          <p:spPr bwMode="gray">
            <a:xfrm>
              <a:off x="7417139" y="2887254"/>
              <a:ext cx="500021" cy="704591"/>
            </a:xfrm>
            <a:custGeom>
              <a:avLst/>
              <a:gdLst>
                <a:gd name="T0" fmla="*/ 838 w 1023"/>
                <a:gd name="T1" fmla="*/ 330 h 1195"/>
                <a:gd name="T2" fmla="*/ 827 w 1023"/>
                <a:gd name="T3" fmla="*/ 438 h 1195"/>
                <a:gd name="T4" fmla="*/ 804 w 1023"/>
                <a:gd name="T5" fmla="*/ 516 h 1195"/>
                <a:gd name="T6" fmla="*/ 793 w 1023"/>
                <a:gd name="T7" fmla="*/ 588 h 1195"/>
                <a:gd name="T8" fmla="*/ 761 w 1023"/>
                <a:gd name="T9" fmla="*/ 592 h 1195"/>
                <a:gd name="T10" fmla="*/ 710 w 1023"/>
                <a:gd name="T11" fmla="*/ 650 h 1195"/>
                <a:gd name="T12" fmla="*/ 673 w 1023"/>
                <a:gd name="T13" fmla="*/ 653 h 1195"/>
                <a:gd name="T14" fmla="*/ 615 w 1023"/>
                <a:gd name="T15" fmla="*/ 644 h 1195"/>
                <a:gd name="T16" fmla="*/ 612 w 1023"/>
                <a:gd name="T17" fmla="*/ 660 h 1195"/>
                <a:gd name="T18" fmla="*/ 569 w 1023"/>
                <a:gd name="T19" fmla="*/ 707 h 1195"/>
                <a:gd name="T20" fmla="*/ 532 w 1023"/>
                <a:gd name="T21" fmla="*/ 669 h 1195"/>
                <a:gd name="T22" fmla="*/ 496 w 1023"/>
                <a:gd name="T23" fmla="*/ 643 h 1195"/>
                <a:gd name="T24" fmla="*/ 407 w 1023"/>
                <a:gd name="T25" fmla="*/ 667 h 1195"/>
                <a:gd name="T26" fmla="*/ 335 w 1023"/>
                <a:gd name="T27" fmla="*/ 684 h 1195"/>
                <a:gd name="T28" fmla="*/ 478 w 1023"/>
                <a:gd name="T29" fmla="*/ 601 h 1195"/>
                <a:gd name="T30" fmla="*/ 572 w 1023"/>
                <a:gd name="T31" fmla="*/ 588 h 1195"/>
                <a:gd name="T32" fmla="*/ 623 w 1023"/>
                <a:gd name="T33" fmla="*/ 487 h 1195"/>
                <a:gd name="T34" fmla="*/ 618 w 1023"/>
                <a:gd name="T35" fmla="*/ 529 h 1195"/>
                <a:gd name="T36" fmla="*/ 722 w 1023"/>
                <a:gd name="T37" fmla="*/ 458 h 1195"/>
                <a:gd name="T38" fmla="*/ 742 w 1023"/>
                <a:gd name="T39" fmla="*/ 344 h 1195"/>
                <a:gd name="T40" fmla="*/ 767 w 1023"/>
                <a:gd name="T41" fmla="*/ 277 h 1195"/>
                <a:gd name="T42" fmla="*/ 806 w 1023"/>
                <a:gd name="T43" fmla="*/ 284 h 1195"/>
                <a:gd name="T44" fmla="*/ 795 w 1023"/>
                <a:gd name="T45" fmla="*/ 252 h 1195"/>
                <a:gd name="T46" fmla="*/ 74 w 1023"/>
                <a:gd name="T47" fmla="*/ 1175 h 1195"/>
                <a:gd name="T48" fmla="*/ 24 w 1023"/>
                <a:gd name="T49" fmla="*/ 1190 h 1195"/>
                <a:gd name="T50" fmla="*/ 7 w 1023"/>
                <a:gd name="T51" fmla="*/ 1193 h 1195"/>
                <a:gd name="T52" fmla="*/ 803 w 1023"/>
                <a:gd name="T53" fmla="*/ 19 h 1195"/>
                <a:gd name="T54" fmla="*/ 263 w 1023"/>
                <a:gd name="T55" fmla="*/ 648 h 1195"/>
                <a:gd name="T56" fmla="*/ 258 w 1023"/>
                <a:gd name="T57" fmla="*/ 667 h 1195"/>
                <a:gd name="T58" fmla="*/ 255 w 1023"/>
                <a:gd name="T59" fmla="*/ 741 h 1195"/>
                <a:gd name="T60" fmla="*/ 238 w 1023"/>
                <a:gd name="T61" fmla="*/ 752 h 1195"/>
                <a:gd name="T62" fmla="*/ 238 w 1023"/>
                <a:gd name="T63" fmla="*/ 752 h 1195"/>
                <a:gd name="T64" fmla="*/ 297 w 1023"/>
                <a:gd name="T65" fmla="*/ 766 h 1195"/>
                <a:gd name="T66" fmla="*/ 337 w 1023"/>
                <a:gd name="T67" fmla="*/ 881 h 1195"/>
                <a:gd name="T68" fmla="*/ 259 w 1023"/>
                <a:gd name="T69" fmla="*/ 995 h 1195"/>
                <a:gd name="T70" fmla="*/ 239 w 1023"/>
                <a:gd name="T71" fmla="*/ 1009 h 1195"/>
                <a:gd name="T72" fmla="*/ 207 w 1023"/>
                <a:gd name="T73" fmla="*/ 1063 h 1195"/>
                <a:gd name="T74" fmla="*/ 183 w 1023"/>
                <a:gd name="T75" fmla="*/ 1093 h 1195"/>
                <a:gd name="T76" fmla="*/ 314 w 1023"/>
                <a:gd name="T77" fmla="*/ 888 h 1195"/>
                <a:gd name="T78" fmla="*/ 331 w 1023"/>
                <a:gd name="T79" fmla="*/ 690 h 1195"/>
                <a:gd name="T80" fmla="*/ 275 w 1023"/>
                <a:gd name="T81" fmla="*/ 729 h 1195"/>
                <a:gd name="T82" fmla="*/ 281 w 1023"/>
                <a:gd name="T83" fmla="*/ 761 h 1195"/>
                <a:gd name="T84" fmla="*/ 300 w 1023"/>
                <a:gd name="T85" fmla="*/ 744 h 1195"/>
                <a:gd name="T86" fmla="*/ 318 w 1023"/>
                <a:gd name="T87" fmla="*/ 771 h 1195"/>
                <a:gd name="T88" fmla="*/ 322 w 1023"/>
                <a:gd name="T89" fmla="*/ 811 h 1195"/>
                <a:gd name="T90" fmla="*/ 340 w 1023"/>
                <a:gd name="T91" fmla="*/ 837 h 1195"/>
                <a:gd name="T92" fmla="*/ 383 w 1023"/>
                <a:gd name="T93" fmla="*/ 746 h 1195"/>
                <a:gd name="T94" fmla="*/ 348 w 1023"/>
                <a:gd name="T95" fmla="*/ 707 h 1195"/>
                <a:gd name="T96" fmla="*/ 464 w 1023"/>
                <a:gd name="T97" fmla="*/ 714 h 1195"/>
                <a:gd name="T98" fmla="*/ 424 w 1023"/>
                <a:gd name="T99" fmla="*/ 754 h 1195"/>
                <a:gd name="T100" fmla="*/ 424 w 1023"/>
                <a:gd name="T101" fmla="*/ 686 h 1195"/>
                <a:gd name="T102" fmla="*/ 510 w 1023"/>
                <a:gd name="T103" fmla="*/ 695 h 1195"/>
                <a:gd name="T104" fmla="*/ 1002 w 1023"/>
                <a:gd name="T105" fmla="*/ 79 h 1195"/>
                <a:gd name="T106" fmla="*/ 1023 w 1023"/>
                <a:gd name="T107" fmla="*/ 129 h 1195"/>
                <a:gd name="T108" fmla="*/ 974 w 1023"/>
                <a:gd name="T109" fmla="*/ 160 h 1195"/>
                <a:gd name="T110" fmla="*/ 905 w 1023"/>
                <a:gd name="T111" fmla="*/ 221 h 1195"/>
                <a:gd name="T112" fmla="*/ 776 w 1023"/>
                <a:gd name="T113" fmla="*/ 186 h 1195"/>
                <a:gd name="T114" fmla="*/ 804 w 1023"/>
                <a:gd name="T115" fmla="*/ 235 h 1195"/>
                <a:gd name="T116" fmla="*/ 756 w 1023"/>
                <a:gd name="T117" fmla="*/ 243 h 1195"/>
                <a:gd name="T118" fmla="*/ 774 w 1023"/>
                <a:gd name="T119" fmla="*/ 160 h 1195"/>
                <a:gd name="T120" fmla="*/ 818 w 1023"/>
                <a:gd name="T121" fmla="*/ 110 h 1195"/>
                <a:gd name="T122" fmla="*/ 829 w 1023"/>
                <a:gd name="T123" fmla="*/ 10 h 1195"/>
                <a:gd name="T124" fmla="*/ 913 w 1023"/>
                <a:gd name="T125" fmla="*/ 74 h 1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3" h="1195">
                  <a:moveTo>
                    <a:pt x="806" y="255"/>
                  </a:moveTo>
                  <a:lnTo>
                    <a:pt x="820" y="255"/>
                  </a:lnTo>
                  <a:lnTo>
                    <a:pt x="821" y="294"/>
                  </a:lnTo>
                  <a:lnTo>
                    <a:pt x="838" y="330"/>
                  </a:lnTo>
                  <a:lnTo>
                    <a:pt x="850" y="370"/>
                  </a:lnTo>
                  <a:lnTo>
                    <a:pt x="846" y="394"/>
                  </a:lnTo>
                  <a:lnTo>
                    <a:pt x="835" y="401"/>
                  </a:lnTo>
                  <a:lnTo>
                    <a:pt x="827" y="438"/>
                  </a:lnTo>
                  <a:lnTo>
                    <a:pt x="815" y="436"/>
                  </a:lnTo>
                  <a:lnTo>
                    <a:pt x="803" y="444"/>
                  </a:lnTo>
                  <a:lnTo>
                    <a:pt x="799" y="460"/>
                  </a:lnTo>
                  <a:lnTo>
                    <a:pt x="804" y="516"/>
                  </a:lnTo>
                  <a:lnTo>
                    <a:pt x="796" y="525"/>
                  </a:lnTo>
                  <a:lnTo>
                    <a:pt x="786" y="556"/>
                  </a:lnTo>
                  <a:lnTo>
                    <a:pt x="786" y="576"/>
                  </a:lnTo>
                  <a:lnTo>
                    <a:pt x="793" y="588"/>
                  </a:lnTo>
                  <a:lnTo>
                    <a:pt x="773" y="619"/>
                  </a:lnTo>
                  <a:lnTo>
                    <a:pt x="750" y="636"/>
                  </a:lnTo>
                  <a:lnTo>
                    <a:pt x="752" y="607"/>
                  </a:lnTo>
                  <a:lnTo>
                    <a:pt x="761" y="592"/>
                  </a:lnTo>
                  <a:lnTo>
                    <a:pt x="748" y="592"/>
                  </a:lnTo>
                  <a:lnTo>
                    <a:pt x="740" y="619"/>
                  </a:lnTo>
                  <a:lnTo>
                    <a:pt x="723" y="613"/>
                  </a:lnTo>
                  <a:lnTo>
                    <a:pt x="710" y="650"/>
                  </a:lnTo>
                  <a:lnTo>
                    <a:pt x="703" y="648"/>
                  </a:lnTo>
                  <a:lnTo>
                    <a:pt x="703" y="626"/>
                  </a:lnTo>
                  <a:lnTo>
                    <a:pt x="694" y="624"/>
                  </a:lnTo>
                  <a:lnTo>
                    <a:pt x="673" y="653"/>
                  </a:lnTo>
                  <a:lnTo>
                    <a:pt x="622" y="653"/>
                  </a:lnTo>
                  <a:lnTo>
                    <a:pt x="631" y="644"/>
                  </a:lnTo>
                  <a:lnTo>
                    <a:pt x="618" y="639"/>
                  </a:lnTo>
                  <a:lnTo>
                    <a:pt x="615" y="644"/>
                  </a:lnTo>
                  <a:lnTo>
                    <a:pt x="609" y="638"/>
                  </a:lnTo>
                  <a:lnTo>
                    <a:pt x="609" y="626"/>
                  </a:lnTo>
                  <a:lnTo>
                    <a:pt x="595" y="650"/>
                  </a:lnTo>
                  <a:lnTo>
                    <a:pt x="612" y="660"/>
                  </a:lnTo>
                  <a:lnTo>
                    <a:pt x="612" y="673"/>
                  </a:lnTo>
                  <a:lnTo>
                    <a:pt x="605" y="669"/>
                  </a:lnTo>
                  <a:lnTo>
                    <a:pt x="588" y="675"/>
                  </a:lnTo>
                  <a:lnTo>
                    <a:pt x="569" y="707"/>
                  </a:lnTo>
                  <a:lnTo>
                    <a:pt x="559" y="714"/>
                  </a:lnTo>
                  <a:lnTo>
                    <a:pt x="547" y="707"/>
                  </a:lnTo>
                  <a:lnTo>
                    <a:pt x="532" y="686"/>
                  </a:lnTo>
                  <a:lnTo>
                    <a:pt x="532" y="669"/>
                  </a:lnTo>
                  <a:lnTo>
                    <a:pt x="544" y="652"/>
                  </a:lnTo>
                  <a:lnTo>
                    <a:pt x="542" y="646"/>
                  </a:lnTo>
                  <a:lnTo>
                    <a:pt x="527" y="650"/>
                  </a:lnTo>
                  <a:lnTo>
                    <a:pt x="496" y="643"/>
                  </a:lnTo>
                  <a:lnTo>
                    <a:pt x="473" y="660"/>
                  </a:lnTo>
                  <a:lnTo>
                    <a:pt x="465" y="656"/>
                  </a:lnTo>
                  <a:lnTo>
                    <a:pt x="413" y="672"/>
                  </a:lnTo>
                  <a:lnTo>
                    <a:pt x="407" y="667"/>
                  </a:lnTo>
                  <a:lnTo>
                    <a:pt x="390" y="690"/>
                  </a:lnTo>
                  <a:lnTo>
                    <a:pt x="371" y="684"/>
                  </a:lnTo>
                  <a:lnTo>
                    <a:pt x="351" y="689"/>
                  </a:lnTo>
                  <a:lnTo>
                    <a:pt x="335" y="684"/>
                  </a:lnTo>
                  <a:lnTo>
                    <a:pt x="335" y="667"/>
                  </a:lnTo>
                  <a:lnTo>
                    <a:pt x="357" y="660"/>
                  </a:lnTo>
                  <a:lnTo>
                    <a:pt x="424" y="601"/>
                  </a:lnTo>
                  <a:lnTo>
                    <a:pt x="478" y="601"/>
                  </a:lnTo>
                  <a:lnTo>
                    <a:pt x="535" y="588"/>
                  </a:lnTo>
                  <a:lnTo>
                    <a:pt x="535" y="596"/>
                  </a:lnTo>
                  <a:lnTo>
                    <a:pt x="559" y="601"/>
                  </a:lnTo>
                  <a:lnTo>
                    <a:pt x="572" y="588"/>
                  </a:lnTo>
                  <a:lnTo>
                    <a:pt x="574" y="562"/>
                  </a:lnTo>
                  <a:lnTo>
                    <a:pt x="598" y="534"/>
                  </a:lnTo>
                  <a:lnTo>
                    <a:pt x="608" y="495"/>
                  </a:lnTo>
                  <a:lnTo>
                    <a:pt x="623" y="487"/>
                  </a:lnTo>
                  <a:lnTo>
                    <a:pt x="631" y="489"/>
                  </a:lnTo>
                  <a:lnTo>
                    <a:pt x="628" y="495"/>
                  </a:lnTo>
                  <a:lnTo>
                    <a:pt x="615" y="509"/>
                  </a:lnTo>
                  <a:lnTo>
                    <a:pt x="618" y="529"/>
                  </a:lnTo>
                  <a:lnTo>
                    <a:pt x="632" y="528"/>
                  </a:lnTo>
                  <a:lnTo>
                    <a:pt x="681" y="497"/>
                  </a:lnTo>
                  <a:lnTo>
                    <a:pt x="705" y="465"/>
                  </a:lnTo>
                  <a:lnTo>
                    <a:pt x="722" y="458"/>
                  </a:lnTo>
                  <a:lnTo>
                    <a:pt x="744" y="407"/>
                  </a:lnTo>
                  <a:lnTo>
                    <a:pt x="757" y="367"/>
                  </a:lnTo>
                  <a:lnTo>
                    <a:pt x="757" y="353"/>
                  </a:lnTo>
                  <a:lnTo>
                    <a:pt x="742" y="344"/>
                  </a:lnTo>
                  <a:lnTo>
                    <a:pt x="756" y="328"/>
                  </a:lnTo>
                  <a:lnTo>
                    <a:pt x="753" y="301"/>
                  </a:lnTo>
                  <a:lnTo>
                    <a:pt x="765" y="291"/>
                  </a:lnTo>
                  <a:lnTo>
                    <a:pt x="767" y="277"/>
                  </a:lnTo>
                  <a:lnTo>
                    <a:pt x="776" y="267"/>
                  </a:lnTo>
                  <a:lnTo>
                    <a:pt x="789" y="291"/>
                  </a:lnTo>
                  <a:lnTo>
                    <a:pt x="795" y="282"/>
                  </a:lnTo>
                  <a:lnTo>
                    <a:pt x="806" y="284"/>
                  </a:lnTo>
                  <a:lnTo>
                    <a:pt x="813" y="263"/>
                  </a:lnTo>
                  <a:lnTo>
                    <a:pt x="795" y="272"/>
                  </a:lnTo>
                  <a:lnTo>
                    <a:pt x="791" y="262"/>
                  </a:lnTo>
                  <a:lnTo>
                    <a:pt x="795" y="252"/>
                  </a:lnTo>
                  <a:lnTo>
                    <a:pt x="806" y="255"/>
                  </a:lnTo>
                  <a:close/>
                  <a:moveTo>
                    <a:pt x="73" y="1167"/>
                  </a:moveTo>
                  <a:lnTo>
                    <a:pt x="80" y="1173"/>
                  </a:lnTo>
                  <a:lnTo>
                    <a:pt x="74" y="1175"/>
                  </a:lnTo>
                  <a:lnTo>
                    <a:pt x="73" y="1167"/>
                  </a:lnTo>
                  <a:close/>
                  <a:moveTo>
                    <a:pt x="17" y="1187"/>
                  </a:moveTo>
                  <a:lnTo>
                    <a:pt x="24" y="1183"/>
                  </a:lnTo>
                  <a:lnTo>
                    <a:pt x="24" y="1190"/>
                  </a:lnTo>
                  <a:lnTo>
                    <a:pt x="18" y="1193"/>
                  </a:lnTo>
                  <a:lnTo>
                    <a:pt x="17" y="1187"/>
                  </a:lnTo>
                  <a:close/>
                  <a:moveTo>
                    <a:pt x="0" y="1187"/>
                  </a:moveTo>
                  <a:lnTo>
                    <a:pt x="7" y="1193"/>
                  </a:lnTo>
                  <a:lnTo>
                    <a:pt x="0" y="1195"/>
                  </a:lnTo>
                  <a:lnTo>
                    <a:pt x="0" y="1187"/>
                  </a:lnTo>
                  <a:close/>
                  <a:moveTo>
                    <a:pt x="807" y="13"/>
                  </a:moveTo>
                  <a:lnTo>
                    <a:pt x="803" y="19"/>
                  </a:lnTo>
                  <a:lnTo>
                    <a:pt x="813" y="23"/>
                  </a:lnTo>
                  <a:lnTo>
                    <a:pt x="813" y="13"/>
                  </a:lnTo>
                  <a:lnTo>
                    <a:pt x="807" y="13"/>
                  </a:lnTo>
                  <a:close/>
                  <a:moveTo>
                    <a:pt x="263" y="648"/>
                  </a:moveTo>
                  <a:lnTo>
                    <a:pt x="266" y="652"/>
                  </a:lnTo>
                  <a:lnTo>
                    <a:pt x="264" y="667"/>
                  </a:lnTo>
                  <a:lnTo>
                    <a:pt x="263" y="648"/>
                  </a:lnTo>
                  <a:close/>
                  <a:moveTo>
                    <a:pt x="258" y="667"/>
                  </a:moveTo>
                  <a:lnTo>
                    <a:pt x="255" y="680"/>
                  </a:lnTo>
                  <a:lnTo>
                    <a:pt x="258" y="675"/>
                  </a:lnTo>
                  <a:lnTo>
                    <a:pt x="258" y="667"/>
                  </a:lnTo>
                  <a:close/>
                  <a:moveTo>
                    <a:pt x="255" y="741"/>
                  </a:moveTo>
                  <a:lnTo>
                    <a:pt x="249" y="735"/>
                  </a:lnTo>
                  <a:lnTo>
                    <a:pt x="247" y="749"/>
                  </a:lnTo>
                  <a:lnTo>
                    <a:pt x="255" y="741"/>
                  </a:lnTo>
                  <a:close/>
                  <a:moveTo>
                    <a:pt x="238" y="752"/>
                  </a:moveTo>
                  <a:lnTo>
                    <a:pt x="230" y="757"/>
                  </a:lnTo>
                  <a:lnTo>
                    <a:pt x="230" y="763"/>
                  </a:lnTo>
                  <a:lnTo>
                    <a:pt x="238" y="761"/>
                  </a:lnTo>
                  <a:lnTo>
                    <a:pt x="238" y="752"/>
                  </a:lnTo>
                  <a:close/>
                  <a:moveTo>
                    <a:pt x="297" y="766"/>
                  </a:moveTo>
                  <a:lnTo>
                    <a:pt x="295" y="785"/>
                  </a:lnTo>
                  <a:lnTo>
                    <a:pt x="301" y="769"/>
                  </a:lnTo>
                  <a:lnTo>
                    <a:pt x="297" y="766"/>
                  </a:lnTo>
                  <a:close/>
                  <a:moveTo>
                    <a:pt x="340" y="867"/>
                  </a:moveTo>
                  <a:lnTo>
                    <a:pt x="340" y="859"/>
                  </a:lnTo>
                  <a:lnTo>
                    <a:pt x="337" y="867"/>
                  </a:lnTo>
                  <a:lnTo>
                    <a:pt x="337" y="881"/>
                  </a:lnTo>
                  <a:lnTo>
                    <a:pt x="340" y="867"/>
                  </a:lnTo>
                  <a:close/>
                  <a:moveTo>
                    <a:pt x="263" y="983"/>
                  </a:moveTo>
                  <a:lnTo>
                    <a:pt x="273" y="980"/>
                  </a:lnTo>
                  <a:lnTo>
                    <a:pt x="259" y="995"/>
                  </a:lnTo>
                  <a:lnTo>
                    <a:pt x="256" y="988"/>
                  </a:lnTo>
                  <a:lnTo>
                    <a:pt x="263" y="983"/>
                  </a:lnTo>
                  <a:close/>
                  <a:moveTo>
                    <a:pt x="241" y="1015"/>
                  </a:moveTo>
                  <a:lnTo>
                    <a:pt x="239" y="1009"/>
                  </a:lnTo>
                  <a:lnTo>
                    <a:pt x="241" y="1015"/>
                  </a:lnTo>
                  <a:close/>
                  <a:moveTo>
                    <a:pt x="188" y="1082"/>
                  </a:moveTo>
                  <a:lnTo>
                    <a:pt x="191" y="1071"/>
                  </a:lnTo>
                  <a:lnTo>
                    <a:pt x="207" y="1063"/>
                  </a:lnTo>
                  <a:lnTo>
                    <a:pt x="204" y="1077"/>
                  </a:lnTo>
                  <a:lnTo>
                    <a:pt x="191" y="1088"/>
                  </a:lnTo>
                  <a:lnTo>
                    <a:pt x="185" y="1100"/>
                  </a:lnTo>
                  <a:lnTo>
                    <a:pt x="183" y="1093"/>
                  </a:lnTo>
                  <a:lnTo>
                    <a:pt x="188" y="1082"/>
                  </a:lnTo>
                  <a:close/>
                  <a:moveTo>
                    <a:pt x="315" y="881"/>
                  </a:moveTo>
                  <a:lnTo>
                    <a:pt x="310" y="884"/>
                  </a:lnTo>
                  <a:lnTo>
                    <a:pt x="314" y="888"/>
                  </a:lnTo>
                  <a:lnTo>
                    <a:pt x="320" y="890"/>
                  </a:lnTo>
                  <a:lnTo>
                    <a:pt x="320" y="884"/>
                  </a:lnTo>
                  <a:lnTo>
                    <a:pt x="315" y="881"/>
                  </a:lnTo>
                  <a:close/>
                  <a:moveTo>
                    <a:pt x="331" y="690"/>
                  </a:moveTo>
                  <a:lnTo>
                    <a:pt x="320" y="692"/>
                  </a:lnTo>
                  <a:lnTo>
                    <a:pt x="309" y="707"/>
                  </a:lnTo>
                  <a:lnTo>
                    <a:pt x="288" y="712"/>
                  </a:lnTo>
                  <a:lnTo>
                    <a:pt x="275" y="729"/>
                  </a:lnTo>
                  <a:lnTo>
                    <a:pt x="288" y="741"/>
                  </a:lnTo>
                  <a:lnTo>
                    <a:pt x="288" y="748"/>
                  </a:lnTo>
                  <a:lnTo>
                    <a:pt x="278" y="740"/>
                  </a:lnTo>
                  <a:lnTo>
                    <a:pt x="281" y="761"/>
                  </a:lnTo>
                  <a:lnTo>
                    <a:pt x="297" y="754"/>
                  </a:lnTo>
                  <a:lnTo>
                    <a:pt x="305" y="758"/>
                  </a:lnTo>
                  <a:lnTo>
                    <a:pt x="309" y="751"/>
                  </a:lnTo>
                  <a:lnTo>
                    <a:pt x="300" y="744"/>
                  </a:lnTo>
                  <a:lnTo>
                    <a:pt x="300" y="734"/>
                  </a:lnTo>
                  <a:lnTo>
                    <a:pt x="305" y="731"/>
                  </a:lnTo>
                  <a:lnTo>
                    <a:pt x="317" y="751"/>
                  </a:lnTo>
                  <a:lnTo>
                    <a:pt x="318" y="771"/>
                  </a:lnTo>
                  <a:lnTo>
                    <a:pt x="303" y="797"/>
                  </a:lnTo>
                  <a:lnTo>
                    <a:pt x="303" y="829"/>
                  </a:lnTo>
                  <a:lnTo>
                    <a:pt x="320" y="839"/>
                  </a:lnTo>
                  <a:lnTo>
                    <a:pt x="322" y="811"/>
                  </a:lnTo>
                  <a:lnTo>
                    <a:pt x="329" y="812"/>
                  </a:lnTo>
                  <a:lnTo>
                    <a:pt x="326" y="822"/>
                  </a:lnTo>
                  <a:lnTo>
                    <a:pt x="327" y="845"/>
                  </a:lnTo>
                  <a:lnTo>
                    <a:pt x="340" y="837"/>
                  </a:lnTo>
                  <a:lnTo>
                    <a:pt x="348" y="822"/>
                  </a:lnTo>
                  <a:lnTo>
                    <a:pt x="352" y="825"/>
                  </a:lnTo>
                  <a:lnTo>
                    <a:pt x="369" y="771"/>
                  </a:lnTo>
                  <a:lnTo>
                    <a:pt x="383" y="746"/>
                  </a:lnTo>
                  <a:lnTo>
                    <a:pt x="377" y="729"/>
                  </a:lnTo>
                  <a:lnTo>
                    <a:pt x="368" y="726"/>
                  </a:lnTo>
                  <a:lnTo>
                    <a:pt x="368" y="704"/>
                  </a:lnTo>
                  <a:lnTo>
                    <a:pt x="348" y="707"/>
                  </a:lnTo>
                  <a:lnTo>
                    <a:pt x="337" y="690"/>
                  </a:lnTo>
                  <a:lnTo>
                    <a:pt x="331" y="690"/>
                  </a:lnTo>
                  <a:close/>
                  <a:moveTo>
                    <a:pt x="487" y="724"/>
                  </a:moveTo>
                  <a:lnTo>
                    <a:pt x="464" y="714"/>
                  </a:lnTo>
                  <a:lnTo>
                    <a:pt x="454" y="715"/>
                  </a:lnTo>
                  <a:lnTo>
                    <a:pt x="445" y="723"/>
                  </a:lnTo>
                  <a:lnTo>
                    <a:pt x="433" y="754"/>
                  </a:lnTo>
                  <a:lnTo>
                    <a:pt x="424" y="754"/>
                  </a:lnTo>
                  <a:lnTo>
                    <a:pt x="413" y="744"/>
                  </a:lnTo>
                  <a:lnTo>
                    <a:pt x="405" y="723"/>
                  </a:lnTo>
                  <a:lnTo>
                    <a:pt x="393" y="720"/>
                  </a:lnTo>
                  <a:lnTo>
                    <a:pt x="424" y="686"/>
                  </a:lnTo>
                  <a:lnTo>
                    <a:pt x="448" y="687"/>
                  </a:lnTo>
                  <a:lnTo>
                    <a:pt x="478" y="664"/>
                  </a:lnTo>
                  <a:lnTo>
                    <a:pt x="503" y="673"/>
                  </a:lnTo>
                  <a:lnTo>
                    <a:pt x="510" y="695"/>
                  </a:lnTo>
                  <a:lnTo>
                    <a:pt x="487" y="724"/>
                  </a:lnTo>
                  <a:close/>
                  <a:moveTo>
                    <a:pt x="985" y="87"/>
                  </a:moveTo>
                  <a:lnTo>
                    <a:pt x="999" y="76"/>
                  </a:lnTo>
                  <a:lnTo>
                    <a:pt x="1002" y="79"/>
                  </a:lnTo>
                  <a:lnTo>
                    <a:pt x="991" y="104"/>
                  </a:lnTo>
                  <a:lnTo>
                    <a:pt x="1001" y="120"/>
                  </a:lnTo>
                  <a:lnTo>
                    <a:pt x="1001" y="133"/>
                  </a:lnTo>
                  <a:lnTo>
                    <a:pt x="1023" y="129"/>
                  </a:lnTo>
                  <a:lnTo>
                    <a:pt x="1019" y="138"/>
                  </a:lnTo>
                  <a:lnTo>
                    <a:pt x="993" y="153"/>
                  </a:lnTo>
                  <a:lnTo>
                    <a:pt x="979" y="153"/>
                  </a:lnTo>
                  <a:lnTo>
                    <a:pt x="974" y="160"/>
                  </a:lnTo>
                  <a:lnTo>
                    <a:pt x="947" y="160"/>
                  </a:lnTo>
                  <a:lnTo>
                    <a:pt x="934" y="167"/>
                  </a:lnTo>
                  <a:lnTo>
                    <a:pt x="926" y="174"/>
                  </a:lnTo>
                  <a:lnTo>
                    <a:pt x="905" y="221"/>
                  </a:lnTo>
                  <a:lnTo>
                    <a:pt x="841" y="184"/>
                  </a:lnTo>
                  <a:lnTo>
                    <a:pt x="827" y="183"/>
                  </a:lnTo>
                  <a:lnTo>
                    <a:pt x="807" y="194"/>
                  </a:lnTo>
                  <a:lnTo>
                    <a:pt x="776" y="186"/>
                  </a:lnTo>
                  <a:lnTo>
                    <a:pt x="769" y="198"/>
                  </a:lnTo>
                  <a:lnTo>
                    <a:pt x="774" y="208"/>
                  </a:lnTo>
                  <a:lnTo>
                    <a:pt x="807" y="228"/>
                  </a:lnTo>
                  <a:lnTo>
                    <a:pt x="804" y="235"/>
                  </a:lnTo>
                  <a:lnTo>
                    <a:pt x="787" y="235"/>
                  </a:lnTo>
                  <a:lnTo>
                    <a:pt x="764" y="255"/>
                  </a:lnTo>
                  <a:lnTo>
                    <a:pt x="757" y="252"/>
                  </a:lnTo>
                  <a:lnTo>
                    <a:pt x="756" y="243"/>
                  </a:lnTo>
                  <a:lnTo>
                    <a:pt x="761" y="218"/>
                  </a:lnTo>
                  <a:lnTo>
                    <a:pt x="745" y="203"/>
                  </a:lnTo>
                  <a:lnTo>
                    <a:pt x="747" y="184"/>
                  </a:lnTo>
                  <a:lnTo>
                    <a:pt x="774" y="160"/>
                  </a:lnTo>
                  <a:lnTo>
                    <a:pt x="774" y="137"/>
                  </a:lnTo>
                  <a:lnTo>
                    <a:pt x="813" y="144"/>
                  </a:lnTo>
                  <a:lnTo>
                    <a:pt x="820" y="130"/>
                  </a:lnTo>
                  <a:lnTo>
                    <a:pt x="818" y="110"/>
                  </a:lnTo>
                  <a:lnTo>
                    <a:pt x="830" y="87"/>
                  </a:lnTo>
                  <a:lnTo>
                    <a:pt x="837" y="47"/>
                  </a:lnTo>
                  <a:lnTo>
                    <a:pt x="833" y="30"/>
                  </a:lnTo>
                  <a:lnTo>
                    <a:pt x="829" y="10"/>
                  </a:lnTo>
                  <a:lnTo>
                    <a:pt x="838" y="0"/>
                  </a:lnTo>
                  <a:lnTo>
                    <a:pt x="849" y="5"/>
                  </a:lnTo>
                  <a:lnTo>
                    <a:pt x="880" y="44"/>
                  </a:lnTo>
                  <a:lnTo>
                    <a:pt x="913" y="74"/>
                  </a:lnTo>
                  <a:lnTo>
                    <a:pt x="965" y="98"/>
                  </a:lnTo>
                  <a:lnTo>
                    <a:pt x="985" y="87"/>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90" name="Freeform 20">
              <a:extLst>
                <a:ext uri="{FF2B5EF4-FFF2-40B4-BE49-F238E27FC236}">
                  <a16:creationId xmlns:a16="http://schemas.microsoft.com/office/drawing/2014/main" id="{5363F7D6-BAB3-6A44-A605-2595E1790282}"/>
                </a:ext>
              </a:extLst>
            </p:cNvPr>
            <p:cNvSpPr>
              <a:spLocks noChangeAspect="1" noEditPoints="1"/>
            </p:cNvSpPr>
            <p:nvPr/>
          </p:nvSpPr>
          <p:spPr bwMode="gray">
            <a:xfrm>
              <a:off x="8855097" y="4926156"/>
              <a:ext cx="68474" cy="159348"/>
            </a:xfrm>
            <a:custGeom>
              <a:avLst/>
              <a:gdLst>
                <a:gd name="T0" fmla="*/ 13 w 142"/>
                <a:gd name="T1" fmla="*/ 0 h 270"/>
                <a:gd name="T2" fmla="*/ 27 w 142"/>
                <a:gd name="T3" fmla="*/ 3 h 270"/>
                <a:gd name="T4" fmla="*/ 34 w 142"/>
                <a:gd name="T5" fmla="*/ 20 h 270"/>
                <a:gd name="T6" fmla="*/ 10 w 142"/>
                <a:gd name="T7" fmla="*/ 13 h 270"/>
                <a:gd name="T8" fmla="*/ 0 w 142"/>
                <a:gd name="T9" fmla="*/ 0 h 270"/>
                <a:gd name="T10" fmla="*/ 13 w 142"/>
                <a:gd name="T11" fmla="*/ 0 h 270"/>
                <a:gd name="T12" fmla="*/ 142 w 142"/>
                <a:gd name="T13" fmla="*/ 261 h 270"/>
                <a:gd name="T14" fmla="*/ 142 w 142"/>
                <a:gd name="T15" fmla="*/ 270 h 270"/>
                <a:gd name="T16" fmla="*/ 137 w 142"/>
                <a:gd name="T17" fmla="*/ 261 h 270"/>
                <a:gd name="T18" fmla="*/ 142 w 142"/>
                <a:gd name="T19" fmla="*/ 258 h 270"/>
                <a:gd name="T20" fmla="*/ 142 w 142"/>
                <a:gd name="T21" fmla="*/ 261 h 270"/>
                <a:gd name="T22" fmla="*/ 54 w 142"/>
                <a:gd name="T23" fmla="*/ 18 h 270"/>
                <a:gd name="T24" fmla="*/ 69 w 142"/>
                <a:gd name="T25" fmla="*/ 26 h 270"/>
                <a:gd name="T26" fmla="*/ 46 w 142"/>
                <a:gd name="T27" fmla="*/ 26 h 270"/>
                <a:gd name="T28" fmla="*/ 38 w 142"/>
                <a:gd name="T29" fmla="*/ 20 h 270"/>
                <a:gd name="T30" fmla="*/ 54 w 142"/>
                <a:gd name="T31" fmla="*/ 1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2" h="270">
                  <a:moveTo>
                    <a:pt x="13" y="0"/>
                  </a:moveTo>
                  <a:lnTo>
                    <a:pt x="27" y="3"/>
                  </a:lnTo>
                  <a:lnTo>
                    <a:pt x="34" y="20"/>
                  </a:lnTo>
                  <a:lnTo>
                    <a:pt x="10" y="13"/>
                  </a:lnTo>
                  <a:lnTo>
                    <a:pt x="0" y="0"/>
                  </a:lnTo>
                  <a:lnTo>
                    <a:pt x="13" y="0"/>
                  </a:lnTo>
                  <a:close/>
                  <a:moveTo>
                    <a:pt x="142" y="261"/>
                  </a:moveTo>
                  <a:lnTo>
                    <a:pt x="142" y="270"/>
                  </a:lnTo>
                  <a:lnTo>
                    <a:pt x="137" y="261"/>
                  </a:lnTo>
                  <a:lnTo>
                    <a:pt x="142" y="258"/>
                  </a:lnTo>
                  <a:lnTo>
                    <a:pt x="142" y="261"/>
                  </a:lnTo>
                  <a:close/>
                  <a:moveTo>
                    <a:pt x="54" y="18"/>
                  </a:moveTo>
                  <a:lnTo>
                    <a:pt x="69" y="26"/>
                  </a:lnTo>
                  <a:lnTo>
                    <a:pt x="46" y="26"/>
                  </a:lnTo>
                  <a:lnTo>
                    <a:pt x="38" y="20"/>
                  </a:lnTo>
                  <a:lnTo>
                    <a:pt x="54" y="18"/>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91" name="Freeform 21">
              <a:extLst>
                <a:ext uri="{FF2B5EF4-FFF2-40B4-BE49-F238E27FC236}">
                  <a16:creationId xmlns:a16="http://schemas.microsoft.com/office/drawing/2014/main" id="{89DBA22D-0685-9643-BDAA-6ACB76EC386E}"/>
                </a:ext>
              </a:extLst>
            </p:cNvPr>
            <p:cNvSpPr>
              <a:spLocks noChangeAspect="1"/>
            </p:cNvSpPr>
            <p:nvPr/>
          </p:nvSpPr>
          <p:spPr bwMode="gray">
            <a:xfrm>
              <a:off x="5362911" y="3232830"/>
              <a:ext cx="50958" cy="38398"/>
            </a:xfrm>
            <a:custGeom>
              <a:avLst/>
              <a:gdLst>
                <a:gd name="T0" fmla="*/ 78 w 105"/>
                <a:gd name="T1" fmla="*/ 14 h 63"/>
                <a:gd name="T2" fmla="*/ 105 w 105"/>
                <a:gd name="T3" fmla="*/ 0 h 63"/>
                <a:gd name="T4" fmla="*/ 90 w 105"/>
                <a:gd name="T5" fmla="*/ 17 h 63"/>
                <a:gd name="T6" fmla="*/ 78 w 105"/>
                <a:gd name="T7" fmla="*/ 44 h 63"/>
                <a:gd name="T8" fmla="*/ 36 w 105"/>
                <a:gd name="T9" fmla="*/ 63 h 63"/>
                <a:gd name="T10" fmla="*/ 10 w 105"/>
                <a:gd name="T11" fmla="*/ 57 h 63"/>
                <a:gd name="T12" fmla="*/ 0 w 105"/>
                <a:gd name="T13" fmla="*/ 39 h 63"/>
                <a:gd name="T14" fmla="*/ 31 w 105"/>
                <a:gd name="T15" fmla="*/ 29 h 63"/>
                <a:gd name="T16" fmla="*/ 31 w 105"/>
                <a:gd name="T17" fmla="*/ 20 h 63"/>
                <a:gd name="T18" fmla="*/ 78 w 105"/>
                <a:gd name="T19" fmla="*/ 1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63">
                  <a:moveTo>
                    <a:pt x="78" y="14"/>
                  </a:moveTo>
                  <a:lnTo>
                    <a:pt x="105" y="0"/>
                  </a:lnTo>
                  <a:lnTo>
                    <a:pt x="90" y="17"/>
                  </a:lnTo>
                  <a:lnTo>
                    <a:pt x="78" y="44"/>
                  </a:lnTo>
                  <a:lnTo>
                    <a:pt x="36" y="63"/>
                  </a:lnTo>
                  <a:lnTo>
                    <a:pt x="10" y="57"/>
                  </a:lnTo>
                  <a:lnTo>
                    <a:pt x="0" y="39"/>
                  </a:lnTo>
                  <a:lnTo>
                    <a:pt x="31" y="29"/>
                  </a:lnTo>
                  <a:lnTo>
                    <a:pt x="31" y="20"/>
                  </a:lnTo>
                  <a:lnTo>
                    <a:pt x="78" y="14"/>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92" name="Freeform 22">
              <a:extLst>
                <a:ext uri="{FF2B5EF4-FFF2-40B4-BE49-F238E27FC236}">
                  <a16:creationId xmlns:a16="http://schemas.microsoft.com/office/drawing/2014/main" id="{8865860C-C540-D94C-A0D8-4B4211D98C9C}"/>
                </a:ext>
              </a:extLst>
            </p:cNvPr>
            <p:cNvSpPr>
              <a:spLocks noChangeAspect="1" noEditPoints="1"/>
            </p:cNvSpPr>
            <p:nvPr/>
          </p:nvSpPr>
          <p:spPr bwMode="gray">
            <a:xfrm>
              <a:off x="5076275" y="3023563"/>
              <a:ext cx="195868" cy="238065"/>
            </a:xfrm>
            <a:custGeom>
              <a:avLst/>
              <a:gdLst>
                <a:gd name="T0" fmla="*/ 0 w 399"/>
                <a:gd name="T1" fmla="*/ 125 h 407"/>
                <a:gd name="T2" fmla="*/ 266 w 399"/>
                <a:gd name="T3" fmla="*/ 291 h 407"/>
                <a:gd name="T4" fmla="*/ 264 w 399"/>
                <a:gd name="T5" fmla="*/ 283 h 407"/>
                <a:gd name="T6" fmla="*/ 260 w 399"/>
                <a:gd name="T7" fmla="*/ 111 h 407"/>
                <a:gd name="T8" fmla="*/ 259 w 399"/>
                <a:gd name="T9" fmla="*/ 122 h 407"/>
                <a:gd name="T10" fmla="*/ 399 w 399"/>
                <a:gd name="T11" fmla="*/ 317 h 407"/>
                <a:gd name="T12" fmla="*/ 390 w 399"/>
                <a:gd name="T13" fmla="*/ 339 h 407"/>
                <a:gd name="T14" fmla="*/ 79 w 399"/>
                <a:gd name="T15" fmla="*/ 216 h 407"/>
                <a:gd name="T16" fmla="*/ 90 w 399"/>
                <a:gd name="T17" fmla="*/ 292 h 407"/>
                <a:gd name="T18" fmla="*/ 119 w 399"/>
                <a:gd name="T19" fmla="*/ 297 h 407"/>
                <a:gd name="T20" fmla="*/ 132 w 399"/>
                <a:gd name="T21" fmla="*/ 303 h 407"/>
                <a:gd name="T22" fmla="*/ 150 w 399"/>
                <a:gd name="T23" fmla="*/ 274 h 407"/>
                <a:gd name="T24" fmla="*/ 176 w 399"/>
                <a:gd name="T25" fmla="*/ 263 h 407"/>
                <a:gd name="T26" fmla="*/ 158 w 399"/>
                <a:gd name="T27" fmla="*/ 232 h 407"/>
                <a:gd name="T28" fmla="*/ 200 w 399"/>
                <a:gd name="T29" fmla="*/ 215 h 407"/>
                <a:gd name="T30" fmla="*/ 132 w 399"/>
                <a:gd name="T31" fmla="*/ 173 h 407"/>
                <a:gd name="T32" fmla="*/ 158 w 399"/>
                <a:gd name="T33" fmla="*/ 151 h 407"/>
                <a:gd name="T34" fmla="*/ 137 w 399"/>
                <a:gd name="T35" fmla="*/ 111 h 407"/>
                <a:gd name="T36" fmla="*/ 147 w 399"/>
                <a:gd name="T37" fmla="*/ 82 h 407"/>
                <a:gd name="T38" fmla="*/ 184 w 399"/>
                <a:gd name="T39" fmla="*/ 110 h 407"/>
                <a:gd name="T40" fmla="*/ 198 w 399"/>
                <a:gd name="T41" fmla="*/ 111 h 407"/>
                <a:gd name="T42" fmla="*/ 192 w 399"/>
                <a:gd name="T43" fmla="*/ 88 h 407"/>
                <a:gd name="T44" fmla="*/ 184 w 399"/>
                <a:gd name="T45" fmla="*/ 73 h 407"/>
                <a:gd name="T46" fmla="*/ 247 w 399"/>
                <a:gd name="T47" fmla="*/ 49 h 407"/>
                <a:gd name="T48" fmla="*/ 308 w 399"/>
                <a:gd name="T49" fmla="*/ 29 h 407"/>
                <a:gd name="T50" fmla="*/ 308 w 399"/>
                <a:gd name="T51" fmla="*/ 0 h 407"/>
                <a:gd name="T52" fmla="*/ 286 w 399"/>
                <a:gd name="T53" fmla="*/ 29 h 407"/>
                <a:gd name="T54" fmla="*/ 152 w 399"/>
                <a:gd name="T55" fmla="*/ 26 h 407"/>
                <a:gd name="T56" fmla="*/ 91 w 399"/>
                <a:gd name="T57" fmla="*/ 52 h 407"/>
                <a:gd name="T58" fmla="*/ 23 w 399"/>
                <a:gd name="T59" fmla="*/ 128 h 407"/>
                <a:gd name="T60" fmla="*/ 64 w 399"/>
                <a:gd name="T61" fmla="*/ 170 h 407"/>
                <a:gd name="T62" fmla="*/ 69 w 399"/>
                <a:gd name="T63" fmla="*/ 208 h 407"/>
                <a:gd name="T64" fmla="*/ 139 w 399"/>
                <a:gd name="T65" fmla="*/ 205 h 407"/>
                <a:gd name="T66" fmla="*/ 150 w 399"/>
                <a:gd name="T67" fmla="*/ 227 h 407"/>
                <a:gd name="T68" fmla="*/ 217 w 399"/>
                <a:gd name="T69" fmla="*/ 381 h 407"/>
                <a:gd name="T70" fmla="*/ 200 w 399"/>
                <a:gd name="T71" fmla="*/ 371 h 407"/>
                <a:gd name="T72" fmla="*/ 181 w 399"/>
                <a:gd name="T73" fmla="*/ 371 h 407"/>
                <a:gd name="T74" fmla="*/ 237 w 399"/>
                <a:gd name="T75" fmla="*/ 407 h 407"/>
                <a:gd name="T76" fmla="*/ 305 w 399"/>
                <a:gd name="T77" fmla="*/ 385 h 407"/>
                <a:gd name="T78" fmla="*/ 249 w 399"/>
                <a:gd name="T79" fmla="*/ 379 h 407"/>
                <a:gd name="T80" fmla="*/ 310 w 399"/>
                <a:gd name="T81" fmla="*/ 142 h 407"/>
                <a:gd name="T82" fmla="*/ 303 w 399"/>
                <a:gd name="T83" fmla="*/ 158 h 407"/>
                <a:gd name="T84" fmla="*/ 291 w 399"/>
                <a:gd name="T85" fmla="*/ 215 h 407"/>
                <a:gd name="T86" fmla="*/ 286 w 399"/>
                <a:gd name="T87" fmla="*/ 192 h 407"/>
                <a:gd name="T88" fmla="*/ 244 w 399"/>
                <a:gd name="T89" fmla="*/ 235 h 407"/>
                <a:gd name="T90" fmla="*/ 234 w 399"/>
                <a:gd name="T91" fmla="*/ 73 h 407"/>
                <a:gd name="T92" fmla="*/ 223 w 399"/>
                <a:gd name="T93" fmla="*/ 69 h 407"/>
                <a:gd name="T94" fmla="*/ 229 w 399"/>
                <a:gd name="T95" fmla="*/ 220 h 407"/>
                <a:gd name="T96" fmla="*/ 183 w 399"/>
                <a:gd name="T97" fmla="*/ 184 h 407"/>
                <a:gd name="T98" fmla="*/ 161 w 399"/>
                <a:gd name="T99" fmla="*/ 179 h 407"/>
                <a:gd name="T100" fmla="*/ 215 w 399"/>
                <a:gd name="T101" fmla="*/ 230 h 407"/>
                <a:gd name="T102" fmla="*/ 49 w 399"/>
                <a:gd name="T103" fmla="*/ 225 h 407"/>
                <a:gd name="T104" fmla="*/ 32 w 399"/>
                <a:gd name="T105" fmla="*/ 213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9" h="407">
                  <a:moveTo>
                    <a:pt x="19" y="145"/>
                  </a:moveTo>
                  <a:lnTo>
                    <a:pt x="10" y="127"/>
                  </a:lnTo>
                  <a:lnTo>
                    <a:pt x="0" y="125"/>
                  </a:lnTo>
                  <a:lnTo>
                    <a:pt x="6" y="141"/>
                  </a:lnTo>
                  <a:lnTo>
                    <a:pt x="19" y="145"/>
                  </a:lnTo>
                  <a:close/>
                  <a:moveTo>
                    <a:pt x="266" y="291"/>
                  </a:moveTo>
                  <a:lnTo>
                    <a:pt x="271" y="291"/>
                  </a:lnTo>
                  <a:lnTo>
                    <a:pt x="272" y="278"/>
                  </a:lnTo>
                  <a:lnTo>
                    <a:pt x="264" y="283"/>
                  </a:lnTo>
                  <a:lnTo>
                    <a:pt x="266" y="291"/>
                  </a:lnTo>
                  <a:close/>
                  <a:moveTo>
                    <a:pt x="263" y="116"/>
                  </a:moveTo>
                  <a:lnTo>
                    <a:pt x="260" y="111"/>
                  </a:lnTo>
                  <a:lnTo>
                    <a:pt x="249" y="111"/>
                  </a:lnTo>
                  <a:lnTo>
                    <a:pt x="247" y="120"/>
                  </a:lnTo>
                  <a:lnTo>
                    <a:pt x="259" y="122"/>
                  </a:lnTo>
                  <a:lnTo>
                    <a:pt x="263" y="116"/>
                  </a:lnTo>
                  <a:close/>
                  <a:moveTo>
                    <a:pt x="390" y="339"/>
                  </a:moveTo>
                  <a:lnTo>
                    <a:pt x="399" y="317"/>
                  </a:lnTo>
                  <a:lnTo>
                    <a:pt x="374" y="334"/>
                  </a:lnTo>
                  <a:lnTo>
                    <a:pt x="374" y="348"/>
                  </a:lnTo>
                  <a:lnTo>
                    <a:pt x="390" y="339"/>
                  </a:lnTo>
                  <a:close/>
                  <a:moveTo>
                    <a:pt x="110" y="210"/>
                  </a:moveTo>
                  <a:lnTo>
                    <a:pt x="86" y="220"/>
                  </a:lnTo>
                  <a:lnTo>
                    <a:pt x="79" y="216"/>
                  </a:lnTo>
                  <a:lnTo>
                    <a:pt x="68" y="241"/>
                  </a:lnTo>
                  <a:lnTo>
                    <a:pt x="91" y="269"/>
                  </a:lnTo>
                  <a:lnTo>
                    <a:pt x="90" y="292"/>
                  </a:lnTo>
                  <a:lnTo>
                    <a:pt x="102" y="301"/>
                  </a:lnTo>
                  <a:lnTo>
                    <a:pt x="108" y="284"/>
                  </a:lnTo>
                  <a:lnTo>
                    <a:pt x="119" y="297"/>
                  </a:lnTo>
                  <a:lnTo>
                    <a:pt x="124" y="320"/>
                  </a:lnTo>
                  <a:lnTo>
                    <a:pt x="128" y="320"/>
                  </a:lnTo>
                  <a:lnTo>
                    <a:pt x="132" y="303"/>
                  </a:lnTo>
                  <a:lnTo>
                    <a:pt x="139" y="300"/>
                  </a:lnTo>
                  <a:lnTo>
                    <a:pt x="158" y="318"/>
                  </a:lnTo>
                  <a:lnTo>
                    <a:pt x="150" y="274"/>
                  </a:lnTo>
                  <a:lnTo>
                    <a:pt x="142" y="255"/>
                  </a:lnTo>
                  <a:lnTo>
                    <a:pt x="159" y="271"/>
                  </a:lnTo>
                  <a:lnTo>
                    <a:pt x="176" y="263"/>
                  </a:lnTo>
                  <a:lnTo>
                    <a:pt x="175" y="258"/>
                  </a:lnTo>
                  <a:lnTo>
                    <a:pt x="164" y="250"/>
                  </a:lnTo>
                  <a:lnTo>
                    <a:pt x="158" y="232"/>
                  </a:lnTo>
                  <a:lnTo>
                    <a:pt x="181" y="229"/>
                  </a:lnTo>
                  <a:lnTo>
                    <a:pt x="201" y="247"/>
                  </a:lnTo>
                  <a:lnTo>
                    <a:pt x="200" y="215"/>
                  </a:lnTo>
                  <a:lnTo>
                    <a:pt x="170" y="200"/>
                  </a:lnTo>
                  <a:lnTo>
                    <a:pt x="167" y="190"/>
                  </a:lnTo>
                  <a:lnTo>
                    <a:pt x="132" y="173"/>
                  </a:lnTo>
                  <a:lnTo>
                    <a:pt x="152" y="170"/>
                  </a:lnTo>
                  <a:lnTo>
                    <a:pt x="150" y="151"/>
                  </a:lnTo>
                  <a:lnTo>
                    <a:pt x="158" y="151"/>
                  </a:lnTo>
                  <a:lnTo>
                    <a:pt x="159" y="161"/>
                  </a:lnTo>
                  <a:lnTo>
                    <a:pt x="167" y="161"/>
                  </a:lnTo>
                  <a:lnTo>
                    <a:pt x="137" y="111"/>
                  </a:lnTo>
                  <a:lnTo>
                    <a:pt x="137" y="76"/>
                  </a:lnTo>
                  <a:lnTo>
                    <a:pt x="149" y="73"/>
                  </a:lnTo>
                  <a:lnTo>
                    <a:pt x="147" y="82"/>
                  </a:lnTo>
                  <a:lnTo>
                    <a:pt x="167" y="94"/>
                  </a:lnTo>
                  <a:lnTo>
                    <a:pt x="179" y="114"/>
                  </a:lnTo>
                  <a:lnTo>
                    <a:pt x="184" y="110"/>
                  </a:lnTo>
                  <a:lnTo>
                    <a:pt x="175" y="94"/>
                  </a:lnTo>
                  <a:lnTo>
                    <a:pt x="186" y="97"/>
                  </a:lnTo>
                  <a:lnTo>
                    <a:pt x="198" y="111"/>
                  </a:lnTo>
                  <a:lnTo>
                    <a:pt x="198" y="102"/>
                  </a:lnTo>
                  <a:lnTo>
                    <a:pt x="187" y="94"/>
                  </a:lnTo>
                  <a:lnTo>
                    <a:pt x="192" y="88"/>
                  </a:lnTo>
                  <a:lnTo>
                    <a:pt x="213" y="99"/>
                  </a:lnTo>
                  <a:lnTo>
                    <a:pt x="203" y="85"/>
                  </a:lnTo>
                  <a:lnTo>
                    <a:pt x="184" y="73"/>
                  </a:lnTo>
                  <a:lnTo>
                    <a:pt x="220" y="52"/>
                  </a:lnTo>
                  <a:lnTo>
                    <a:pt x="235" y="56"/>
                  </a:lnTo>
                  <a:lnTo>
                    <a:pt x="247" y="49"/>
                  </a:lnTo>
                  <a:lnTo>
                    <a:pt x="294" y="66"/>
                  </a:lnTo>
                  <a:lnTo>
                    <a:pt x="303" y="54"/>
                  </a:lnTo>
                  <a:lnTo>
                    <a:pt x="308" y="29"/>
                  </a:lnTo>
                  <a:lnTo>
                    <a:pt x="319" y="22"/>
                  </a:lnTo>
                  <a:lnTo>
                    <a:pt x="319" y="12"/>
                  </a:lnTo>
                  <a:lnTo>
                    <a:pt x="308" y="0"/>
                  </a:lnTo>
                  <a:lnTo>
                    <a:pt x="300" y="1"/>
                  </a:lnTo>
                  <a:lnTo>
                    <a:pt x="298" y="18"/>
                  </a:lnTo>
                  <a:lnTo>
                    <a:pt x="286" y="29"/>
                  </a:lnTo>
                  <a:lnTo>
                    <a:pt x="269" y="32"/>
                  </a:lnTo>
                  <a:lnTo>
                    <a:pt x="221" y="14"/>
                  </a:lnTo>
                  <a:lnTo>
                    <a:pt x="152" y="26"/>
                  </a:lnTo>
                  <a:lnTo>
                    <a:pt x="133" y="39"/>
                  </a:lnTo>
                  <a:lnTo>
                    <a:pt x="116" y="39"/>
                  </a:lnTo>
                  <a:lnTo>
                    <a:pt x="91" y="52"/>
                  </a:lnTo>
                  <a:lnTo>
                    <a:pt x="62" y="57"/>
                  </a:lnTo>
                  <a:lnTo>
                    <a:pt x="64" y="78"/>
                  </a:lnTo>
                  <a:lnTo>
                    <a:pt x="23" y="128"/>
                  </a:lnTo>
                  <a:lnTo>
                    <a:pt x="49" y="171"/>
                  </a:lnTo>
                  <a:lnTo>
                    <a:pt x="53" y="164"/>
                  </a:lnTo>
                  <a:lnTo>
                    <a:pt x="64" y="170"/>
                  </a:lnTo>
                  <a:lnTo>
                    <a:pt x="68" y="176"/>
                  </a:lnTo>
                  <a:lnTo>
                    <a:pt x="51" y="176"/>
                  </a:lnTo>
                  <a:lnTo>
                    <a:pt x="69" y="208"/>
                  </a:lnTo>
                  <a:lnTo>
                    <a:pt x="79" y="204"/>
                  </a:lnTo>
                  <a:lnTo>
                    <a:pt x="133" y="210"/>
                  </a:lnTo>
                  <a:lnTo>
                    <a:pt x="139" y="205"/>
                  </a:lnTo>
                  <a:lnTo>
                    <a:pt x="161" y="218"/>
                  </a:lnTo>
                  <a:lnTo>
                    <a:pt x="159" y="225"/>
                  </a:lnTo>
                  <a:lnTo>
                    <a:pt x="150" y="227"/>
                  </a:lnTo>
                  <a:lnTo>
                    <a:pt x="110" y="210"/>
                  </a:lnTo>
                  <a:close/>
                  <a:moveTo>
                    <a:pt x="249" y="379"/>
                  </a:moveTo>
                  <a:lnTo>
                    <a:pt x="217" y="381"/>
                  </a:lnTo>
                  <a:lnTo>
                    <a:pt x="206" y="376"/>
                  </a:lnTo>
                  <a:lnTo>
                    <a:pt x="204" y="366"/>
                  </a:lnTo>
                  <a:lnTo>
                    <a:pt x="200" y="371"/>
                  </a:lnTo>
                  <a:lnTo>
                    <a:pt x="187" y="366"/>
                  </a:lnTo>
                  <a:lnTo>
                    <a:pt x="186" y="371"/>
                  </a:lnTo>
                  <a:lnTo>
                    <a:pt x="181" y="371"/>
                  </a:lnTo>
                  <a:lnTo>
                    <a:pt x="179" y="390"/>
                  </a:lnTo>
                  <a:lnTo>
                    <a:pt x="221" y="391"/>
                  </a:lnTo>
                  <a:lnTo>
                    <a:pt x="237" y="407"/>
                  </a:lnTo>
                  <a:lnTo>
                    <a:pt x="291" y="398"/>
                  </a:lnTo>
                  <a:lnTo>
                    <a:pt x="300" y="402"/>
                  </a:lnTo>
                  <a:lnTo>
                    <a:pt x="305" y="385"/>
                  </a:lnTo>
                  <a:lnTo>
                    <a:pt x="289" y="391"/>
                  </a:lnTo>
                  <a:lnTo>
                    <a:pt x="277" y="382"/>
                  </a:lnTo>
                  <a:lnTo>
                    <a:pt x="249" y="379"/>
                  </a:lnTo>
                  <a:close/>
                  <a:moveTo>
                    <a:pt x="317" y="166"/>
                  </a:moveTo>
                  <a:lnTo>
                    <a:pt x="322" y="166"/>
                  </a:lnTo>
                  <a:lnTo>
                    <a:pt x="310" y="142"/>
                  </a:lnTo>
                  <a:lnTo>
                    <a:pt x="288" y="153"/>
                  </a:lnTo>
                  <a:lnTo>
                    <a:pt x="286" y="161"/>
                  </a:lnTo>
                  <a:lnTo>
                    <a:pt x="303" y="158"/>
                  </a:lnTo>
                  <a:lnTo>
                    <a:pt x="300" y="166"/>
                  </a:lnTo>
                  <a:lnTo>
                    <a:pt x="317" y="166"/>
                  </a:lnTo>
                  <a:close/>
                  <a:moveTo>
                    <a:pt x="291" y="215"/>
                  </a:moveTo>
                  <a:lnTo>
                    <a:pt x="296" y="210"/>
                  </a:lnTo>
                  <a:lnTo>
                    <a:pt x="298" y="195"/>
                  </a:lnTo>
                  <a:lnTo>
                    <a:pt x="286" y="192"/>
                  </a:lnTo>
                  <a:lnTo>
                    <a:pt x="291" y="215"/>
                  </a:lnTo>
                  <a:close/>
                  <a:moveTo>
                    <a:pt x="244" y="249"/>
                  </a:moveTo>
                  <a:lnTo>
                    <a:pt x="244" y="235"/>
                  </a:lnTo>
                  <a:lnTo>
                    <a:pt x="234" y="230"/>
                  </a:lnTo>
                  <a:lnTo>
                    <a:pt x="244" y="249"/>
                  </a:lnTo>
                  <a:close/>
                  <a:moveTo>
                    <a:pt x="234" y="73"/>
                  </a:moveTo>
                  <a:lnTo>
                    <a:pt x="237" y="71"/>
                  </a:lnTo>
                  <a:lnTo>
                    <a:pt x="235" y="63"/>
                  </a:lnTo>
                  <a:lnTo>
                    <a:pt x="223" y="69"/>
                  </a:lnTo>
                  <a:lnTo>
                    <a:pt x="234" y="73"/>
                  </a:lnTo>
                  <a:close/>
                  <a:moveTo>
                    <a:pt x="227" y="224"/>
                  </a:moveTo>
                  <a:lnTo>
                    <a:pt x="229" y="220"/>
                  </a:lnTo>
                  <a:lnTo>
                    <a:pt x="215" y="215"/>
                  </a:lnTo>
                  <a:lnTo>
                    <a:pt x="204" y="192"/>
                  </a:lnTo>
                  <a:lnTo>
                    <a:pt x="183" y="184"/>
                  </a:lnTo>
                  <a:lnTo>
                    <a:pt x="169" y="168"/>
                  </a:lnTo>
                  <a:lnTo>
                    <a:pt x="152" y="179"/>
                  </a:lnTo>
                  <a:lnTo>
                    <a:pt x="161" y="179"/>
                  </a:lnTo>
                  <a:lnTo>
                    <a:pt x="179" y="201"/>
                  </a:lnTo>
                  <a:lnTo>
                    <a:pt x="206" y="213"/>
                  </a:lnTo>
                  <a:lnTo>
                    <a:pt x="215" y="230"/>
                  </a:lnTo>
                  <a:lnTo>
                    <a:pt x="227" y="232"/>
                  </a:lnTo>
                  <a:lnTo>
                    <a:pt x="227" y="224"/>
                  </a:lnTo>
                  <a:close/>
                  <a:moveTo>
                    <a:pt x="49" y="225"/>
                  </a:moveTo>
                  <a:lnTo>
                    <a:pt x="51" y="216"/>
                  </a:lnTo>
                  <a:lnTo>
                    <a:pt x="44" y="205"/>
                  </a:lnTo>
                  <a:lnTo>
                    <a:pt x="32" y="213"/>
                  </a:lnTo>
                  <a:lnTo>
                    <a:pt x="49" y="225"/>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93" name="Freeform 23">
              <a:extLst>
                <a:ext uri="{FF2B5EF4-FFF2-40B4-BE49-F238E27FC236}">
                  <a16:creationId xmlns:a16="http://schemas.microsoft.com/office/drawing/2014/main" id="{ED5B747A-CB59-094F-82EC-A6529B6AB63F}"/>
                </a:ext>
              </a:extLst>
            </p:cNvPr>
            <p:cNvSpPr>
              <a:spLocks noChangeAspect="1"/>
            </p:cNvSpPr>
            <p:nvPr/>
          </p:nvSpPr>
          <p:spPr bwMode="gray">
            <a:xfrm>
              <a:off x="5402720" y="3313465"/>
              <a:ext cx="33441" cy="124792"/>
            </a:xfrm>
            <a:custGeom>
              <a:avLst/>
              <a:gdLst>
                <a:gd name="T0" fmla="*/ 0 w 66"/>
                <a:gd name="T1" fmla="*/ 113 h 208"/>
                <a:gd name="T2" fmla="*/ 6 w 66"/>
                <a:gd name="T3" fmla="*/ 110 h 208"/>
                <a:gd name="T4" fmla="*/ 6 w 66"/>
                <a:gd name="T5" fmla="*/ 107 h 208"/>
                <a:gd name="T6" fmla="*/ 14 w 66"/>
                <a:gd name="T7" fmla="*/ 96 h 208"/>
                <a:gd name="T8" fmla="*/ 10 w 66"/>
                <a:gd name="T9" fmla="*/ 93 h 208"/>
                <a:gd name="T10" fmla="*/ 17 w 66"/>
                <a:gd name="T11" fmla="*/ 84 h 208"/>
                <a:gd name="T12" fmla="*/ 22 w 66"/>
                <a:gd name="T13" fmla="*/ 71 h 208"/>
                <a:gd name="T14" fmla="*/ 39 w 66"/>
                <a:gd name="T15" fmla="*/ 8 h 208"/>
                <a:gd name="T16" fmla="*/ 61 w 66"/>
                <a:gd name="T17" fmla="*/ 10 h 208"/>
                <a:gd name="T18" fmla="*/ 63 w 66"/>
                <a:gd name="T19" fmla="*/ 0 h 208"/>
                <a:gd name="T20" fmla="*/ 66 w 66"/>
                <a:gd name="T21" fmla="*/ 2 h 208"/>
                <a:gd name="T22" fmla="*/ 63 w 66"/>
                <a:gd name="T23" fmla="*/ 30 h 208"/>
                <a:gd name="T24" fmla="*/ 63 w 66"/>
                <a:gd name="T25" fmla="*/ 47 h 208"/>
                <a:gd name="T26" fmla="*/ 56 w 66"/>
                <a:gd name="T27" fmla="*/ 39 h 208"/>
                <a:gd name="T28" fmla="*/ 44 w 66"/>
                <a:gd name="T29" fmla="*/ 39 h 208"/>
                <a:gd name="T30" fmla="*/ 34 w 66"/>
                <a:gd name="T31" fmla="*/ 56 h 208"/>
                <a:gd name="T32" fmla="*/ 35 w 66"/>
                <a:gd name="T33" fmla="*/ 76 h 208"/>
                <a:gd name="T34" fmla="*/ 48 w 66"/>
                <a:gd name="T35" fmla="*/ 79 h 208"/>
                <a:gd name="T36" fmla="*/ 37 w 66"/>
                <a:gd name="T37" fmla="*/ 83 h 208"/>
                <a:gd name="T38" fmla="*/ 31 w 66"/>
                <a:gd name="T39" fmla="*/ 101 h 208"/>
                <a:gd name="T40" fmla="*/ 34 w 66"/>
                <a:gd name="T41" fmla="*/ 105 h 208"/>
                <a:gd name="T42" fmla="*/ 52 w 66"/>
                <a:gd name="T43" fmla="*/ 95 h 208"/>
                <a:gd name="T44" fmla="*/ 57 w 66"/>
                <a:gd name="T45" fmla="*/ 98 h 208"/>
                <a:gd name="T46" fmla="*/ 57 w 66"/>
                <a:gd name="T47" fmla="*/ 118 h 208"/>
                <a:gd name="T48" fmla="*/ 44 w 66"/>
                <a:gd name="T49" fmla="*/ 147 h 208"/>
                <a:gd name="T50" fmla="*/ 35 w 66"/>
                <a:gd name="T51" fmla="*/ 206 h 208"/>
                <a:gd name="T52" fmla="*/ 32 w 66"/>
                <a:gd name="T53" fmla="*/ 208 h 208"/>
                <a:gd name="T54" fmla="*/ 22 w 66"/>
                <a:gd name="T55" fmla="*/ 183 h 208"/>
                <a:gd name="T56" fmla="*/ 14 w 66"/>
                <a:gd name="T57" fmla="*/ 157 h 208"/>
                <a:gd name="T58" fmla="*/ 6 w 66"/>
                <a:gd name="T59" fmla="*/ 132 h 208"/>
                <a:gd name="T60" fmla="*/ 0 w 66"/>
                <a:gd name="T61" fmla="*/ 11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6" h="208">
                  <a:moveTo>
                    <a:pt x="0" y="113"/>
                  </a:moveTo>
                  <a:lnTo>
                    <a:pt x="6" y="110"/>
                  </a:lnTo>
                  <a:lnTo>
                    <a:pt x="6" y="107"/>
                  </a:lnTo>
                  <a:lnTo>
                    <a:pt x="14" y="96"/>
                  </a:lnTo>
                  <a:lnTo>
                    <a:pt x="10" y="93"/>
                  </a:lnTo>
                  <a:lnTo>
                    <a:pt x="17" y="84"/>
                  </a:lnTo>
                  <a:lnTo>
                    <a:pt x="22" y="71"/>
                  </a:lnTo>
                  <a:lnTo>
                    <a:pt x="39" y="8"/>
                  </a:lnTo>
                  <a:lnTo>
                    <a:pt x="61" y="10"/>
                  </a:lnTo>
                  <a:lnTo>
                    <a:pt x="63" y="0"/>
                  </a:lnTo>
                  <a:lnTo>
                    <a:pt x="66" y="2"/>
                  </a:lnTo>
                  <a:lnTo>
                    <a:pt x="63" y="30"/>
                  </a:lnTo>
                  <a:lnTo>
                    <a:pt x="63" y="47"/>
                  </a:lnTo>
                  <a:lnTo>
                    <a:pt x="56" y="39"/>
                  </a:lnTo>
                  <a:lnTo>
                    <a:pt x="44" y="39"/>
                  </a:lnTo>
                  <a:lnTo>
                    <a:pt x="34" y="56"/>
                  </a:lnTo>
                  <a:lnTo>
                    <a:pt x="35" y="76"/>
                  </a:lnTo>
                  <a:lnTo>
                    <a:pt x="48" y="79"/>
                  </a:lnTo>
                  <a:lnTo>
                    <a:pt x="37" y="83"/>
                  </a:lnTo>
                  <a:lnTo>
                    <a:pt x="31" y="101"/>
                  </a:lnTo>
                  <a:lnTo>
                    <a:pt x="34" y="105"/>
                  </a:lnTo>
                  <a:lnTo>
                    <a:pt x="52" y="95"/>
                  </a:lnTo>
                  <a:lnTo>
                    <a:pt x="57" y="98"/>
                  </a:lnTo>
                  <a:lnTo>
                    <a:pt x="57" y="118"/>
                  </a:lnTo>
                  <a:lnTo>
                    <a:pt x="44" y="147"/>
                  </a:lnTo>
                  <a:lnTo>
                    <a:pt x="35" y="206"/>
                  </a:lnTo>
                  <a:lnTo>
                    <a:pt x="32" y="208"/>
                  </a:lnTo>
                  <a:lnTo>
                    <a:pt x="22" y="183"/>
                  </a:lnTo>
                  <a:lnTo>
                    <a:pt x="14" y="157"/>
                  </a:lnTo>
                  <a:lnTo>
                    <a:pt x="6" y="132"/>
                  </a:lnTo>
                  <a:lnTo>
                    <a:pt x="0" y="113"/>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94" name="Freeform 24">
              <a:extLst>
                <a:ext uri="{FF2B5EF4-FFF2-40B4-BE49-F238E27FC236}">
                  <a16:creationId xmlns:a16="http://schemas.microsoft.com/office/drawing/2014/main" id="{A06B90DB-8164-2D4F-B3AC-58764ED2EE3D}"/>
                </a:ext>
              </a:extLst>
            </p:cNvPr>
            <p:cNvSpPr>
              <a:spLocks noChangeAspect="1"/>
            </p:cNvSpPr>
            <p:nvPr/>
          </p:nvSpPr>
          <p:spPr bwMode="gray">
            <a:xfrm>
              <a:off x="6890043" y="3643681"/>
              <a:ext cx="162427" cy="241905"/>
            </a:xfrm>
            <a:custGeom>
              <a:avLst/>
              <a:gdLst>
                <a:gd name="T0" fmla="*/ 90 w 332"/>
                <a:gd name="T1" fmla="*/ 211 h 413"/>
                <a:gd name="T2" fmla="*/ 109 w 332"/>
                <a:gd name="T3" fmla="*/ 225 h 413"/>
                <a:gd name="T4" fmla="*/ 132 w 332"/>
                <a:gd name="T5" fmla="*/ 205 h 413"/>
                <a:gd name="T6" fmla="*/ 161 w 332"/>
                <a:gd name="T7" fmla="*/ 203 h 413"/>
                <a:gd name="T8" fmla="*/ 203 w 332"/>
                <a:gd name="T9" fmla="*/ 261 h 413"/>
                <a:gd name="T10" fmla="*/ 220 w 332"/>
                <a:gd name="T11" fmla="*/ 315 h 413"/>
                <a:gd name="T12" fmla="*/ 242 w 332"/>
                <a:gd name="T13" fmla="*/ 335 h 413"/>
                <a:gd name="T14" fmla="*/ 239 w 332"/>
                <a:gd name="T15" fmla="*/ 387 h 413"/>
                <a:gd name="T16" fmla="*/ 235 w 332"/>
                <a:gd name="T17" fmla="*/ 406 h 413"/>
                <a:gd name="T18" fmla="*/ 268 w 332"/>
                <a:gd name="T19" fmla="*/ 412 h 413"/>
                <a:gd name="T20" fmla="*/ 282 w 332"/>
                <a:gd name="T21" fmla="*/ 391 h 413"/>
                <a:gd name="T22" fmla="*/ 311 w 332"/>
                <a:gd name="T23" fmla="*/ 395 h 413"/>
                <a:gd name="T24" fmla="*/ 332 w 332"/>
                <a:gd name="T25" fmla="*/ 350 h 413"/>
                <a:gd name="T26" fmla="*/ 299 w 332"/>
                <a:gd name="T27" fmla="*/ 291 h 413"/>
                <a:gd name="T28" fmla="*/ 286 w 332"/>
                <a:gd name="T29" fmla="*/ 279 h 413"/>
                <a:gd name="T30" fmla="*/ 260 w 332"/>
                <a:gd name="T31" fmla="*/ 244 h 413"/>
                <a:gd name="T32" fmla="*/ 222 w 332"/>
                <a:gd name="T33" fmla="*/ 191 h 413"/>
                <a:gd name="T34" fmla="*/ 176 w 332"/>
                <a:gd name="T35" fmla="*/ 140 h 413"/>
                <a:gd name="T36" fmla="*/ 208 w 332"/>
                <a:gd name="T37" fmla="*/ 129 h 413"/>
                <a:gd name="T38" fmla="*/ 189 w 332"/>
                <a:gd name="T39" fmla="*/ 90 h 413"/>
                <a:gd name="T40" fmla="*/ 135 w 332"/>
                <a:gd name="T41" fmla="*/ 81 h 413"/>
                <a:gd name="T42" fmla="*/ 124 w 332"/>
                <a:gd name="T43" fmla="*/ 50 h 413"/>
                <a:gd name="T44" fmla="*/ 92 w 332"/>
                <a:gd name="T45" fmla="*/ 7 h 413"/>
                <a:gd name="T46" fmla="*/ 62 w 332"/>
                <a:gd name="T47" fmla="*/ 8 h 413"/>
                <a:gd name="T48" fmla="*/ 70 w 332"/>
                <a:gd name="T49" fmla="*/ 45 h 413"/>
                <a:gd name="T50" fmla="*/ 47 w 332"/>
                <a:gd name="T51" fmla="*/ 64 h 413"/>
                <a:gd name="T52" fmla="*/ 37 w 332"/>
                <a:gd name="T53" fmla="*/ 53 h 413"/>
                <a:gd name="T54" fmla="*/ 17 w 332"/>
                <a:gd name="T55" fmla="*/ 79 h 413"/>
                <a:gd name="T56" fmla="*/ 0 w 332"/>
                <a:gd name="T57" fmla="*/ 90 h 413"/>
                <a:gd name="T58" fmla="*/ 5 w 332"/>
                <a:gd name="T59" fmla="*/ 100 h 413"/>
                <a:gd name="T60" fmla="*/ 16 w 332"/>
                <a:gd name="T61" fmla="*/ 134 h 413"/>
                <a:gd name="T62" fmla="*/ 42 w 332"/>
                <a:gd name="T63" fmla="*/ 144 h 413"/>
                <a:gd name="T64" fmla="*/ 31 w 332"/>
                <a:gd name="T65" fmla="*/ 227 h 413"/>
                <a:gd name="T66" fmla="*/ 76 w 332"/>
                <a:gd name="T67" fmla="*/ 211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2" h="413">
                  <a:moveTo>
                    <a:pt x="76" y="211"/>
                  </a:moveTo>
                  <a:lnTo>
                    <a:pt x="90" y="211"/>
                  </a:lnTo>
                  <a:lnTo>
                    <a:pt x="95" y="220"/>
                  </a:lnTo>
                  <a:lnTo>
                    <a:pt x="109" y="225"/>
                  </a:lnTo>
                  <a:lnTo>
                    <a:pt x="126" y="219"/>
                  </a:lnTo>
                  <a:lnTo>
                    <a:pt x="132" y="205"/>
                  </a:lnTo>
                  <a:lnTo>
                    <a:pt x="151" y="203"/>
                  </a:lnTo>
                  <a:lnTo>
                    <a:pt x="161" y="203"/>
                  </a:lnTo>
                  <a:lnTo>
                    <a:pt x="197" y="242"/>
                  </a:lnTo>
                  <a:lnTo>
                    <a:pt x="203" y="261"/>
                  </a:lnTo>
                  <a:lnTo>
                    <a:pt x="206" y="301"/>
                  </a:lnTo>
                  <a:lnTo>
                    <a:pt x="220" y="315"/>
                  </a:lnTo>
                  <a:lnTo>
                    <a:pt x="226" y="315"/>
                  </a:lnTo>
                  <a:lnTo>
                    <a:pt x="242" y="335"/>
                  </a:lnTo>
                  <a:lnTo>
                    <a:pt x="242" y="349"/>
                  </a:lnTo>
                  <a:lnTo>
                    <a:pt x="239" y="387"/>
                  </a:lnTo>
                  <a:lnTo>
                    <a:pt x="229" y="400"/>
                  </a:lnTo>
                  <a:lnTo>
                    <a:pt x="235" y="406"/>
                  </a:lnTo>
                  <a:lnTo>
                    <a:pt x="260" y="413"/>
                  </a:lnTo>
                  <a:lnTo>
                    <a:pt x="268" y="412"/>
                  </a:lnTo>
                  <a:lnTo>
                    <a:pt x="268" y="398"/>
                  </a:lnTo>
                  <a:lnTo>
                    <a:pt x="282" y="391"/>
                  </a:lnTo>
                  <a:lnTo>
                    <a:pt x="299" y="387"/>
                  </a:lnTo>
                  <a:lnTo>
                    <a:pt x="311" y="395"/>
                  </a:lnTo>
                  <a:lnTo>
                    <a:pt x="332" y="379"/>
                  </a:lnTo>
                  <a:lnTo>
                    <a:pt x="332" y="350"/>
                  </a:lnTo>
                  <a:lnTo>
                    <a:pt x="317" y="307"/>
                  </a:lnTo>
                  <a:lnTo>
                    <a:pt x="299" y="291"/>
                  </a:lnTo>
                  <a:lnTo>
                    <a:pt x="291" y="291"/>
                  </a:lnTo>
                  <a:lnTo>
                    <a:pt x="286" y="279"/>
                  </a:lnTo>
                  <a:lnTo>
                    <a:pt x="279" y="256"/>
                  </a:lnTo>
                  <a:lnTo>
                    <a:pt x="260" y="244"/>
                  </a:lnTo>
                  <a:lnTo>
                    <a:pt x="225" y="203"/>
                  </a:lnTo>
                  <a:lnTo>
                    <a:pt x="222" y="191"/>
                  </a:lnTo>
                  <a:lnTo>
                    <a:pt x="171" y="160"/>
                  </a:lnTo>
                  <a:lnTo>
                    <a:pt x="176" y="140"/>
                  </a:lnTo>
                  <a:lnTo>
                    <a:pt x="197" y="140"/>
                  </a:lnTo>
                  <a:lnTo>
                    <a:pt x="208" y="129"/>
                  </a:lnTo>
                  <a:lnTo>
                    <a:pt x="210" y="120"/>
                  </a:lnTo>
                  <a:lnTo>
                    <a:pt x="189" y="90"/>
                  </a:lnTo>
                  <a:lnTo>
                    <a:pt x="181" y="79"/>
                  </a:lnTo>
                  <a:lnTo>
                    <a:pt x="135" y="81"/>
                  </a:lnTo>
                  <a:lnTo>
                    <a:pt x="122" y="67"/>
                  </a:lnTo>
                  <a:lnTo>
                    <a:pt x="124" y="50"/>
                  </a:lnTo>
                  <a:lnTo>
                    <a:pt x="118" y="42"/>
                  </a:lnTo>
                  <a:lnTo>
                    <a:pt x="92" y="7"/>
                  </a:lnTo>
                  <a:lnTo>
                    <a:pt x="70" y="0"/>
                  </a:lnTo>
                  <a:lnTo>
                    <a:pt x="62" y="8"/>
                  </a:lnTo>
                  <a:lnTo>
                    <a:pt x="62" y="32"/>
                  </a:lnTo>
                  <a:lnTo>
                    <a:pt x="70" y="45"/>
                  </a:lnTo>
                  <a:lnTo>
                    <a:pt x="64" y="61"/>
                  </a:lnTo>
                  <a:lnTo>
                    <a:pt x="47" y="64"/>
                  </a:lnTo>
                  <a:lnTo>
                    <a:pt x="42" y="42"/>
                  </a:lnTo>
                  <a:lnTo>
                    <a:pt x="37" y="53"/>
                  </a:lnTo>
                  <a:lnTo>
                    <a:pt x="16" y="67"/>
                  </a:lnTo>
                  <a:lnTo>
                    <a:pt x="17" y="79"/>
                  </a:lnTo>
                  <a:lnTo>
                    <a:pt x="5" y="81"/>
                  </a:lnTo>
                  <a:lnTo>
                    <a:pt x="0" y="90"/>
                  </a:lnTo>
                  <a:lnTo>
                    <a:pt x="0" y="100"/>
                  </a:lnTo>
                  <a:lnTo>
                    <a:pt x="5" y="100"/>
                  </a:lnTo>
                  <a:lnTo>
                    <a:pt x="14" y="110"/>
                  </a:lnTo>
                  <a:lnTo>
                    <a:pt x="16" y="134"/>
                  </a:lnTo>
                  <a:lnTo>
                    <a:pt x="16" y="138"/>
                  </a:lnTo>
                  <a:lnTo>
                    <a:pt x="42" y="144"/>
                  </a:lnTo>
                  <a:lnTo>
                    <a:pt x="41" y="185"/>
                  </a:lnTo>
                  <a:lnTo>
                    <a:pt x="31" y="227"/>
                  </a:lnTo>
                  <a:lnTo>
                    <a:pt x="34" y="242"/>
                  </a:lnTo>
                  <a:lnTo>
                    <a:pt x="76" y="211"/>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95" name="Freeform 25">
              <a:extLst>
                <a:ext uri="{FF2B5EF4-FFF2-40B4-BE49-F238E27FC236}">
                  <a16:creationId xmlns:a16="http://schemas.microsoft.com/office/drawing/2014/main" id="{04BD72F6-503A-FC4D-BAE5-B645C3CF0E23}"/>
                </a:ext>
              </a:extLst>
            </p:cNvPr>
            <p:cNvSpPr>
              <a:spLocks noChangeAspect="1"/>
            </p:cNvSpPr>
            <p:nvPr/>
          </p:nvSpPr>
          <p:spPr bwMode="gray">
            <a:xfrm>
              <a:off x="5681395" y="2462960"/>
              <a:ext cx="912459" cy="585561"/>
            </a:xfrm>
            <a:custGeom>
              <a:avLst/>
              <a:gdLst>
                <a:gd name="T0" fmla="*/ 1126 w 1874"/>
                <a:gd name="T1" fmla="*/ 16 h 999"/>
                <a:gd name="T2" fmla="*/ 1136 w 1874"/>
                <a:gd name="T3" fmla="*/ 101 h 999"/>
                <a:gd name="T4" fmla="*/ 1192 w 1874"/>
                <a:gd name="T5" fmla="*/ 115 h 999"/>
                <a:gd name="T6" fmla="*/ 1236 w 1874"/>
                <a:gd name="T7" fmla="*/ 117 h 999"/>
                <a:gd name="T8" fmla="*/ 1239 w 1874"/>
                <a:gd name="T9" fmla="*/ 152 h 999"/>
                <a:gd name="T10" fmla="*/ 1397 w 1874"/>
                <a:gd name="T11" fmla="*/ 92 h 999"/>
                <a:gd name="T12" fmla="*/ 1548 w 1874"/>
                <a:gd name="T13" fmla="*/ 355 h 999"/>
                <a:gd name="T14" fmla="*/ 1664 w 1874"/>
                <a:gd name="T15" fmla="*/ 358 h 999"/>
                <a:gd name="T16" fmla="*/ 1849 w 1874"/>
                <a:gd name="T17" fmla="*/ 431 h 999"/>
                <a:gd name="T18" fmla="*/ 1816 w 1874"/>
                <a:gd name="T19" fmla="*/ 530 h 999"/>
                <a:gd name="T20" fmla="*/ 1754 w 1874"/>
                <a:gd name="T21" fmla="*/ 620 h 999"/>
                <a:gd name="T22" fmla="*/ 1666 w 1874"/>
                <a:gd name="T23" fmla="*/ 649 h 999"/>
                <a:gd name="T24" fmla="*/ 1600 w 1874"/>
                <a:gd name="T25" fmla="*/ 744 h 999"/>
                <a:gd name="T26" fmla="*/ 1559 w 1874"/>
                <a:gd name="T27" fmla="*/ 815 h 999"/>
                <a:gd name="T28" fmla="*/ 1556 w 1874"/>
                <a:gd name="T29" fmla="*/ 920 h 999"/>
                <a:gd name="T30" fmla="*/ 1327 w 1874"/>
                <a:gd name="T31" fmla="*/ 883 h 999"/>
                <a:gd name="T32" fmla="*/ 1234 w 1874"/>
                <a:gd name="T33" fmla="*/ 911 h 999"/>
                <a:gd name="T34" fmla="*/ 1123 w 1874"/>
                <a:gd name="T35" fmla="*/ 917 h 999"/>
                <a:gd name="T36" fmla="*/ 1056 w 1874"/>
                <a:gd name="T37" fmla="*/ 966 h 999"/>
                <a:gd name="T38" fmla="*/ 929 w 1874"/>
                <a:gd name="T39" fmla="*/ 949 h 999"/>
                <a:gd name="T40" fmla="*/ 908 w 1874"/>
                <a:gd name="T41" fmla="*/ 881 h 999"/>
                <a:gd name="T42" fmla="*/ 816 w 1874"/>
                <a:gd name="T43" fmla="*/ 834 h 999"/>
                <a:gd name="T44" fmla="*/ 691 w 1874"/>
                <a:gd name="T45" fmla="*/ 823 h 999"/>
                <a:gd name="T46" fmla="*/ 578 w 1874"/>
                <a:gd name="T47" fmla="*/ 722 h 999"/>
                <a:gd name="T48" fmla="*/ 464 w 1874"/>
                <a:gd name="T49" fmla="*/ 742 h 999"/>
                <a:gd name="T50" fmla="*/ 437 w 1874"/>
                <a:gd name="T51" fmla="*/ 923 h 999"/>
                <a:gd name="T52" fmla="*/ 376 w 1874"/>
                <a:gd name="T53" fmla="*/ 929 h 999"/>
                <a:gd name="T54" fmla="*/ 274 w 1874"/>
                <a:gd name="T55" fmla="*/ 920 h 999"/>
                <a:gd name="T56" fmla="*/ 238 w 1874"/>
                <a:gd name="T57" fmla="*/ 872 h 999"/>
                <a:gd name="T58" fmla="*/ 196 w 1874"/>
                <a:gd name="T59" fmla="*/ 804 h 999"/>
                <a:gd name="T60" fmla="*/ 230 w 1874"/>
                <a:gd name="T61" fmla="*/ 784 h 999"/>
                <a:gd name="T62" fmla="*/ 262 w 1874"/>
                <a:gd name="T63" fmla="*/ 728 h 999"/>
                <a:gd name="T64" fmla="*/ 359 w 1874"/>
                <a:gd name="T65" fmla="*/ 747 h 999"/>
                <a:gd name="T66" fmla="*/ 383 w 1874"/>
                <a:gd name="T67" fmla="*/ 731 h 999"/>
                <a:gd name="T68" fmla="*/ 337 w 1874"/>
                <a:gd name="T69" fmla="*/ 679 h 999"/>
                <a:gd name="T70" fmla="*/ 284 w 1874"/>
                <a:gd name="T71" fmla="*/ 611 h 999"/>
                <a:gd name="T72" fmla="*/ 176 w 1874"/>
                <a:gd name="T73" fmla="*/ 632 h 999"/>
                <a:gd name="T74" fmla="*/ 69 w 1874"/>
                <a:gd name="T75" fmla="*/ 648 h 999"/>
                <a:gd name="T76" fmla="*/ 72 w 1874"/>
                <a:gd name="T77" fmla="*/ 563 h 999"/>
                <a:gd name="T78" fmla="*/ 10 w 1874"/>
                <a:gd name="T79" fmla="*/ 484 h 999"/>
                <a:gd name="T80" fmla="*/ 37 w 1874"/>
                <a:gd name="T81" fmla="*/ 406 h 999"/>
                <a:gd name="T82" fmla="*/ 93 w 1874"/>
                <a:gd name="T83" fmla="*/ 365 h 999"/>
                <a:gd name="T84" fmla="*/ 191 w 1874"/>
                <a:gd name="T85" fmla="*/ 291 h 999"/>
                <a:gd name="T86" fmla="*/ 267 w 1874"/>
                <a:gd name="T87" fmla="*/ 283 h 999"/>
                <a:gd name="T88" fmla="*/ 369 w 1874"/>
                <a:gd name="T89" fmla="*/ 371 h 999"/>
                <a:gd name="T90" fmla="*/ 423 w 1874"/>
                <a:gd name="T91" fmla="*/ 369 h 999"/>
                <a:gd name="T92" fmla="*/ 540 w 1874"/>
                <a:gd name="T93" fmla="*/ 329 h 999"/>
                <a:gd name="T94" fmla="*/ 667 w 1874"/>
                <a:gd name="T95" fmla="*/ 362 h 999"/>
                <a:gd name="T96" fmla="*/ 669 w 1874"/>
                <a:gd name="T97" fmla="*/ 307 h 999"/>
                <a:gd name="T98" fmla="*/ 669 w 1874"/>
                <a:gd name="T99" fmla="*/ 230 h 999"/>
                <a:gd name="T100" fmla="*/ 679 w 1874"/>
                <a:gd name="T101" fmla="*/ 165 h 999"/>
                <a:gd name="T102" fmla="*/ 676 w 1874"/>
                <a:gd name="T103" fmla="*/ 125 h 999"/>
                <a:gd name="T104" fmla="*/ 807 w 1874"/>
                <a:gd name="T105" fmla="*/ 98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74" h="999">
                  <a:moveTo>
                    <a:pt x="999" y="33"/>
                  </a:moveTo>
                  <a:lnTo>
                    <a:pt x="1002" y="15"/>
                  </a:lnTo>
                  <a:lnTo>
                    <a:pt x="1036" y="0"/>
                  </a:lnTo>
                  <a:lnTo>
                    <a:pt x="1126" y="16"/>
                  </a:lnTo>
                  <a:lnTo>
                    <a:pt x="1131" y="49"/>
                  </a:lnTo>
                  <a:lnTo>
                    <a:pt x="1141" y="58"/>
                  </a:lnTo>
                  <a:lnTo>
                    <a:pt x="1129" y="89"/>
                  </a:lnTo>
                  <a:lnTo>
                    <a:pt x="1136" y="101"/>
                  </a:lnTo>
                  <a:lnTo>
                    <a:pt x="1177" y="97"/>
                  </a:lnTo>
                  <a:lnTo>
                    <a:pt x="1178" y="83"/>
                  </a:lnTo>
                  <a:lnTo>
                    <a:pt x="1194" y="101"/>
                  </a:lnTo>
                  <a:lnTo>
                    <a:pt x="1192" y="115"/>
                  </a:lnTo>
                  <a:lnTo>
                    <a:pt x="1206" y="117"/>
                  </a:lnTo>
                  <a:lnTo>
                    <a:pt x="1199" y="105"/>
                  </a:lnTo>
                  <a:lnTo>
                    <a:pt x="1206" y="101"/>
                  </a:lnTo>
                  <a:lnTo>
                    <a:pt x="1236" y="117"/>
                  </a:lnTo>
                  <a:lnTo>
                    <a:pt x="1251" y="108"/>
                  </a:lnTo>
                  <a:lnTo>
                    <a:pt x="1253" y="122"/>
                  </a:lnTo>
                  <a:lnTo>
                    <a:pt x="1234" y="140"/>
                  </a:lnTo>
                  <a:lnTo>
                    <a:pt x="1239" y="152"/>
                  </a:lnTo>
                  <a:lnTo>
                    <a:pt x="1287" y="148"/>
                  </a:lnTo>
                  <a:lnTo>
                    <a:pt x="1339" y="98"/>
                  </a:lnTo>
                  <a:lnTo>
                    <a:pt x="1393" y="80"/>
                  </a:lnTo>
                  <a:lnTo>
                    <a:pt x="1397" y="92"/>
                  </a:lnTo>
                  <a:lnTo>
                    <a:pt x="1381" y="100"/>
                  </a:lnTo>
                  <a:lnTo>
                    <a:pt x="1384" y="113"/>
                  </a:lnTo>
                  <a:lnTo>
                    <a:pt x="1448" y="171"/>
                  </a:lnTo>
                  <a:lnTo>
                    <a:pt x="1548" y="355"/>
                  </a:lnTo>
                  <a:lnTo>
                    <a:pt x="1578" y="320"/>
                  </a:lnTo>
                  <a:lnTo>
                    <a:pt x="1600" y="333"/>
                  </a:lnTo>
                  <a:lnTo>
                    <a:pt x="1610" y="358"/>
                  </a:lnTo>
                  <a:lnTo>
                    <a:pt x="1664" y="358"/>
                  </a:lnTo>
                  <a:lnTo>
                    <a:pt x="1706" y="341"/>
                  </a:lnTo>
                  <a:lnTo>
                    <a:pt x="1785" y="436"/>
                  </a:lnTo>
                  <a:lnTo>
                    <a:pt x="1831" y="448"/>
                  </a:lnTo>
                  <a:lnTo>
                    <a:pt x="1849" y="431"/>
                  </a:lnTo>
                  <a:lnTo>
                    <a:pt x="1874" y="470"/>
                  </a:lnTo>
                  <a:lnTo>
                    <a:pt x="1868" y="496"/>
                  </a:lnTo>
                  <a:lnTo>
                    <a:pt x="1844" y="526"/>
                  </a:lnTo>
                  <a:lnTo>
                    <a:pt x="1816" y="530"/>
                  </a:lnTo>
                  <a:lnTo>
                    <a:pt x="1802" y="567"/>
                  </a:lnTo>
                  <a:lnTo>
                    <a:pt x="1802" y="617"/>
                  </a:lnTo>
                  <a:lnTo>
                    <a:pt x="1769" y="632"/>
                  </a:lnTo>
                  <a:lnTo>
                    <a:pt x="1754" y="620"/>
                  </a:lnTo>
                  <a:lnTo>
                    <a:pt x="1724" y="623"/>
                  </a:lnTo>
                  <a:lnTo>
                    <a:pt x="1701" y="612"/>
                  </a:lnTo>
                  <a:lnTo>
                    <a:pt x="1681" y="611"/>
                  </a:lnTo>
                  <a:lnTo>
                    <a:pt x="1666" y="649"/>
                  </a:lnTo>
                  <a:lnTo>
                    <a:pt x="1649" y="694"/>
                  </a:lnTo>
                  <a:lnTo>
                    <a:pt x="1647" y="711"/>
                  </a:lnTo>
                  <a:lnTo>
                    <a:pt x="1655" y="738"/>
                  </a:lnTo>
                  <a:lnTo>
                    <a:pt x="1600" y="744"/>
                  </a:lnTo>
                  <a:lnTo>
                    <a:pt x="1578" y="753"/>
                  </a:lnTo>
                  <a:lnTo>
                    <a:pt x="1542" y="765"/>
                  </a:lnTo>
                  <a:lnTo>
                    <a:pt x="1556" y="784"/>
                  </a:lnTo>
                  <a:lnTo>
                    <a:pt x="1559" y="815"/>
                  </a:lnTo>
                  <a:lnTo>
                    <a:pt x="1576" y="860"/>
                  </a:lnTo>
                  <a:lnTo>
                    <a:pt x="1576" y="872"/>
                  </a:lnTo>
                  <a:lnTo>
                    <a:pt x="1565" y="880"/>
                  </a:lnTo>
                  <a:lnTo>
                    <a:pt x="1556" y="920"/>
                  </a:lnTo>
                  <a:lnTo>
                    <a:pt x="1520" y="909"/>
                  </a:lnTo>
                  <a:lnTo>
                    <a:pt x="1507" y="892"/>
                  </a:lnTo>
                  <a:lnTo>
                    <a:pt x="1409" y="878"/>
                  </a:lnTo>
                  <a:lnTo>
                    <a:pt x="1327" y="883"/>
                  </a:lnTo>
                  <a:lnTo>
                    <a:pt x="1296" y="878"/>
                  </a:lnTo>
                  <a:lnTo>
                    <a:pt x="1273" y="863"/>
                  </a:lnTo>
                  <a:lnTo>
                    <a:pt x="1243" y="878"/>
                  </a:lnTo>
                  <a:lnTo>
                    <a:pt x="1234" y="911"/>
                  </a:lnTo>
                  <a:lnTo>
                    <a:pt x="1191" y="894"/>
                  </a:lnTo>
                  <a:lnTo>
                    <a:pt x="1149" y="888"/>
                  </a:lnTo>
                  <a:lnTo>
                    <a:pt x="1129" y="894"/>
                  </a:lnTo>
                  <a:lnTo>
                    <a:pt x="1123" y="917"/>
                  </a:lnTo>
                  <a:lnTo>
                    <a:pt x="1110" y="934"/>
                  </a:lnTo>
                  <a:lnTo>
                    <a:pt x="1099" y="934"/>
                  </a:lnTo>
                  <a:lnTo>
                    <a:pt x="1087" y="951"/>
                  </a:lnTo>
                  <a:lnTo>
                    <a:pt x="1056" y="966"/>
                  </a:lnTo>
                  <a:lnTo>
                    <a:pt x="1024" y="999"/>
                  </a:lnTo>
                  <a:lnTo>
                    <a:pt x="985" y="983"/>
                  </a:lnTo>
                  <a:lnTo>
                    <a:pt x="938" y="988"/>
                  </a:lnTo>
                  <a:lnTo>
                    <a:pt x="929" y="949"/>
                  </a:lnTo>
                  <a:lnTo>
                    <a:pt x="903" y="945"/>
                  </a:lnTo>
                  <a:lnTo>
                    <a:pt x="901" y="919"/>
                  </a:lnTo>
                  <a:lnTo>
                    <a:pt x="908" y="917"/>
                  </a:lnTo>
                  <a:lnTo>
                    <a:pt x="908" y="881"/>
                  </a:lnTo>
                  <a:lnTo>
                    <a:pt x="895" y="883"/>
                  </a:lnTo>
                  <a:lnTo>
                    <a:pt x="880" y="855"/>
                  </a:lnTo>
                  <a:lnTo>
                    <a:pt x="850" y="831"/>
                  </a:lnTo>
                  <a:lnTo>
                    <a:pt x="816" y="834"/>
                  </a:lnTo>
                  <a:lnTo>
                    <a:pt x="782" y="838"/>
                  </a:lnTo>
                  <a:lnTo>
                    <a:pt x="748" y="841"/>
                  </a:lnTo>
                  <a:lnTo>
                    <a:pt x="714" y="844"/>
                  </a:lnTo>
                  <a:lnTo>
                    <a:pt x="691" y="823"/>
                  </a:lnTo>
                  <a:lnTo>
                    <a:pt x="669" y="801"/>
                  </a:lnTo>
                  <a:lnTo>
                    <a:pt x="646" y="778"/>
                  </a:lnTo>
                  <a:lnTo>
                    <a:pt x="623" y="755"/>
                  </a:lnTo>
                  <a:lnTo>
                    <a:pt x="578" y="722"/>
                  </a:lnTo>
                  <a:lnTo>
                    <a:pt x="553" y="711"/>
                  </a:lnTo>
                  <a:lnTo>
                    <a:pt x="524" y="722"/>
                  </a:lnTo>
                  <a:lnTo>
                    <a:pt x="494" y="733"/>
                  </a:lnTo>
                  <a:lnTo>
                    <a:pt x="464" y="742"/>
                  </a:lnTo>
                  <a:lnTo>
                    <a:pt x="435" y="753"/>
                  </a:lnTo>
                  <a:lnTo>
                    <a:pt x="435" y="812"/>
                  </a:lnTo>
                  <a:lnTo>
                    <a:pt x="435" y="866"/>
                  </a:lnTo>
                  <a:lnTo>
                    <a:pt x="437" y="923"/>
                  </a:lnTo>
                  <a:lnTo>
                    <a:pt x="437" y="980"/>
                  </a:lnTo>
                  <a:lnTo>
                    <a:pt x="425" y="983"/>
                  </a:lnTo>
                  <a:lnTo>
                    <a:pt x="402" y="978"/>
                  </a:lnTo>
                  <a:lnTo>
                    <a:pt x="376" y="929"/>
                  </a:lnTo>
                  <a:lnTo>
                    <a:pt x="352" y="915"/>
                  </a:lnTo>
                  <a:lnTo>
                    <a:pt x="300" y="929"/>
                  </a:lnTo>
                  <a:lnTo>
                    <a:pt x="274" y="951"/>
                  </a:lnTo>
                  <a:lnTo>
                    <a:pt x="274" y="920"/>
                  </a:lnTo>
                  <a:lnTo>
                    <a:pt x="283" y="911"/>
                  </a:lnTo>
                  <a:lnTo>
                    <a:pt x="283" y="895"/>
                  </a:lnTo>
                  <a:lnTo>
                    <a:pt x="247" y="881"/>
                  </a:lnTo>
                  <a:lnTo>
                    <a:pt x="238" y="872"/>
                  </a:lnTo>
                  <a:lnTo>
                    <a:pt x="222" y="869"/>
                  </a:lnTo>
                  <a:lnTo>
                    <a:pt x="219" y="838"/>
                  </a:lnTo>
                  <a:lnTo>
                    <a:pt x="210" y="821"/>
                  </a:lnTo>
                  <a:lnTo>
                    <a:pt x="196" y="804"/>
                  </a:lnTo>
                  <a:lnTo>
                    <a:pt x="178" y="797"/>
                  </a:lnTo>
                  <a:lnTo>
                    <a:pt x="168" y="784"/>
                  </a:lnTo>
                  <a:lnTo>
                    <a:pt x="190" y="776"/>
                  </a:lnTo>
                  <a:lnTo>
                    <a:pt x="230" y="784"/>
                  </a:lnTo>
                  <a:lnTo>
                    <a:pt x="222" y="753"/>
                  </a:lnTo>
                  <a:lnTo>
                    <a:pt x="227" y="742"/>
                  </a:lnTo>
                  <a:lnTo>
                    <a:pt x="252" y="742"/>
                  </a:lnTo>
                  <a:lnTo>
                    <a:pt x="262" y="728"/>
                  </a:lnTo>
                  <a:lnTo>
                    <a:pt x="278" y="728"/>
                  </a:lnTo>
                  <a:lnTo>
                    <a:pt x="304" y="739"/>
                  </a:lnTo>
                  <a:lnTo>
                    <a:pt x="326" y="731"/>
                  </a:lnTo>
                  <a:lnTo>
                    <a:pt x="359" y="747"/>
                  </a:lnTo>
                  <a:lnTo>
                    <a:pt x="377" y="747"/>
                  </a:lnTo>
                  <a:lnTo>
                    <a:pt x="380" y="739"/>
                  </a:lnTo>
                  <a:lnTo>
                    <a:pt x="374" y="731"/>
                  </a:lnTo>
                  <a:lnTo>
                    <a:pt x="383" y="731"/>
                  </a:lnTo>
                  <a:lnTo>
                    <a:pt x="377" y="719"/>
                  </a:lnTo>
                  <a:lnTo>
                    <a:pt x="355" y="694"/>
                  </a:lnTo>
                  <a:lnTo>
                    <a:pt x="345" y="692"/>
                  </a:lnTo>
                  <a:lnTo>
                    <a:pt x="337" y="679"/>
                  </a:lnTo>
                  <a:lnTo>
                    <a:pt x="332" y="658"/>
                  </a:lnTo>
                  <a:lnTo>
                    <a:pt x="313" y="641"/>
                  </a:lnTo>
                  <a:lnTo>
                    <a:pt x="312" y="631"/>
                  </a:lnTo>
                  <a:lnTo>
                    <a:pt x="284" y="611"/>
                  </a:lnTo>
                  <a:lnTo>
                    <a:pt x="247" y="620"/>
                  </a:lnTo>
                  <a:lnTo>
                    <a:pt x="245" y="611"/>
                  </a:lnTo>
                  <a:lnTo>
                    <a:pt x="205" y="606"/>
                  </a:lnTo>
                  <a:lnTo>
                    <a:pt x="176" y="632"/>
                  </a:lnTo>
                  <a:lnTo>
                    <a:pt x="98" y="649"/>
                  </a:lnTo>
                  <a:lnTo>
                    <a:pt x="117" y="662"/>
                  </a:lnTo>
                  <a:lnTo>
                    <a:pt x="103" y="668"/>
                  </a:lnTo>
                  <a:lnTo>
                    <a:pt x="69" y="648"/>
                  </a:lnTo>
                  <a:lnTo>
                    <a:pt x="76" y="636"/>
                  </a:lnTo>
                  <a:lnTo>
                    <a:pt x="100" y="636"/>
                  </a:lnTo>
                  <a:lnTo>
                    <a:pt x="93" y="589"/>
                  </a:lnTo>
                  <a:lnTo>
                    <a:pt x="72" y="563"/>
                  </a:lnTo>
                  <a:lnTo>
                    <a:pt x="38" y="570"/>
                  </a:lnTo>
                  <a:lnTo>
                    <a:pt x="23" y="530"/>
                  </a:lnTo>
                  <a:lnTo>
                    <a:pt x="0" y="521"/>
                  </a:lnTo>
                  <a:lnTo>
                    <a:pt x="10" y="484"/>
                  </a:lnTo>
                  <a:lnTo>
                    <a:pt x="26" y="472"/>
                  </a:lnTo>
                  <a:lnTo>
                    <a:pt x="13" y="456"/>
                  </a:lnTo>
                  <a:lnTo>
                    <a:pt x="21" y="417"/>
                  </a:lnTo>
                  <a:lnTo>
                    <a:pt x="37" y="406"/>
                  </a:lnTo>
                  <a:lnTo>
                    <a:pt x="46" y="374"/>
                  </a:lnTo>
                  <a:lnTo>
                    <a:pt x="85" y="426"/>
                  </a:lnTo>
                  <a:lnTo>
                    <a:pt x="106" y="411"/>
                  </a:lnTo>
                  <a:lnTo>
                    <a:pt x="93" y="365"/>
                  </a:lnTo>
                  <a:lnTo>
                    <a:pt x="128" y="348"/>
                  </a:lnTo>
                  <a:lnTo>
                    <a:pt x="134" y="329"/>
                  </a:lnTo>
                  <a:lnTo>
                    <a:pt x="170" y="316"/>
                  </a:lnTo>
                  <a:lnTo>
                    <a:pt x="191" y="291"/>
                  </a:lnTo>
                  <a:lnTo>
                    <a:pt x="216" y="287"/>
                  </a:lnTo>
                  <a:lnTo>
                    <a:pt x="238" y="303"/>
                  </a:lnTo>
                  <a:lnTo>
                    <a:pt x="249" y="284"/>
                  </a:lnTo>
                  <a:lnTo>
                    <a:pt x="267" y="283"/>
                  </a:lnTo>
                  <a:lnTo>
                    <a:pt x="278" y="299"/>
                  </a:lnTo>
                  <a:lnTo>
                    <a:pt x="323" y="301"/>
                  </a:lnTo>
                  <a:lnTo>
                    <a:pt x="354" y="333"/>
                  </a:lnTo>
                  <a:lnTo>
                    <a:pt x="369" y="371"/>
                  </a:lnTo>
                  <a:lnTo>
                    <a:pt x="376" y="366"/>
                  </a:lnTo>
                  <a:lnTo>
                    <a:pt x="372" y="341"/>
                  </a:lnTo>
                  <a:lnTo>
                    <a:pt x="383" y="335"/>
                  </a:lnTo>
                  <a:lnTo>
                    <a:pt x="423" y="369"/>
                  </a:lnTo>
                  <a:lnTo>
                    <a:pt x="470" y="335"/>
                  </a:lnTo>
                  <a:lnTo>
                    <a:pt x="504" y="346"/>
                  </a:lnTo>
                  <a:lnTo>
                    <a:pt x="516" y="337"/>
                  </a:lnTo>
                  <a:lnTo>
                    <a:pt x="540" y="329"/>
                  </a:lnTo>
                  <a:lnTo>
                    <a:pt x="567" y="363"/>
                  </a:lnTo>
                  <a:lnTo>
                    <a:pt x="595" y="374"/>
                  </a:lnTo>
                  <a:lnTo>
                    <a:pt x="625" y="350"/>
                  </a:lnTo>
                  <a:lnTo>
                    <a:pt x="667" y="362"/>
                  </a:lnTo>
                  <a:lnTo>
                    <a:pt x="685" y="354"/>
                  </a:lnTo>
                  <a:lnTo>
                    <a:pt x="697" y="315"/>
                  </a:lnTo>
                  <a:lnTo>
                    <a:pt x="694" y="309"/>
                  </a:lnTo>
                  <a:lnTo>
                    <a:pt x="669" y="307"/>
                  </a:lnTo>
                  <a:lnTo>
                    <a:pt x="638" y="289"/>
                  </a:lnTo>
                  <a:lnTo>
                    <a:pt x="623" y="266"/>
                  </a:lnTo>
                  <a:lnTo>
                    <a:pt x="665" y="244"/>
                  </a:lnTo>
                  <a:lnTo>
                    <a:pt x="669" y="230"/>
                  </a:lnTo>
                  <a:lnTo>
                    <a:pt x="654" y="208"/>
                  </a:lnTo>
                  <a:lnTo>
                    <a:pt x="672" y="190"/>
                  </a:lnTo>
                  <a:lnTo>
                    <a:pt x="721" y="182"/>
                  </a:lnTo>
                  <a:lnTo>
                    <a:pt x="679" y="165"/>
                  </a:lnTo>
                  <a:lnTo>
                    <a:pt x="676" y="154"/>
                  </a:lnTo>
                  <a:lnTo>
                    <a:pt x="693" y="145"/>
                  </a:lnTo>
                  <a:lnTo>
                    <a:pt x="669" y="143"/>
                  </a:lnTo>
                  <a:lnTo>
                    <a:pt x="676" y="125"/>
                  </a:lnTo>
                  <a:lnTo>
                    <a:pt x="665" y="115"/>
                  </a:lnTo>
                  <a:lnTo>
                    <a:pt x="738" y="118"/>
                  </a:lnTo>
                  <a:lnTo>
                    <a:pt x="790" y="91"/>
                  </a:lnTo>
                  <a:lnTo>
                    <a:pt x="807" y="98"/>
                  </a:lnTo>
                  <a:lnTo>
                    <a:pt x="843" y="77"/>
                  </a:lnTo>
                  <a:lnTo>
                    <a:pt x="870" y="61"/>
                  </a:lnTo>
                  <a:lnTo>
                    <a:pt x="999" y="33"/>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296" name="Freeform 26">
              <a:extLst>
                <a:ext uri="{FF2B5EF4-FFF2-40B4-BE49-F238E27FC236}">
                  <a16:creationId xmlns:a16="http://schemas.microsoft.com/office/drawing/2014/main" id="{5B665D3E-74F2-B942-BD9B-94DFAB97E680}"/>
                </a:ext>
              </a:extLst>
            </p:cNvPr>
            <p:cNvSpPr>
              <a:spLocks noChangeAspect="1"/>
            </p:cNvSpPr>
            <p:nvPr/>
          </p:nvSpPr>
          <p:spPr bwMode="gray">
            <a:xfrm>
              <a:off x="5646362" y="3017806"/>
              <a:ext cx="121023" cy="119031"/>
            </a:xfrm>
            <a:custGeom>
              <a:avLst/>
              <a:gdLst>
                <a:gd name="T0" fmla="*/ 183 w 249"/>
                <a:gd name="T1" fmla="*/ 205 h 205"/>
                <a:gd name="T2" fmla="*/ 183 w 249"/>
                <a:gd name="T3" fmla="*/ 166 h 205"/>
                <a:gd name="T4" fmla="*/ 190 w 249"/>
                <a:gd name="T5" fmla="*/ 163 h 205"/>
                <a:gd name="T6" fmla="*/ 200 w 249"/>
                <a:gd name="T7" fmla="*/ 172 h 205"/>
                <a:gd name="T8" fmla="*/ 200 w 249"/>
                <a:gd name="T9" fmla="*/ 164 h 205"/>
                <a:gd name="T10" fmla="*/ 213 w 249"/>
                <a:gd name="T11" fmla="*/ 107 h 205"/>
                <a:gd name="T12" fmla="*/ 229 w 249"/>
                <a:gd name="T13" fmla="*/ 93 h 205"/>
                <a:gd name="T14" fmla="*/ 241 w 249"/>
                <a:gd name="T15" fmla="*/ 92 h 205"/>
                <a:gd name="T16" fmla="*/ 249 w 249"/>
                <a:gd name="T17" fmla="*/ 100 h 205"/>
                <a:gd name="T18" fmla="*/ 243 w 249"/>
                <a:gd name="T19" fmla="*/ 84 h 205"/>
                <a:gd name="T20" fmla="*/ 232 w 249"/>
                <a:gd name="T21" fmla="*/ 78 h 205"/>
                <a:gd name="T22" fmla="*/ 215 w 249"/>
                <a:gd name="T23" fmla="*/ 79 h 205"/>
                <a:gd name="T24" fmla="*/ 186 w 249"/>
                <a:gd name="T25" fmla="*/ 28 h 205"/>
                <a:gd name="T26" fmla="*/ 161 w 249"/>
                <a:gd name="T27" fmla="*/ 5 h 205"/>
                <a:gd name="T28" fmla="*/ 127 w 249"/>
                <a:gd name="T29" fmla="*/ 41 h 205"/>
                <a:gd name="T30" fmla="*/ 107 w 249"/>
                <a:gd name="T31" fmla="*/ 39 h 205"/>
                <a:gd name="T32" fmla="*/ 100 w 249"/>
                <a:gd name="T33" fmla="*/ 19 h 205"/>
                <a:gd name="T34" fmla="*/ 66 w 249"/>
                <a:gd name="T35" fmla="*/ 0 h 205"/>
                <a:gd name="T36" fmla="*/ 56 w 249"/>
                <a:gd name="T37" fmla="*/ 16 h 205"/>
                <a:gd name="T38" fmla="*/ 73 w 249"/>
                <a:gd name="T39" fmla="*/ 34 h 205"/>
                <a:gd name="T40" fmla="*/ 76 w 249"/>
                <a:gd name="T41" fmla="*/ 41 h 205"/>
                <a:gd name="T42" fmla="*/ 73 w 249"/>
                <a:gd name="T43" fmla="*/ 45 h 205"/>
                <a:gd name="T44" fmla="*/ 46 w 249"/>
                <a:gd name="T45" fmla="*/ 41 h 205"/>
                <a:gd name="T46" fmla="*/ 22 w 249"/>
                <a:gd name="T47" fmla="*/ 27 h 205"/>
                <a:gd name="T48" fmla="*/ 0 w 249"/>
                <a:gd name="T49" fmla="*/ 36 h 205"/>
                <a:gd name="T50" fmla="*/ 10 w 249"/>
                <a:gd name="T51" fmla="*/ 53 h 205"/>
                <a:gd name="T52" fmla="*/ 22 w 249"/>
                <a:gd name="T53" fmla="*/ 56 h 205"/>
                <a:gd name="T54" fmla="*/ 22 w 249"/>
                <a:gd name="T55" fmla="*/ 81 h 205"/>
                <a:gd name="T56" fmla="*/ 42 w 249"/>
                <a:gd name="T57" fmla="*/ 100 h 205"/>
                <a:gd name="T58" fmla="*/ 40 w 249"/>
                <a:gd name="T59" fmla="*/ 112 h 205"/>
                <a:gd name="T60" fmla="*/ 34 w 249"/>
                <a:gd name="T61" fmla="*/ 113 h 205"/>
                <a:gd name="T62" fmla="*/ 35 w 249"/>
                <a:gd name="T63" fmla="*/ 120 h 205"/>
                <a:gd name="T64" fmla="*/ 56 w 249"/>
                <a:gd name="T65" fmla="*/ 137 h 205"/>
                <a:gd name="T66" fmla="*/ 69 w 249"/>
                <a:gd name="T67" fmla="*/ 138 h 205"/>
                <a:gd name="T68" fmla="*/ 65 w 249"/>
                <a:gd name="T69" fmla="*/ 152 h 205"/>
                <a:gd name="T70" fmla="*/ 69 w 249"/>
                <a:gd name="T71" fmla="*/ 155 h 205"/>
                <a:gd name="T72" fmla="*/ 69 w 249"/>
                <a:gd name="T73" fmla="*/ 163 h 205"/>
                <a:gd name="T74" fmla="*/ 63 w 249"/>
                <a:gd name="T75" fmla="*/ 164 h 205"/>
                <a:gd name="T76" fmla="*/ 71 w 249"/>
                <a:gd name="T77" fmla="*/ 181 h 205"/>
                <a:gd name="T78" fmla="*/ 82 w 249"/>
                <a:gd name="T79" fmla="*/ 183 h 205"/>
                <a:gd name="T80" fmla="*/ 105 w 249"/>
                <a:gd name="T81" fmla="*/ 151 h 205"/>
                <a:gd name="T82" fmla="*/ 136 w 249"/>
                <a:gd name="T83" fmla="*/ 137 h 205"/>
                <a:gd name="T84" fmla="*/ 150 w 249"/>
                <a:gd name="T85" fmla="*/ 146 h 205"/>
                <a:gd name="T86" fmla="*/ 156 w 249"/>
                <a:gd name="T87" fmla="*/ 174 h 205"/>
                <a:gd name="T88" fmla="*/ 141 w 249"/>
                <a:gd name="T89" fmla="*/ 186 h 205"/>
                <a:gd name="T90" fmla="*/ 167 w 249"/>
                <a:gd name="T91" fmla="*/ 205 h 205"/>
                <a:gd name="T92" fmla="*/ 183 w 249"/>
                <a:gd name="T93"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9" h="205">
                  <a:moveTo>
                    <a:pt x="183" y="205"/>
                  </a:moveTo>
                  <a:lnTo>
                    <a:pt x="183" y="166"/>
                  </a:lnTo>
                  <a:lnTo>
                    <a:pt x="190" y="163"/>
                  </a:lnTo>
                  <a:lnTo>
                    <a:pt x="200" y="172"/>
                  </a:lnTo>
                  <a:lnTo>
                    <a:pt x="200" y="164"/>
                  </a:lnTo>
                  <a:lnTo>
                    <a:pt x="213" y="107"/>
                  </a:lnTo>
                  <a:lnTo>
                    <a:pt x="229" y="93"/>
                  </a:lnTo>
                  <a:lnTo>
                    <a:pt x="241" y="92"/>
                  </a:lnTo>
                  <a:lnTo>
                    <a:pt x="249" y="100"/>
                  </a:lnTo>
                  <a:lnTo>
                    <a:pt x="243" y="84"/>
                  </a:lnTo>
                  <a:lnTo>
                    <a:pt x="232" y="78"/>
                  </a:lnTo>
                  <a:lnTo>
                    <a:pt x="215" y="79"/>
                  </a:lnTo>
                  <a:lnTo>
                    <a:pt x="186" y="28"/>
                  </a:lnTo>
                  <a:lnTo>
                    <a:pt x="161" y="5"/>
                  </a:lnTo>
                  <a:lnTo>
                    <a:pt x="127" y="41"/>
                  </a:lnTo>
                  <a:lnTo>
                    <a:pt x="107" y="39"/>
                  </a:lnTo>
                  <a:lnTo>
                    <a:pt x="100" y="19"/>
                  </a:lnTo>
                  <a:lnTo>
                    <a:pt x="66" y="0"/>
                  </a:lnTo>
                  <a:lnTo>
                    <a:pt x="56" y="16"/>
                  </a:lnTo>
                  <a:lnTo>
                    <a:pt x="73" y="34"/>
                  </a:lnTo>
                  <a:lnTo>
                    <a:pt x="76" y="41"/>
                  </a:lnTo>
                  <a:lnTo>
                    <a:pt x="73" y="45"/>
                  </a:lnTo>
                  <a:lnTo>
                    <a:pt x="46" y="41"/>
                  </a:lnTo>
                  <a:lnTo>
                    <a:pt x="22" y="27"/>
                  </a:lnTo>
                  <a:lnTo>
                    <a:pt x="0" y="36"/>
                  </a:lnTo>
                  <a:lnTo>
                    <a:pt x="10" y="53"/>
                  </a:lnTo>
                  <a:lnTo>
                    <a:pt x="22" y="56"/>
                  </a:lnTo>
                  <a:lnTo>
                    <a:pt x="22" y="81"/>
                  </a:lnTo>
                  <a:lnTo>
                    <a:pt x="42" y="100"/>
                  </a:lnTo>
                  <a:lnTo>
                    <a:pt x="40" y="112"/>
                  </a:lnTo>
                  <a:lnTo>
                    <a:pt x="34" y="113"/>
                  </a:lnTo>
                  <a:lnTo>
                    <a:pt x="35" y="120"/>
                  </a:lnTo>
                  <a:lnTo>
                    <a:pt x="56" y="137"/>
                  </a:lnTo>
                  <a:lnTo>
                    <a:pt x="69" y="138"/>
                  </a:lnTo>
                  <a:lnTo>
                    <a:pt x="65" y="152"/>
                  </a:lnTo>
                  <a:lnTo>
                    <a:pt x="69" y="155"/>
                  </a:lnTo>
                  <a:lnTo>
                    <a:pt x="69" y="163"/>
                  </a:lnTo>
                  <a:lnTo>
                    <a:pt x="63" y="164"/>
                  </a:lnTo>
                  <a:lnTo>
                    <a:pt x="71" y="181"/>
                  </a:lnTo>
                  <a:lnTo>
                    <a:pt x="82" y="183"/>
                  </a:lnTo>
                  <a:lnTo>
                    <a:pt x="105" y="151"/>
                  </a:lnTo>
                  <a:lnTo>
                    <a:pt x="136" y="137"/>
                  </a:lnTo>
                  <a:lnTo>
                    <a:pt x="150" y="146"/>
                  </a:lnTo>
                  <a:lnTo>
                    <a:pt x="156" y="174"/>
                  </a:lnTo>
                  <a:lnTo>
                    <a:pt x="141" y="186"/>
                  </a:lnTo>
                  <a:lnTo>
                    <a:pt x="167" y="205"/>
                  </a:lnTo>
                  <a:lnTo>
                    <a:pt x="183" y="205"/>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97" name="Freeform 27">
              <a:extLst>
                <a:ext uri="{FF2B5EF4-FFF2-40B4-BE49-F238E27FC236}">
                  <a16:creationId xmlns:a16="http://schemas.microsoft.com/office/drawing/2014/main" id="{D5069D0F-9FE7-0840-BD32-EBC2219B2DDF}"/>
                </a:ext>
              </a:extLst>
            </p:cNvPr>
            <p:cNvSpPr>
              <a:spLocks noChangeAspect="1"/>
            </p:cNvSpPr>
            <p:nvPr/>
          </p:nvSpPr>
          <p:spPr bwMode="gray">
            <a:xfrm>
              <a:off x="6609779" y="2612711"/>
              <a:ext cx="711814" cy="418532"/>
            </a:xfrm>
            <a:custGeom>
              <a:avLst/>
              <a:gdLst>
                <a:gd name="T0" fmla="*/ 1283 w 1459"/>
                <a:gd name="T1" fmla="*/ 215 h 713"/>
                <a:gd name="T2" fmla="*/ 1275 w 1459"/>
                <a:gd name="T3" fmla="*/ 275 h 713"/>
                <a:gd name="T4" fmla="*/ 1287 w 1459"/>
                <a:gd name="T5" fmla="*/ 321 h 713"/>
                <a:gd name="T6" fmla="*/ 1362 w 1459"/>
                <a:gd name="T7" fmla="*/ 321 h 713"/>
                <a:gd name="T8" fmla="*/ 1419 w 1459"/>
                <a:gd name="T9" fmla="*/ 318 h 713"/>
                <a:gd name="T10" fmla="*/ 1448 w 1459"/>
                <a:gd name="T11" fmla="*/ 349 h 713"/>
                <a:gd name="T12" fmla="*/ 1458 w 1459"/>
                <a:gd name="T13" fmla="*/ 374 h 713"/>
                <a:gd name="T14" fmla="*/ 1402 w 1459"/>
                <a:gd name="T15" fmla="*/ 389 h 713"/>
                <a:gd name="T16" fmla="*/ 1283 w 1459"/>
                <a:gd name="T17" fmla="*/ 451 h 713"/>
                <a:gd name="T18" fmla="*/ 1243 w 1459"/>
                <a:gd name="T19" fmla="*/ 464 h 713"/>
                <a:gd name="T20" fmla="*/ 1187 w 1459"/>
                <a:gd name="T21" fmla="*/ 515 h 713"/>
                <a:gd name="T22" fmla="*/ 1131 w 1459"/>
                <a:gd name="T23" fmla="*/ 494 h 713"/>
                <a:gd name="T24" fmla="*/ 1092 w 1459"/>
                <a:gd name="T25" fmla="*/ 544 h 713"/>
                <a:gd name="T26" fmla="*/ 1113 w 1459"/>
                <a:gd name="T27" fmla="*/ 577 h 713"/>
                <a:gd name="T28" fmla="*/ 974 w 1459"/>
                <a:gd name="T29" fmla="*/ 663 h 713"/>
                <a:gd name="T30" fmla="*/ 916 w 1459"/>
                <a:gd name="T31" fmla="*/ 660 h 713"/>
                <a:gd name="T32" fmla="*/ 853 w 1459"/>
                <a:gd name="T33" fmla="*/ 683 h 713"/>
                <a:gd name="T34" fmla="*/ 760 w 1459"/>
                <a:gd name="T35" fmla="*/ 699 h 713"/>
                <a:gd name="T36" fmla="*/ 674 w 1459"/>
                <a:gd name="T37" fmla="*/ 675 h 713"/>
                <a:gd name="T38" fmla="*/ 598 w 1459"/>
                <a:gd name="T39" fmla="*/ 635 h 713"/>
                <a:gd name="T40" fmla="*/ 413 w 1459"/>
                <a:gd name="T41" fmla="*/ 638 h 713"/>
                <a:gd name="T42" fmla="*/ 344 w 1459"/>
                <a:gd name="T43" fmla="*/ 541 h 713"/>
                <a:gd name="T44" fmla="*/ 206 w 1459"/>
                <a:gd name="T45" fmla="*/ 501 h 713"/>
                <a:gd name="T46" fmla="*/ 141 w 1459"/>
                <a:gd name="T47" fmla="*/ 451 h 713"/>
                <a:gd name="T48" fmla="*/ 112 w 1459"/>
                <a:gd name="T49" fmla="*/ 327 h 713"/>
                <a:gd name="T50" fmla="*/ 64 w 1459"/>
                <a:gd name="T51" fmla="*/ 301 h 713"/>
                <a:gd name="T52" fmla="*/ 45 w 1459"/>
                <a:gd name="T53" fmla="*/ 301 h 713"/>
                <a:gd name="T54" fmla="*/ 11 w 1459"/>
                <a:gd name="T55" fmla="*/ 264 h 713"/>
                <a:gd name="T56" fmla="*/ 24 w 1459"/>
                <a:gd name="T57" fmla="*/ 198 h 713"/>
                <a:gd name="T58" fmla="*/ 296 w 1459"/>
                <a:gd name="T59" fmla="*/ 126 h 713"/>
                <a:gd name="T60" fmla="*/ 460 w 1459"/>
                <a:gd name="T61" fmla="*/ 157 h 713"/>
                <a:gd name="T62" fmla="*/ 467 w 1459"/>
                <a:gd name="T63" fmla="*/ 123 h 713"/>
                <a:gd name="T64" fmla="*/ 464 w 1459"/>
                <a:gd name="T65" fmla="*/ 54 h 713"/>
                <a:gd name="T66" fmla="*/ 650 w 1459"/>
                <a:gd name="T67" fmla="*/ 49 h 713"/>
                <a:gd name="T68" fmla="*/ 700 w 1459"/>
                <a:gd name="T69" fmla="*/ 131 h 713"/>
                <a:gd name="T70" fmla="*/ 796 w 1459"/>
                <a:gd name="T71" fmla="*/ 112 h 713"/>
                <a:gd name="T72" fmla="*/ 930 w 1459"/>
                <a:gd name="T73" fmla="*/ 169 h 713"/>
                <a:gd name="T74" fmla="*/ 1062 w 1459"/>
                <a:gd name="T75" fmla="*/ 216 h 713"/>
                <a:gd name="T76" fmla="*/ 1232 w 1459"/>
                <a:gd name="T77" fmla="*/ 143 h 713"/>
                <a:gd name="T78" fmla="*/ 1315 w 1459"/>
                <a:gd name="T79" fmla="*/ 16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9" h="713">
                  <a:moveTo>
                    <a:pt x="1315" y="160"/>
                  </a:moveTo>
                  <a:lnTo>
                    <a:pt x="1283" y="215"/>
                  </a:lnTo>
                  <a:lnTo>
                    <a:pt x="1286" y="244"/>
                  </a:lnTo>
                  <a:lnTo>
                    <a:pt x="1275" y="275"/>
                  </a:lnTo>
                  <a:lnTo>
                    <a:pt x="1277" y="293"/>
                  </a:lnTo>
                  <a:lnTo>
                    <a:pt x="1287" y="321"/>
                  </a:lnTo>
                  <a:lnTo>
                    <a:pt x="1343" y="329"/>
                  </a:lnTo>
                  <a:lnTo>
                    <a:pt x="1362" y="321"/>
                  </a:lnTo>
                  <a:lnTo>
                    <a:pt x="1402" y="295"/>
                  </a:lnTo>
                  <a:lnTo>
                    <a:pt x="1419" y="318"/>
                  </a:lnTo>
                  <a:lnTo>
                    <a:pt x="1442" y="338"/>
                  </a:lnTo>
                  <a:lnTo>
                    <a:pt x="1448" y="349"/>
                  </a:lnTo>
                  <a:lnTo>
                    <a:pt x="1447" y="367"/>
                  </a:lnTo>
                  <a:lnTo>
                    <a:pt x="1458" y="374"/>
                  </a:lnTo>
                  <a:lnTo>
                    <a:pt x="1459" y="386"/>
                  </a:lnTo>
                  <a:lnTo>
                    <a:pt x="1402" y="389"/>
                  </a:lnTo>
                  <a:lnTo>
                    <a:pt x="1340" y="394"/>
                  </a:lnTo>
                  <a:lnTo>
                    <a:pt x="1283" y="451"/>
                  </a:lnTo>
                  <a:lnTo>
                    <a:pt x="1261" y="465"/>
                  </a:lnTo>
                  <a:lnTo>
                    <a:pt x="1243" y="464"/>
                  </a:lnTo>
                  <a:lnTo>
                    <a:pt x="1210" y="499"/>
                  </a:lnTo>
                  <a:lnTo>
                    <a:pt x="1187" y="515"/>
                  </a:lnTo>
                  <a:lnTo>
                    <a:pt x="1155" y="510"/>
                  </a:lnTo>
                  <a:lnTo>
                    <a:pt x="1131" y="494"/>
                  </a:lnTo>
                  <a:lnTo>
                    <a:pt x="1113" y="499"/>
                  </a:lnTo>
                  <a:lnTo>
                    <a:pt x="1092" y="544"/>
                  </a:lnTo>
                  <a:lnTo>
                    <a:pt x="1111" y="567"/>
                  </a:lnTo>
                  <a:lnTo>
                    <a:pt x="1113" y="577"/>
                  </a:lnTo>
                  <a:lnTo>
                    <a:pt x="1028" y="649"/>
                  </a:lnTo>
                  <a:lnTo>
                    <a:pt x="974" y="663"/>
                  </a:lnTo>
                  <a:lnTo>
                    <a:pt x="952" y="657"/>
                  </a:lnTo>
                  <a:lnTo>
                    <a:pt x="916" y="660"/>
                  </a:lnTo>
                  <a:lnTo>
                    <a:pt x="860" y="675"/>
                  </a:lnTo>
                  <a:lnTo>
                    <a:pt x="853" y="683"/>
                  </a:lnTo>
                  <a:lnTo>
                    <a:pt x="784" y="713"/>
                  </a:lnTo>
                  <a:lnTo>
                    <a:pt x="760" y="699"/>
                  </a:lnTo>
                  <a:lnTo>
                    <a:pt x="737" y="697"/>
                  </a:lnTo>
                  <a:lnTo>
                    <a:pt x="674" y="675"/>
                  </a:lnTo>
                  <a:lnTo>
                    <a:pt x="635" y="646"/>
                  </a:lnTo>
                  <a:lnTo>
                    <a:pt x="598" y="635"/>
                  </a:lnTo>
                  <a:lnTo>
                    <a:pt x="427" y="643"/>
                  </a:lnTo>
                  <a:lnTo>
                    <a:pt x="413" y="638"/>
                  </a:lnTo>
                  <a:lnTo>
                    <a:pt x="379" y="601"/>
                  </a:lnTo>
                  <a:lnTo>
                    <a:pt x="344" y="541"/>
                  </a:lnTo>
                  <a:lnTo>
                    <a:pt x="235" y="496"/>
                  </a:lnTo>
                  <a:lnTo>
                    <a:pt x="206" y="501"/>
                  </a:lnTo>
                  <a:lnTo>
                    <a:pt x="132" y="477"/>
                  </a:lnTo>
                  <a:lnTo>
                    <a:pt x="141" y="451"/>
                  </a:lnTo>
                  <a:lnTo>
                    <a:pt x="137" y="396"/>
                  </a:lnTo>
                  <a:lnTo>
                    <a:pt x="112" y="327"/>
                  </a:lnTo>
                  <a:lnTo>
                    <a:pt x="105" y="313"/>
                  </a:lnTo>
                  <a:lnTo>
                    <a:pt x="64" y="301"/>
                  </a:lnTo>
                  <a:lnTo>
                    <a:pt x="58" y="312"/>
                  </a:lnTo>
                  <a:lnTo>
                    <a:pt x="45" y="301"/>
                  </a:lnTo>
                  <a:lnTo>
                    <a:pt x="37" y="284"/>
                  </a:lnTo>
                  <a:lnTo>
                    <a:pt x="11" y="264"/>
                  </a:lnTo>
                  <a:lnTo>
                    <a:pt x="0" y="230"/>
                  </a:lnTo>
                  <a:lnTo>
                    <a:pt x="24" y="198"/>
                  </a:lnTo>
                  <a:lnTo>
                    <a:pt x="184" y="114"/>
                  </a:lnTo>
                  <a:lnTo>
                    <a:pt x="296" y="126"/>
                  </a:lnTo>
                  <a:lnTo>
                    <a:pt x="325" y="159"/>
                  </a:lnTo>
                  <a:lnTo>
                    <a:pt x="460" y="157"/>
                  </a:lnTo>
                  <a:lnTo>
                    <a:pt x="469" y="152"/>
                  </a:lnTo>
                  <a:lnTo>
                    <a:pt x="467" y="123"/>
                  </a:lnTo>
                  <a:lnTo>
                    <a:pt x="475" y="109"/>
                  </a:lnTo>
                  <a:lnTo>
                    <a:pt x="464" y="54"/>
                  </a:lnTo>
                  <a:lnTo>
                    <a:pt x="526" y="0"/>
                  </a:lnTo>
                  <a:lnTo>
                    <a:pt x="650" y="49"/>
                  </a:lnTo>
                  <a:lnTo>
                    <a:pt x="662" y="105"/>
                  </a:lnTo>
                  <a:lnTo>
                    <a:pt x="700" y="131"/>
                  </a:lnTo>
                  <a:lnTo>
                    <a:pt x="726" y="139"/>
                  </a:lnTo>
                  <a:lnTo>
                    <a:pt x="796" y="112"/>
                  </a:lnTo>
                  <a:lnTo>
                    <a:pt x="820" y="118"/>
                  </a:lnTo>
                  <a:lnTo>
                    <a:pt x="930" y="169"/>
                  </a:lnTo>
                  <a:lnTo>
                    <a:pt x="964" y="199"/>
                  </a:lnTo>
                  <a:lnTo>
                    <a:pt x="1062" y="216"/>
                  </a:lnTo>
                  <a:lnTo>
                    <a:pt x="1160" y="190"/>
                  </a:lnTo>
                  <a:lnTo>
                    <a:pt x="1232" y="143"/>
                  </a:lnTo>
                  <a:lnTo>
                    <a:pt x="1286" y="168"/>
                  </a:lnTo>
                  <a:lnTo>
                    <a:pt x="1315" y="16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304" name="Freeform 28">
              <a:extLst>
                <a:ext uri="{FF2B5EF4-FFF2-40B4-BE49-F238E27FC236}">
                  <a16:creationId xmlns:a16="http://schemas.microsoft.com/office/drawing/2014/main" id="{0144A52A-3D04-504F-AD99-210A3CBB6C7B}"/>
                </a:ext>
              </a:extLst>
            </p:cNvPr>
            <p:cNvSpPr>
              <a:spLocks noChangeAspect="1"/>
            </p:cNvSpPr>
            <p:nvPr/>
          </p:nvSpPr>
          <p:spPr bwMode="gray">
            <a:xfrm>
              <a:off x="6937819" y="3864467"/>
              <a:ext cx="116247" cy="117113"/>
            </a:xfrm>
            <a:custGeom>
              <a:avLst/>
              <a:gdLst>
                <a:gd name="T0" fmla="*/ 237 w 244"/>
                <a:gd name="T1" fmla="*/ 0 h 198"/>
                <a:gd name="T2" fmla="*/ 235 w 244"/>
                <a:gd name="T3" fmla="*/ 30 h 198"/>
                <a:gd name="T4" fmla="*/ 244 w 244"/>
                <a:gd name="T5" fmla="*/ 56 h 198"/>
                <a:gd name="T6" fmla="*/ 241 w 244"/>
                <a:gd name="T7" fmla="*/ 109 h 198"/>
                <a:gd name="T8" fmla="*/ 235 w 244"/>
                <a:gd name="T9" fmla="*/ 115 h 198"/>
                <a:gd name="T10" fmla="*/ 229 w 244"/>
                <a:gd name="T11" fmla="*/ 114 h 198"/>
                <a:gd name="T12" fmla="*/ 213 w 244"/>
                <a:gd name="T13" fmla="*/ 124 h 198"/>
                <a:gd name="T14" fmla="*/ 191 w 244"/>
                <a:gd name="T15" fmla="*/ 131 h 198"/>
                <a:gd name="T16" fmla="*/ 190 w 244"/>
                <a:gd name="T17" fmla="*/ 139 h 198"/>
                <a:gd name="T18" fmla="*/ 167 w 244"/>
                <a:gd name="T19" fmla="*/ 143 h 198"/>
                <a:gd name="T20" fmla="*/ 165 w 244"/>
                <a:gd name="T21" fmla="*/ 169 h 198"/>
                <a:gd name="T22" fmla="*/ 137 w 244"/>
                <a:gd name="T23" fmla="*/ 183 h 198"/>
                <a:gd name="T24" fmla="*/ 125 w 244"/>
                <a:gd name="T25" fmla="*/ 182 h 198"/>
                <a:gd name="T26" fmla="*/ 120 w 244"/>
                <a:gd name="T27" fmla="*/ 193 h 198"/>
                <a:gd name="T28" fmla="*/ 100 w 244"/>
                <a:gd name="T29" fmla="*/ 198 h 198"/>
                <a:gd name="T30" fmla="*/ 88 w 244"/>
                <a:gd name="T31" fmla="*/ 193 h 198"/>
                <a:gd name="T32" fmla="*/ 59 w 244"/>
                <a:gd name="T33" fmla="*/ 195 h 198"/>
                <a:gd name="T34" fmla="*/ 63 w 244"/>
                <a:gd name="T35" fmla="*/ 171 h 198"/>
                <a:gd name="T36" fmla="*/ 57 w 244"/>
                <a:gd name="T37" fmla="*/ 168 h 198"/>
                <a:gd name="T38" fmla="*/ 40 w 244"/>
                <a:gd name="T39" fmla="*/ 180 h 198"/>
                <a:gd name="T40" fmla="*/ 37 w 244"/>
                <a:gd name="T41" fmla="*/ 154 h 198"/>
                <a:gd name="T42" fmla="*/ 29 w 244"/>
                <a:gd name="T43" fmla="*/ 144 h 198"/>
                <a:gd name="T44" fmla="*/ 26 w 244"/>
                <a:gd name="T45" fmla="*/ 118 h 198"/>
                <a:gd name="T46" fmla="*/ 9 w 244"/>
                <a:gd name="T47" fmla="*/ 98 h 198"/>
                <a:gd name="T48" fmla="*/ 0 w 244"/>
                <a:gd name="T49" fmla="*/ 72 h 198"/>
                <a:gd name="T50" fmla="*/ 1 w 244"/>
                <a:gd name="T51" fmla="*/ 56 h 198"/>
                <a:gd name="T52" fmla="*/ 12 w 244"/>
                <a:gd name="T53" fmla="*/ 42 h 198"/>
                <a:gd name="T54" fmla="*/ 42 w 244"/>
                <a:gd name="T55" fmla="*/ 16 h 198"/>
                <a:gd name="T56" fmla="*/ 80 w 244"/>
                <a:gd name="T57" fmla="*/ 19 h 198"/>
                <a:gd name="T58" fmla="*/ 117 w 244"/>
                <a:gd name="T59" fmla="*/ 17 h 198"/>
                <a:gd name="T60" fmla="*/ 125 w 244"/>
                <a:gd name="T61" fmla="*/ 24 h 198"/>
                <a:gd name="T62" fmla="*/ 134 w 244"/>
                <a:gd name="T63" fmla="*/ 21 h 198"/>
                <a:gd name="T64" fmla="*/ 140 w 244"/>
                <a:gd name="T65" fmla="*/ 27 h 198"/>
                <a:gd name="T66" fmla="*/ 165 w 244"/>
                <a:gd name="T67" fmla="*/ 34 h 198"/>
                <a:gd name="T68" fmla="*/ 173 w 244"/>
                <a:gd name="T69" fmla="*/ 33 h 198"/>
                <a:gd name="T70" fmla="*/ 173 w 244"/>
                <a:gd name="T71" fmla="*/ 19 h 198"/>
                <a:gd name="T72" fmla="*/ 187 w 244"/>
                <a:gd name="T73" fmla="*/ 12 h 198"/>
                <a:gd name="T74" fmla="*/ 204 w 244"/>
                <a:gd name="T75" fmla="*/ 8 h 198"/>
                <a:gd name="T76" fmla="*/ 216 w 244"/>
                <a:gd name="T77" fmla="*/ 16 h 198"/>
                <a:gd name="T78" fmla="*/ 237 w 244"/>
                <a:gd name="T79"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4" h="198">
                  <a:moveTo>
                    <a:pt x="237" y="0"/>
                  </a:moveTo>
                  <a:lnTo>
                    <a:pt x="235" y="30"/>
                  </a:lnTo>
                  <a:lnTo>
                    <a:pt x="244" y="56"/>
                  </a:lnTo>
                  <a:lnTo>
                    <a:pt x="241" y="109"/>
                  </a:lnTo>
                  <a:lnTo>
                    <a:pt x="235" y="115"/>
                  </a:lnTo>
                  <a:lnTo>
                    <a:pt x="229" y="114"/>
                  </a:lnTo>
                  <a:lnTo>
                    <a:pt x="213" y="124"/>
                  </a:lnTo>
                  <a:lnTo>
                    <a:pt x="191" y="131"/>
                  </a:lnTo>
                  <a:lnTo>
                    <a:pt x="190" y="139"/>
                  </a:lnTo>
                  <a:lnTo>
                    <a:pt x="167" y="143"/>
                  </a:lnTo>
                  <a:lnTo>
                    <a:pt x="165" y="169"/>
                  </a:lnTo>
                  <a:lnTo>
                    <a:pt x="137" y="183"/>
                  </a:lnTo>
                  <a:lnTo>
                    <a:pt x="125" y="182"/>
                  </a:lnTo>
                  <a:lnTo>
                    <a:pt x="120" y="193"/>
                  </a:lnTo>
                  <a:lnTo>
                    <a:pt x="100" y="198"/>
                  </a:lnTo>
                  <a:lnTo>
                    <a:pt x="88" y="193"/>
                  </a:lnTo>
                  <a:lnTo>
                    <a:pt x="59" y="195"/>
                  </a:lnTo>
                  <a:lnTo>
                    <a:pt x="63" y="171"/>
                  </a:lnTo>
                  <a:lnTo>
                    <a:pt x="57" y="168"/>
                  </a:lnTo>
                  <a:lnTo>
                    <a:pt x="40" y="180"/>
                  </a:lnTo>
                  <a:lnTo>
                    <a:pt x="37" y="154"/>
                  </a:lnTo>
                  <a:lnTo>
                    <a:pt x="29" y="144"/>
                  </a:lnTo>
                  <a:lnTo>
                    <a:pt x="26" y="118"/>
                  </a:lnTo>
                  <a:lnTo>
                    <a:pt x="9" y="98"/>
                  </a:lnTo>
                  <a:lnTo>
                    <a:pt x="0" y="72"/>
                  </a:lnTo>
                  <a:lnTo>
                    <a:pt x="1" y="56"/>
                  </a:lnTo>
                  <a:lnTo>
                    <a:pt x="12" y="42"/>
                  </a:lnTo>
                  <a:lnTo>
                    <a:pt x="42" y="16"/>
                  </a:lnTo>
                  <a:lnTo>
                    <a:pt x="80" y="19"/>
                  </a:lnTo>
                  <a:lnTo>
                    <a:pt x="117" y="17"/>
                  </a:lnTo>
                  <a:lnTo>
                    <a:pt x="125" y="24"/>
                  </a:lnTo>
                  <a:lnTo>
                    <a:pt x="134" y="21"/>
                  </a:lnTo>
                  <a:lnTo>
                    <a:pt x="140" y="27"/>
                  </a:lnTo>
                  <a:lnTo>
                    <a:pt x="165" y="34"/>
                  </a:lnTo>
                  <a:lnTo>
                    <a:pt x="173" y="33"/>
                  </a:lnTo>
                  <a:lnTo>
                    <a:pt x="173" y="19"/>
                  </a:lnTo>
                  <a:lnTo>
                    <a:pt x="187" y="12"/>
                  </a:lnTo>
                  <a:lnTo>
                    <a:pt x="204" y="8"/>
                  </a:lnTo>
                  <a:lnTo>
                    <a:pt x="216" y="16"/>
                  </a:lnTo>
                  <a:lnTo>
                    <a:pt x="237" y="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05" name="Freeform 29">
              <a:extLst>
                <a:ext uri="{FF2B5EF4-FFF2-40B4-BE49-F238E27FC236}">
                  <a16:creationId xmlns:a16="http://schemas.microsoft.com/office/drawing/2014/main" id="{D98601F2-5623-014C-A851-AD0123072BEA}"/>
                </a:ext>
              </a:extLst>
            </p:cNvPr>
            <p:cNvSpPr>
              <a:spLocks noChangeAspect="1"/>
            </p:cNvSpPr>
            <p:nvPr/>
          </p:nvSpPr>
          <p:spPr bwMode="gray">
            <a:xfrm>
              <a:off x="6436204" y="3409456"/>
              <a:ext cx="181535" cy="119031"/>
            </a:xfrm>
            <a:custGeom>
              <a:avLst/>
              <a:gdLst>
                <a:gd name="T0" fmla="*/ 363 w 369"/>
                <a:gd name="T1" fmla="*/ 166 h 203"/>
                <a:gd name="T2" fmla="*/ 363 w 369"/>
                <a:gd name="T3" fmla="*/ 142 h 203"/>
                <a:gd name="T4" fmla="*/ 369 w 369"/>
                <a:gd name="T5" fmla="*/ 127 h 203"/>
                <a:gd name="T6" fmla="*/ 359 w 369"/>
                <a:gd name="T7" fmla="*/ 127 h 203"/>
                <a:gd name="T8" fmla="*/ 355 w 369"/>
                <a:gd name="T9" fmla="*/ 133 h 203"/>
                <a:gd name="T10" fmla="*/ 333 w 369"/>
                <a:gd name="T11" fmla="*/ 132 h 203"/>
                <a:gd name="T12" fmla="*/ 302 w 369"/>
                <a:gd name="T13" fmla="*/ 118 h 203"/>
                <a:gd name="T14" fmla="*/ 295 w 369"/>
                <a:gd name="T15" fmla="*/ 127 h 203"/>
                <a:gd name="T16" fmla="*/ 278 w 369"/>
                <a:gd name="T17" fmla="*/ 121 h 203"/>
                <a:gd name="T18" fmla="*/ 270 w 369"/>
                <a:gd name="T19" fmla="*/ 125 h 203"/>
                <a:gd name="T20" fmla="*/ 258 w 369"/>
                <a:gd name="T21" fmla="*/ 110 h 203"/>
                <a:gd name="T22" fmla="*/ 246 w 369"/>
                <a:gd name="T23" fmla="*/ 112 h 203"/>
                <a:gd name="T24" fmla="*/ 234 w 369"/>
                <a:gd name="T25" fmla="*/ 103 h 203"/>
                <a:gd name="T26" fmla="*/ 234 w 369"/>
                <a:gd name="T27" fmla="*/ 86 h 203"/>
                <a:gd name="T28" fmla="*/ 216 w 369"/>
                <a:gd name="T29" fmla="*/ 90 h 203"/>
                <a:gd name="T30" fmla="*/ 197 w 369"/>
                <a:gd name="T31" fmla="*/ 84 h 203"/>
                <a:gd name="T32" fmla="*/ 194 w 369"/>
                <a:gd name="T33" fmla="*/ 78 h 203"/>
                <a:gd name="T34" fmla="*/ 188 w 369"/>
                <a:gd name="T35" fmla="*/ 79 h 203"/>
                <a:gd name="T36" fmla="*/ 190 w 369"/>
                <a:gd name="T37" fmla="*/ 54 h 203"/>
                <a:gd name="T38" fmla="*/ 177 w 369"/>
                <a:gd name="T39" fmla="*/ 53 h 203"/>
                <a:gd name="T40" fmla="*/ 160 w 369"/>
                <a:gd name="T41" fmla="*/ 66 h 203"/>
                <a:gd name="T42" fmla="*/ 152 w 369"/>
                <a:gd name="T43" fmla="*/ 59 h 203"/>
                <a:gd name="T44" fmla="*/ 146 w 369"/>
                <a:gd name="T45" fmla="*/ 39 h 203"/>
                <a:gd name="T46" fmla="*/ 107 w 369"/>
                <a:gd name="T47" fmla="*/ 10 h 203"/>
                <a:gd name="T48" fmla="*/ 61 w 369"/>
                <a:gd name="T49" fmla="*/ 0 h 203"/>
                <a:gd name="T50" fmla="*/ 56 w 369"/>
                <a:gd name="T51" fmla="*/ 13 h 203"/>
                <a:gd name="T52" fmla="*/ 44 w 369"/>
                <a:gd name="T53" fmla="*/ 3 h 203"/>
                <a:gd name="T54" fmla="*/ 34 w 369"/>
                <a:gd name="T55" fmla="*/ 3 h 203"/>
                <a:gd name="T56" fmla="*/ 12 w 369"/>
                <a:gd name="T57" fmla="*/ 27 h 203"/>
                <a:gd name="T58" fmla="*/ 10 w 369"/>
                <a:gd name="T59" fmla="*/ 56 h 203"/>
                <a:gd name="T60" fmla="*/ 0 w 369"/>
                <a:gd name="T61" fmla="*/ 71 h 203"/>
                <a:gd name="T62" fmla="*/ 0 w 369"/>
                <a:gd name="T63" fmla="*/ 79 h 203"/>
                <a:gd name="T64" fmla="*/ 8 w 369"/>
                <a:gd name="T65" fmla="*/ 81 h 203"/>
                <a:gd name="T66" fmla="*/ 19 w 369"/>
                <a:gd name="T67" fmla="*/ 95 h 203"/>
                <a:gd name="T68" fmla="*/ 25 w 369"/>
                <a:gd name="T69" fmla="*/ 90 h 203"/>
                <a:gd name="T70" fmla="*/ 36 w 369"/>
                <a:gd name="T71" fmla="*/ 96 h 203"/>
                <a:gd name="T72" fmla="*/ 68 w 369"/>
                <a:gd name="T73" fmla="*/ 124 h 203"/>
                <a:gd name="T74" fmla="*/ 112 w 369"/>
                <a:gd name="T75" fmla="*/ 140 h 203"/>
                <a:gd name="T76" fmla="*/ 124 w 369"/>
                <a:gd name="T77" fmla="*/ 152 h 203"/>
                <a:gd name="T78" fmla="*/ 195 w 369"/>
                <a:gd name="T79" fmla="*/ 155 h 203"/>
                <a:gd name="T80" fmla="*/ 224 w 369"/>
                <a:gd name="T81" fmla="*/ 183 h 203"/>
                <a:gd name="T82" fmla="*/ 325 w 369"/>
                <a:gd name="T83" fmla="*/ 203 h 203"/>
                <a:gd name="T84" fmla="*/ 364 w 369"/>
                <a:gd name="T85" fmla="*/ 201 h 203"/>
                <a:gd name="T86" fmla="*/ 369 w 369"/>
                <a:gd name="T87" fmla="*/ 184 h 203"/>
                <a:gd name="T88" fmla="*/ 359 w 369"/>
                <a:gd name="T89" fmla="*/ 172 h 203"/>
                <a:gd name="T90" fmla="*/ 363 w 369"/>
                <a:gd name="T91" fmla="*/ 166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9" h="203">
                  <a:moveTo>
                    <a:pt x="363" y="166"/>
                  </a:moveTo>
                  <a:lnTo>
                    <a:pt x="363" y="142"/>
                  </a:lnTo>
                  <a:lnTo>
                    <a:pt x="369" y="127"/>
                  </a:lnTo>
                  <a:lnTo>
                    <a:pt x="359" y="127"/>
                  </a:lnTo>
                  <a:lnTo>
                    <a:pt x="355" y="133"/>
                  </a:lnTo>
                  <a:lnTo>
                    <a:pt x="333" y="132"/>
                  </a:lnTo>
                  <a:lnTo>
                    <a:pt x="302" y="118"/>
                  </a:lnTo>
                  <a:lnTo>
                    <a:pt x="295" y="127"/>
                  </a:lnTo>
                  <a:lnTo>
                    <a:pt x="278" y="121"/>
                  </a:lnTo>
                  <a:lnTo>
                    <a:pt x="270" y="125"/>
                  </a:lnTo>
                  <a:lnTo>
                    <a:pt x="258" y="110"/>
                  </a:lnTo>
                  <a:lnTo>
                    <a:pt x="246" y="112"/>
                  </a:lnTo>
                  <a:lnTo>
                    <a:pt x="234" y="103"/>
                  </a:lnTo>
                  <a:lnTo>
                    <a:pt x="234" y="86"/>
                  </a:lnTo>
                  <a:lnTo>
                    <a:pt x="216" y="90"/>
                  </a:lnTo>
                  <a:lnTo>
                    <a:pt x="197" y="84"/>
                  </a:lnTo>
                  <a:lnTo>
                    <a:pt x="194" y="78"/>
                  </a:lnTo>
                  <a:lnTo>
                    <a:pt x="188" y="79"/>
                  </a:lnTo>
                  <a:lnTo>
                    <a:pt x="190" y="54"/>
                  </a:lnTo>
                  <a:lnTo>
                    <a:pt x="177" y="53"/>
                  </a:lnTo>
                  <a:lnTo>
                    <a:pt x="160" y="66"/>
                  </a:lnTo>
                  <a:lnTo>
                    <a:pt x="152" y="59"/>
                  </a:lnTo>
                  <a:lnTo>
                    <a:pt x="146" y="39"/>
                  </a:lnTo>
                  <a:lnTo>
                    <a:pt x="107" y="10"/>
                  </a:lnTo>
                  <a:lnTo>
                    <a:pt x="61" y="0"/>
                  </a:lnTo>
                  <a:lnTo>
                    <a:pt x="56" y="13"/>
                  </a:lnTo>
                  <a:lnTo>
                    <a:pt x="44" y="3"/>
                  </a:lnTo>
                  <a:lnTo>
                    <a:pt x="34" y="3"/>
                  </a:lnTo>
                  <a:lnTo>
                    <a:pt x="12" y="27"/>
                  </a:lnTo>
                  <a:lnTo>
                    <a:pt x="10" y="56"/>
                  </a:lnTo>
                  <a:lnTo>
                    <a:pt x="0" y="71"/>
                  </a:lnTo>
                  <a:lnTo>
                    <a:pt x="0" y="79"/>
                  </a:lnTo>
                  <a:lnTo>
                    <a:pt x="8" y="81"/>
                  </a:lnTo>
                  <a:lnTo>
                    <a:pt x="19" y="95"/>
                  </a:lnTo>
                  <a:lnTo>
                    <a:pt x="25" y="90"/>
                  </a:lnTo>
                  <a:lnTo>
                    <a:pt x="36" y="96"/>
                  </a:lnTo>
                  <a:lnTo>
                    <a:pt x="68" y="124"/>
                  </a:lnTo>
                  <a:lnTo>
                    <a:pt x="112" y="140"/>
                  </a:lnTo>
                  <a:lnTo>
                    <a:pt x="124" y="152"/>
                  </a:lnTo>
                  <a:lnTo>
                    <a:pt x="195" y="155"/>
                  </a:lnTo>
                  <a:lnTo>
                    <a:pt x="224" y="183"/>
                  </a:lnTo>
                  <a:lnTo>
                    <a:pt x="325" y="203"/>
                  </a:lnTo>
                  <a:lnTo>
                    <a:pt x="364" y="201"/>
                  </a:lnTo>
                  <a:lnTo>
                    <a:pt x="369" y="184"/>
                  </a:lnTo>
                  <a:lnTo>
                    <a:pt x="359" y="172"/>
                  </a:lnTo>
                  <a:lnTo>
                    <a:pt x="363" y="166"/>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07" name="Freeform 30">
              <a:extLst>
                <a:ext uri="{FF2B5EF4-FFF2-40B4-BE49-F238E27FC236}">
                  <a16:creationId xmlns:a16="http://schemas.microsoft.com/office/drawing/2014/main" id="{5C44F1F5-ADDC-104E-9CF4-C25953AA8202}"/>
                </a:ext>
              </a:extLst>
            </p:cNvPr>
            <p:cNvSpPr>
              <a:spLocks noChangeAspect="1"/>
            </p:cNvSpPr>
            <p:nvPr/>
          </p:nvSpPr>
          <p:spPr bwMode="gray">
            <a:xfrm>
              <a:off x="6632074" y="3470895"/>
              <a:ext cx="74844" cy="49915"/>
            </a:xfrm>
            <a:custGeom>
              <a:avLst/>
              <a:gdLst>
                <a:gd name="T0" fmla="*/ 137 w 156"/>
                <a:gd name="T1" fmla="*/ 25 h 81"/>
                <a:gd name="T2" fmla="*/ 120 w 156"/>
                <a:gd name="T3" fmla="*/ 13 h 81"/>
                <a:gd name="T4" fmla="*/ 105 w 156"/>
                <a:gd name="T5" fmla="*/ 14 h 81"/>
                <a:gd name="T6" fmla="*/ 80 w 156"/>
                <a:gd name="T7" fmla="*/ 9 h 81"/>
                <a:gd name="T8" fmla="*/ 71 w 156"/>
                <a:gd name="T9" fmla="*/ 0 h 81"/>
                <a:gd name="T10" fmla="*/ 54 w 156"/>
                <a:gd name="T11" fmla="*/ 0 h 81"/>
                <a:gd name="T12" fmla="*/ 34 w 156"/>
                <a:gd name="T13" fmla="*/ 13 h 81"/>
                <a:gd name="T14" fmla="*/ 7 w 156"/>
                <a:gd name="T15" fmla="*/ 47 h 81"/>
                <a:gd name="T16" fmla="*/ 0 w 156"/>
                <a:gd name="T17" fmla="*/ 57 h 81"/>
                <a:gd name="T18" fmla="*/ 5 w 156"/>
                <a:gd name="T19" fmla="*/ 73 h 81"/>
                <a:gd name="T20" fmla="*/ 40 w 156"/>
                <a:gd name="T21" fmla="*/ 81 h 81"/>
                <a:gd name="T22" fmla="*/ 148 w 156"/>
                <a:gd name="T23" fmla="*/ 68 h 81"/>
                <a:gd name="T24" fmla="*/ 156 w 156"/>
                <a:gd name="T25" fmla="*/ 65 h 81"/>
                <a:gd name="T26" fmla="*/ 156 w 156"/>
                <a:gd name="T27" fmla="*/ 47 h 81"/>
                <a:gd name="T28" fmla="*/ 136 w 156"/>
                <a:gd name="T29" fmla="*/ 37 h 81"/>
                <a:gd name="T30" fmla="*/ 137 w 156"/>
                <a:gd name="T31" fmla="*/ 2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6" h="81">
                  <a:moveTo>
                    <a:pt x="137" y="25"/>
                  </a:moveTo>
                  <a:lnTo>
                    <a:pt x="120" y="13"/>
                  </a:lnTo>
                  <a:lnTo>
                    <a:pt x="105" y="14"/>
                  </a:lnTo>
                  <a:lnTo>
                    <a:pt x="80" y="9"/>
                  </a:lnTo>
                  <a:lnTo>
                    <a:pt x="71" y="0"/>
                  </a:lnTo>
                  <a:lnTo>
                    <a:pt x="54" y="0"/>
                  </a:lnTo>
                  <a:lnTo>
                    <a:pt x="34" y="13"/>
                  </a:lnTo>
                  <a:lnTo>
                    <a:pt x="7" y="47"/>
                  </a:lnTo>
                  <a:lnTo>
                    <a:pt x="0" y="57"/>
                  </a:lnTo>
                  <a:lnTo>
                    <a:pt x="5" y="73"/>
                  </a:lnTo>
                  <a:lnTo>
                    <a:pt x="40" y="81"/>
                  </a:lnTo>
                  <a:lnTo>
                    <a:pt x="148" y="68"/>
                  </a:lnTo>
                  <a:lnTo>
                    <a:pt x="156" y="65"/>
                  </a:lnTo>
                  <a:lnTo>
                    <a:pt x="156" y="47"/>
                  </a:lnTo>
                  <a:lnTo>
                    <a:pt x="136" y="37"/>
                  </a:lnTo>
                  <a:lnTo>
                    <a:pt x="137" y="25"/>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08" name="Freeform 31">
              <a:extLst>
                <a:ext uri="{FF2B5EF4-FFF2-40B4-BE49-F238E27FC236}">
                  <a16:creationId xmlns:a16="http://schemas.microsoft.com/office/drawing/2014/main" id="{1941F9A1-C476-B844-9260-A27DDD7B5853}"/>
                </a:ext>
              </a:extLst>
            </p:cNvPr>
            <p:cNvSpPr>
              <a:spLocks noChangeAspect="1"/>
            </p:cNvSpPr>
            <p:nvPr/>
          </p:nvSpPr>
          <p:spPr bwMode="gray">
            <a:xfrm>
              <a:off x="6192563" y="2967887"/>
              <a:ext cx="246824" cy="143990"/>
            </a:xfrm>
            <a:custGeom>
              <a:avLst/>
              <a:gdLst>
                <a:gd name="T0" fmla="*/ 75 w 508"/>
                <a:gd name="T1" fmla="*/ 54 h 243"/>
                <a:gd name="T2" fmla="*/ 81 w 508"/>
                <a:gd name="T3" fmla="*/ 31 h 243"/>
                <a:gd name="T4" fmla="*/ 101 w 508"/>
                <a:gd name="T5" fmla="*/ 25 h 243"/>
                <a:gd name="T6" fmla="*/ 143 w 508"/>
                <a:gd name="T7" fmla="*/ 31 h 243"/>
                <a:gd name="T8" fmla="*/ 186 w 508"/>
                <a:gd name="T9" fmla="*/ 48 h 243"/>
                <a:gd name="T10" fmla="*/ 195 w 508"/>
                <a:gd name="T11" fmla="*/ 15 h 243"/>
                <a:gd name="T12" fmla="*/ 225 w 508"/>
                <a:gd name="T13" fmla="*/ 0 h 243"/>
                <a:gd name="T14" fmla="*/ 248 w 508"/>
                <a:gd name="T15" fmla="*/ 15 h 243"/>
                <a:gd name="T16" fmla="*/ 279 w 508"/>
                <a:gd name="T17" fmla="*/ 20 h 243"/>
                <a:gd name="T18" fmla="*/ 361 w 508"/>
                <a:gd name="T19" fmla="*/ 15 h 243"/>
                <a:gd name="T20" fmla="*/ 459 w 508"/>
                <a:gd name="T21" fmla="*/ 29 h 243"/>
                <a:gd name="T22" fmla="*/ 472 w 508"/>
                <a:gd name="T23" fmla="*/ 46 h 243"/>
                <a:gd name="T24" fmla="*/ 508 w 508"/>
                <a:gd name="T25" fmla="*/ 57 h 243"/>
                <a:gd name="T26" fmla="*/ 505 w 508"/>
                <a:gd name="T27" fmla="*/ 79 h 243"/>
                <a:gd name="T28" fmla="*/ 434 w 508"/>
                <a:gd name="T29" fmla="*/ 113 h 243"/>
                <a:gd name="T30" fmla="*/ 415 w 508"/>
                <a:gd name="T31" fmla="*/ 136 h 243"/>
                <a:gd name="T32" fmla="*/ 352 w 508"/>
                <a:gd name="T33" fmla="*/ 149 h 243"/>
                <a:gd name="T34" fmla="*/ 339 w 508"/>
                <a:gd name="T35" fmla="*/ 175 h 243"/>
                <a:gd name="T36" fmla="*/ 328 w 508"/>
                <a:gd name="T37" fmla="*/ 181 h 243"/>
                <a:gd name="T38" fmla="*/ 296 w 508"/>
                <a:gd name="T39" fmla="*/ 183 h 243"/>
                <a:gd name="T40" fmla="*/ 291 w 508"/>
                <a:gd name="T41" fmla="*/ 173 h 243"/>
                <a:gd name="T42" fmla="*/ 283 w 508"/>
                <a:gd name="T43" fmla="*/ 171 h 243"/>
                <a:gd name="T44" fmla="*/ 260 w 508"/>
                <a:gd name="T45" fmla="*/ 173 h 243"/>
                <a:gd name="T46" fmla="*/ 256 w 508"/>
                <a:gd name="T47" fmla="*/ 184 h 243"/>
                <a:gd name="T48" fmla="*/ 220 w 508"/>
                <a:gd name="T49" fmla="*/ 201 h 243"/>
                <a:gd name="T50" fmla="*/ 212 w 508"/>
                <a:gd name="T51" fmla="*/ 217 h 243"/>
                <a:gd name="T52" fmla="*/ 212 w 508"/>
                <a:gd name="T53" fmla="*/ 226 h 243"/>
                <a:gd name="T54" fmla="*/ 195 w 508"/>
                <a:gd name="T55" fmla="*/ 221 h 243"/>
                <a:gd name="T56" fmla="*/ 194 w 508"/>
                <a:gd name="T57" fmla="*/ 235 h 243"/>
                <a:gd name="T58" fmla="*/ 163 w 508"/>
                <a:gd name="T59" fmla="*/ 234 h 243"/>
                <a:gd name="T60" fmla="*/ 137 w 508"/>
                <a:gd name="T61" fmla="*/ 243 h 243"/>
                <a:gd name="T62" fmla="*/ 117 w 508"/>
                <a:gd name="T63" fmla="*/ 240 h 243"/>
                <a:gd name="T64" fmla="*/ 113 w 508"/>
                <a:gd name="T65" fmla="*/ 227 h 243"/>
                <a:gd name="T66" fmla="*/ 100 w 508"/>
                <a:gd name="T67" fmla="*/ 223 h 243"/>
                <a:gd name="T68" fmla="*/ 75 w 508"/>
                <a:gd name="T69" fmla="*/ 230 h 243"/>
                <a:gd name="T70" fmla="*/ 58 w 508"/>
                <a:gd name="T71" fmla="*/ 221 h 243"/>
                <a:gd name="T72" fmla="*/ 3 w 508"/>
                <a:gd name="T73" fmla="*/ 226 h 243"/>
                <a:gd name="T74" fmla="*/ 0 w 508"/>
                <a:gd name="T75" fmla="*/ 218 h 243"/>
                <a:gd name="T76" fmla="*/ 0 w 508"/>
                <a:gd name="T77" fmla="*/ 200 h 243"/>
                <a:gd name="T78" fmla="*/ 19 w 508"/>
                <a:gd name="T79" fmla="*/ 192 h 243"/>
                <a:gd name="T80" fmla="*/ 39 w 508"/>
                <a:gd name="T81" fmla="*/ 192 h 243"/>
                <a:gd name="T82" fmla="*/ 58 w 508"/>
                <a:gd name="T83" fmla="*/ 198 h 243"/>
                <a:gd name="T84" fmla="*/ 78 w 508"/>
                <a:gd name="T85" fmla="*/ 181 h 243"/>
                <a:gd name="T86" fmla="*/ 120 w 508"/>
                <a:gd name="T87" fmla="*/ 183 h 243"/>
                <a:gd name="T88" fmla="*/ 134 w 508"/>
                <a:gd name="T89" fmla="*/ 169 h 243"/>
                <a:gd name="T90" fmla="*/ 152 w 508"/>
                <a:gd name="T91" fmla="*/ 166 h 243"/>
                <a:gd name="T92" fmla="*/ 178 w 508"/>
                <a:gd name="T93" fmla="*/ 147 h 243"/>
                <a:gd name="T94" fmla="*/ 135 w 508"/>
                <a:gd name="T95" fmla="*/ 133 h 243"/>
                <a:gd name="T96" fmla="*/ 118 w 508"/>
                <a:gd name="T97" fmla="*/ 122 h 243"/>
                <a:gd name="T98" fmla="*/ 118 w 508"/>
                <a:gd name="T99" fmla="*/ 115 h 243"/>
                <a:gd name="T100" fmla="*/ 109 w 508"/>
                <a:gd name="T101" fmla="*/ 107 h 243"/>
                <a:gd name="T102" fmla="*/ 96 w 508"/>
                <a:gd name="T103" fmla="*/ 128 h 243"/>
                <a:gd name="T104" fmla="*/ 71 w 508"/>
                <a:gd name="T105" fmla="*/ 122 h 243"/>
                <a:gd name="T106" fmla="*/ 64 w 508"/>
                <a:gd name="T107" fmla="*/ 110 h 243"/>
                <a:gd name="T108" fmla="*/ 45 w 508"/>
                <a:gd name="T109" fmla="*/ 107 h 243"/>
                <a:gd name="T110" fmla="*/ 45 w 508"/>
                <a:gd name="T111" fmla="*/ 100 h 243"/>
                <a:gd name="T112" fmla="*/ 90 w 508"/>
                <a:gd name="T113" fmla="*/ 66 h 243"/>
                <a:gd name="T114" fmla="*/ 88 w 508"/>
                <a:gd name="T115" fmla="*/ 59 h 243"/>
                <a:gd name="T116" fmla="*/ 75 w 508"/>
                <a:gd name="T117" fmla="*/ 54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8" h="243">
                  <a:moveTo>
                    <a:pt x="75" y="54"/>
                  </a:moveTo>
                  <a:lnTo>
                    <a:pt x="81" y="31"/>
                  </a:lnTo>
                  <a:lnTo>
                    <a:pt x="101" y="25"/>
                  </a:lnTo>
                  <a:lnTo>
                    <a:pt x="143" y="31"/>
                  </a:lnTo>
                  <a:lnTo>
                    <a:pt x="186" y="48"/>
                  </a:lnTo>
                  <a:lnTo>
                    <a:pt x="195" y="15"/>
                  </a:lnTo>
                  <a:lnTo>
                    <a:pt x="225" y="0"/>
                  </a:lnTo>
                  <a:lnTo>
                    <a:pt x="248" y="15"/>
                  </a:lnTo>
                  <a:lnTo>
                    <a:pt x="279" y="20"/>
                  </a:lnTo>
                  <a:lnTo>
                    <a:pt x="361" y="15"/>
                  </a:lnTo>
                  <a:lnTo>
                    <a:pt x="459" y="29"/>
                  </a:lnTo>
                  <a:lnTo>
                    <a:pt x="472" y="46"/>
                  </a:lnTo>
                  <a:lnTo>
                    <a:pt x="508" y="57"/>
                  </a:lnTo>
                  <a:lnTo>
                    <a:pt x="505" y="79"/>
                  </a:lnTo>
                  <a:lnTo>
                    <a:pt x="434" y="113"/>
                  </a:lnTo>
                  <a:lnTo>
                    <a:pt x="415" y="136"/>
                  </a:lnTo>
                  <a:lnTo>
                    <a:pt x="352" y="149"/>
                  </a:lnTo>
                  <a:lnTo>
                    <a:pt x="339" y="175"/>
                  </a:lnTo>
                  <a:lnTo>
                    <a:pt x="328" y="181"/>
                  </a:lnTo>
                  <a:lnTo>
                    <a:pt x="296" y="183"/>
                  </a:lnTo>
                  <a:lnTo>
                    <a:pt x="291" y="173"/>
                  </a:lnTo>
                  <a:lnTo>
                    <a:pt x="283" y="171"/>
                  </a:lnTo>
                  <a:lnTo>
                    <a:pt x="260" y="173"/>
                  </a:lnTo>
                  <a:lnTo>
                    <a:pt x="256" y="184"/>
                  </a:lnTo>
                  <a:lnTo>
                    <a:pt x="220" y="201"/>
                  </a:lnTo>
                  <a:lnTo>
                    <a:pt x="212" y="217"/>
                  </a:lnTo>
                  <a:lnTo>
                    <a:pt x="212" y="226"/>
                  </a:lnTo>
                  <a:lnTo>
                    <a:pt x="195" y="221"/>
                  </a:lnTo>
                  <a:lnTo>
                    <a:pt x="194" y="235"/>
                  </a:lnTo>
                  <a:lnTo>
                    <a:pt x="163" y="234"/>
                  </a:lnTo>
                  <a:lnTo>
                    <a:pt x="137" y="243"/>
                  </a:lnTo>
                  <a:lnTo>
                    <a:pt x="117" y="240"/>
                  </a:lnTo>
                  <a:lnTo>
                    <a:pt x="113" y="227"/>
                  </a:lnTo>
                  <a:lnTo>
                    <a:pt x="100" y="223"/>
                  </a:lnTo>
                  <a:lnTo>
                    <a:pt x="75" y="230"/>
                  </a:lnTo>
                  <a:lnTo>
                    <a:pt x="58" y="221"/>
                  </a:lnTo>
                  <a:lnTo>
                    <a:pt x="3" y="226"/>
                  </a:lnTo>
                  <a:lnTo>
                    <a:pt x="0" y="218"/>
                  </a:lnTo>
                  <a:lnTo>
                    <a:pt x="0" y="200"/>
                  </a:lnTo>
                  <a:lnTo>
                    <a:pt x="19" y="192"/>
                  </a:lnTo>
                  <a:lnTo>
                    <a:pt x="39" y="192"/>
                  </a:lnTo>
                  <a:lnTo>
                    <a:pt x="58" y="198"/>
                  </a:lnTo>
                  <a:lnTo>
                    <a:pt x="78" y="181"/>
                  </a:lnTo>
                  <a:lnTo>
                    <a:pt x="120" y="183"/>
                  </a:lnTo>
                  <a:lnTo>
                    <a:pt x="134" y="169"/>
                  </a:lnTo>
                  <a:lnTo>
                    <a:pt x="152" y="166"/>
                  </a:lnTo>
                  <a:lnTo>
                    <a:pt x="178" y="147"/>
                  </a:lnTo>
                  <a:lnTo>
                    <a:pt x="135" y="133"/>
                  </a:lnTo>
                  <a:lnTo>
                    <a:pt x="118" y="122"/>
                  </a:lnTo>
                  <a:lnTo>
                    <a:pt x="118" y="115"/>
                  </a:lnTo>
                  <a:lnTo>
                    <a:pt x="109" y="107"/>
                  </a:lnTo>
                  <a:lnTo>
                    <a:pt x="96" y="128"/>
                  </a:lnTo>
                  <a:lnTo>
                    <a:pt x="71" y="122"/>
                  </a:lnTo>
                  <a:lnTo>
                    <a:pt x="64" y="110"/>
                  </a:lnTo>
                  <a:lnTo>
                    <a:pt x="45" y="107"/>
                  </a:lnTo>
                  <a:lnTo>
                    <a:pt x="45" y="100"/>
                  </a:lnTo>
                  <a:lnTo>
                    <a:pt x="90" y="66"/>
                  </a:lnTo>
                  <a:lnTo>
                    <a:pt x="88" y="59"/>
                  </a:lnTo>
                  <a:lnTo>
                    <a:pt x="75" y="54"/>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09" name="Freeform 32">
              <a:extLst>
                <a:ext uri="{FF2B5EF4-FFF2-40B4-BE49-F238E27FC236}">
                  <a16:creationId xmlns:a16="http://schemas.microsoft.com/office/drawing/2014/main" id="{06799016-7177-114D-B916-936A91AF06B0}"/>
                </a:ext>
              </a:extLst>
            </p:cNvPr>
            <p:cNvSpPr>
              <a:spLocks noChangeAspect="1"/>
            </p:cNvSpPr>
            <p:nvPr/>
          </p:nvSpPr>
          <p:spPr bwMode="gray">
            <a:xfrm>
              <a:off x="5995103" y="3142598"/>
              <a:ext cx="321670" cy="293741"/>
            </a:xfrm>
            <a:custGeom>
              <a:avLst/>
              <a:gdLst>
                <a:gd name="T0" fmla="*/ 29 w 660"/>
                <a:gd name="T1" fmla="*/ 205 h 502"/>
                <a:gd name="T2" fmla="*/ 18 w 660"/>
                <a:gd name="T3" fmla="*/ 235 h 502"/>
                <a:gd name="T4" fmla="*/ 0 w 660"/>
                <a:gd name="T5" fmla="*/ 252 h 502"/>
                <a:gd name="T6" fmla="*/ 12 w 660"/>
                <a:gd name="T7" fmla="*/ 272 h 502"/>
                <a:gd name="T8" fmla="*/ 3 w 660"/>
                <a:gd name="T9" fmla="*/ 312 h 502"/>
                <a:gd name="T10" fmla="*/ 12 w 660"/>
                <a:gd name="T11" fmla="*/ 375 h 502"/>
                <a:gd name="T12" fmla="*/ 40 w 660"/>
                <a:gd name="T13" fmla="*/ 388 h 502"/>
                <a:gd name="T14" fmla="*/ 49 w 660"/>
                <a:gd name="T15" fmla="*/ 437 h 502"/>
                <a:gd name="T16" fmla="*/ 20 w 660"/>
                <a:gd name="T17" fmla="*/ 481 h 502"/>
                <a:gd name="T18" fmla="*/ 137 w 660"/>
                <a:gd name="T19" fmla="*/ 498 h 502"/>
                <a:gd name="T20" fmla="*/ 179 w 660"/>
                <a:gd name="T21" fmla="*/ 493 h 502"/>
                <a:gd name="T22" fmla="*/ 264 w 660"/>
                <a:gd name="T23" fmla="*/ 481 h 502"/>
                <a:gd name="T24" fmla="*/ 267 w 660"/>
                <a:gd name="T25" fmla="*/ 464 h 502"/>
                <a:gd name="T26" fmla="*/ 292 w 660"/>
                <a:gd name="T27" fmla="*/ 405 h 502"/>
                <a:gd name="T28" fmla="*/ 337 w 660"/>
                <a:gd name="T29" fmla="*/ 396 h 502"/>
                <a:gd name="T30" fmla="*/ 352 w 660"/>
                <a:gd name="T31" fmla="*/ 377 h 502"/>
                <a:gd name="T32" fmla="*/ 368 w 660"/>
                <a:gd name="T33" fmla="*/ 377 h 502"/>
                <a:gd name="T34" fmla="*/ 388 w 660"/>
                <a:gd name="T35" fmla="*/ 388 h 502"/>
                <a:gd name="T36" fmla="*/ 403 w 660"/>
                <a:gd name="T37" fmla="*/ 341 h 502"/>
                <a:gd name="T38" fmla="*/ 419 w 660"/>
                <a:gd name="T39" fmla="*/ 304 h 502"/>
                <a:gd name="T40" fmla="*/ 454 w 660"/>
                <a:gd name="T41" fmla="*/ 289 h 502"/>
                <a:gd name="T42" fmla="*/ 437 w 660"/>
                <a:gd name="T43" fmla="*/ 261 h 502"/>
                <a:gd name="T44" fmla="*/ 469 w 660"/>
                <a:gd name="T45" fmla="*/ 258 h 502"/>
                <a:gd name="T46" fmla="*/ 493 w 660"/>
                <a:gd name="T47" fmla="*/ 235 h 502"/>
                <a:gd name="T48" fmla="*/ 513 w 660"/>
                <a:gd name="T49" fmla="*/ 191 h 502"/>
                <a:gd name="T50" fmla="*/ 510 w 660"/>
                <a:gd name="T51" fmla="*/ 154 h 502"/>
                <a:gd name="T52" fmla="*/ 499 w 660"/>
                <a:gd name="T53" fmla="*/ 132 h 502"/>
                <a:gd name="T54" fmla="*/ 527 w 660"/>
                <a:gd name="T55" fmla="*/ 118 h 502"/>
                <a:gd name="T56" fmla="*/ 558 w 660"/>
                <a:gd name="T57" fmla="*/ 97 h 502"/>
                <a:gd name="T58" fmla="*/ 632 w 660"/>
                <a:gd name="T59" fmla="*/ 95 h 502"/>
                <a:gd name="T60" fmla="*/ 645 w 660"/>
                <a:gd name="T61" fmla="*/ 76 h 502"/>
                <a:gd name="T62" fmla="*/ 660 w 660"/>
                <a:gd name="T63" fmla="*/ 64 h 502"/>
                <a:gd name="T64" fmla="*/ 615 w 660"/>
                <a:gd name="T65" fmla="*/ 72 h 502"/>
                <a:gd name="T66" fmla="*/ 598 w 660"/>
                <a:gd name="T67" fmla="*/ 59 h 502"/>
                <a:gd name="T68" fmla="*/ 516 w 660"/>
                <a:gd name="T69" fmla="*/ 103 h 502"/>
                <a:gd name="T70" fmla="*/ 510 w 660"/>
                <a:gd name="T71" fmla="*/ 33 h 502"/>
                <a:gd name="T72" fmla="*/ 499 w 660"/>
                <a:gd name="T73" fmla="*/ 12 h 502"/>
                <a:gd name="T74" fmla="*/ 471 w 660"/>
                <a:gd name="T75" fmla="*/ 1 h 502"/>
                <a:gd name="T76" fmla="*/ 453 w 660"/>
                <a:gd name="T77" fmla="*/ 44 h 502"/>
                <a:gd name="T78" fmla="*/ 417 w 660"/>
                <a:gd name="T79" fmla="*/ 49 h 502"/>
                <a:gd name="T80" fmla="*/ 411 w 660"/>
                <a:gd name="T81" fmla="*/ 72 h 502"/>
                <a:gd name="T82" fmla="*/ 389 w 660"/>
                <a:gd name="T83" fmla="*/ 67 h 502"/>
                <a:gd name="T84" fmla="*/ 334 w 660"/>
                <a:gd name="T85" fmla="*/ 69 h 502"/>
                <a:gd name="T86" fmla="*/ 266 w 660"/>
                <a:gd name="T87" fmla="*/ 64 h 502"/>
                <a:gd name="T88" fmla="*/ 235 w 660"/>
                <a:gd name="T89" fmla="*/ 58 h 502"/>
                <a:gd name="T90" fmla="*/ 205 w 660"/>
                <a:gd name="T91" fmla="*/ 69 h 502"/>
                <a:gd name="T92" fmla="*/ 188 w 660"/>
                <a:gd name="T93" fmla="*/ 123 h 502"/>
                <a:gd name="T94" fmla="*/ 123 w 660"/>
                <a:gd name="T95" fmla="*/ 149 h 502"/>
                <a:gd name="T96" fmla="*/ 120 w 660"/>
                <a:gd name="T97" fmla="*/ 174 h 502"/>
                <a:gd name="T98" fmla="*/ 83 w 660"/>
                <a:gd name="T99" fmla="*/ 186 h 502"/>
                <a:gd name="T100" fmla="*/ 48 w 660"/>
                <a:gd name="T101" fmla="*/ 173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60" h="502">
                  <a:moveTo>
                    <a:pt x="35" y="162"/>
                  </a:moveTo>
                  <a:lnTo>
                    <a:pt x="29" y="205"/>
                  </a:lnTo>
                  <a:lnTo>
                    <a:pt x="18" y="224"/>
                  </a:lnTo>
                  <a:lnTo>
                    <a:pt x="18" y="235"/>
                  </a:lnTo>
                  <a:lnTo>
                    <a:pt x="0" y="244"/>
                  </a:lnTo>
                  <a:lnTo>
                    <a:pt x="0" y="252"/>
                  </a:lnTo>
                  <a:lnTo>
                    <a:pt x="0" y="267"/>
                  </a:lnTo>
                  <a:lnTo>
                    <a:pt x="12" y="272"/>
                  </a:lnTo>
                  <a:lnTo>
                    <a:pt x="12" y="281"/>
                  </a:lnTo>
                  <a:lnTo>
                    <a:pt x="3" y="312"/>
                  </a:lnTo>
                  <a:lnTo>
                    <a:pt x="12" y="335"/>
                  </a:lnTo>
                  <a:lnTo>
                    <a:pt x="12" y="375"/>
                  </a:lnTo>
                  <a:lnTo>
                    <a:pt x="20" y="384"/>
                  </a:lnTo>
                  <a:lnTo>
                    <a:pt x="40" y="388"/>
                  </a:lnTo>
                  <a:lnTo>
                    <a:pt x="54" y="409"/>
                  </a:lnTo>
                  <a:lnTo>
                    <a:pt x="49" y="437"/>
                  </a:lnTo>
                  <a:lnTo>
                    <a:pt x="31" y="459"/>
                  </a:lnTo>
                  <a:lnTo>
                    <a:pt x="20" y="481"/>
                  </a:lnTo>
                  <a:lnTo>
                    <a:pt x="91" y="502"/>
                  </a:lnTo>
                  <a:lnTo>
                    <a:pt x="137" y="498"/>
                  </a:lnTo>
                  <a:lnTo>
                    <a:pt x="165" y="502"/>
                  </a:lnTo>
                  <a:lnTo>
                    <a:pt x="179" y="493"/>
                  </a:lnTo>
                  <a:lnTo>
                    <a:pt x="212" y="494"/>
                  </a:lnTo>
                  <a:lnTo>
                    <a:pt x="264" y="481"/>
                  </a:lnTo>
                  <a:lnTo>
                    <a:pt x="271" y="476"/>
                  </a:lnTo>
                  <a:lnTo>
                    <a:pt x="267" y="464"/>
                  </a:lnTo>
                  <a:lnTo>
                    <a:pt x="272" y="425"/>
                  </a:lnTo>
                  <a:lnTo>
                    <a:pt x="292" y="405"/>
                  </a:lnTo>
                  <a:lnTo>
                    <a:pt x="334" y="401"/>
                  </a:lnTo>
                  <a:lnTo>
                    <a:pt x="337" y="396"/>
                  </a:lnTo>
                  <a:lnTo>
                    <a:pt x="329" y="392"/>
                  </a:lnTo>
                  <a:lnTo>
                    <a:pt x="352" y="377"/>
                  </a:lnTo>
                  <a:lnTo>
                    <a:pt x="371" y="380"/>
                  </a:lnTo>
                  <a:lnTo>
                    <a:pt x="368" y="377"/>
                  </a:lnTo>
                  <a:lnTo>
                    <a:pt x="372" y="374"/>
                  </a:lnTo>
                  <a:lnTo>
                    <a:pt x="388" y="388"/>
                  </a:lnTo>
                  <a:lnTo>
                    <a:pt x="406" y="369"/>
                  </a:lnTo>
                  <a:lnTo>
                    <a:pt x="403" y="341"/>
                  </a:lnTo>
                  <a:lnTo>
                    <a:pt x="411" y="330"/>
                  </a:lnTo>
                  <a:lnTo>
                    <a:pt x="419" y="304"/>
                  </a:lnTo>
                  <a:lnTo>
                    <a:pt x="436" y="303"/>
                  </a:lnTo>
                  <a:lnTo>
                    <a:pt x="454" y="289"/>
                  </a:lnTo>
                  <a:lnTo>
                    <a:pt x="445" y="269"/>
                  </a:lnTo>
                  <a:lnTo>
                    <a:pt x="437" y="261"/>
                  </a:lnTo>
                  <a:lnTo>
                    <a:pt x="437" y="253"/>
                  </a:lnTo>
                  <a:lnTo>
                    <a:pt x="469" y="258"/>
                  </a:lnTo>
                  <a:lnTo>
                    <a:pt x="484" y="252"/>
                  </a:lnTo>
                  <a:lnTo>
                    <a:pt x="493" y="235"/>
                  </a:lnTo>
                  <a:lnTo>
                    <a:pt x="486" y="225"/>
                  </a:lnTo>
                  <a:lnTo>
                    <a:pt x="513" y="191"/>
                  </a:lnTo>
                  <a:lnTo>
                    <a:pt x="515" y="173"/>
                  </a:lnTo>
                  <a:lnTo>
                    <a:pt x="510" y="154"/>
                  </a:lnTo>
                  <a:lnTo>
                    <a:pt x="496" y="140"/>
                  </a:lnTo>
                  <a:lnTo>
                    <a:pt x="499" y="132"/>
                  </a:lnTo>
                  <a:lnTo>
                    <a:pt x="515" y="117"/>
                  </a:lnTo>
                  <a:lnTo>
                    <a:pt x="527" y="118"/>
                  </a:lnTo>
                  <a:lnTo>
                    <a:pt x="537" y="105"/>
                  </a:lnTo>
                  <a:lnTo>
                    <a:pt x="558" y="97"/>
                  </a:lnTo>
                  <a:lnTo>
                    <a:pt x="609" y="91"/>
                  </a:lnTo>
                  <a:lnTo>
                    <a:pt x="632" y="95"/>
                  </a:lnTo>
                  <a:lnTo>
                    <a:pt x="654" y="84"/>
                  </a:lnTo>
                  <a:lnTo>
                    <a:pt x="645" y="76"/>
                  </a:lnTo>
                  <a:lnTo>
                    <a:pt x="659" y="71"/>
                  </a:lnTo>
                  <a:lnTo>
                    <a:pt x="660" y="64"/>
                  </a:lnTo>
                  <a:lnTo>
                    <a:pt x="645" y="63"/>
                  </a:lnTo>
                  <a:lnTo>
                    <a:pt x="615" y="72"/>
                  </a:lnTo>
                  <a:lnTo>
                    <a:pt x="611" y="61"/>
                  </a:lnTo>
                  <a:lnTo>
                    <a:pt x="598" y="59"/>
                  </a:lnTo>
                  <a:lnTo>
                    <a:pt x="564" y="83"/>
                  </a:lnTo>
                  <a:lnTo>
                    <a:pt x="516" y="103"/>
                  </a:lnTo>
                  <a:lnTo>
                    <a:pt x="503" y="76"/>
                  </a:lnTo>
                  <a:lnTo>
                    <a:pt x="510" y="33"/>
                  </a:lnTo>
                  <a:lnTo>
                    <a:pt x="498" y="29"/>
                  </a:lnTo>
                  <a:lnTo>
                    <a:pt x="499" y="12"/>
                  </a:lnTo>
                  <a:lnTo>
                    <a:pt x="481" y="0"/>
                  </a:lnTo>
                  <a:lnTo>
                    <a:pt x="471" y="1"/>
                  </a:lnTo>
                  <a:lnTo>
                    <a:pt x="448" y="33"/>
                  </a:lnTo>
                  <a:lnTo>
                    <a:pt x="453" y="44"/>
                  </a:lnTo>
                  <a:lnTo>
                    <a:pt x="445" y="54"/>
                  </a:lnTo>
                  <a:lnTo>
                    <a:pt x="417" y="49"/>
                  </a:lnTo>
                  <a:lnTo>
                    <a:pt x="410" y="59"/>
                  </a:lnTo>
                  <a:lnTo>
                    <a:pt x="411" y="72"/>
                  </a:lnTo>
                  <a:lnTo>
                    <a:pt x="408" y="76"/>
                  </a:lnTo>
                  <a:lnTo>
                    <a:pt x="389" y="67"/>
                  </a:lnTo>
                  <a:lnTo>
                    <a:pt x="349" y="86"/>
                  </a:lnTo>
                  <a:lnTo>
                    <a:pt x="334" y="69"/>
                  </a:lnTo>
                  <a:lnTo>
                    <a:pt x="276" y="63"/>
                  </a:lnTo>
                  <a:lnTo>
                    <a:pt x="266" y="64"/>
                  </a:lnTo>
                  <a:lnTo>
                    <a:pt x="242" y="54"/>
                  </a:lnTo>
                  <a:lnTo>
                    <a:pt x="235" y="58"/>
                  </a:lnTo>
                  <a:lnTo>
                    <a:pt x="232" y="69"/>
                  </a:lnTo>
                  <a:lnTo>
                    <a:pt x="205" y="69"/>
                  </a:lnTo>
                  <a:lnTo>
                    <a:pt x="196" y="81"/>
                  </a:lnTo>
                  <a:lnTo>
                    <a:pt x="188" y="123"/>
                  </a:lnTo>
                  <a:lnTo>
                    <a:pt x="151" y="145"/>
                  </a:lnTo>
                  <a:lnTo>
                    <a:pt x="123" y="149"/>
                  </a:lnTo>
                  <a:lnTo>
                    <a:pt x="128" y="159"/>
                  </a:lnTo>
                  <a:lnTo>
                    <a:pt x="120" y="174"/>
                  </a:lnTo>
                  <a:lnTo>
                    <a:pt x="105" y="185"/>
                  </a:lnTo>
                  <a:lnTo>
                    <a:pt x="83" y="186"/>
                  </a:lnTo>
                  <a:lnTo>
                    <a:pt x="68" y="173"/>
                  </a:lnTo>
                  <a:lnTo>
                    <a:pt x="48" y="173"/>
                  </a:lnTo>
                  <a:lnTo>
                    <a:pt x="35" y="162"/>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10" name="Freeform 33">
              <a:extLst>
                <a:ext uri="{FF2B5EF4-FFF2-40B4-BE49-F238E27FC236}">
                  <a16:creationId xmlns:a16="http://schemas.microsoft.com/office/drawing/2014/main" id="{DF0E983B-DCF8-0C49-ABC9-9BF02096FFF9}"/>
                </a:ext>
              </a:extLst>
            </p:cNvPr>
            <p:cNvSpPr>
              <a:spLocks noChangeAspect="1"/>
            </p:cNvSpPr>
            <p:nvPr/>
          </p:nvSpPr>
          <p:spPr bwMode="gray">
            <a:xfrm>
              <a:off x="6149567" y="3048521"/>
              <a:ext cx="171981" cy="151671"/>
            </a:xfrm>
            <a:custGeom>
              <a:avLst/>
              <a:gdLst>
                <a:gd name="T0" fmla="*/ 293 w 354"/>
                <a:gd name="T1" fmla="*/ 138 h 263"/>
                <a:gd name="T2" fmla="*/ 306 w 354"/>
                <a:gd name="T3" fmla="*/ 160 h 263"/>
                <a:gd name="T4" fmla="*/ 344 w 354"/>
                <a:gd name="T5" fmla="*/ 165 h 263"/>
                <a:gd name="T6" fmla="*/ 354 w 354"/>
                <a:gd name="T7" fmla="*/ 202 h 263"/>
                <a:gd name="T8" fmla="*/ 344 w 354"/>
                <a:gd name="T9" fmla="*/ 231 h 263"/>
                <a:gd name="T10" fmla="*/ 330 w 354"/>
                <a:gd name="T11" fmla="*/ 223 h 263"/>
                <a:gd name="T12" fmla="*/ 296 w 354"/>
                <a:gd name="T13" fmla="*/ 221 h 263"/>
                <a:gd name="T14" fmla="*/ 249 w 354"/>
                <a:gd name="T15" fmla="*/ 243 h 263"/>
                <a:gd name="T16" fmla="*/ 188 w 354"/>
                <a:gd name="T17" fmla="*/ 236 h 263"/>
                <a:gd name="T18" fmla="*/ 183 w 354"/>
                <a:gd name="T19" fmla="*/ 189 h 263"/>
                <a:gd name="T20" fmla="*/ 166 w 354"/>
                <a:gd name="T21" fmla="*/ 160 h 263"/>
                <a:gd name="T22" fmla="*/ 133 w 354"/>
                <a:gd name="T23" fmla="*/ 193 h 263"/>
                <a:gd name="T24" fmla="*/ 130 w 354"/>
                <a:gd name="T25" fmla="*/ 214 h 263"/>
                <a:gd name="T26" fmla="*/ 95 w 354"/>
                <a:gd name="T27" fmla="*/ 219 h 263"/>
                <a:gd name="T28" fmla="*/ 93 w 354"/>
                <a:gd name="T29" fmla="*/ 236 h 263"/>
                <a:gd name="T30" fmla="*/ 34 w 354"/>
                <a:gd name="T31" fmla="*/ 246 h 263"/>
                <a:gd name="T32" fmla="*/ 20 w 354"/>
                <a:gd name="T33" fmla="*/ 224 h 263"/>
                <a:gd name="T34" fmla="*/ 24 w 354"/>
                <a:gd name="T35" fmla="*/ 202 h 263"/>
                <a:gd name="T36" fmla="*/ 33 w 354"/>
                <a:gd name="T37" fmla="*/ 144 h 263"/>
                <a:gd name="T38" fmla="*/ 16 w 354"/>
                <a:gd name="T39" fmla="*/ 121 h 263"/>
                <a:gd name="T40" fmla="*/ 7 w 354"/>
                <a:gd name="T41" fmla="*/ 102 h 263"/>
                <a:gd name="T42" fmla="*/ 54 w 354"/>
                <a:gd name="T43" fmla="*/ 88 h 263"/>
                <a:gd name="T44" fmla="*/ 88 w 354"/>
                <a:gd name="T45" fmla="*/ 53 h 263"/>
                <a:gd name="T46" fmla="*/ 93 w 354"/>
                <a:gd name="T47" fmla="*/ 23 h 263"/>
                <a:gd name="T48" fmla="*/ 144 w 354"/>
                <a:gd name="T49" fmla="*/ 0 h 263"/>
                <a:gd name="T50" fmla="*/ 156 w 354"/>
                <a:gd name="T51" fmla="*/ 20 h 263"/>
                <a:gd name="T52" fmla="*/ 146 w 354"/>
                <a:gd name="T53" fmla="*/ 46 h 263"/>
                <a:gd name="T54" fmla="*/ 166 w 354"/>
                <a:gd name="T55" fmla="*/ 48 h 263"/>
                <a:gd name="T56" fmla="*/ 127 w 354"/>
                <a:gd name="T57" fmla="*/ 59 h 263"/>
                <a:gd name="T58" fmla="*/ 88 w 354"/>
                <a:gd name="T59" fmla="*/ 67 h 263"/>
                <a:gd name="T60" fmla="*/ 91 w 354"/>
                <a:gd name="T61" fmla="*/ 93 h 263"/>
                <a:gd name="T62" fmla="*/ 163 w 354"/>
                <a:gd name="T63" fmla="*/ 97 h 263"/>
                <a:gd name="T64" fmla="*/ 201 w 354"/>
                <a:gd name="T65" fmla="*/ 94 h 263"/>
                <a:gd name="T66" fmla="*/ 225 w 354"/>
                <a:gd name="T67" fmla="*/ 110 h 263"/>
                <a:gd name="T68" fmla="*/ 282 w 354"/>
                <a:gd name="T69" fmla="*/ 102 h 263"/>
                <a:gd name="T70" fmla="*/ 300 w 354"/>
                <a:gd name="T71" fmla="*/ 9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4" h="263">
                  <a:moveTo>
                    <a:pt x="300" y="93"/>
                  </a:moveTo>
                  <a:lnTo>
                    <a:pt x="293" y="138"/>
                  </a:lnTo>
                  <a:lnTo>
                    <a:pt x="296" y="153"/>
                  </a:lnTo>
                  <a:lnTo>
                    <a:pt x="306" y="160"/>
                  </a:lnTo>
                  <a:lnTo>
                    <a:pt x="339" y="156"/>
                  </a:lnTo>
                  <a:lnTo>
                    <a:pt x="344" y="165"/>
                  </a:lnTo>
                  <a:lnTo>
                    <a:pt x="344" y="182"/>
                  </a:lnTo>
                  <a:lnTo>
                    <a:pt x="354" y="202"/>
                  </a:lnTo>
                  <a:lnTo>
                    <a:pt x="354" y="231"/>
                  </a:lnTo>
                  <a:lnTo>
                    <a:pt x="344" y="231"/>
                  </a:lnTo>
                  <a:lnTo>
                    <a:pt x="345" y="224"/>
                  </a:lnTo>
                  <a:lnTo>
                    <a:pt x="330" y="223"/>
                  </a:lnTo>
                  <a:lnTo>
                    <a:pt x="300" y="232"/>
                  </a:lnTo>
                  <a:lnTo>
                    <a:pt x="296" y="221"/>
                  </a:lnTo>
                  <a:lnTo>
                    <a:pt x="283" y="219"/>
                  </a:lnTo>
                  <a:lnTo>
                    <a:pt x="249" y="243"/>
                  </a:lnTo>
                  <a:lnTo>
                    <a:pt x="201" y="263"/>
                  </a:lnTo>
                  <a:lnTo>
                    <a:pt x="188" y="236"/>
                  </a:lnTo>
                  <a:lnTo>
                    <a:pt x="195" y="193"/>
                  </a:lnTo>
                  <a:lnTo>
                    <a:pt x="183" y="189"/>
                  </a:lnTo>
                  <a:lnTo>
                    <a:pt x="184" y="172"/>
                  </a:lnTo>
                  <a:lnTo>
                    <a:pt x="166" y="160"/>
                  </a:lnTo>
                  <a:lnTo>
                    <a:pt x="156" y="161"/>
                  </a:lnTo>
                  <a:lnTo>
                    <a:pt x="133" y="193"/>
                  </a:lnTo>
                  <a:lnTo>
                    <a:pt x="138" y="204"/>
                  </a:lnTo>
                  <a:lnTo>
                    <a:pt x="130" y="214"/>
                  </a:lnTo>
                  <a:lnTo>
                    <a:pt x="102" y="209"/>
                  </a:lnTo>
                  <a:lnTo>
                    <a:pt x="95" y="219"/>
                  </a:lnTo>
                  <a:lnTo>
                    <a:pt x="96" y="232"/>
                  </a:lnTo>
                  <a:lnTo>
                    <a:pt x="93" y="236"/>
                  </a:lnTo>
                  <a:lnTo>
                    <a:pt x="74" y="227"/>
                  </a:lnTo>
                  <a:lnTo>
                    <a:pt x="34" y="246"/>
                  </a:lnTo>
                  <a:lnTo>
                    <a:pt x="19" y="229"/>
                  </a:lnTo>
                  <a:lnTo>
                    <a:pt x="20" y="224"/>
                  </a:lnTo>
                  <a:lnTo>
                    <a:pt x="19" y="214"/>
                  </a:lnTo>
                  <a:lnTo>
                    <a:pt x="24" y="202"/>
                  </a:lnTo>
                  <a:lnTo>
                    <a:pt x="45" y="173"/>
                  </a:lnTo>
                  <a:lnTo>
                    <a:pt x="33" y="144"/>
                  </a:lnTo>
                  <a:lnTo>
                    <a:pt x="34" y="124"/>
                  </a:lnTo>
                  <a:lnTo>
                    <a:pt x="16" y="121"/>
                  </a:lnTo>
                  <a:lnTo>
                    <a:pt x="0" y="105"/>
                  </a:lnTo>
                  <a:lnTo>
                    <a:pt x="7" y="102"/>
                  </a:lnTo>
                  <a:lnTo>
                    <a:pt x="8" y="88"/>
                  </a:lnTo>
                  <a:lnTo>
                    <a:pt x="54" y="88"/>
                  </a:lnTo>
                  <a:lnTo>
                    <a:pt x="64" y="63"/>
                  </a:lnTo>
                  <a:lnTo>
                    <a:pt x="88" y="53"/>
                  </a:lnTo>
                  <a:lnTo>
                    <a:pt x="87" y="34"/>
                  </a:lnTo>
                  <a:lnTo>
                    <a:pt x="93" y="23"/>
                  </a:lnTo>
                  <a:lnTo>
                    <a:pt x="112" y="25"/>
                  </a:lnTo>
                  <a:lnTo>
                    <a:pt x="144" y="0"/>
                  </a:lnTo>
                  <a:lnTo>
                    <a:pt x="149" y="0"/>
                  </a:lnTo>
                  <a:lnTo>
                    <a:pt x="156" y="20"/>
                  </a:lnTo>
                  <a:lnTo>
                    <a:pt x="142" y="33"/>
                  </a:lnTo>
                  <a:lnTo>
                    <a:pt x="146" y="46"/>
                  </a:lnTo>
                  <a:lnTo>
                    <a:pt x="149" y="51"/>
                  </a:lnTo>
                  <a:lnTo>
                    <a:pt x="166" y="48"/>
                  </a:lnTo>
                  <a:lnTo>
                    <a:pt x="146" y="65"/>
                  </a:lnTo>
                  <a:lnTo>
                    <a:pt x="127" y="59"/>
                  </a:lnTo>
                  <a:lnTo>
                    <a:pt x="107" y="59"/>
                  </a:lnTo>
                  <a:lnTo>
                    <a:pt x="88" y="67"/>
                  </a:lnTo>
                  <a:lnTo>
                    <a:pt x="88" y="85"/>
                  </a:lnTo>
                  <a:lnTo>
                    <a:pt x="91" y="93"/>
                  </a:lnTo>
                  <a:lnTo>
                    <a:pt x="146" y="88"/>
                  </a:lnTo>
                  <a:lnTo>
                    <a:pt x="163" y="97"/>
                  </a:lnTo>
                  <a:lnTo>
                    <a:pt x="188" y="90"/>
                  </a:lnTo>
                  <a:lnTo>
                    <a:pt x="201" y="94"/>
                  </a:lnTo>
                  <a:lnTo>
                    <a:pt x="205" y="107"/>
                  </a:lnTo>
                  <a:lnTo>
                    <a:pt x="225" y="110"/>
                  </a:lnTo>
                  <a:lnTo>
                    <a:pt x="251" y="101"/>
                  </a:lnTo>
                  <a:lnTo>
                    <a:pt x="282" y="102"/>
                  </a:lnTo>
                  <a:lnTo>
                    <a:pt x="283" y="88"/>
                  </a:lnTo>
                  <a:lnTo>
                    <a:pt x="300" y="93"/>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12" name="Freeform 34">
              <a:extLst>
                <a:ext uri="{FF2B5EF4-FFF2-40B4-BE49-F238E27FC236}">
                  <a16:creationId xmlns:a16="http://schemas.microsoft.com/office/drawing/2014/main" id="{9CA2834E-D98D-EA49-A85C-69F076262CDE}"/>
                </a:ext>
              </a:extLst>
            </p:cNvPr>
            <p:cNvSpPr>
              <a:spLocks noChangeAspect="1"/>
            </p:cNvSpPr>
            <p:nvPr/>
          </p:nvSpPr>
          <p:spPr bwMode="gray">
            <a:xfrm>
              <a:off x="5815158" y="2985165"/>
              <a:ext cx="318484" cy="264944"/>
            </a:xfrm>
            <a:custGeom>
              <a:avLst/>
              <a:gdLst>
                <a:gd name="T0" fmla="*/ 95 w 654"/>
                <a:gd name="T1" fmla="*/ 318 h 452"/>
                <a:gd name="T2" fmla="*/ 176 w 654"/>
                <a:gd name="T3" fmla="*/ 284 h 452"/>
                <a:gd name="T4" fmla="*/ 213 w 654"/>
                <a:gd name="T5" fmla="*/ 273 h 452"/>
                <a:gd name="T6" fmla="*/ 276 w 654"/>
                <a:gd name="T7" fmla="*/ 310 h 452"/>
                <a:gd name="T8" fmla="*/ 326 w 654"/>
                <a:gd name="T9" fmla="*/ 337 h 452"/>
                <a:gd name="T10" fmla="*/ 402 w 654"/>
                <a:gd name="T11" fmla="*/ 371 h 452"/>
                <a:gd name="T12" fmla="*/ 406 w 654"/>
                <a:gd name="T13" fmla="*/ 428 h 452"/>
                <a:gd name="T14" fmla="*/ 439 w 654"/>
                <a:gd name="T15" fmla="*/ 439 h 452"/>
                <a:gd name="T16" fmla="*/ 476 w 654"/>
                <a:gd name="T17" fmla="*/ 451 h 452"/>
                <a:gd name="T18" fmla="*/ 499 w 654"/>
                <a:gd name="T19" fmla="*/ 425 h 452"/>
                <a:gd name="T20" fmla="*/ 522 w 654"/>
                <a:gd name="T21" fmla="*/ 411 h 452"/>
                <a:gd name="T22" fmla="*/ 567 w 654"/>
                <a:gd name="T23" fmla="*/ 347 h 452"/>
                <a:gd name="T24" fmla="*/ 603 w 654"/>
                <a:gd name="T25" fmla="*/ 335 h 452"/>
                <a:gd name="T26" fmla="*/ 613 w 654"/>
                <a:gd name="T27" fmla="*/ 320 h 452"/>
                <a:gd name="T28" fmla="*/ 647 w 654"/>
                <a:gd name="T29" fmla="*/ 329 h 452"/>
                <a:gd name="T30" fmla="*/ 654 w 654"/>
                <a:gd name="T31" fmla="*/ 291 h 452"/>
                <a:gd name="T32" fmla="*/ 620 w 654"/>
                <a:gd name="T33" fmla="*/ 271 h 452"/>
                <a:gd name="T34" fmla="*/ 561 w 654"/>
                <a:gd name="T35" fmla="*/ 237 h 452"/>
                <a:gd name="T36" fmla="*/ 510 w 654"/>
                <a:gd name="T37" fmla="*/ 205 h 452"/>
                <a:gd name="T38" fmla="*/ 459 w 654"/>
                <a:gd name="T39" fmla="*/ 163 h 452"/>
                <a:gd name="T40" fmla="*/ 442 w 654"/>
                <a:gd name="T41" fmla="*/ 127 h 452"/>
                <a:gd name="T42" fmla="*/ 420 w 654"/>
                <a:gd name="T43" fmla="*/ 90 h 452"/>
                <a:gd name="T44" fmla="*/ 352 w 654"/>
                <a:gd name="T45" fmla="*/ 88 h 452"/>
                <a:gd name="T46" fmla="*/ 351 w 654"/>
                <a:gd name="T47" fmla="*/ 63 h 452"/>
                <a:gd name="T48" fmla="*/ 346 w 654"/>
                <a:gd name="T49" fmla="*/ 52 h 452"/>
                <a:gd name="T50" fmla="*/ 315 w 654"/>
                <a:gd name="T51" fmla="*/ 29 h 452"/>
                <a:gd name="T52" fmla="*/ 276 w 654"/>
                <a:gd name="T53" fmla="*/ 8 h 452"/>
                <a:gd name="T54" fmla="*/ 275 w 654"/>
                <a:gd name="T55" fmla="*/ 29 h 452"/>
                <a:gd name="T56" fmla="*/ 250 w 654"/>
                <a:gd name="T57" fmla="*/ 22 h 452"/>
                <a:gd name="T58" fmla="*/ 222 w 654"/>
                <a:gd name="T59" fmla="*/ 39 h 452"/>
                <a:gd name="T60" fmla="*/ 205 w 654"/>
                <a:gd name="T61" fmla="*/ 59 h 452"/>
                <a:gd name="T62" fmla="*/ 207 w 654"/>
                <a:gd name="T63" fmla="*/ 97 h 452"/>
                <a:gd name="T64" fmla="*/ 151 w 654"/>
                <a:gd name="T65" fmla="*/ 93 h 452"/>
                <a:gd name="T66" fmla="*/ 102 w 654"/>
                <a:gd name="T67" fmla="*/ 39 h 452"/>
                <a:gd name="T68" fmla="*/ 26 w 654"/>
                <a:gd name="T69" fmla="*/ 39 h 452"/>
                <a:gd name="T70" fmla="*/ 4 w 654"/>
                <a:gd name="T71" fmla="*/ 78 h 452"/>
                <a:gd name="T72" fmla="*/ 13 w 654"/>
                <a:gd name="T73" fmla="*/ 69 h 452"/>
                <a:gd name="T74" fmla="*/ 49 w 654"/>
                <a:gd name="T75" fmla="*/ 49 h 452"/>
                <a:gd name="T76" fmla="*/ 75 w 654"/>
                <a:gd name="T77" fmla="*/ 78 h 452"/>
                <a:gd name="T78" fmla="*/ 95 w 654"/>
                <a:gd name="T79" fmla="*/ 122 h 452"/>
                <a:gd name="T80" fmla="*/ 92 w 654"/>
                <a:gd name="T81" fmla="*/ 132 h 452"/>
                <a:gd name="T82" fmla="*/ 29 w 654"/>
                <a:gd name="T83" fmla="*/ 127 h 452"/>
                <a:gd name="T84" fmla="*/ 21 w 654"/>
                <a:gd name="T85" fmla="*/ 132 h 452"/>
                <a:gd name="T86" fmla="*/ 19 w 654"/>
                <a:gd name="T87" fmla="*/ 180 h 452"/>
                <a:gd name="T88" fmla="*/ 61 w 654"/>
                <a:gd name="T89" fmla="*/ 174 h 452"/>
                <a:gd name="T90" fmla="*/ 52 w 654"/>
                <a:gd name="T91" fmla="*/ 176 h 452"/>
                <a:gd name="T92" fmla="*/ 66 w 654"/>
                <a:gd name="T93" fmla="*/ 196 h 452"/>
                <a:gd name="T94" fmla="*/ 73 w 654"/>
                <a:gd name="T95" fmla="*/ 232 h 452"/>
                <a:gd name="T96" fmla="*/ 68 w 654"/>
                <a:gd name="T97" fmla="*/ 321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54" h="452">
                  <a:moveTo>
                    <a:pt x="68" y="321"/>
                  </a:moveTo>
                  <a:lnTo>
                    <a:pt x="95" y="318"/>
                  </a:lnTo>
                  <a:lnTo>
                    <a:pt x="136" y="284"/>
                  </a:lnTo>
                  <a:lnTo>
                    <a:pt x="176" y="284"/>
                  </a:lnTo>
                  <a:lnTo>
                    <a:pt x="183" y="273"/>
                  </a:lnTo>
                  <a:lnTo>
                    <a:pt x="213" y="273"/>
                  </a:lnTo>
                  <a:lnTo>
                    <a:pt x="232" y="291"/>
                  </a:lnTo>
                  <a:lnTo>
                    <a:pt x="276" y="310"/>
                  </a:lnTo>
                  <a:lnTo>
                    <a:pt x="315" y="315"/>
                  </a:lnTo>
                  <a:lnTo>
                    <a:pt x="326" y="337"/>
                  </a:lnTo>
                  <a:lnTo>
                    <a:pt x="380" y="371"/>
                  </a:lnTo>
                  <a:lnTo>
                    <a:pt x="402" y="371"/>
                  </a:lnTo>
                  <a:lnTo>
                    <a:pt x="408" y="417"/>
                  </a:lnTo>
                  <a:lnTo>
                    <a:pt x="406" y="428"/>
                  </a:lnTo>
                  <a:lnTo>
                    <a:pt x="419" y="439"/>
                  </a:lnTo>
                  <a:lnTo>
                    <a:pt x="439" y="439"/>
                  </a:lnTo>
                  <a:lnTo>
                    <a:pt x="454" y="452"/>
                  </a:lnTo>
                  <a:lnTo>
                    <a:pt x="476" y="451"/>
                  </a:lnTo>
                  <a:lnTo>
                    <a:pt x="491" y="440"/>
                  </a:lnTo>
                  <a:lnTo>
                    <a:pt x="499" y="425"/>
                  </a:lnTo>
                  <a:lnTo>
                    <a:pt x="494" y="415"/>
                  </a:lnTo>
                  <a:lnTo>
                    <a:pt x="522" y="411"/>
                  </a:lnTo>
                  <a:lnTo>
                    <a:pt x="559" y="389"/>
                  </a:lnTo>
                  <a:lnTo>
                    <a:pt x="567" y="347"/>
                  </a:lnTo>
                  <a:lnTo>
                    <a:pt x="576" y="335"/>
                  </a:lnTo>
                  <a:lnTo>
                    <a:pt x="603" y="335"/>
                  </a:lnTo>
                  <a:lnTo>
                    <a:pt x="606" y="324"/>
                  </a:lnTo>
                  <a:lnTo>
                    <a:pt x="613" y="320"/>
                  </a:lnTo>
                  <a:lnTo>
                    <a:pt x="637" y="330"/>
                  </a:lnTo>
                  <a:lnTo>
                    <a:pt x="647" y="329"/>
                  </a:lnTo>
                  <a:lnTo>
                    <a:pt x="647" y="303"/>
                  </a:lnTo>
                  <a:lnTo>
                    <a:pt x="654" y="291"/>
                  </a:lnTo>
                  <a:lnTo>
                    <a:pt x="649" y="286"/>
                  </a:lnTo>
                  <a:lnTo>
                    <a:pt x="620" y="271"/>
                  </a:lnTo>
                  <a:lnTo>
                    <a:pt x="600" y="274"/>
                  </a:lnTo>
                  <a:lnTo>
                    <a:pt x="561" y="237"/>
                  </a:lnTo>
                  <a:lnTo>
                    <a:pt x="533" y="228"/>
                  </a:lnTo>
                  <a:lnTo>
                    <a:pt x="510" y="205"/>
                  </a:lnTo>
                  <a:lnTo>
                    <a:pt x="469" y="182"/>
                  </a:lnTo>
                  <a:lnTo>
                    <a:pt x="459" y="163"/>
                  </a:lnTo>
                  <a:lnTo>
                    <a:pt x="456" y="142"/>
                  </a:lnTo>
                  <a:lnTo>
                    <a:pt x="442" y="127"/>
                  </a:lnTo>
                  <a:lnTo>
                    <a:pt x="436" y="101"/>
                  </a:lnTo>
                  <a:lnTo>
                    <a:pt x="420" y="90"/>
                  </a:lnTo>
                  <a:lnTo>
                    <a:pt x="406" y="101"/>
                  </a:lnTo>
                  <a:lnTo>
                    <a:pt x="352" y="88"/>
                  </a:lnTo>
                  <a:lnTo>
                    <a:pt x="349" y="83"/>
                  </a:lnTo>
                  <a:lnTo>
                    <a:pt x="351" y="63"/>
                  </a:lnTo>
                  <a:lnTo>
                    <a:pt x="355" y="61"/>
                  </a:lnTo>
                  <a:lnTo>
                    <a:pt x="346" y="52"/>
                  </a:lnTo>
                  <a:lnTo>
                    <a:pt x="344" y="33"/>
                  </a:lnTo>
                  <a:lnTo>
                    <a:pt x="315" y="29"/>
                  </a:lnTo>
                  <a:lnTo>
                    <a:pt x="283" y="0"/>
                  </a:lnTo>
                  <a:lnTo>
                    <a:pt x="276" y="8"/>
                  </a:lnTo>
                  <a:lnTo>
                    <a:pt x="262" y="12"/>
                  </a:lnTo>
                  <a:lnTo>
                    <a:pt x="275" y="29"/>
                  </a:lnTo>
                  <a:lnTo>
                    <a:pt x="258" y="19"/>
                  </a:lnTo>
                  <a:lnTo>
                    <a:pt x="250" y="22"/>
                  </a:lnTo>
                  <a:lnTo>
                    <a:pt x="249" y="33"/>
                  </a:lnTo>
                  <a:lnTo>
                    <a:pt x="222" y="39"/>
                  </a:lnTo>
                  <a:lnTo>
                    <a:pt x="208" y="55"/>
                  </a:lnTo>
                  <a:lnTo>
                    <a:pt x="205" y="59"/>
                  </a:lnTo>
                  <a:lnTo>
                    <a:pt x="213" y="92"/>
                  </a:lnTo>
                  <a:lnTo>
                    <a:pt x="207" y="97"/>
                  </a:lnTo>
                  <a:lnTo>
                    <a:pt x="163" y="90"/>
                  </a:lnTo>
                  <a:lnTo>
                    <a:pt x="151" y="93"/>
                  </a:lnTo>
                  <a:lnTo>
                    <a:pt x="128" y="88"/>
                  </a:lnTo>
                  <a:lnTo>
                    <a:pt x="102" y="39"/>
                  </a:lnTo>
                  <a:lnTo>
                    <a:pt x="78" y="25"/>
                  </a:lnTo>
                  <a:lnTo>
                    <a:pt x="26" y="39"/>
                  </a:lnTo>
                  <a:lnTo>
                    <a:pt x="0" y="61"/>
                  </a:lnTo>
                  <a:lnTo>
                    <a:pt x="4" y="78"/>
                  </a:lnTo>
                  <a:lnTo>
                    <a:pt x="17" y="101"/>
                  </a:lnTo>
                  <a:lnTo>
                    <a:pt x="13" y="69"/>
                  </a:lnTo>
                  <a:lnTo>
                    <a:pt x="21" y="61"/>
                  </a:lnTo>
                  <a:lnTo>
                    <a:pt x="49" y="49"/>
                  </a:lnTo>
                  <a:lnTo>
                    <a:pt x="61" y="50"/>
                  </a:lnTo>
                  <a:lnTo>
                    <a:pt x="75" y="78"/>
                  </a:lnTo>
                  <a:lnTo>
                    <a:pt x="106" y="106"/>
                  </a:lnTo>
                  <a:lnTo>
                    <a:pt x="95" y="122"/>
                  </a:lnTo>
                  <a:lnTo>
                    <a:pt x="83" y="126"/>
                  </a:lnTo>
                  <a:lnTo>
                    <a:pt x="92" y="132"/>
                  </a:lnTo>
                  <a:lnTo>
                    <a:pt x="85" y="135"/>
                  </a:lnTo>
                  <a:lnTo>
                    <a:pt x="29" y="127"/>
                  </a:lnTo>
                  <a:lnTo>
                    <a:pt x="19" y="109"/>
                  </a:lnTo>
                  <a:lnTo>
                    <a:pt x="21" y="132"/>
                  </a:lnTo>
                  <a:lnTo>
                    <a:pt x="13" y="154"/>
                  </a:lnTo>
                  <a:lnTo>
                    <a:pt x="19" y="180"/>
                  </a:lnTo>
                  <a:lnTo>
                    <a:pt x="44" y="169"/>
                  </a:lnTo>
                  <a:lnTo>
                    <a:pt x="61" y="174"/>
                  </a:lnTo>
                  <a:lnTo>
                    <a:pt x="66" y="185"/>
                  </a:lnTo>
                  <a:lnTo>
                    <a:pt x="52" y="176"/>
                  </a:lnTo>
                  <a:lnTo>
                    <a:pt x="44" y="185"/>
                  </a:lnTo>
                  <a:lnTo>
                    <a:pt x="66" y="196"/>
                  </a:lnTo>
                  <a:lnTo>
                    <a:pt x="43" y="211"/>
                  </a:lnTo>
                  <a:lnTo>
                    <a:pt x="73" y="232"/>
                  </a:lnTo>
                  <a:lnTo>
                    <a:pt x="63" y="262"/>
                  </a:lnTo>
                  <a:lnTo>
                    <a:pt x="68" y="321"/>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14" name="Freeform 35">
              <a:extLst>
                <a:ext uri="{FF2B5EF4-FFF2-40B4-BE49-F238E27FC236}">
                  <a16:creationId xmlns:a16="http://schemas.microsoft.com/office/drawing/2014/main" id="{D6BBE22D-27BF-514D-9B75-95612217E10C}"/>
                </a:ext>
              </a:extLst>
            </p:cNvPr>
            <p:cNvSpPr>
              <a:spLocks noChangeAspect="1"/>
            </p:cNvSpPr>
            <p:nvPr/>
          </p:nvSpPr>
          <p:spPr bwMode="gray">
            <a:xfrm>
              <a:off x="6004657" y="3188673"/>
              <a:ext cx="377404" cy="418532"/>
            </a:xfrm>
            <a:custGeom>
              <a:avLst/>
              <a:gdLst>
                <a:gd name="T0" fmla="*/ 120 w 776"/>
                <a:gd name="T1" fmla="*/ 414 h 709"/>
                <a:gd name="T2" fmla="*/ 195 w 776"/>
                <a:gd name="T3" fmla="*/ 410 h 709"/>
                <a:gd name="T4" fmla="*/ 250 w 776"/>
                <a:gd name="T5" fmla="*/ 380 h 709"/>
                <a:gd name="T6" fmla="*/ 317 w 776"/>
                <a:gd name="T7" fmla="*/ 317 h 709"/>
                <a:gd name="T8" fmla="*/ 335 w 776"/>
                <a:gd name="T9" fmla="*/ 293 h 709"/>
                <a:gd name="T10" fmla="*/ 355 w 776"/>
                <a:gd name="T11" fmla="*/ 290 h 709"/>
                <a:gd name="T12" fmla="*/ 386 w 776"/>
                <a:gd name="T13" fmla="*/ 257 h 709"/>
                <a:gd name="T14" fmla="*/ 419 w 776"/>
                <a:gd name="T15" fmla="*/ 219 h 709"/>
                <a:gd name="T16" fmla="*/ 420 w 776"/>
                <a:gd name="T17" fmla="*/ 177 h 709"/>
                <a:gd name="T18" fmla="*/ 467 w 776"/>
                <a:gd name="T19" fmla="*/ 168 h 709"/>
                <a:gd name="T20" fmla="*/ 496 w 776"/>
                <a:gd name="T21" fmla="*/ 107 h 709"/>
                <a:gd name="T22" fmla="*/ 479 w 776"/>
                <a:gd name="T23" fmla="*/ 56 h 709"/>
                <a:gd name="T24" fmla="*/ 510 w 776"/>
                <a:gd name="T25" fmla="*/ 34 h 709"/>
                <a:gd name="T26" fmla="*/ 592 w 776"/>
                <a:gd name="T27" fmla="*/ 7 h 709"/>
                <a:gd name="T28" fmla="*/ 669 w 776"/>
                <a:gd name="T29" fmla="*/ 5 h 709"/>
                <a:gd name="T30" fmla="*/ 691 w 776"/>
                <a:gd name="T31" fmla="*/ 21 h 709"/>
                <a:gd name="T32" fmla="*/ 694 w 776"/>
                <a:gd name="T33" fmla="*/ 53 h 709"/>
                <a:gd name="T34" fmla="*/ 725 w 776"/>
                <a:gd name="T35" fmla="*/ 72 h 709"/>
                <a:gd name="T36" fmla="*/ 745 w 776"/>
                <a:gd name="T37" fmla="*/ 110 h 709"/>
                <a:gd name="T38" fmla="*/ 708 w 776"/>
                <a:gd name="T39" fmla="*/ 134 h 709"/>
                <a:gd name="T40" fmla="*/ 620 w 776"/>
                <a:gd name="T41" fmla="*/ 123 h 709"/>
                <a:gd name="T42" fmla="*/ 604 w 776"/>
                <a:gd name="T43" fmla="*/ 155 h 709"/>
                <a:gd name="T44" fmla="*/ 604 w 776"/>
                <a:gd name="T45" fmla="*/ 183 h 709"/>
                <a:gd name="T46" fmla="*/ 621 w 776"/>
                <a:gd name="T47" fmla="*/ 228 h 709"/>
                <a:gd name="T48" fmla="*/ 638 w 776"/>
                <a:gd name="T49" fmla="*/ 253 h 709"/>
                <a:gd name="T50" fmla="*/ 663 w 776"/>
                <a:gd name="T51" fmla="*/ 278 h 709"/>
                <a:gd name="T52" fmla="*/ 638 w 776"/>
                <a:gd name="T53" fmla="*/ 313 h 709"/>
                <a:gd name="T54" fmla="*/ 634 w 776"/>
                <a:gd name="T55" fmla="*/ 332 h 709"/>
                <a:gd name="T56" fmla="*/ 597 w 776"/>
                <a:gd name="T57" fmla="*/ 384 h 709"/>
                <a:gd name="T58" fmla="*/ 529 w 776"/>
                <a:gd name="T59" fmla="*/ 459 h 709"/>
                <a:gd name="T60" fmla="*/ 461 w 776"/>
                <a:gd name="T61" fmla="*/ 508 h 709"/>
                <a:gd name="T62" fmla="*/ 402 w 776"/>
                <a:gd name="T63" fmla="*/ 562 h 709"/>
                <a:gd name="T64" fmla="*/ 437 w 776"/>
                <a:gd name="T65" fmla="*/ 612 h 709"/>
                <a:gd name="T66" fmla="*/ 470 w 776"/>
                <a:gd name="T67" fmla="*/ 657 h 709"/>
                <a:gd name="T68" fmla="*/ 456 w 776"/>
                <a:gd name="T69" fmla="*/ 684 h 709"/>
                <a:gd name="T70" fmla="*/ 410 w 776"/>
                <a:gd name="T71" fmla="*/ 688 h 709"/>
                <a:gd name="T72" fmla="*/ 368 w 776"/>
                <a:gd name="T73" fmla="*/ 678 h 709"/>
                <a:gd name="T74" fmla="*/ 332 w 776"/>
                <a:gd name="T75" fmla="*/ 709 h 709"/>
                <a:gd name="T76" fmla="*/ 303 w 776"/>
                <a:gd name="T77" fmla="*/ 695 h 709"/>
                <a:gd name="T78" fmla="*/ 267 w 776"/>
                <a:gd name="T79" fmla="*/ 637 h 709"/>
                <a:gd name="T80" fmla="*/ 191 w 776"/>
                <a:gd name="T81" fmla="*/ 630 h 709"/>
                <a:gd name="T82" fmla="*/ 151 w 776"/>
                <a:gd name="T83" fmla="*/ 627 h 709"/>
                <a:gd name="T84" fmla="*/ 76 w 776"/>
                <a:gd name="T85" fmla="*/ 633 h 709"/>
                <a:gd name="T86" fmla="*/ 40 w 776"/>
                <a:gd name="T87" fmla="*/ 644 h 709"/>
                <a:gd name="T88" fmla="*/ 64 w 776"/>
                <a:gd name="T89" fmla="*/ 571 h 709"/>
                <a:gd name="T90" fmla="*/ 111 w 776"/>
                <a:gd name="T91" fmla="*/ 537 h 709"/>
                <a:gd name="T92" fmla="*/ 35 w 776"/>
                <a:gd name="T93" fmla="*/ 454 h 709"/>
                <a:gd name="T94" fmla="*/ 3 w 776"/>
                <a:gd name="T95" fmla="*/ 397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76" h="709">
                  <a:moveTo>
                    <a:pt x="3" y="397"/>
                  </a:moveTo>
                  <a:lnTo>
                    <a:pt x="74" y="418"/>
                  </a:lnTo>
                  <a:lnTo>
                    <a:pt x="120" y="414"/>
                  </a:lnTo>
                  <a:lnTo>
                    <a:pt x="148" y="418"/>
                  </a:lnTo>
                  <a:lnTo>
                    <a:pt x="162" y="409"/>
                  </a:lnTo>
                  <a:lnTo>
                    <a:pt x="195" y="410"/>
                  </a:lnTo>
                  <a:lnTo>
                    <a:pt x="247" y="397"/>
                  </a:lnTo>
                  <a:lnTo>
                    <a:pt x="254" y="392"/>
                  </a:lnTo>
                  <a:lnTo>
                    <a:pt x="250" y="380"/>
                  </a:lnTo>
                  <a:lnTo>
                    <a:pt x="255" y="341"/>
                  </a:lnTo>
                  <a:lnTo>
                    <a:pt x="275" y="321"/>
                  </a:lnTo>
                  <a:lnTo>
                    <a:pt x="317" y="317"/>
                  </a:lnTo>
                  <a:lnTo>
                    <a:pt x="320" y="312"/>
                  </a:lnTo>
                  <a:lnTo>
                    <a:pt x="312" y="308"/>
                  </a:lnTo>
                  <a:lnTo>
                    <a:pt x="335" y="293"/>
                  </a:lnTo>
                  <a:lnTo>
                    <a:pt x="354" y="296"/>
                  </a:lnTo>
                  <a:lnTo>
                    <a:pt x="351" y="293"/>
                  </a:lnTo>
                  <a:lnTo>
                    <a:pt x="355" y="290"/>
                  </a:lnTo>
                  <a:lnTo>
                    <a:pt x="371" y="304"/>
                  </a:lnTo>
                  <a:lnTo>
                    <a:pt x="389" y="285"/>
                  </a:lnTo>
                  <a:lnTo>
                    <a:pt x="386" y="257"/>
                  </a:lnTo>
                  <a:lnTo>
                    <a:pt x="394" y="246"/>
                  </a:lnTo>
                  <a:lnTo>
                    <a:pt x="402" y="220"/>
                  </a:lnTo>
                  <a:lnTo>
                    <a:pt x="419" y="219"/>
                  </a:lnTo>
                  <a:lnTo>
                    <a:pt x="437" y="205"/>
                  </a:lnTo>
                  <a:lnTo>
                    <a:pt x="428" y="185"/>
                  </a:lnTo>
                  <a:lnTo>
                    <a:pt x="420" y="177"/>
                  </a:lnTo>
                  <a:lnTo>
                    <a:pt x="420" y="169"/>
                  </a:lnTo>
                  <a:lnTo>
                    <a:pt x="452" y="174"/>
                  </a:lnTo>
                  <a:lnTo>
                    <a:pt x="467" y="168"/>
                  </a:lnTo>
                  <a:lnTo>
                    <a:pt x="476" y="151"/>
                  </a:lnTo>
                  <a:lnTo>
                    <a:pt x="469" y="141"/>
                  </a:lnTo>
                  <a:lnTo>
                    <a:pt x="496" y="107"/>
                  </a:lnTo>
                  <a:lnTo>
                    <a:pt x="498" y="89"/>
                  </a:lnTo>
                  <a:lnTo>
                    <a:pt x="493" y="70"/>
                  </a:lnTo>
                  <a:lnTo>
                    <a:pt x="479" y="56"/>
                  </a:lnTo>
                  <a:lnTo>
                    <a:pt x="482" y="48"/>
                  </a:lnTo>
                  <a:lnTo>
                    <a:pt x="498" y="33"/>
                  </a:lnTo>
                  <a:lnTo>
                    <a:pt x="510" y="34"/>
                  </a:lnTo>
                  <a:lnTo>
                    <a:pt x="520" y="21"/>
                  </a:lnTo>
                  <a:lnTo>
                    <a:pt x="541" y="13"/>
                  </a:lnTo>
                  <a:lnTo>
                    <a:pt x="592" y="7"/>
                  </a:lnTo>
                  <a:lnTo>
                    <a:pt x="615" y="11"/>
                  </a:lnTo>
                  <a:lnTo>
                    <a:pt x="637" y="0"/>
                  </a:lnTo>
                  <a:lnTo>
                    <a:pt x="669" y="5"/>
                  </a:lnTo>
                  <a:lnTo>
                    <a:pt x="672" y="19"/>
                  </a:lnTo>
                  <a:lnTo>
                    <a:pt x="682" y="14"/>
                  </a:lnTo>
                  <a:lnTo>
                    <a:pt x="691" y="21"/>
                  </a:lnTo>
                  <a:lnTo>
                    <a:pt x="697" y="31"/>
                  </a:lnTo>
                  <a:lnTo>
                    <a:pt x="699" y="48"/>
                  </a:lnTo>
                  <a:lnTo>
                    <a:pt x="694" y="53"/>
                  </a:lnTo>
                  <a:lnTo>
                    <a:pt x="708" y="68"/>
                  </a:lnTo>
                  <a:lnTo>
                    <a:pt x="725" y="64"/>
                  </a:lnTo>
                  <a:lnTo>
                    <a:pt x="725" y="72"/>
                  </a:lnTo>
                  <a:lnTo>
                    <a:pt x="733" y="76"/>
                  </a:lnTo>
                  <a:lnTo>
                    <a:pt x="776" y="90"/>
                  </a:lnTo>
                  <a:lnTo>
                    <a:pt x="745" y="110"/>
                  </a:lnTo>
                  <a:lnTo>
                    <a:pt x="736" y="129"/>
                  </a:lnTo>
                  <a:lnTo>
                    <a:pt x="716" y="127"/>
                  </a:lnTo>
                  <a:lnTo>
                    <a:pt x="708" y="134"/>
                  </a:lnTo>
                  <a:lnTo>
                    <a:pt x="696" y="132"/>
                  </a:lnTo>
                  <a:lnTo>
                    <a:pt x="677" y="141"/>
                  </a:lnTo>
                  <a:lnTo>
                    <a:pt x="620" y="123"/>
                  </a:lnTo>
                  <a:lnTo>
                    <a:pt x="601" y="129"/>
                  </a:lnTo>
                  <a:lnTo>
                    <a:pt x="594" y="148"/>
                  </a:lnTo>
                  <a:lnTo>
                    <a:pt x="604" y="155"/>
                  </a:lnTo>
                  <a:lnTo>
                    <a:pt x="600" y="163"/>
                  </a:lnTo>
                  <a:lnTo>
                    <a:pt x="617" y="172"/>
                  </a:lnTo>
                  <a:lnTo>
                    <a:pt x="604" y="183"/>
                  </a:lnTo>
                  <a:lnTo>
                    <a:pt x="617" y="199"/>
                  </a:lnTo>
                  <a:lnTo>
                    <a:pt x="603" y="212"/>
                  </a:lnTo>
                  <a:lnTo>
                    <a:pt x="621" y="228"/>
                  </a:lnTo>
                  <a:lnTo>
                    <a:pt x="620" y="234"/>
                  </a:lnTo>
                  <a:lnTo>
                    <a:pt x="637" y="237"/>
                  </a:lnTo>
                  <a:lnTo>
                    <a:pt x="638" y="253"/>
                  </a:lnTo>
                  <a:lnTo>
                    <a:pt x="663" y="257"/>
                  </a:lnTo>
                  <a:lnTo>
                    <a:pt x="669" y="271"/>
                  </a:lnTo>
                  <a:lnTo>
                    <a:pt x="663" y="278"/>
                  </a:lnTo>
                  <a:lnTo>
                    <a:pt x="637" y="285"/>
                  </a:lnTo>
                  <a:lnTo>
                    <a:pt x="631" y="300"/>
                  </a:lnTo>
                  <a:lnTo>
                    <a:pt x="638" y="313"/>
                  </a:lnTo>
                  <a:lnTo>
                    <a:pt x="631" y="324"/>
                  </a:lnTo>
                  <a:lnTo>
                    <a:pt x="645" y="332"/>
                  </a:lnTo>
                  <a:lnTo>
                    <a:pt x="634" y="332"/>
                  </a:lnTo>
                  <a:lnTo>
                    <a:pt x="621" y="342"/>
                  </a:lnTo>
                  <a:lnTo>
                    <a:pt x="598" y="373"/>
                  </a:lnTo>
                  <a:lnTo>
                    <a:pt x="597" y="384"/>
                  </a:lnTo>
                  <a:lnTo>
                    <a:pt x="577" y="395"/>
                  </a:lnTo>
                  <a:lnTo>
                    <a:pt x="552" y="439"/>
                  </a:lnTo>
                  <a:lnTo>
                    <a:pt x="529" y="459"/>
                  </a:lnTo>
                  <a:lnTo>
                    <a:pt x="504" y="497"/>
                  </a:lnTo>
                  <a:lnTo>
                    <a:pt x="474" y="500"/>
                  </a:lnTo>
                  <a:lnTo>
                    <a:pt x="461" y="508"/>
                  </a:lnTo>
                  <a:lnTo>
                    <a:pt x="444" y="491"/>
                  </a:lnTo>
                  <a:lnTo>
                    <a:pt x="402" y="539"/>
                  </a:lnTo>
                  <a:lnTo>
                    <a:pt x="402" y="562"/>
                  </a:lnTo>
                  <a:lnTo>
                    <a:pt x="431" y="571"/>
                  </a:lnTo>
                  <a:lnTo>
                    <a:pt x="428" y="603"/>
                  </a:lnTo>
                  <a:lnTo>
                    <a:pt x="437" y="612"/>
                  </a:lnTo>
                  <a:lnTo>
                    <a:pt x="452" y="613"/>
                  </a:lnTo>
                  <a:lnTo>
                    <a:pt x="452" y="630"/>
                  </a:lnTo>
                  <a:lnTo>
                    <a:pt x="470" y="657"/>
                  </a:lnTo>
                  <a:lnTo>
                    <a:pt x="467" y="674"/>
                  </a:lnTo>
                  <a:lnTo>
                    <a:pt x="473" y="678"/>
                  </a:lnTo>
                  <a:lnTo>
                    <a:pt x="456" y="684"/>
                  </a:lnTo>
                  <a:lnTo>
                    <a:pt x="444" y="674"/>
                  </a:lnTo>
                  <a:lnTo>
                    <a:pt x="422" y="688"/>
                  </a:lnTo>
                  <a:lnTo>
                    <a:pt x="410" y="688"/>
                  </a:lnTo>
                  <a:lnTo>
                    <a:pt x="403" y="681"/>
                  </a:lnTo>
                  <a:lnTo>
                    <a:pt x="371" y="683"/>
                  </a:lnTo>
                  <a:lnTo>
                    <a:pt x="368" y="678"/>
                  </a:lnTo>
                  <a:lnTo>
                    <a:pt x="366" y="697"/>
                  </a:lnTo>
                  <a:lnTo>
                    <a:pt x="342" y="697"/>
                  </a:lnTo>
                  <a:lnTo>
                    <a:pt x="332" y="709"/>
                  </a:lnTo>
                  <a:lnTo>
                    <a:pt x="331" y="708"/>
                  </a:lnTo>
                  <a:lnTo>
                    <a:pt x="306" y="701"/>
                  </a:lnTo>
                  <a:lnTo>
                    <a:pt x="303" y="695"/>
                  </a:lnTo>
                  <a:lnTo>
                    <a:pt x="289" y="661"/>
                  </a:lnTo>
                  <a:lnTo>
                    <a:pt x="271" y="654"/>
                  </a:lnTo>
                  <a:lnTo>
                    <a:pt x="267" y="637"/>
                  </a:lnTo>
                  <a:lnTo>
                    <a:pt x="259" y="629"/>
                  </a:lnTo>
                  <a:lnTo>
                    <a:pt x="246" y="624"/>
                  </a:lnTo>
                  <a:lnTo>
                    <a:pt x="191" y="630"/>
                  </a:lnTo>
                  <a:lnTo>
                    <a:pt x="178" y="629"/>
                  </a:lnTo>
                  <a:lnTo>
                    <a:pt x="173" y="638"/>
                  </a:lnTo>
                  <a:lnTo>
                    <a:pt x="151" y="627"/>
                  </a:lnTo>
                  <a:lnTo>
                    <a:pt x="127" y="627"/>
                  </a:lnTo>
                  <a:lnTo>
                    <a:pt x="110" y="635"/>
                  </a:lnTo>
                  <a:lnTo>
                    <a:pt x="76" y="633"/>
                  </a:lnTo>
                  <a:lnTo>
                    <a:pt x="64" y="638"/>
                  </a:lnTo>
                  <a:lnTo>
                    <a:pt x="57" y="635"/>
                  </a:lnTo>
                  <a:lnTo>
                    <a:pt x="40" y="644"/>
                  </a:lnTo>
                  <a:lnTo>
                    <a:pt x="35" y="638"/>
                  </a:lnTo>
                  <a:lnTo>
                    <a:pt x="46" y="590"/>
                  </a:lnTo>
                  <a:lnTo>
                    <a:pt x="64" y="571"/>
                  </a:lnTo>
                  <a:lnTo>
                    <a:pt x="98" y="561"/>
                  </a:lnTo>
                  <a:lnTo>
                    <a:pt x="110" y="548"/>
                  </a:lnTo>
                  <a:lnTo>
                    <a:pt x="111" y="537"/>
                  </a:lnTo>
                  <a:lnTo>
                    <a:pt x="91" y="530"/>
                  </a:lnTo>
                  <a:lnTo>
                    <a:pt x="88" y="483"/>
                  </a:lnTo>
                  <a:lnTo>
                    <a:pt x="35" y="454"/>
                  </a:lnTo>
                  <a:lnTo>
                    <a:pt x="18" y="418"/>
                  </a:lnTo>
                  <a:lnTo>
                    <a:pt x="0" y="400"/>
                  </a:lnTo>
                  <a:lnTo>
                    <a:pt x="3" y="397"/>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15" name="Freeform 36">
              <a:extLst>
                <a:ext uri="{FF2B5EF4-FFF2-40B4-BE49-F238E27FC236}">
                  <a16:creationId xmlns:a16="http://schemas.microsoft.com/office/drawing/2014/main" id="{93A466F2-498B-8244-8663-6B30DABAB1E2}"/>
                </a:ext>
              </a:extLst>
            </p:cNvPr>
            <p:cNvSpPr>
              <a:spLocks noChangeAspect="1"/>
            </p:cNvSpPr>
            <p:nvPr/>
          </p:nvSpPr>
          <p:spPr bwMode="gray">
            <a:xfrm>
              <a:off x="5609737" y="3038922"/>
              <a:ext cx="71658" cy="86392"/>
            </a:xfrm>
            <a:custGeom>
              <a:avLst/>
              <a:gdLst>
                <a:gd name="T0" fmla="*/ 65 w 144"/>
                <a:gd name="T1" fmla="*/ 99 h 149"/>
                <a:gd name="T2" fmla="*/ 73 w 144"/>
                <a:gd name="T3" fmla="*/ 96 h 149"/>
                <a:gd name="T4" fmla="*/ 90 w 144"/>
                <a:gd name="T5" fmla="*/ 107 h 149"/>
                <a:gd name="T6" fmla="*/ 108 w 144"/>
                <a:gd name="T7" fmla="*/ 107 h 149"/>
                <a:gd name="T8" fmla="*/ 119 w 144"/>
                <a:gd name="T9" fmla="*/ 125 h 149"/>
                <a:gd name="T10" fmla="*/ 121 w 144"/>
                <a:gd name="T11" fmla="*/ 145 h 149"/>
                <a:gd name="T12" fmla="*/ 125 w 144"/>
                <a:gd name="T13" fmla="*/ 149 h 149"/>
                <a:gd name="T14" fmla="*/ 144 w 144"/>
                <a:gd name="T15" fmla="*/ 145 h 149"/>
                <a:gd name="T16" fmla="*/ 136 w 144"/>
                <a:gd name="T17" fmla="*/ 128 h 149"/>
                <a:gd name="T18" fmla="*/ 142 w 144"/>
                <a:gd name="T19" fmla="*/ 127 h 149"/>
                <a:gd name="T20" fmla="*/ 142 w 144"/>
                <a:gd name="T21" fmla="*/ 119 h 149"/>
                <a:gd name="T22" fmla="*/ 138 w 144"/>
                <a:gd name="T23" fmla="*/ 116 h 149"/>
                <a:gd name="T24" fmla="*/ 142 w 144"/>
                <a:gd name="T25" fmla="*/ 102 h 149"/>
                <a:gd name="T26" fmla="*/ 129 w 144"/>
                <a:gd name="T27" fmla="*/ 101 h 149"/>
                <a:gd name="T28" fmla="*/ 108 w 144"/>
                <a:gd name="T29" fmla="*/ 84 h 149"/>
                <a:gd name="T30" fmla="*/ 107 w 144"/>
                <a:gd name="T31" fmla="*/ 77 h 149"/>
                <a:gd name="T32" fmla="*/ 113 w 144"/>
                <a:gd name="T33" fmla="*/ 76 h 149"/>
                <a:gd name="T34" fmla="*/ 115 w 144"/>
                <a:gd name="T35" fmla="*/ 64 h 149"/>
                <a:gd name="T36" fmla="*/ 95 w 144"/>
                <a:gd name="T37" fmla="*/ 45 h 149"/>
                <a:gd name="T38" fmla="*/ 95 w 144"/>
                <a:gd name="T39" fmla="*/ 20 h 149"/>
                <a:gd name="T40" fmla="*/ 83 w 144"/>
                <a:gd name="T41" fmla="*/ 17 h 149"/>
                <a:gd name="T42" fmla="*/ 73 w 144"/>
                <a:gd name="T43" fmla="*/ 0 h 149"/>
                <a:gd name="T44" fmla="*/ 0 w 144"/>
                <a:gd name="T45" fmla="*/ 11 h 149"/>
                <a:gd name="T46" fmla="*/ 8 w 144"/>
                <a:gd name="T47" fmla="*/ 18 h 149"/>
                <a:gd name="T48" fmla="*/ 14 w 144"/>
                <a:gd name="T49" fmla="*/ 30 h 149"/>
                <a:gd name="T50" fmla="*/ 19 w 144"/>
                <a:gd name="T51" fmla="*/ 59 h 149"/>
                <a:gd name="T52" fmla="*/ 24 w 144"/>
                <a:gd name="T53" fmla="*/ 67 h 149"/>
                <a:gd name="T54" fmla="*/ 59 w 144"/>
                <a:gd name="T55" fmla="*/ 91 h 149"/>
                <a:gd name="T56" fmla="*/ 65 w 144"/>
                <a:gd name="T57" fmla="*/ 9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49">
                  <a:moveTo>
                    <a:pt x="65" y="99"/>
                  </a:moveTo>
                  <a:lnTo>
                    <a:pt x="73" y="96"/>
                  </a:lnTo>
                  <a:lnTo>
                    <a:pt x="90" y="107"/>
                  </a:lnTo>
                  <a:lnTo>
                    <a:pt x="108" y="107"/>
                  </a:lnTo>
                  <a:lnTo>
                    <a:pt x="119" y="125"/>
                  </a:lnTo>
                  <a:lnTo>
                    <a:pt x="121" y="145"/>
                  </a:lnTo>
                  <a:lnTo>
                    <a:pt x="125" y="149"/>
                  </a:lnTo>
                  <a:lnTo>
                    <a:pt x="144" y="145"/>
                  </a:lnTo>
                  <a:lnTo>
                    <a:pt x="136" y="128"/>
                  </a:lnTo>
                  <a:lnTo>
                    <a:pt x="142" y="127"/>
                  </a:lnTo>
                  <a:lnTo>
                    <a:pt x="142" y="119"/>
                  </a:lnTo>
                  <a:lnTo>
                    <a:pt x="138" y="116"/>
                  </a:lnTo>
                  <a:lnTo>
                    <a:pt x="142" y="102"/>
                  </a:lnTo>
                  <a:lnTo>
                    <a:pt x="129" y="101"/>
                  </a:lnTo>
                  <a:lnTo>
                    <a:pt x="108" y="84"/>
                  </a:lnTo>
                  <a:lnTo>
                    <a:pt x="107" y="77"/>
                  </a:lnTo>
                  <a:lnTo>
                    <a:pt x="113" y="76"/>
                  </a:lnTo>
                  <a:lnTo>
                    <a:pt x="115" y="64"/>
                  </a:lnTo>
                  <a:lnTo>
                    <a:pt x="95" y="45"/>
                  </a:lnTo>
                  <a:lnTo>
                    <a:pt x="95" y="20"/>
                  </a:lnTo>
                  <a:lnTo>
                    <a:pt x="83" y="17"/>
                  </a:lnTo>
                  <a:lnTo>
                    <a:pt x="73" y="0"/>
                  </a:lnTo>
                  <a:lnTo>
                    <a:pt x="0" y="11"/>
                  </a:lnTo>
                  <a:lnTo>
                    <a:pt x="8" y="18"/>
                  </a:lnTo>
                  <a:lnTo>
                    <a:pt x="14" y="30"/>
                  </a:lnTo>
                  <a:lnTo>
                    <a:pt x="19" y="59"/>
                  </a:lnTo>
                  <a:lnTo>
                    <a:pt x="24" y="67"/>
                  </a:lnTo>
                  <a:lnTo>
                    <a:pt x="59" y="91"/>
                  </a:lnTo>
                  <a:lnTo>
                    <a:pt x="65" y="99"/>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316" name="Freeform 37">
              <a:extLst>
                <a:ext uri="{FF2B5EF4-FFF2-40B4-BE49-F238E27FC236}">
                  <a16:creationId xmlns:a16="http://schemas.microsoft.com/office/drawing/2014/main" id="{DB0291B2-D83E-B44E-A0DD-B58039588AEA}"/>
                </a:ext>
              </a:extLst>
            </p:cNvPr>
            <p:cNvSpPr>
              <a:spLocks noChangeAspect="1"/>
            </p:cNvSpPr>
            <p:nvPr/>
          </p:nvSpPr>
          <p:spPr bwMode="gray">
            <a:xfrm>
              <a:off x="5641584" y="3094596"/>
              <a:ext cx="28663" cy="28797"/>
            </a:xfrm>
            <a:custGeom>
              <a:avLst/>
              <a:gdLst>
                <a:gd name="T0" fmla="*/ 0 w 56"/>
                <a:gd name="T1" fmla="*/ 3 h 49"/>
                <a:gd name="T2" fmla="*/ 8 w 56"/>
                <a:gd name="T3" fmla="*/ 0 h 49"/>
                <a:gd name="T4" fmla="*/ 25 w 56"/>
                <a:gd name="T5" fmla="*/ 11 h 49"/>
                <a:gd name="T6" fmla="*/ 43 w 56"/>
                <a:gd name="T7" fmla="*/ 11 h 49"/>
                <a:gd name="T8" fmla="*/ 54 w 56"/>
                <a:gd name="T9" fmla="*/ 29 h 49"/>
                <a:gd name="T10" fmla="*/ 56 w 56"/>
                <a:gd name="T11" fmla="*/ 49 h 49"/>
                <a:gd name="T12" fmla="*/ 31 w 56"/>
                <a:gd name="T13" fmla="*/ 48 h 49"/>
                <a:gd name="T14" fmla="*/ 0 w 56"/>
                <a:gd name="T15" fmla="*/ 3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49">
                  <a:moveTo>
                    <a:pt x="0" y="3"/>
                  </a:moveTo>
                  <a:lnTo>
                    <a:pt x="8" y="0"/>
                  </a:lnTo>
                  <a:lnTo>
                    <a:pt x="25" y="11"/>
                  </a:lnTo>
                  <a:lnTo>
                    <a:pt x="43" y="11"/>
                  </a:lnTo>
                  <a:lnTo>
                    <a:pt x="54" y="29"/>
                  </a:lnTo>
                  <a:lnTo>
                    <a:pt x="56" y="49"/>
                  </a:lnTo>
                  <a:lnTo>
                    <a:pt x="31" y="48"/>
                  </a:lnTo>
                  <a:lnTo>
                    <a:pt x="0" y="3"/>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17" name="Freeform 38">
              <a:extLst>
                <a:ext uri="{FF2B5EF4-FFF2-40B4-BE49-F238E27FC236}">
                  <a16:creationId xmlns:a16="http://schemas.microsoft.com/office/drawing/2014/main" id="{787D0621-C9C9-3B4C-976E-C2219E1C2EDA}"/>
                </a:ext>
              </a:extLst>
            </p:cNvPr>
            <p:cNvSpPr>
              <a:spLocks noChangeAspect="1"/>
            </p:cNvSpPr>
            <p:nvPr/>
          </p:nvSpPr>
          <p:spPr bwMode="gray">
            <a:xfrm>
              <a:off x="5506229" y="3173314"/>
              <a:ext cx="221348" cy="272621"/>
            </a:xfrm>
            <a:custGeom>
              <a:avLst/>
              <a:gdLst>
                <a:gd name="T0" fmla="*/ 364 w 458"/>
                <a:gd name="T1" fmla="*/ 463 h 463"/>
                <a:gd name="T2" fmla="*/ 378 w 458"/>
                <a:gd name="T3" fmla="*/ 449 h 463"/>
                <a:gd name="T4" fmla="*/ 396 w 458"/>
                <a:gd name="T5" fmla="*/ 418 h 463"/>
                <a:gd name="T6" fmla="*/ 408 w 458"/>
                <a:gd name="T7" fmla="*/ 412 h 463"/>
                <a:gd name="T8" fmla="*/ 430 w 458"/>
                <a:gd name="T9" fmla="*/ 415 h 463"/>
                <a:gd name="T10" fmla="*/ 433 w 458"/>
                <a:gd name="T11" fmla="*/ 413 h 463"/>
                <a:gd name="T12" fmla="*/ 450 w 458"/>
                <a:gd name="T13" fmla="*/ 421 h 463"/>
                <a:gd name="T14" fmla="*/ 458 w 458"/>
                <a:gd name="T15" fmla="*/ 413 h 463"/>
                <a:gd name="T16" fmla="*/ 430 w 458"/>
                <a:gd name="T17" fmla="*/ 392 h 463"/>
                <a:gd name="T18" fmla="*/ 424 w 458"/>
                <a:gd name="T19" fmla="*/ 368 h 463"/>
                <a:gd name="T20" fmla="*/ 412 w 458"/>
                <a:gd name="T21" fmla="*/ 361 h 463"/>
                <a:gd name="T22" fmla="*/ 415 w 458"/>
                <a:gd name="T23" fmla="*/ 322 h 463"/>
                <a:gd name="T24" fmla="*/ 398 w 458"/>
                <a:gd name="T25" fmla="*/ 286 h 463"/>
                <a:gd name="T26" fmla="*/ 337 w 458"/>
                <a:gd name="T27" fmla="*/ 248 h 463"/>
                <a:gd name="T28" fmla="*/ 337 w 458"/>
                <a:gd name="T29" fmla="*/ 238 h 463"/>
                <a:gd name="T30" fmla="*/ 322 w 458"/>
                <a:gd name="T31" fmla="*/ 215 h 463"/>
                <a:gd name="T32" fmla="*/ 310 w 458"/>
                <a:gd name="T33" fmla="*/ 212 h 463"/>
                <a:gd name="T34" fmla="*/ 308 w 458"/>
                <a:gd name="T35" fmla="*/ 198 h 463"/>
                <a:gd name="T36" fmla="*/ 317 w 458"/>
                <a:gd name="T37" fmla="*/ 170 h 463"/>
                <a:gd name="T38" fmla="*/ 327 w 458"/>
                <a:gd name="T39" fmla="*/ 161 h 463"/>
                <a:gd name="T40" fmla="*/ 327 w 458"/>
                <a:gd name="T41" fmla="*/ 156 h 463"/>
                <a:gd name="T42" fmla="*/ 345 w 458"/>
                <a:gd name="T43" fmla="*/ 130 h 463"/>
                <a:gd name="T44" fmla="*/ 340 w 458"/>
                <a:gd name="T45" fmla="*/ 113 h 463"/>
                <a:gd name="T46" fmla="*/ 353 w 458"/>
                <a:gd name="T47" fmla="*/ 96 h 463"/>
                <a:gd name="T48" fmla="*/ 320 w 458"/>
                <a:gd name="T49" fmla="*/ 90 h 463"/>
                <a:gd name="T50" fmla="*/ 311 w 458"/>
                <a:gd name="T51" fmla="*/ 82 h 463"/>
                <a:gd name="T52" fmla="*/ 305 w 458"/>
                <a:gd name="T53" fmla="*/ 63 h 463"/>
                <a:gd name="T54" fmla="*/ 286 w 458"/>
                <a:gd name="T55" fmla="*/ 42 h 463"/>
                <a:gd name="T56" fmla="*/ 283 w 458"/>
                <a:gd name="T57" fmla="*/ 12 h 463"/>
                <a:gd name="T58" fmla="*/ 276 w 458"/>
                <a:gd name="T59" fmla="*/ 19 h 463"/>
                <a:gd name="T60" fmla="*/ 265 w 458"/>
                <a:gd name="T61" fmla="*/ 17 h 463"/>
                <a:gd name="T62" fmla="*/ 256 w 458"/>
                <a:gd name="T63" fmla="*/ 8 h 463"/>
                <a:gd name="T64" fmla="*/ 217 w 458"/>
                <a:gd name="T65" fmla="*/ 8 h 463"/>
                <a:gd name="T66" fmla="*/ 198 w 458"/>
                <a:gd name="T67" fmla="*/ 0 h 463"/>
                <a:gd name="T68" fmla="*/ 172 w 458"/>
                <a:gd name="T69" fmla="*/ 25 h 463"/>
                <a:gd name="T70" fmla="*/ 164 w 458"/>
                <a:gd name="T71" fmla="*/ 28 h 463"/>
                <a:gd name="T72" fmla="*/ 149 w 458"/>
                <a:gd name="T73" fmla="*/ 51 h 463"/>
                <a:gd name="T74" fmla="*/ 124 w 458"/>
                <a:gd name="T75" fmla="*/ 62 h 463"/>
                <a:gd name="T76" fmla="*/ 116 w 458"/>
                <a:gd name="T77" fmla="*/ 152 h 463"/>
                <a:gd name="T78" fmla="*/ 110 w 458"/>
                <a:gd name="T79" fmla="*/ 173 h 463"/>
                <a:gd name="T80" fmla="*/ 0 w 458"/>
                <a:gd name="T81" fmla="*/ 238 h 463"/>
                <a:gd name="T82" fmla="*/ 20 w 458"/>
                <a:gd name="T83" fmla="*/ 299 h 463"/>
                <a:gd name="T84" fmla="*/ 90 w 458"/>
                <a:gd name="T85" fmla="*/ 317 h 463"/>
                <a:gd name="T86" fmla="*/ 142 w 458"/>
                <a:gd name="T87" fmla="*/ 356 h 463"/>
                <a:gd name="T88" fmla="*/ 190 w 458"/>
                <a:gd name="T89" fmla="*/ 373 h 463"/>
                <a:gd name="T90" fmla="*/ 201 w 458"/>
                <a:gd name="T91" fmla="*/ 393 h 463"/>
                <a:gd name="T92" fmla="*/ 226 w 458"/>
                <a:gd name="T93" fmla="*/ 395 h 463"/>
                <a:gd name="T94" fmla="*/ 229 w 458"/>
                <a:gd name="T95" fmla="*/ 432 h 463"/>
                <a:gd name="T96" fmla="*/ 281 w 458"/>
                <a:gd name="T97" fmla="*/ 458 h 463"/>
                <a:gd name="T98" fmla="*/ 364 w 458"/>
                <a:gd name="T99" fmla="*/ 46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58" h="463">
                  <a:moveTo>
                    <a:pt x="364" y="463"/>
                  </a:moveTo>
                  <a:lnTo>
                    <a:pt x="378" y="449"/>
                  </a:lnTo>
                  <a:lnTo>
                    <a:pt x="396" y="418"/>
                  </a:lnTo>
                  <a:lnTo>
                    <a:pt x="408" y="412"/>
                  </a:lnTo>
                  <a:lnTo>
                    <a:pt x="430" y="415"/>
                  </a:lnTo>
                  <a:lnTo>
                    <a:pt x="433" y="413"/>
                  </a:lnTo>
                  <a:lnTo>
                    <a:pt x="450" y="421"/>
                  </a:lnTo>
                  <a:lnTo>
                    <a:pt x="458" y="413"/>
                  </a:lnTo>
                  <a:lnTo>
                    <a:pt x="430" y="392"/>
                  </a:lnTo>
                  <a:lnTo>
                    <a:pt x="424" y="368"/>
                  </a:lnTo>
                  <a:lnTo>
                    <a:pt x="412" y="361"/>
                  </a:lnTo>
                  <a:lnTo>
                    <a:pt x="415" y="322"/>
                  </a:lnTo>
                  <a:lnTo>
                    <a:pt x="398" y="286"/>
                  </a:lnTo>
                  <a:lnTo>
                    <a:pt x="337" y="248"/>
                  </a:lnTo>
                  <a:lnTo>
                    <a:pt x="337" y="238"/>
                  </a:lnTo>
                  <a:lnTo>
                    <a:pt x="322" y="215"/>
                  </a:lnTo>
                  <a:lnTo>
                    <a:pt x="310" y="212"/>
                  </a:lnTo>
                  <a:lnTo>
                    <a:pt x="308" y="198"/>
                  </a:lnTo>
                  <a:lnTo>
                    <a:pt x="317" y="170"/>
                  </a:lnTo>
                  <a:lnTo>
                    <a:pt x="327" y="161"/>
                  </a:lnTo>
                  <a:lnTo>
                    <a:pt x="327" y="156"/>
                  </a:lnTo>
                  <a:lnTo>
                    <a:pt x="345" y="130"/>
                  </a:lnTo>
                  <a:lnTo>
                    <a:pt x="340" y="113"/>
                  </a:lnTo>
                  <a:lnTo>
                    <a:pt x="353" y="96"/>
                  </a:lnTo>
                  <a:lnTo>
                    <a:pt x="320" y="90"/>
                  </a:lnTo>
                  <a:lnTo>
                    <a:pt x="311" y="82"/>
                  </a:lnTo>
                  <a:lnTo>
                    <a:pt x="305" y="63"/>
                  </a:lnTo>
                  <a:lnTo>
                    <a:pt x="286" y="42"/>
                  </a:lnTo>
                  <a:lnTo>
                    <a:pt x="283" y="12"/>
                  </a:lnTo>
                  <a:lnTo>
                    <a:pt x="276" y="19"/>
                  </a:lnTo>
                  <a:lnTo>
                    <a:pt x="265" y="17"/>
                  </a:lnTo>
                  <a:lnTo>
                    <a:pt x="256" y="8"/>
                  </a:lnTo>
                  <a:lnTo>
                    <a:pt x="217" y="8"/>
                  </a:lnTo>
                  <a:lnTo>
                    <a:pt x="198" y="0"/>
                  </a:lnTo>
                  <a:lnTo>
                    <a:pt x="172" y="25"/>
                  </a:lnTo>
                  <a:lnTo>
                    <a:pt x="164" y="28"/>
                  </a:lnTo>
                  <a:lnTo>
                    <a:pt x="149" y="51"/>
                  </a:lnTo>
                  <a:lnTo>
                    <a:pt x="124" y="62"/>
                  </a:lnTo>
                  <a:lnTo>
                    <a:pt x="116" y="152"/>
                  </a:lnTo>
                  <a:lnTo>
                    <a:pt x="110" y="173"/>
                  </a:lnTo>
                  <a:lnTo>
                    <a:pt x="0" y="238"/>
                  </a:lnTo>
                  <a:lnTo>
                    <a:pt x="20" y="299"/>
                  </a:lnTo>
                  <a:lnTo>
                    <a:pt x="90" y="317"/>
                  </a:lnTo>
                  <a:lnTo>
                    <a:pt x="142" y="356"/>
                  </a:lnTo>
                  <a:lnTo>
                    <a:pt x="190" y="373"/>
                  </a:lnTo>
                  <a:lnTo>
                    <a:pt x="201" y="393"/>
                  </a:lnTo>
                  <a:lnTo>
                    <a:pt x="226" y="395"/>
                  </a:lnTo>
                  <a:lnTo>
                    <a:pt x="229" y="432"/>
                  </a:lnTo>
                  <a:lnTo>
                    <a:pt x="281" y="458"/>
                  </a:lnTo>
                  <a:lnTo>
                    <a:pt x="364" y="463"/>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18" name="Freeform 39">
              <a:extLst>
                <a:ext uri="{FF2B5EF4-FFF2-40B4-BE49-F238E27FC236}">
                  <a16:creationId xmlns:a16="http://schemas.microsoft.com/office/drawing/2014/main" id="{56A5FAD7-B532-FE45-AE4A-4C8EE1AE67D2}"/>
                </a:ext>
              </a:extLst>
            </p:cNvPr>
            <p:cNvSpPr>
              <a:spLocks noChangeAspect="1"/>
            </p:cNvSpPr>
            <p:nvPr/>
          </p:nvSpPr>
          <p:spPr bwMode="gray">
            <a:xfrm>
              <a:off x="5682987" y="3415218"/>
              <a:ext cx="39809" cy="46076"/>
            </a:xfrm>
            <a:custGeom>
              <a:avLst/>
              <a:gdLst>
                <a:gd name="T0" fmla="*/ 82 w 82"/>
                <a:gd name="T1" fmla="*/ 80 h 80"/>
                <a:gd name="T2" fmla="*/ 68 w 82"/>
                <a:gd name="T3" fmla="*/ 44 h 80"/>
                <a:gd name="T4" fmla="*/ 52 w 82"/>
                <a:gd name="T5" fmla="*/ 39 h 80"/>
                <a:gd name="T6" fmla="*/ 78 w 82"/>
                <a:gd name="T7" fmla="*/ 22 h 80"/>
                <a:gd name="T8" fmla="*/ 66 w 82"/>
                <a:gd name="T9" fmla="*/ 3 h 80"/>
                <a:gd name="T10" fmla="*/ 44 w 82"/>
                <a:gd name="T11" fmla="*/ 0 h 80"/>
                <a:gd name="T12" fmla="*/ 32 w 82"/>
                <a:gd name="T13" fmla="*/ 6 h 80"/>
                <a:gd name="T14" fmla="*/ 14 w 82"/>
                <a:gd name="T15" fmla="*/ 37 h 80"/>
                <a:gd name="T16" fmla="*/ 0 w 82"/>
                <a:gd name="T17" fmla="*/ 51 h 80"/>
                <a:gd name="T18" fmla="*/ 40 w 82"/>
                <a:gd name="T19" fmla="*/ 61 h 80"/>
                <a:gd name="T20" fmla="*/ 52 w 82"/>
                <a:gd name="T21" fmla="*/ 80 h 80"/>
                <a:gd name="T22" fmla="*/ 82 w 82"/>
                <a:gd name="T2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0">
                  <a:moveTo>
                    <a:pt x="82" y="80"/>
                  </a:moveTo>
                  <a:lnTo>
                    <a:pt x="68" y="44"/>
                  </a:lnTo>
                  <a:lnTo>
                    <a:pt x="52" y="39"/>
                  </a:lnTo>
                  <a:lnTo>
                    <a:pt x="78" y="22"/>
                  </a:lnTo>
                  <a:lnTo>
                    <a:pt x="66" y="3"/>
                  </a:lnTo>
                  <a:lnTo>
                    <a:pt x="44" y="0"/>
                  </a:lnTo>
                  <a:lnTo>
                    <a:pt x="32" y="6"/>
                  </a:lnTo>
                  <a:lnTo>
                    <a:pt x="14" y="37"/>
                  </a:lnTo>
                  <a:lnTo>
                    <a:pt x="0" y="51"/>
                  </a:lnTo>
                  <a:lnTo>
                    <a:pt x="40" y="61"/>
                  </a:lnTo>
                  <a:lnTo>
                    <a:pt x="52" y="80"/>
                  </a:lnTo>
                  <a:lnTo>
                    <a:pt x="82" y="8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19" name="Freeform 40">
              <a:extLst>
                <a:ext uri="{FF2B5EF4-FFF2-40B4-BE49-F238E27FC236}">
                  <a16:creationId xmlns:a16="http://schemas.microsoft.com/office/drawing/2014/main" id="{699E5288-C151-B243-989D-D7CADEFC7B5D}"/>
                </a:ext>
              </a:extLst>
            </p:cNvPr>
            <p:cNvSpPr>
              <a:spLocks noChangeAspect="1"/>
            </p:cNvSpPr>
            <p:nvPr/>
          </p:nvSpPr>
          <p:spPr bwMode="gray">
            <a:xfrm>
              <a:off x="5896374" y="3532331"/>
              <a:ext cx="7961" cy="17279"/>
            </a:xfrm>
            <a:custGeom>
              <a:avLst/>
              <a:gdLst>
                <a:gd name="T0" fmla="*/ 9 w 17"/>
                <a:gd name="T1" fmla="*/ 31 h 31"/>
                <a:gd name="T2" fmla="*/ 1 w 17"/>
                <a:gd name="T3" fmla="*/ 29 h 31"/>
                <a:gd name="T4" fmla="*/ 0 w 17"/>
                <a:gd name="T5" fmla="*/ 10 h 31"/>
                <a:gd name="T6" fmla="*/ 6 w 17"/>
                <a:gd name="T7" fmla="*/ 1 h 31"/>
                <a:gd name="T8" fmla="*/ 17 w 17"/>
                <a:gd name="T9" fmla="*/ 0 h 31"/>
                <a:gd name="T10" fmla="*/ 9 w 17"/>
                <a:gd name="T11" fmla="*/ 31 h 31"/>
              </a:gdLst>
              <a:ahLst/>
              <a:cxnLst>
                <a:cxn ang="0">
                  <a:pos x="T0" y="T1"/>
                </a:cxn>
                <a:cxn ang="0">
                  <a:pos x="T2" y="T3"/>
                </a:cxn>
                <a:cxn ang="0">
                  <a:pos x="T4" y="T5"/>
                </a:cxn>
                <a:cxn ang="0">
                  <a:pos x="T6" y="T7"/>
                </a:cxn>
                <a:cxn ang="0">
                  <a:pos x="T8" y="T9"/>
                </a:cxn>
                <a:cxn ang="0">
                  <a:pos x="T10" y="T11"/>
                </a:cxn>
              </a:cxnLst>
              <a:rect l="0" t="0" r="r" b="b"/>
              <a:pathLst>
                <a:path w="17" h="31">
                  <a:moveTo>
                    <a:pt x="9" y="31"/>
                  </a:moveTo>
                  <a:lnTo>
                    <a:pt x="1" y="29"/>
                  </a:lnTo>
                  <a:lnTo>
                    <a:pt x="0" y="10"/>
                  </a:lnTo>
                  <a:lnTo>
                    <a:pt x="6" y="1"/>
                  </a:lnTo>
                  <a:lnTo>
                    <a:pt x="17" y="0"/>
                  </a:lnTo>
                  <a:lnTo>
                    <a:pt x="9" y="31"/>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21" name="Freeform 41">
              <a:extLst>
                <a:ext uri="{FF2B5EF4-FFF2-40B4-BE49-F238E27FC236}">
                  <a16:creationId xmlns:a16="http://schemas.microsoft.com/office/drawing/2014/main" id="{AA93D5A5-AE97-C44F-B4A3-685BB12CF89B}"/>
                </a:ext>
              </a:extLst>
            </p:cNvPr>
            <p:cNvSpPr>
              <a:spLocks noChangeAspect="1"/>
            </p:cNvSpPr>
            <p:nvPr/>
          </p:nvSpPr>
          <p:spPr bwMode="gray">
            <a:xfrm>
              <a:off x="5776941" y="3534248"/>
              <a:ext cx="17516" cy="49915"/>
            </a:xfrm>
            <a:custGeom>
              <a:avLst/>
              <a:gdLst>
                <a:gd name="T0" fmla="*/ 12 w 37"/>
                <a:gd name="T1" fmla="*/ 82 h 82"/>
                <a:gd name="T2" fmla="*/ 29 w 37"/>
                <a:gd name="T3" fmla="*/ 76 h 82"/>
                <a:gd name="T4" fmla="*/ 36 w 37"/>
                <a:gd name="T5" fmla="*/ 59 h 82"/>
                <a:gd name="T6" fmla="*/ 32 w 37"/>
                <a:gd name="T7" fmla="*/ 34 h 82"/>
                <a:gd name="T8" fmla="*/ 37 w 37"/>
                <a:gd name="T9" fmla="*/ 12 h 82"/>
                <a:gd name="T10" fmla="*/ 19 w 37"/>
                <a:gd name="T11" fmla="*/ 0 h 82"/>
                <a:gd name="T12" fmla="*/ 0 w 37"/>
                <a:gd name="T13" fmla="*/ 34 h 82"/>
                <a:gd name="T14" fmla="*/ 0 w 37"/>
                <a:gd name="T15" fmla="*/ 70 h 82"/>
                <a:gd name="T16" fmla="*/ 12 w 37"/>
                <a:gd name="T1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82">
                  <a:moveTo>
                    <a:pt x="12" y="82"/>
                  </a:moveTo>
                  <a:lnTo>
                    <a:pt x="29" y="76"/>
                  </a:lnTo>
                  <a:lnTo>
                    <a:pt x="36" y="59"/>
                  </a:lnTo>
                  <a:lnTo>
                    <a:pt x="32" y="34"/>
                  </a:lnTo>
                  <a:lnTo>
                    <a:pt x="37" y="12"/>
                  </a:lnTo>
                  <a:lnTo>
                    <a:pt x="19" y="0"/>
                  </a:lnTo>
                  <a:lnTo>
                    <a:pt x="0" y="34"/>
                  </a:lnTo>
                  <a:lnTo>
                    <a:pt x="0" y="70"/>
                  </a:lnTo>
                  <a:lnTo>
                    <a:pt x="12" y="82"/>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22" name="Freeform 42">
              <a:extLst>
                <a:ext uri="{FF2B5EF4-FFF2-40B4-BE49-F238E27FC236}">
                  <a16:creationId xmlns:a16="http://schemas.microsoft.com/office/drawing/2014/main" id="{09A7BADA-9988-7D4E-B37D-EE7C66DE0A95}"/>
                </a:ext>
              </a:extLst>
            </p:cNvPr>
            <p:cNvSpPr>
              <a:spLocks noChangeAspect="1"/>
            </p:cNvSpPr>
            <p:nvPr/>
          </p:nvSpPr>
          <p:spPr bwMode="gray">
            <a:xfrm>
              <a:off x="5418646" y="3313465"/>
              <a:ext cx="97138" cy="128631"/>
            </a:xfrm>
            <a:custGeom>
              <a:avLst/>
              <a:gdLst>
                <a:gd name="T0" fmla="*/ 4 w 199"/>
                <a:gd name="T1" fmla="*/ 209 h 223"/>
                <a:gd name="T2" fmla="*/ 6 w 199"/>
                <a:gd name="T3" fmla="*/ 217 h 223"/>
                <a:gd name="T4" fmla="*/ 59 w 199"/>
                <a:gd name="T5" fmla="*/ 223 h 223"/>
                <a:gd name="T6" fmla="*/ 72 w 199"/>
                <a:gd name="T7" fmla="*/ 208 h 223"/>
                <a:gd name="T8" fmla="*/ 86 w 199"/>
                <a:gd name="T9" fmla="*/ 184 h 223"/>
                <a:gd name="T10" fmla="*/ 122 w 199"/>
                <a:gd name="T11" fmla="*/ 180 h 223"/>
                <a:gd name="T12" fmla="*/ 127 w 199"/>
                <a:gd name="T13" fmla="*/ 157 h 223"/>
                <a:gd name="T14" fmla="*/ 147 w 199"/>
                <a:gd name="T15" fmla="*/ 146 h 223"/>
                <a:gd name="T16" fmla="*/ 96 w 199"/>
                <a:gd name="T17" fmla="*/ 95 h 223"/>
                <a:gd name="T18" fmla="*/ 184 w 199"/>
                <a:gd name="T19" fmla="*/ 76 h 223"/>
                <a:gd name="T20" fmla="*/ 199 w 199"/>
                <a:gd name="T21" fmla="*/ 61 h 223"/>
                <a:gd name="T22" fmla="*/ 179 w 199"/>
                <a:gd name="T23" fmla="*/ 0 h 223"/>
                <a:gd name="T24" fmla="*/ 77 w 199"/>
                <a:gd name="T25" fmla="*/ 54 h 223"/>
                <a:gd name="T26" fmla="*/ 63 w 199"/>
                <a:gd name="T27" fmla="*/ 50 h 223"/>
                <a:gd name="T28" fmla="*/ 45 w 199"/>
                <a:gd name="T29" fmla="*/ 31 h 223"/>
                <a:gd name="T30" fmla="*/ 32 w 199"/>
                <a:gd name="T31" fmla="*/ 33 h 223"/>
                <a:gd name="T32" fmla="*/ 32 w 199"/>
                <a:gd name="T33" fmla="*/ 50 h 223"/>
                <a:gd name="T34" fmla="*/ 25 w 199"/>
                <a:gd name="T35" fmla="*/ 42 h 223"/>
                <a:gd name="T36" fmla="*/ 13 w 199"/>
                <a:gd name="T37" fmla="*/ 42 h 223"/>
                <a:gd name="T38" fmla="*/ 3 w 199"/>
                <a:gd name="T39" fmla="*/ 59 h 223"/>
                <a:gd name="T40" fmla="*/ 4 w 199"/>
                <a:gd name="T41" fmla="*/ 79 h 223"/>
                <a:gd name="T42" fmla="*/ 17 w 199"/>
                <a:gd name="T43" fmla="*/ 82 h 223"/>
                <a:gd name="T44" fmla="*/ 6 w 199"/>
                <a:gd name="T45" fmla="*/ 86 h 223"/>
                <a:gd name="T46" fmla="*/ 0 w 199"/>
                <a:gd name="T47" fmla="*/ 104 h 223"/>
                <a:gd name="T48" fmla="*/ 3 w 199"/>
                <a:gd name="T49" fmla="*/ 108 h 223"/>
                <a:gd name="T50" fmla="*/ 21 w 199"/>
                <a:gd name="T51" fmla="*/ 98 h 223"/>
                <a:gd name="T52" fmla="*/ 26 w 199"/>
                <a:gd name="T53" fmla="*/ 101 h 223"/>
                <a:gd name="T54" fmla="*/ 26 w 199"/>
                <a:gd name="T55" fmla="*/ 121 h 223"/>
                <a:gd name="T56" fmla="*/ 13 w 199"/>
                <a:gd name="T57" fmla="*/ 150 h 223"/>
                <a:gd name="T58" fmla="*/ 4 w 199"/>
                <a:gd name="T59" fmla="*/ 20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3">
                  <a:moveTo>
                    <a:pt x="4" y="209"/>
                  </a:moveTo>
                  <a:lnTo>
                    <a:pt x="6" y="217"/>
                  </a:lnTo>
                  <a:lnTo>
                    <a:pt x="59" y="223"/>
                  </a:lnTo>
                  <a:lnTo>
                    <a:pt x="72" y="208"/>
                  </a:lnTo>
                  <a:lnTo>
                    <a:pt x="86" y="184"/>
                  </a:lnTo>
                  <a:lnTo>
                    <a:pt x="122" y="180"/>
                  </a:lnTo>
                  <a:lnTo>
                    <a:pt x="127" y="157"/>
                  </a:lnTo>
                  <a:lnTo>
                    <a:pt x="147" y="146"/>
                  </a:lnTo>
                  <a:lnTo>
                    <a:pt x="96" y="95"/>
                  </a:lnTo>
                  <a:lnTo>
                    <a:pt x="184" y="76"/>
                  </a:lnTo>
                  <a:lnTo>
                    <a:pt x="199" y="61"/>
                  </a:lnTo>
                  <a:lnTo>
                    <a:pt x="179" y="0"/>
                  </a:lnTo>
                  <a:lnTo>
                    <a:pt x="77" y="54"/>
                  </a:lnTo>
                  <a:lnTo>
                    <a:pt x="63" y="50"/>
                  </a:lnTo>
                  <a:lnTo>
                    <a:pt x="45" y="31"/>
                  </a:lnTo>
                  <a:lnTo>
                    <a:pt x="32" y="33"/>
                  </a:lnTo>
                  <a:lnTo>
                    <a:pt x="32" y="50"/>
                  </a:lnTo>
                  <a:lnTo>
                    <a:pt x="25" y="42"/>
                  </a:lnTo>
                  <a:lnTo>
                    <a:pt x="13" y="42"/>
                  </a:lnTo>
                  <a:lnTo>
                    <a:pt x="3" y="59"/>
                  </a:lnTo>
                  <a:lnTo>
                    <a:pt x="4" y="79"/>
                  </a:lnTo>
                  <a:lnTo>
                    <a:pt x="17" y="82"/>
                  </a:lnTo>
                  <a:lnTo>
                    <a:pt x="6" y="86"/>
                  </a:lnTo>
                  <a:lnTo>
                    <a:pt x="0" y="104"/>
                  </a:lnTo>
                  <a:lnTo>
                    <a:pt x="3" y="108"/>
                  </a:lnTo>
                  <a:lnTo>
                    <a:pt x="21" y="98"/>
                  </a:lnTo>
                  <a:lnTo>
                    <a:pt x="26" y="101"/>
                  </a:lnTo>
                  <a:lnTo>
                    <a:pt x="26" y="121"/>
                  </a:lnTo>
                  <a:lnTo>
                    <a:pt x="13" y="150"/>
                  </a:lnTo>
                  <a:lnTo>
                    <a:pt x="4" y="209"/>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23" name="Freeform 43">
              <a:extLst>
                <a:ext uri="{FF2B5EF4-FFF2-40B4-BE49-F238E27FC236}">
                  <a16:creationId xmlns:a16="http://schemas.microsoft.com/office/drawing/2014/main" id="{BC18F910-1E48-024D-A0B5-259F22897927}"/>
                </a:ext>
              </a:extLst>
            </p:cNvPr>
            <p:cNvSpPr>
              <a:spLocks noChangeAspect="1"/>
            </p:cNvSpPr>
            <p:nvPr/>
          </p:nvSpPr>
          <p:spPr bwMode="gray">
            <a:xfrm>
              <a:off x="5432977" y="3177154"/>
              <a:ext cx="156057" cy="167029"/>
            </a:xfrm>
            <a:custGeom>
              <a:avLst/>
              <a:gdLst>
                <a:gd name="T0" fmla="*/ 319 w 319"/>
                <a:gd name="T1" fmla="*/ 16 h 283"/>
                <a:gd name="T2" fmla="*/ 316 w 319"/>
                <a:gd name="T3" fmla="*/ 10 h 283"/>
                <a:gd name="T4" fmla="*/ 311 w 319"/>
                <a:gd name="T5" fmla="*/ 0 h 283"/>
                <a:gd name="T6" fmla="*/ 289 w 319"/>
                <a:gd name="T7" fmla="*/ 14 h 283"/>
                <a:gd name="T8" fmla="*/ 243 w 319"/>
                <a:gd name="T9" fmla="*/ 12 h 283"/>
                <a:gd name="T10" fmla="*/ 172 w 319"/>
                <a:gd name="T11" fmla="*/ 39 h 283"/>
                <a:gd name="T12" fmla="*/ 150 w 319"/>
                <a:gd name="T13" fmla="*/ 34 h 283"/>
                <a:gd name="T14" fmla="*/ 133 w 319"/>
                <a:gd name="T15" fmla="*/ 24 h 283"/>
                <a:gd name="T16" fmla="*/ 93 w 319"/>
                <a:gd name="T17" fmla="*/ 39 h 283"/>
                <a:gd name="T18" fmla="*/ 74 w 319"/>
                <a:gd name="T19" fmla="*/ 39 h 283"/>
                <a:gd name="T20" fmla="*/ 73 w 319"/>
                <a:gd name="T21" fmla="*/ 34 h 283"/>
                <a:gd name="T22" fmla="*/ 56 w 319"/>
                <a:gd name="T23" fmla="*/ 28 h 283"/>
                <a:gd name="T24" fmla="*/ 48 w 319"/>
                <a:gd name="T25" fmla="*/ 50 h 283"/>
                <a:gd name="T26" fmla="*/ 57 w 319"/>
                <a:gd name="T27" fmla="*/ 62 h 283"/>
                <a:gd name="T28" fmla="*/ 42 w 319"/>
                <a:gd name="T29" fmla="*/ 67 h 283"/>
                <a:gd name="T30" fmla="*/ 42 w 319"/>
                <a:gd name="T31" fmla="*/ 76 h 283"/>
                <a:gd name="T32" fmla="*/ 31 w 319"/>
                <a:gd name="T33" fmla="*/ 87 h 283"/>
                <a:gd name="T34" fmla="*/ 28 w 319"/>
                <a:gd name="T35" fmla="*/ 93 h 283"/>
                <a:gd name="T36" fmla="*/ 20 w 319"/>
                <a:gd name="T37" fmla="*/ 90 h 283"/>
                <a:gd name="T38" fmla="*/ 17 w 319"/>
                <a:gd name="T39" fmla="*/ 102 h 283"/>
                <a:gd name="T40" fmla="*/ 23 w 319"/>
                <a:gd name="T41" fmla="*/ 115 h 283"/>
                <a:gd name="T42" fmla="*/ 23 w 319"/>
                <a:gd name="T43" fmla="*/ 151 h 283"/>
                <a:gd name="T44" fmla="*/ 47 w 319"/>
                <a:gd name="T45" fmla="*/ 151 h 283"/>
                <a:gd name="T46" fmla="*/ 42 w 319"/>
                <a:gd name="T47" fmla="*/ 160 h 283"/>
                <a:gd name="T48" fmla="*/ 53 w 319"/>
                <a:gd name="T49" fmla="*/ 164 h 283"/>
                <a:gd name="T50" fmla="*/ 56 w 319"/>
                <a:gd name="T51" fmla="*/ 178 h 283"/>
                <a:gd name="T52" fmla="*/ 39 w 319"/>
                <a:gd name="T53" fmla="*/ 192 h 283"/>
                <a:gd name="T54" fmla="*/ 42 w 319"/>
                <a:gd name="T55" fmla="*/ 200 h 283"/>
                <a:gd name="T56" fmla="*/ 25 w 319"/>
                <a:gd name="T57" fmla="*/ 200 h 283"/>
                <a:gd name="T58" fmla="*/ 20 w 319"/>
                <a:gd name="T59" fmla="*/ 211 h 283"/>
                <a:gd name="T60" fmla="*/ 25 w 319"/>
                <a:gd name="T61" fmla="*/ 217 h 283"/>
                <a:gd name="T62" fmla="*/ 3 w 319"/>
                <a:gd name="T63" fmla="*/ 234 h 283"/>
                <a:gd name="T64" fmla="*/ 0 w 319"/>
                <a:gd name="T65" fmla="*/ 262 h 283"/>
                <a:gd name="T66" fmla="*/ 13 w 319"/>
                <a:gd name="T67" fmla="*/ 260 h 283"/>
                <a:gd name="T68" fmla="*/ 31 w 319"/>
                <a:gd name="T69" fmla="*/ 279 h 283"/>
                <a:gd name="T70" fmla="*/ 45 w 319"/>
                <a:gd name="T71" fmla="*/ 283 h 283"/>
                <a:gd name="T72" fmla="*/ 147 w 319"/>
                <a:gd name="T73" fmla="*/ 229 h 283"/>
                <a:gd name="T74" fmla="*/ 257 w 319"/>
                <a:gd name="T75" fmla="*/ 164 h 283"/>
                <a:gd name="T76" fmla="*/ 263 w 319"/>
                <a:gd name="T77" fmla="*/ 143 h 283"/>
                <a:gd name="T78" fmla="*/ 271 w 319"/>
                <a:gd name="T79" fmla="*/ 53 h 283"/>
                <a:gd name="T80" fmla="*/ 296 w 319"/>
                <a:gd name="T81" fmla="*/ 42 h 283"/>
                <a:gd name="T82" fmla="*/ 311 w 319"/>
                <a:gd name="T83" fmla="*/ 19 h 283"/>
                <a:gd name="T84" fmla="*/ 319 w 319"/>
                <a:gd name="T85" fmla="*/ 16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9" h="283">
                  <a:moveTo>
                    <a:pt x="319" y="16"/>
                  </a:moveTo>
                  <a:lnTo>
                    <a:pt x="316" y="10"/>
                  </a:lnTo>
                  <a:lnTo>
                    <a:pt x="311" y="0"/>
                  </a:lnTo>
                  <a:lnTo>
                    <a:pt x="289" y="14"/>
                  </a:lnTo>
                  <a:lnTo>
                    <a:pt x="243" y="12"/>
                  </a:lnTo>
                  <a:lnTo>
                    <a:pt x="172" y="39"/>
                  </a:lnTo>
                  <a:lnTo>
                    <a:pt x="150" y="34"/>
                  </a:lnTo>
                  <a:lnTo>
                    <a:pt x="133" y="24"/>
                  </a:lnTo>
                  <a:lnTo>
                    <a:pt x="93" y="39"/>
                  </a:lnTo>
                  <a:lnTo>
                    <a:pt x="74" y="39"/>
                  </a:lnTo>
                  <a:lnTo>
                    <a:pt x="73" y="34"/>
                  </a:lnTo>
                  <a:lnTo>
                    <a:pt x="56" y="28"/>
                  </a:lnTo>
                  <a:lnTo>
                    <a:pt x="48" y="50"/>
                  </a:lnTo>
                  <a:lnTo>
                    <a:pt x="57" y="62"/>
                  </a:lnTo>
                  <a:lnTo>
                    <a:pt x="42" y="67"/>
                  </a:lnTo>
                  <a:lnTo>
                    <a:pt x="42" y="76"/>
                  </a:lnTo>
                  <a:lnTo>
                    <a:pt x="31" y="87"/>
                  </a:lnTo>
                  <a:lnTo>
                    <a:pt x="28" y="93"/>
                  </a:lnTo>
                  <a:lnTo>
                    <a:pt x="20" y="90"/>
                  </a:lnTo>
                  <a:lnTo>
                    <a:pt x="17" y="102"/>
                  </a:lnTo>
                  <a:lnTo>
                    <a:pt x="23" y="115"/>
                  </a:lnTo>
                  <a:lnTo>
                    <a:pt x="23" y="151"/>
                  </a:lnTo>
                  <a:lnTo>
                    <a:pt x="47" y="151"/>
                  </a:lnTo>
                  <a:lnTo>
                    <a:pt x="42" y="160"/>
                  </a:lnTo>
                  <a:lnTo>
                    <a:pt x="53" y="164"/>
                  </a:lnTo>
                  <a:lnTo>
                    <a:pt x="56" y="178"/>
                  </a:lnTo>
                  <a:lnTo>
                    <a:pt x="39" y="192"/>
                  </a:lnTo>
                  <a:lnTo>
                    <a:pt x="42" y="200"/>
                  </a:lnTo>
                  <a:lnTo>
                    <a:pt x="25" y="200"/>
                  </a:lnTo>
                  <a:lnTo>
                    <a:pt x="20" y="211"/>
                  </a:lnTo>
                  <a:lnTo>
                    <a:pt x="25" y="217"/>
                  </a:lnTo>
                  <a:lnTo>
                    <a:pt x="3" y="234"/>
                  </a:lnTo>
                  <a:lnTo>
                    <a:pt x="0" y="262"/>
                  </a:lnTo>
                  <a:lnTo>
                    <a:pt x="13" y="260"/>
                  </a:lnTo>
                  <a:lnTo>
                    <a:pt x="31" y="279"/>
                  </a:lnTo>
                  <a:lnTo>
                    <a:pt x="45" y="283"/>
                  </a:lnTo>
                  <a:lnTo>
                    <a:pt x="147" y="229"/>
                  </a:lnTo>
                  <a:lnTo>
                    <a:pt x="257" y="164"/>
                  </a:lnTo>
                  <a:lnTo>
                    <a:pt x="263" y="143"/>
                  </a:lnTo>
                  <a:lnTo>
                    <a:pt x="271" y="53"/>
                  </a:lnTo>
                  <a:lnTo>
                    <a:pt x="296" y="42"/>
                  </a:lnTo>
                  <a:lnTo>
                    <a:pt x="311" y="19"/>
                  </a:lnTo>
                  <a:lnTo>
                    <a:pt x="319" y="16"/>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24" name="Freeform 44">
              <a:extLst>
                <a:ext uri="{FF2B5EF4-FFF2-40B4-BE49-F238E27FC236}">
                  <a16:creationId xmlns:a16="http://schemas.microsoft.com/office/drawing/2014/main" id="{52501747-6266-634B-A7F4-DA142C7E0394}"/>
                </a:ext>
              </a:extLst>
            </p:cNvPr>
            <p:cNvSpPr>
              <a:spLocks noChangeAspect="1"/>
            </p:cNvSpPr>
            <p:nvPr/>
          </p:nvSpPr>
          <p:spPr bwMode="gray">
            <a:xfrm>
              <a:off x="5421830" y="3267388"/>
              <a:ext cx="39809" cy="53757"/>
            </a:xfrm>
            <a:custGeom>
              <a:avLst/>
              <a:gdLst>
                <a:gd name="T0" fmla="*/ 0 w 80"/>
                <a:gd name="T1" fmla="*/ 89 h 91"/>
                <a:gd name="T2" fmla="*/ 35 w 80"/>
                <a:gd name="T3" fmla="*/ 20 h 91"/>
                <a:gd name="T4" fmla="*/ 49 w 80"/>
                <a:gd name="T5" fmla="*/ 9 h 91"/>
                <a:gd name="T6" fmla="*/ 47 w 80"/>
                <a:gd name="T7" fmla="*/ 0 h 91"/>
                <a:gd name="T8" fmla="*/ 71 w 80"/>
                <a:gd name="T9" fmla="*/ 0 h 91"/>
                <a:gd name="T10" fmla="*/ 66 w 80"/>
                <a:gd name="T11" fmla="*/ 9 h 91"/>
                <a:gd name="T12" fmla="*/ 77 w 80"/>
                <a:gd name="T13" fmla="*/ 13 h 91"/>
                <a:gd name="T14" fmla="*/ 80 w 80"/>
                <a:gd name="T15" fmla="*/ 27 h 91"/>
                <a:gd name="T16" fmla="*/ 63 w 80"/>
                <a:gd name="T17" fmla="*/ 41 h 91"/>
                <a:gd name="T18" fmla="*/ 66 w 80"/>
                <a:gd name="T19" fmla="*/ 49 h 91"/>
                <a:gd name="T20" fmla="*/ 49 w 80"/>
                <a:gd name="T21" fmla="*/ 49 h 91"/>
                <a:gd name="T22" fmla="*/ 44 w 80"/>
                <a:gd name="T23" fmla="*/ 60 h 91"/>
                <a:gd name="T24" fmla="*/ 49 w 80"/>
                <a:gd name="T25" fmla="*/ 66 h 91"/>
                <a:gd name="T26" fmla="*/ 27 w 80"/>
                <a:gd name="T27" fmla="*/ 83 h 91"/>
                <a:gd name="T28" fmla="*/ 24 w 80"/>
                <a:gd name="T29" fmla="*/ 81 h 91"/>
                <a:gd name="T30" fmla="*/ 22 w 80"/>
                <a:gd name="T31" fmla="*/ 91 h 91"/>
                <a:gd name="T32" fmla="*/ 0 w 80"/>
                <a:gd name="T33" fmla="*/ 8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91">
                  <a:moveTo>
                    <a:pt x="0" y="89"/>
                  </a:moveTo>
                  <a:lnTo>
                    <a:pt x="35" y="20"/>
                  </a:lnTo>
                  <a:lnTo>
                    <a:pt x="49" y="9"/>
                  </a:lnTo>
                  <a:lnTo>
                    <a:pt x="47" y="0"/>
                  </a:lnTo>
                  <a:lnTo>
                    <a:pt x="71" y="0"/>
                  </a:lnTo>
                  <a:lnTo>
                    <a:pt x="66" y="9"/>
                  </a:lnTo>
                  <a:lnTo>
                    <a:pt x="77" y="13"/>
                  </a:lnTo>
                  <a:lnTo>
                    <a:pt x="80" y="27"/>
                  </a:lnTo>
                  <a:lnTo>
                    <a:pt x="63" y="41"/>
                  </a:lnTo>
                  <a:lnTo>
                    <a:pt x="66" y="49"/>
                  </a:lnTo>
                  <a:lnTo>
                    <a:pt x="49" y="49"/>
                  </a:lnTo>
                  <a:lnTo>
                    <a:pt x="44" y="60"/>
                  </a:lnTo>
                  <a:lnTo>
                    <a:pt x="49" y="66"/>
                  </a:lnTo>
                  <a:lnTo>
                    <a:pt x="27" y="83"/>
                  </a:lnTo>
                  <a:lnTo>
                    <a:pt x="24" y="81"/>
                  </a:lnTo>
                  <a:lnTo>
                    <a:pt x="22" y="91"/>
                  </a:lnTo>
                  <a:lnTo>
                    <a:pt x="0" y="89"/>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25" name="Freeform 45">
              <a:extLst>
                <a:ext uri="{FF2B5EF4-FFF2-40B4-BE49-F238E27FC236}">
                  <a16:creationId xmlns:a16="http://schemas.microsoft.com/office/drawing/2014/main" id="{F2021D11-AEEB-B444-824F-9A8A72E93E2A}"/>
                </a:ext>
              </a:extLst>
            </p:cNvPr>
            <p:cNvSpPr>
              <a:spLocks noChangeAspect="1"/>
            </p:cNvSpPr>
            <p:nvPr/>
          </p:nvSpPr>
          <p:spPr bwMode="gray">
            <a:xfrm>
              <a:off x="5531708" y="2956367"/>
              <a:ext cx="151279" cy="88314"/>
            </a:xfrm>
            <a:custGeom>
              <a:avLst/>
              <a:gdLst>
                <a:gd name="T0" fmla="*/ 0 w 310"/>
                <a:gd name="T1" fmla="*/ 5 h 152"/>
                <a:gd name="T2" fmla="*/ 34 w 310"/>
                <a:gd name="T3" fmla="*/ 0 h 152"/>
                <a:gd name="T4" fmla="*/ 84 w 310"/>
                <a:gd name="T5" fmla="*/ 20 h 152"/>
                <a:gd name="T6" fmla="*/ 139 w 310"/>
                <a:gd name="T7" fmla="*/ 24 h 152"/>
                <a:gd name="T8" fmla="*/ 189 w 310"/>
                <a:gd name="T9" fmla="*/ 61 h 152"/>
                <a:gd name="T10" fmla="*/ 244 w 310"/>
                <a:gd name="T11" fmla="*/ 54 h 152"/>
                <a:gd name="T12" fmla="*/ 268 w 310"/>
                <a:gd name="T13" fmla="*/ 65 h 152"/>
                <a:gd name="T14" fmla="*/ 268 w 310"/>
                <a:gd name="T15" fmla="*/ 85 h 152"/>
                <a:gd name="T16" fmla="*/ 300 w 310"/>
                <a:gd name="T17" fmla="*/ 105 h 152"/>
                <a:gd name="T18" fmla="*/ 290 w 310"/>
                <a:gd name="T19" fmla="*/ 121 h 152"/>
                <a:gd name="T20" fmla="*/ 307 w 310"/>
                <a:gd name="T21" fmla="*/ 139 h 152"/>
                <a:gd name="T22" fmla="*/ 310 w 310"/>
                <a:gd name="T23" fmla="*/ 146 h 152"/>
                <a:gd name="T24" fmla="*/ 307 w 310"/>
                <a:gd name="T25" fmla="*/ 150 h 152"/>
                <a:gd name="T26" fmla="*/ 280 w 310"/>
                <a:gd name="T27" fmla="*/ 146 h 152"/>
                <a:gd name="T28" fmla="*/ 256 w 310"/>
                <a:gd name="T29" fmla="*/ 132 h 152"/>
                <a:gd name="T30" fmla="*/ 234 w 310"/>
                <a:gd name="T31" fmla="*/ 141 h 152"/>
                <a:gd name="T32" fmla="*/ 161 w 310"/>
                <a:gd name="T33" fmla="*/ 152 h 152"/>
                <a:gd name="T34" fmla="*/ 136 w 310"/>
                <a:gd name="T35" fmla="*/ 125 h 152"/>
                <a:gd name="T36" fmla="*/ 115 w 310"/>
                <a:gd name="T37" fmla="*/ 133 h 152"/>
                <a:gd name="T38" fmla="*/ 82 w 310"/>
                <a:gd name="T39" fmla="*/ 130 h 152"/>
                <a:gd name="T40" fmla="*/ 76 w 310"/>
                <a:gd name="T41" fmla="*/ 125 h 152"/>
                <a:gd name="T42" fmla="*/ 85 w 310"/>
                <a:gd name="T43" fmla="*/ 118 h 152"/>
                <a:gd name="T44" fmla="*/ 87 w 310"/>
                <a:gd name="T45" fmla="*/ 96 h 152"/>
                <a:gd name="T46" fmla="*/ 68 w 310"/>
                <a:gd name="T47" fmla="*/ 51 h 152"/>
                <a:gd name="T48" fmla="*/ 50 w 310"/>
                <a:gd name="T49" fmla="*/ 34 h 152"/>
                <a:gd name="T50" fmla="*/ 20 w 310"/>
                <a:gd name="T51" fmla="*/ 25 h 152"/>
                <a:gd name="T52" fmla="*/ 0 w 310"/>
                <a:gd name="T53" fmla="*/ 5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0" h="152">
                  <a:moveTo>
                    <a:pt x="0" y="5"/>
                  </a:moveTo>
                  <a:lnTo>
                    <a:pt x="34" y="0"/>
                  </a:lnTo>
                  <a:lnTo>
                    <a:pt x="84" y="20"/>
                  </a:lnTo>
                  <a:lnTo>
                    <a:pt x="139" y="24"/>
                  </a:lnTo>
                  <a:lnTo>
                    <a:pt x="189" y="61"/>
                  </a:lnTo>
                  <a:lnTo>
                    <a:pt x="244" y="54"/>
                  </a:lnTo>
                  <a:lnTo>
                    <a:pt x="268" y="65"/>
                  </a:lnTo>
                  <a:lnTo>
                    <a:pt x="268" y="85"/>
                  </a:lnTo>
                  <a:lnTo>
                    <a:pt x="300" y="105"/>
                  </a:lnTo>
                  <a:lnTo>
                    <a:pt x="290" y="121"/>
                  </a:lnTo>
                  <a:lnTo>
                    <a:pt x="307" y="139"/>
                  </a:lnTo>
                  <a:lnTo>
                    <a:pt x="310" y="146"/>
                  </a:lnTo>
                  <a:lnTo>
                    <a:pt x="307" y="150"/>
                  </a:lnTo>
                  <a:lnTo>
                    <a:pt x="280" y="146"/>
                  </a:lnTo>
                  <a:lnTo>
                    <a:pt x="256" y="132"/>
                  </a:lnTo>
                  <a:lnTo>
                    <a:pt x="234" y="141"/>
                  </a:lnTo>
                  <a:lnTo>
                    <a:pt x="161" y="152"/>
                  </a:lnTo>
                  <a:lnTo>
                    <a:pt x="136" y="125"/>
                  </a:lnTo>
                  <a:lnTo>
                    <a:pt x="115" y="133"/>
                  </a:lnTo>
                  <a:lnTo>
                    <a:pt x="82" y="130"/>
                  </a:lnTo>
                  <a:lnTo>
                    <a:pt x="76" y="125"/>
                  </a:lnTo>
                  <a:lnTo>
                    <a:pt x="85" y="118"/>
                  </a:lnTo>
                  <a:lnTo>
                    <a:pt x="87" y="96"/>
                  </a:lnTo>
                  <a:lnTo>
                    <a:pt x="68" y="51"/>
                  </a:lnTo>
                  <a:lnTo>
                    <a:pt x="50" y="34"/>
                  </a:lnTo>
                  <a:lnTo>
                    <a:pt x="20" y="25"/>
                  </a:lnTo>
                  <a:lnTo>
                    <a:pt x="0" y="5"/>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26" name="Freeform 46">
              <a:extLst>
                <a:ext uri="{FF2B5EF4-FFF2-40B4-BE49-F238E27FC236}">
                  <a16:creationId xmlns:a16="http://schemas.microsoft.com/office/drawing/2014/main" id="{CF4B7BBF-CEFA-E243-B381-A4B60ADD7BC7}"/>
                </a:ext>
              </a:extLst>
            </p:cNvPr>
            <p:cNvSpPr>
              <a:spLocks noChangeAspect="1"/>
            </p:cNvSpPr>
            <p:nvPr/>
          </p:nvSpPr>
          <p:spPr bwMode="gray">
            <a:xfrm>
              <a:off x="5412275" y="3348023"/>
              <a:ext cx="476135" cy="491487"/>
            </a:xfrm>
            <a:custGeom>
              <a:avLst/>
              <a:gdLst>
                <a:gd name="T0" fmla="*/ 908 w 974"/>
                <a:gd name="T1" fmla="*/ 495 h 835"/>
                <a:gd name="T2" fmla="*/ 838 w 974"/>
                <a:gd name="T3" fmla="*/ 482 h 835"/>
                <a:gd name="T4" fmla="*/ 789 w 974"/>
                <a:gd name="T5" fmla="*/ 435 h 835"/>
                <a:gd name="T6" fmla="*/ 759 w 974"/>
                <a:gd name="T7" fmla="*/ 399 h 835"/>
                <a:gd name="T8" fmla="*/ 737 w 974"/>
                <a:gd name="T9" fmla="*/ 372 h 835"/>
                <a:gd name="T10" fmla="*/ 715 w 974"/>
                <a:gd name="T11" fmla="*/ 333 h 835"/>
                <a:gd name="T12" fmla="*/ 712 w 974"/>
                <a:gd name="T13" fmla="*/ 300 h 835"/>
                <a:gd name="T14" fmla="*/ 679 w 974"/>
                <a:gd name="T15" fmla="*/ 266 h 835"/>
                <a:gd name="T16" fmla="*/ 654 w 974"/>
                <a:gd name="T17" fmla="*/ 230 h 835"/>
                <a:gd name="T18" fmla="*/ 606 w 974"/>
                <a:gd name="T19" fmla="*/ 193 h 835"/>
                <a:gd name="T20" fmla="*/ 554 w 974"/>
                <a:gd name="T21" fmla="*/ 164 h 835"/>
                <a:gd name="T22" fmla="*/ 419 w 974"/>
                <a:gd name="T23" fmla="*/ 133 h 835"/>
                <a:gd name="T24" fmla="*/ 391 w 974"/>
                <a:gd name="T25" fmla="*/ 94 h 835"/>
                <a:gd name="T26" fmla="*/ 332 w 974"/>
                <a:gd name="T27" fmla="*/ 57 h 835"/>
                <a:gd name="T28" fmla="*/ 210 w 974"/>
                <a:gd name="T29" fmla="*/ 0 h 835"/>
                <a:gd name="T30" fmla="*/ 107 w 974"/>
                <a:gd name="T31" fmla="*/ 34 h 835"/>
                <a:gd name="T32" fmla="*/ 138 w 974"/>
                <a:gd name="T33" fmla="*/ 96 h 835"/>
                <a:gd name="T34" fmla="*/ 97 w 974"/>
                <a:gd name="T35" fmla="*/ 123 h 835"/>
                <a:gd name="T36" fmla="*/ 70 w 974"/>
                <a:gd name="T37" fmla="*/ 162 h 835"/>
                <a:gd name="T38" fmla="*/ 15 w 974"/>
                <a:gd name="T39" fmla="*/ 148 h 835"/>
                <a:gd name="T40" fmla="*/ 0 w 974"/>
                <a:gd name="T41" fmla="*/ 218 h 835"/>
                <a:gd name="T42" fmla="*/ 28 w 974"/>
                <a:gd name="T43" fmla="*/ 219 h 835"/>
                <a:gd name="T44" fmla="*/ 74 w 974"/>
                <a:gd name="T45" fmla="*/ 292 h 835"/>
                <a:gd name="T46" fmla="*/ 113 w 974"/>
                <a:gd name="T47" fmla="*/ 355 h 835"/>
                <a:gd name="T48" fmla="*/ 131 w 974"/>
                <a:gd name="T49" fmla="*/ 410 h 835"/>
                <a:gd name="T50" fmla="*/ 175 w 974"/>
                <a:gd name="T51" fmla="*/ 435 h 835"/>
                <a:gd name="T52" fmla="*/ 202 w 974"/>
                <a:gd name="T53" fmla="*/ 529 h 835"/>
                <a:gd name="T54" fmla="*/ 266 w 974"/>
                <a:gd name="T55" fmla="*/ 619 h 835"/>
                <a:gd name="T56" fmla="*/ 302 w 974"/>
                <a:gd name="T57" fmla="*/ 684 h 835"/>
                <a:gd name="T58" fmla="*/ 353 w 974"/>
                <a:gd name="T59" fmla="*/ 744 h 835"/>
                <a:gd name="T60" fmla="*/ 373 w 974"/>
                <a:gd name="T61" fmla="*/ 783 h 835"/>
                <a:gd name="T62" fmla="*/ 383 w 974"/>
                <a:gd name="T63" fmla="*/ 794 h 835"/>
                <a:gd name="T64" fmla="*/ 408 w 974"/>
                <a:gd name="T65" fmla="*/ 767 h 835"/>
                <a:gd name="T66" fmla="*/ 498 w 974"/>
                <a:gd name="T67" fmla="*/ 770 h 835"/>
                <a:gd name="T68" fmla="*/ 541 w 974"/>
                <a:gd name="T69" fmla="*/ 835 h 835"/>
                <a:gd name="T70" fmla="*/ 598 w 974"/>
                <a:gd name="T71" fmla="*/ 772 h 835"/>
                <a:gd name="T72" fmla="*/ 656 w 974"/>
                <a:gd name="T73" fmla="*/ 707 h 835"/>
                <a:gd name="T74" fmla="*/ 730 w 974"/>
                <a:gd name="T75" fmla="*/ 690 h 835"/>
                <a:gd name="T76" fmla="*/ 803 w 974"/>
                <a:gd name="T77" fmla="*/ 673 h 835"/>
                <a:gd name="T78" fmla="*/ 872 w 974"/>
                <a:gd name="T79" fmla="*/ 648 h 835"/>
                <a:gd name="T80" fmla="*/ 942 w 974"/>
                <a:gd name="T81" fmla="*/ 625 h 835"/>
                <a:gd name="T82" fmla="*/ 959 w 974"/>
                <a:gd name="T83" fmla="*/ 575 h 835"/>
                <a:gd name="T84" fmla="*/ 974 w 974"/>
                <a:gd name="T85" fmla="*/ 526 h 835"/>
                <a:gd name="T86" fmla="*/ 942 w 974"/>
                <a:gd name="T87" fmla="*/ 501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74" h="835">
                  <a:moveTo>
                    <a:pt x="942" y="501"/>
                  </a:moveTo>
                  <a:lnTo>
                    <a:pt x="908" y="495"/>
                  </a:lnTo>
                  <a:lnTo>
                    <a:pt x="872" y="489"/>
                  </a:lnTo>
                  <a:lnTo>
                    <a:pt x="838" y="482"/>
                  </a:lnTo>
                  <a:lnTo>
                    <a:pt x="803" y="477"/>
                  </a:lnTo>
                  <a:lnTo>
                    <a:pt x="789" y="435"/>
                  </a:lnTo>
                  <a:lnTo>
                    <a:pt x="762" y="411"/>
                  </a:lnTo>
                  <a:lnTo>
                    <a:pt x="759" y="399"/>
                  </a:lnTo>
                  <a:lnTo>
                    <a:pt x="747" y="387"/>
                  </a:lnTo>
                  <a:lnTo>
                    <a:pt x="737" y="372"/>
                  </a:lnTo>
                  <a:lnTo>
                    <a:pt x="733" y="355"/>
                  </a:lnTo>
                  <a:lnTo>
                    <a:pt x="715" y="333"/>
                  </a:lnTo>
                  <a:lnTo>
                    <a:pt x="721" y="314"/>
                  </a:lnTo>
                  <a:lnTo>
                    <a:pt x="712" y="300"/>
                  </a:lnTo>
                  <a:lnTo>
                    <a:pt x="713" y="289"/>
                  </a:lnTo>
                  <a:lnTo>
                    <a:pt x="679" y="266"/>
                  </a:lnTo>
                  <a:lnTo>
                    <a:pt x="678" y="250"/>
                  </a:lnTo>
                  <a:lnTo>
                    <a:pt x="654" y="230"/>
                  </a:lnTo>
                  <a:lnTo>
                    <a:pt x="636" y="193"/>
                  </a:lnTo>
                  <a:lnTo>
                    <a:pt x="606" y="193"/>
                  </a:lnTo>
                  <a:lnTo>
                    <a:pt x="594" y="174"/>
                  </a:lnTo>
                  <a:lnTo>
                    <a:pt x="554" y="164"/>
                  </a:lnTo>
                  <a:lnTo>
                    <a:pt x="471" y="159"/>
                  </a:lnTo>
                  <a:lnTo>
                    <a:pt x="419" y="133"/>
                  </a:lnTo>
                  <a:lnTo>
                    <a:pt x="416" y="96"/>
                  </a:lnTo>
                  <a:lnTo>
                    <a:pt x="391" y="94"/>
                  </a:lnTo>
                  <a:lnTo>
                    <a:pt x="380" y="74"/>
                  </a:lnTo>
                  <a:lnTo>
                    <a:pt x="332" y="57"/>
                  </a:lnTo>
                  <a:lnTo>
                    <a:pt x="280" y="18"/>
                  </a:lnTo>
                  <a:lnTo>
                    <a:pt x="210" y="0"/>
                  </a:lnTo>
                  <a:lnTo>
                    <a:pt x="195" y="15"/>
                  </a:lnTo>
                  <a:lnTo>
                    <a:pt x="107" y="34"/>
                  </a:lnTo>
                  <a:lnTo>
                    <a:pt x="158" y="85"/>
                  </a:lnTo>
                  <a:lnTo>
                    <a:pt x="138" y="96"/>
                  </a:lnTo>
                  <a:lnTo>
                    <a:pt x="133" y="119"/>
                  </a:lnTo>
                  <a:lnTo>
                    <a:pt x="97" y="123"/>
                  </a:lnTo>
                  <a:lnTo>
                    <a:pt x="83" y="147"/>
                  </a:lnTo>
                  <a:lnTo>
                    <a:pt x="70" y="162"/>
                  </a:lnTo>
                  <a:lnTo>
                    <a:pt x="17" y="156"/>
                  </a:lnTo>
                  <a:lnTo>
                    <a:pt x="15" y="148"/>
                  </a:lnTo>
                  <a:lnTo>
                    <a:pt x="11" y="195"/>
                  </a:lnTo>
                  <a:lnTo>
                    <a:pt x="0" y="218"/>
                  </a:lnTo>
                  <a:lnTo>
                    <a:pt x="7" y="215"/>
                  </a:lnTo>
                  <a:lnTo>
                    <a:pt x="28" y="219"/>
                  </a:lnTo>
                  <a:lnTo>
                    <a:pt x="53" y="267"/>
                  </a:lnTo>
                  <a:lnTo>
                    <a:pt x="74" y="292"/>
                  </a:lnTo>
                  <a:lnTo>
                    <a:pt x="94" y="331"/>
                  </a:lnTo>
                  <a:lnTo>
                    <a:pt x="113" y="355"/>
                  </a:lnTo>
                  <a:lnTo>
                    <a:pt x="121" y="389"/>
                  </a:lnTo>
                  <a:lnTo>
                    <a:pt x="131" y="410"/>
                  </a:lnTo>
                  <a:lnTo>
                    <a:pt x="150" y="413"/>
                  </a:lnTo>
                  <a:lnTo>
                    <a:pt x="175" y="435"/>
                  </a:lnTo>
                  <a:lnTo>
                    <a:pt x="207" y="506"/>
                  </a:lnTo>
                  <a:lnTo>
                    <a:pt x="202" y="529"/>
                  </a:lnTo>
                  <a:lnTo>
                    <a:pt x="219" y="591"/>
                  </a:lnTo>
                  <a:lnTo>
                    <a:pt x="266" y="619"/>
                  </a:lnTo>
                  <a:lnTo>
                    <a:pt x="292" y="648"/>
                  </a:lnTo>
                  <a:lnTo>
                    <a:pt x="302" y="684"/>
                  </a:lnTo>
                  <a:lnTo>
                    <a:pt x="326" y="721"/>
                  </a:lnTo>
                  <a:lnTo>
                    <a:pt x="353" y="744"/>
                  </a:lnTo>
                  <a:lnTo>
                    <a:pt x="356" y="758"/>
                  </a:lnTo>
                  <a:lnTo>
                    <a:pt x="373" y="783"/>
                  </a:lnTo>
                  <a:lnTo>
                    <a:pt x="374" y="797"/>
                  </a:lnTo>
                  <a:lnTo>
                    <a:pt x="383" y="794"/>
                  </a:lnTo>
                  <a:lnTo>
                    <a:pt x="390" y="781"/>
                  </a:lnTo>
                  <a:lnTo>
                    <a:pt x="408" y="767"/>
                  </a:lnTo>
                  <a:lnTo>
                    <a:pt x="456" y="755"/>
                  </a:lnTo>
                  <a:lnTo>
                    <a:pt x="498" y="770"/>
                  </a:lnTo>
                  <a:lnTo>
                    <a:pt x="541" y="783"/>
                  </a:lnTo>
                  <a:lnTo>
                    <a:pt x="541" y="835"/>
                  </a:lnTo>
                  <a:lnTo>
                    <a:pt x="569" y="804"/>
                  </a:lnTo>
                  <a:lnTo>
                    <a:pt x="598" y="772"/>
                  </a:lnTo>
                  <a:lnTo>
                    <a:pt x="627" y="739"/>
                  </a:lnTo>
                  <a:lnTo>
                    <a:pt x="656" y="707"/>
                  </a:lnTo>
                  <a:lnTo>
                    <a:pt x="693" y="699"/>
                  </a:lnTo>
                  <a:lnTo>
                    <a:pt x="730" y="690"/>
                  </a:lnTo>
                  <a:lnTo>
                    <a:pt x="767" y="682"/>
                  </a:lnTo>
                  <a:lnTo>
                    <a:pt x="803" y="673"/>
                  </a:lnTo>
                  <a:lnTo>
                    <a:pt x="838" y="660"/>
                  </a:lnTo>
                  <a:lnTo>
                    <a:pt x="872" y="648"/>
                  </a:lnTo>
                  <a:lnTo>
                    <a:pt x="908" y="636"/>
                  </a:lnTo>
                  <a:lnTo>
                    <a:pt x="942" y="625"/>
                  </a:lnTo>
                  <a:lnTo>
                    <a:pt x="950" y="600"/>
                  </a:lnTo>
                  <a:lnTo>
                    <a:pt x="959" y="575"/>
                  </a:lnTo>
                  <a:lnTo>
                    <a:pt x="965" y="552"/>
                  </a:lnTo>
                  <a:lnTo>
                    <a:pt x="974" y="526"/>
                  </a:lnTo>
                  <a:lnTo>
                    <a:pt x="953" y="492"/>
                  </a:lnTo>
                  <a:lnTo>
                    <a:pt x="942" y="501"/>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327" name="Freeform 47">
              <a:extLst>
                <a:ext uri="{FF2B5EF4-FFF2-40B4-BE49-F238E27FC236}">
                  <a16:creationId xmlns:a16="http://schemas.microsoft.com/office/drawing/2014/main" id="{EA9514FC-AA6C-6849-80D9-AD5F1BFA0CE9}"/>
                </a:ext>
              </a:extLst>
            </p:cNvPr>
            <p:cNvSpPr>
              <a:spLocks noChangeAspect="1"/>
            </p:cNvSpPr>
            <p:nvPr/>
          </p:nvSpPr>
          <p:spPr bwMode="gray">
            <a:xfrm>
              <a:off x="5893188" y="2877652"/>
              <a:ext cx="385367" cy="303339"/>
            </a:xfrm>
            <a:custGeom>
              <a:avLst/>
              <a:gdLst>
                <a:gd name="T0" fmla="*/ 381 w 791"/>
                <a:gd name="T1" fmla="*/ 123 h 514"/>
                <a:gd name="T2" fmla="*/ 313 w 791"/>
                <a:gd name="T3" fmla="*/ 130 h 514"/>
                <a:gd name="T4" fmla="*/ 256 w 791"/>
                <a:gd name="T5" fmla="*/ 112 h 514"/>
                <a:gd name="T6" fmla="*/ 211 w 791"/>
                <a:gd name="T7" fmla="*/ 67 h 514"/>
                <a:gd name="T8" fmla="*/ 143 w 791"/>
                <a:gd name="T9" fmla="*/ 11 h 514"/>
                <a:gd name="T10" fmla="*/ 89 w 791"/>
                <a:gd name="T11" fmla="*/ 11 h 514"/>
                <a:gd name="T12" fmla="*/ 29 w 791"/>
                <a:gd name="T13" fmla="*/ 31 h 514"/>
                <a:gd name="T14" fmla="*/ 0 w 791"/>
                <a:gd name="T15" fmla="*/ 101 h 514"/>
                <a:gd name="T16" fmla="*/ 2 w 791"/>
                <a:gd name="T17" fmla="*/ 212 h 514"/>
                <a:gd name="T18" fmla="*/ 46 w 791"/>
                <a:gd name="T19" fmla="*/ 276 h 514"/>
                <a:gd name="T20" fmla="*/ 44 w 791"/>
                <a:gd name="T21" fmla="*/ 238 h 514"/>
                <a:gd name="T22" fmla="*/ 61 w 791"/>
                <a:gd name="T23" fmla="*/ 218 h 514"/>
                <a:gd name="T24" fmla="*/ 89 w 791"/>
                <a:gd name="T25" fmla="*/ 201 h 514"/>
                <a:gd name="T26" fmla="*/ 114 w 791"/>
                <a:gd name="T27" fmla="*/ 208 h 514"/>
                <a:gd name="T28" fmla="*/ 115 w 791"/>
                <a:gd name="T29" fmla="*/ 187 h 514"/>
                <a:gd name="T30" fmla="*/ 154 w 791"/>
                <a:gd name="T31" fmla="*/ 208 h 514"/>
                <a:gd name="T32" fmla="*/ 185 w 791"/>
                <a:gd name="T33" fmla="*/ 231 h 514"/>
                <a:gd name="T34" fmla="*/ 190 w 791"/>
                <a:gd name="T35" fmla="*/ 242 h 514"/>
                <a:gd name="T36" fmla="*/ 191 w 791"/>
                <a:gd name="T37" fmla="*/ 267 h 514"/>
                <a:gd name="T38" fmla="*/ 259 w 791"/>
                <a:gd name="T39" fmla="*/ 269 h 514"/>
                <a:gd name="T40" fmla="*/ 281 w 791"/>
                <a:gd name="T41" fmla="*/ 306 h 514"/>
                <a:gd name="T42" fmla="*/ 298 w 791"/>
                <a:gd name="T43" fmla="*/ 342 h 514"/>
                <a:gd name="T44" fmla="*/ 349 w 791"/>
                <a:gd name="T45" fmla="*/ 384 h 514"/>
                <a:gd name="T46" fmla="*/ 400 w 791"/>
                <a:gd name="T47" fmla="*/ 416 h 514"/>
                <a:gd name="T48" fmla="*/ 459 w 791"/>
                <a:gd name="T49" fmla="*/ 450 h 514"/>
                <a:gd name="T50" fmla="*/ 493 w 791"/>
                <a:gd name="T51" fmla="*/ 470 h 514"/>
                <a:gd name="T52" fmla="*/ 486 w 791"/>
                <a:gd name="T53" fmla="*/ 508 h 514"/>
                <a:gd name="T54" fmla="*/ 545 w 791"/>
                <a:gd name="T55" fmla="*/ 509 h 514"/>
                <a:gd name="T56" fmla="*/ 549 w 791"/>
                <a:gd name="T57" fmla="*/ 487 h 514"/>
                <a:gd name="T58" fmla="*/ 558 w 791"/>
                <a:gd name="T59" fmla="*/ 429 h 514"/>
                <a:gd name="T60" fmla="*/ 541 w 791"/>
                <a:gd name="T61" fmla="*/ 406 h 514"/>
                <a:gd name="T62" fmla="*/ 532 w 791"/>
                <a:gd name="T63" fmla="*/ 387 h 514"/>
                <a:gd name="T64" fmla="*/ 579 w 791"/>
                <a:gd name="T65" fmla="*/ 373 h 514"/>
                <a:gd name="T66" fmla="*/ 613 w 791"/>
                <a:gd name="T67" fmla="*/ 338 h 514"/>
                <a:gd name="T68" fmla="*/ 618 w 791"/>
                <a:gd name="T69" fmla="*/ 308 h 514"/>
                <a:gd name="T70" fmla="*/ 669 w 791"/>
                <a:gd name="T71" fmla="*/ 285 h 514"/>
                <a:gd name="T72" fmla="*/ 681 w 791"/>
                <a:gd name="T73" fmla="*/ 305 h 514"/>
                <a:gd name="T74" fmla="*/ 671 w 791"/>
                <a:gd name="T75" fmla="*/ 331 h 514"/>
                <a:gd name="T76" fmla="*/ 691 w 791"/>
                <a:gd name="T77" fmla="*/ 333 h 514"/>
                <a:gd name="T78" fmla="*/ 747 w 791"/>
                <a:gd name="T79" fmla="*/ 321 h 514"/>
                <a:gd name="T80" fmla="*/ 791 w 791"/>
                <a:gd name="T81" fmla="*/ 299 h 514"/>
                <a:gd name="T82" fmla="*/ 731 w 791"/>
                <a:gd name="T83" fmla="*/ 274 h 514"/>
                <a:gd name="T84" fmla="*/ 722 w 791"/>
                <a:gd name="T85" fmla="*/ 259 h 514"/>
                <a:gd name="T86" fmla="*/ 684 w 791"/>
                <a:gd name="T87" fmla="*/ 274 h 514"/>
                <a:gd name="T88" fmla="*/ 658 w 791"/>
                <a:gd name="T89" fmla="*/ 259 h 514"/>
                <a:gd name="T90" fmla="*/ 703 w 791"/>
                <a:gd name="T91" fmla="*/ 218 h 514"/>
                <a:gd name="T92" fmla="*/ 688 w 791"/>
                <a:gd name="T93" fmla="*/ 206 h 514"/>
                <a:gd name="T94" fmla="*/ 664 w 791"/>
                <a:gd name="T95" fmla="*/ 223 h 514"/>
                <a:gd name="T96" fmla="*/ 621 w 791"/>
                <a:gd name="T97" fmla="*/ 255 h 514"/>
                <a:gd name="T98" fmla="*/ 550 w 791"/>
                <a:gd name="T99" fmla="*/ 272 h 514"/>
                <a:gd name="T100" fmla="*/ 494 w 791"/>
                <a:gd name="T101" fmla="*/ 238 h 514"/>
                <a:gd name="T102" fmla="*/ 466 w 791"/>
                <a:gd name="T103" fmla="*/ 208 h 514"/>
                <a:gd name="T104" fmla="*/ 473 w 791"/>
                <a:gd name="T105" fmla="*/ 170 h 514"/>
                <a:gd name="T106" fmla="*/ 445 w 791"/>
                <a:gd name="T107" fmla="*/ 14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1" h="514">
                  <a:moveTo>
                    <a:pt x="415" y="120"/>
                  </a:moveTo>
                  <a:lnTo>
                    <a:pt x="381" y="123"/>
                  </a:lnTo>
                  <a:lnTo>
                    <a:pt x="347" y="127"/>
                  </a:lnTo>
                  <a:lnTo>
                    <a:pt x="313" y="130"/>
                  </a:lnTo>
                  <a:lnTo>
                    <a:pt x="279" y="133"/>
                  </a:lnTo>
                  <a:lnTo>
                    <a:pt x="256" y="112"/>
                  </a:lnTo>
                  <a:lnTo>
                    <a:pt x="234" y="90"/>
                  </a:lnTo>
                  <a:lnTo>
                    <a:pt x="211" y="67"/>
                  </a:lnTo>
                  <a:lnTo>
                    <a:pt x="188" y="44"/>
                  </a:lnTo>
                  <a:lnTo>
                    <a:pt x="143" y="11"/>
                  </a:lnTo>
                  <a:lnTo>
                    <a:pt x="118" y="0"/>
                  </a:lnTo>
                  <a:lnTo>
                    <a:pt x="89" y="11"/>
                  </a:lnTo>
                  <a:lnTo>
                    <a:pt x="59" y="22"/>
                  </a:lnTo>
                  <a:lnTo>
                    <a:pt x="29" y="31"/>
                  </a:lnTo>
                  <a:lnTo>
                    <a:pt x="0" y="42"/>
                  </a:lnTo>
                  <a:lnTo>
                    <a:pt x="0" y="101"/>
                  </a:lnTo>
                  <a:lnTo>
                    <a:pt x="0" y="155"/>
                  </a:lnTo>
                  <a:lnTo>
                    <a:pt x="2" y="212"/>
                  </a:lnTo>
                  <a:lnTo>
                    <a:pt x="2" y="269"/>
                  </a:lnTo>
                  <a:lnTo>
                    <a:pt x="46" y="276"/>
                  </a:lnTo>
                  <a:lnTo>
                    <a:pt x="52" y="271"/>
                  </a:lnTo>
                  <a:lnTo>
                    <a:pt x="44" y="238"/>
                  </a:lnTo>
                  <a:lnTo>
                    <a:pt x="47" y="234"/>
                  </a:lnTo>
                  <a:lnTo>
                    <a:pt x="61" y="218"/>
                  </a:lnTo>
                  <a:lnTo>
                    <a:pt x="88" y="212"/>
                  </a:lnTo>
                  <a:lnTo>
                    <a:pt x="89" y="201"/>
                  </a:lnTo>
                  <a:lnTo>
                    <a:pt x="97" y="198"/>
                  </a:lnTo>
                  <a:lnTo>
                    <a:pt x="114" y="208"/>
                  </a:lnTo>
                  <a:lnTo>
                    <a:pt x="101" y="191"/>
                  </a:lnTo>
                  <a:lnTo>
                    <a:pt x="115" y="187"/>
                  </a:lnTo>
                  <a:lnTo>
                    <a:pt x="122" y="179"/>
                  </a:lnTo>
                  <a:lnTo>
                    <a:pt x="154" y="208"/>
                  </a:lnTo>
                  <a:lnTo>
                    <a:pt x="183" y="212"/>
                  </a:lnTo>
                  <a:lnTo>
                    <a:pt x="185" y="231"/>
                  </a:lnTo>
                  <a:lnTo>
                    <a:pt x="194" y="240"/>
                  </a:lnTo>
                  <a:lnTo>
                    <a:pt x="190" y="242"/>
                  </a:lnTo>
                  <a:lnTo>
                    <a:pt x="188" y="262"/>
                  </a:lnTo>
                  <a:lnTo>
                    <a:pt x="191" y="267"/>
                  </a:lnTo>
                  <a:lnTo>
                    <a:pt x="245" y="280"/>
                  </a:lnTo>
                  <a:lnTo>
                    <a:pt x="259" y="269"/>
                  </a:lnTo>
                  <a:lnTo>
                    <a:pt x="275" y="280"/>
                  </a:lnTo>
                  <a:lnTo>
                    <a:pt x="281" y="306"/>
                  </a:lnTo>
                  <a:lnTo>
                    <a:pt x="295" y="321"/>
                  </a:lnTo>
                  <a:lnTo>
                    <a:pt x="298" y="342"/>
                  </a:lnTo>
                  <a:lnTo>
                    <a:pt x="308" y="361"/>
                  </a:lnTo>
                  <a:lnTo>
                    <a:pt x="349" y="384"/>
                  </a:lnTo>
                  <a:lnTo>
                    <a:pt x="372" y="407"/>
                  </a:lnTo>
                  <a:lnTo>
                    <a:pt x="400" y="416"/>
                  </a:lnTo>
                  <a:lnTo>
                    <a:pt x="439" y="453"/>
                  </a:lnTo>
                  <a:lnTo>
                    <a:pt x="459" y="450"/>
                  </a:lnTo>
                  <a:lnTo>
                    <a:pt x="488" y="465"/>
                  </a:lnTo>
                  <a:lnTo>
                    <a:pt x="493" y="470"/>
                  </a:lnTo>
                  <a:lnTo>
                    <a:pt x="486" y="482"/>
                  </a:lnTo>
                  <a:lnTo>
                    <a:pt x="486" y="508"/>
                  </a:lnTo>
                  <a:lnTo>
                    <a:pt x="544" y="514"/>
                  </a:lnTo>
                  <a:lnTo>
                    <a:pt x="545" y="509"/>
                  </a:lnTo>
                  <a:lnTo>
                    <a:pt x="544" y="499"/>
                  </a:lnTo>
                  <a:lnTo>
                    <a:pt x="549" y="487"/>
                  </a:lnTo>
                  <a:lnTo>
                    <a:pt x="570" y="458"/>
                  </a:lnTo>
                  <a:lnTo>
                    <a:pt x="558" y="429"/>
                  </a:lnTo>
                  <a:lnTo>
                    <a:pt x="559" y="409"/>
                  </a:lnTo>
                  <a:lnTo>
                    <a:pt x="541" y="406"/>
                  </a:lnTo>
                  <a:lnTo>
                    <a:pt x="525" y="390"/>
                  </a:lnTo>
                  <a:lnTo>
                    <a:pt x="532" y="387"/>
                  </a:lnTo>
                  <a:lnTo>
                    <a:pt x="533" y="373"/>
                  </a:lnTo>
                  <a:lnTo>
                    <a:pt x="579" y="373"/>
                  </a:lnTo>
                  <a:lnTo>
                    <a:pt x="589" y="348"/>
                  </a:lnTo>
                  <a:lnTo>
                    <a:pt x="613" y="338"/>
                  </a:lnTo>
                  <a:lnTo>
                    <a:pt x="612" y="319"/>
                  </a:lnTo>
                  <a:lnTo>
                    <a:pt x="618" y="308"/>
                  </a:lnTo>
                  <a:lnTo>
                    <a:pt x="637" y="310"/>
                  </a:lnTo>
                  <a:lnTo>
                    <a:pt x="669" y="285"/>
                  </a:lnTo>
                  <a:lnTo>
                    <a:pt x="674" y="285"/>
                  </a:lnTo>
                  <a:lnTo>
                    <a:pt x="681" y="305"/>
                  </a:lnTo>
                  <a:lnTo>
                    <a:pt x="667" y="318"/>
                  </a:lnTo>
                  <a:lnTo>
                    <a:pt x="671" y="331"/>
                  </a:lnTo>
                  <a:lnTo>
                    <a:pt x="674" y="336"/>
                  </a:lnTo>
                  <a:lnTo>
                    <a:pt x="691" y="333"/>
                  </a:lnTo>
                  <a:lnTo>
                    <a:pt x="733" y="335"/>
                  </a:lnTo>
                  <a:lnTo>
                    <a:pt x="747" y="321"/>
                  </a:lnTo>
                  <a:lnTo>
                    <a:pt x="765" y="318"/>
                  </a:lnTo>
                  <a:lnTo>
                    <a:pt x="791" y="299"/>
                  </a:lnTo>
                  <a:lnTo>
                    <a:pt x="748" y="285"/>
                  </a:lnTo>
                  <a:lnTo>
                    <a:pt x="731" y="274"/>
                  </a:lnTo>
                  <a:lnTo>
                    <a:pt x="731" y="267"/>
                  </a:lnTo>
                  <a:lnTo>
                    <a:pt x="722" y="259"/>
                  </a:lnTo>
                  <a:lnTo>
                    <a:pt x="709" y="280"/>
                  </a:lnTo>
                  <a:lnTo>
                    <a:pt x="684" y="274"/>
                  </a:lnTo>
                  <a:lnTo>
                    <a:pt x="677" y="262"/>
                  </a:lnTo>
                  <a:lnTo>
                    <a:pt x="658" y="259"/>
                  </a:lnTo>
                  <a:lnTo>
                    <a:pt x="658" y="252"/>
                  </a:lnTo>
                  <a:lnTo>
                    <a:pt x="703" y="218"/>
                  </a:lnTo>
                  <a:lnTo>
                    <a:pt x="701" y="211"/>
                  </a:lnTo>
                  <a:lnTo>
                    <a:pt x="688" y="206"/>
                  </a:lnTo>
                  <a:lnTo>
                    <a:pt x="675" y="223"/>
                  </a:lnTo>
                  <a:lnTo>
                    <a:pt x="664" y="223"/>
                  </a:lnTo>
                  <a:lnTo>
                    <a:pt x="652" y="240"/>
                  </a:lnTo>
                  <a:lnTo>
                    <a:pt x="621" y="255"/>
                  </a:lnTo>
                  <a:lnTo>
                    <a:pt x="589" y="288"/>
                  </a:lnTo>
                  <a:lnTo>
                    <a:pt x="550" y="272"/>
                  </a:lnTo>
                  <a:lnTo>
                    <a:pt x="503" y="277"/>
                  </a:lnTo>
                  <a:lnTo>
                    <a:pt x="494" y="238"/>
                  </a:lnTo>
                  <a:lnTo>
                    <a:pt x="468" y="234"/>
                  </a:lnTo>
                  <a:lnTo>
                    <a:pt x="466" y="208"/>
                  </a:lnTo>
                  <a:lnTo>
                    <a:pt x="473" y="206"/>
                  </a:lnTo>
                  <a:lnTo>
                    <a:pt x="473" y="170"/>
                  </a:lnTo>
                  <a:lnTo>
                    <a:pt x="460" y="172"/>
                  </a:lnTo>
                  <a:lnTo>
                    <a:pt x="445" y="144"/>
                  </a:lnTo>
                  <a:lnTo>
                    <a:pt x="415" y="12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28" name="Freeform 48">
              <a:extLst>
                <a:ext uri="{FF2B5EF4-FFF2-40B4-BE49-F238E27FC236}">
                  <a16:creationId xmlns:a16="http://schemas.microsoft.com/office/drawing/2014/main" id="{167A3ED7-5924-AC49-A295-7A6EDE349FD1}"/>
                </a:ext>
              </a:extLst>
            </p:cNvPr>
            <p:cNvSpPr>
              <a:spLocks noChangeAspect="1"/>
            </p:cNvSpPr>
            <p:nvPr/>
          </p:nvSpPr>
          <p:spPr bwMode="gray">
            <a:xfrm>
              <a:off x="6426650" y="4000779"/>
              <a:ext cx="49364" cy="105591"/>
            </a:xfrm>
            <a:custGeom>
              <a:avLst/>
              <a:gdLst>
                <a:gd name="T0" fmla="*/ 17 w 100"/>
                <a:gd name="T1" fmla="*/ 0 h 180"/>
                <a:gd name="T2" fmla="*/ 12 w 100"/>
                <a:gd name="T3" fmla="*/ 4 h 180"/>
                <a:gd name="T4" fmla="*/ 28 w 100"/>
                <a:gd name="T5" fmla="*/ 17 h 180"/>
                <a:gd name="T6" fmla="*/ 19 w 100"/>
                <a:gd name="T7" fmla="*/ 23 h 180"/>
                <a:gd name="T8" fmla="*/ 7 w 100"/>
                <a:gd name="T9" fmla="*/ 80 h 180"/>
                <a:gd name="T10" fmla="*/ 0 w 100"/>
                <a:gd name="T11" fmla="*/ 80 h 180"/>
                <a:gd name="T12" fmla="*/ 7 w 100"/>
                <a:gd name="T13" fmla="*/ 141 h 180"/>
                <a:gd name="T14" fmla="*/ 25 w 100"/>
                <a:gd name="T15" fmla="*/ 177 h 180"/>
                <a:gd name="T16" fmla="*/ 50 w 100"/>
                <a:gd name="T17" fmla="*/ 180 h 180"/>
                <a:gd name="T18" fmla="*/ 87 w 100"/>
                <a:gd name="T19" fmla="*/ 158 h 180"/>
                <a:gd name="T20" fmla="*/ 96 w 100"/>
                <a:gd name="T21" fmla="*/ 144 h 180"/>
                <a:gd name="T22" fmla="*/ 100 w 100"/>
                <a:gd name="T23" fmla="*/ 107 h 180"/>
                <a:gd name="T24" fmla="*/ 79 w 100"/>
                <a:gd name="T25" fmla="*/ 65 h 180"/>
                <a:gd name="T26" fmla="*/ 56 w 100"/>
                <a:gd name="T27" fmla="*/ 29 h 180"/>
                <a:gd name="T28" fmla="*/ 30 w 100"/>
                <a:gd name="T29" fmla="*/ 4 h 180"/>
                <a:gd name="T30" fmla="*/ 17 w 100"/>
                <a:gd name="T3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180">
                  <a:moveTo>
                    <a:pt x="17" y="0"/>
                  </a:moveTo>
                  <a:lnTo>
                    <a:pt x="12" y="4"/>
                  </a:lnTo>
                  <a:lnTo>
                    <a:pt x="28" y="17"/>
                  </a:lnTo>
                  <a:lnTo>
                    <a:pt x="19" y="23"/>
                  </a:lnTo>
                  <a:lnTo>
                    <a:pt x="7" y="80"/>
                  </a:lnTo>
                  <a:lnTo>
                    <a:pt x="0" y="80"/>
                  </a:lnTo>
                  <a:lnTo>
                    <a:pt x="7" y="141"/>
                  </a:lnTo>
                  <a:lnTo>
                    <a:pt x="25" y="177"/>
                  </a:lnTo>
                  <a:lnTo>
                    <a:pt x="50" y="180"/>
                  </a:lnTo>
                  <a:lnTo>
                    <a:pt x="87" y="158"/>
                  </a:lnTo>
                  <a:lnTo>
                    <a:pt x="96" y="144"/>
                  </a:lnTo>
                  <a:lnTo>
                    <a:pt x="100" y="107"/>
                  </a:lnTo>
                  <a:lnTo>
                    <a:pt x="79" y="65"/>
                  </a:lnTo>
                  <a:lnTo>
                    <a:pt x="56" y="29"/>
                  </a:lnTo>
                  <a:lnTo>
                    <a:pt x="30" y="4"/>
                  </a:lnTo>
                  <a:lnTo>
                    <a:pt x="17" y="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29" name="Freeform 49">
              <a:extLst>
                <a:ext uri="{FF2B5EF4-FFF2-40B4-BE49-F238E27FC236}">
                  <a16:creationId xmlns:a16="http://schemas.microsoft.com/office/drawing/2014/main" id="{9CFB70DE-6AB8-494F-B2FD-D46D46D9DDF9}"/>
                </a:ext>
              </a:extLst>
            </p:cNvPr>
            <p:cNvSpPr>
              <a:spLocks noChangeAspect="1"/>
            </p:cNvSpPr>
            <p:nvPr/>
          </p:nvSpPr>
          <p:spPr bwMode="gray">
            <a:xfrm>
              <a:off x="7433063" y="2981328"/>
              <a:ext cx="141726" cy="186229"/>
            </a:xfrm>
            <a:custGeom>
              <a:avLst/>
              <a:gdLst>
                <a:gd name="T0" fmla="*/ 0 w 292"/>
                <a:gd name="T1" fmla="*/ 187 h 317"/>
                <a:gd name="T2" fmla="*/ 13 w 292"/>
                <a:gd name="T3" fmla="*/ 207 h 317"/>
                <a:gd name="T4" fmla="*/ 23 w 292"/>
                <a:gd name="T5" fmla="*/ 203 h 317"/>
                <a:gd name="T6" fmla="*/ 52 w 292"/>
                <a:gd name="T7" fmla="*/ 211 h 317"/>
                <a:gd name="T8" fmla="*/ 40 w 292"/>
                <a:gd name="T9" fmla="*/ 253 h 317"/>
                <a:gd name="T10" fmla="*/ 42 w 292"/>
                <a:gd name="T11" fmla="*/ 260 h 317"/>
                <a:gd name="T12" fmla="*/ 49 w 292"/>
                <a:gd name="T13" fmla="*/ 260 h 317"/>
                <a:gd name="T14" fmla="*/ 30 w 292"/>
                <a:gd name="T15" fmla="*/ 271 h 317"/>
                <a:gd name="T16" fmla="*/ 18 w 292"/>
                <a:gd name="T17" fmla="*/ 297 h 317"/>
                <a:gd name="T18" fmla="*/ 40 w 292"/>
                <a:gd name="T19" fmla="*/ 295 h 317"/>
                <a:gd name="T20" fmla="*/ 32 w 292"/>
                <a:gd name="T21" fmla="*/ 303 h 317"/>
                <a:gd name="T22" fmla="*/ 43 w 292"/>
                <a:gd name="T23" fmla="*/ 317 h 317"/>
                <a:gd name="T24" fmla="*/ 59 w 292"/>
                <a:gd name="T25" fmla="*/ 312 h 317"/>
                <a:gd name="T26" fmla="*/ 59 w 292"/>
                <a:gd name="T27" fmla="*/ 300 h 317"/>
                <a:gd name="T28" fmla="*/ 81 w 292"/>
                <a:gd name="T29" fmla="*/ 314 h 317"/>
                <a:gd name="T30" fmla="*/ 94 w 292"/>
                <a:gd name="T31" fmla="*/ 307 h 317"/>
                <a:gd name="T32" fmla="*/ 102 w 292"/>
                <a:gd name="T33" fmla="*/ 314 h 317"/>
                <a:gd name="T34" fmla="*/ 130 w 292"/>
                <a:gd name="T35" fmla="*/ 286 h 317"/>
                <a:gd name="T36" fmla="*/ 159 w 292"/>
                <a:gd name="T37" fmla="*/ 286 h 317"/>
                <a:gd name="T38" fmla="*/ 185 w 292"/>
                <a:gd name="T39" fmla="*/ 268 h 317"/>
                <a:gd name="T40" fmla="*/ 154 w 292"/>
                <a:gd name="T41" fmla="*/ 234 h 317"/>
                <a:gd name="T42" fmla="*/ 143 w 292"/>
                <a:gd name="T43" fmla="*/ 229 h 317"/>
                <a:gd name="T44" fmla="*/ 145 w 292"/>
                <a:gd name="T45" fmla="*/ 194 h 317"/>
                <a:gd name="T46" fmla="*/ 167 w 292"/>
                <a:gd name="T47" fmla="*/ 178 h 317"/>
                <a:gd name="T48" fmla="*/ 185 w 292"/>
                <a:gd name="T49" fmla="*/ 177 h 317"/>
                <a:gd name="T50" fmla="*/ 216 w 292"/>
                <a:gd name="T51" fmla="*/ 153 h 317"/>
                <a:gd name="T52" fmla="*/ 247 w 292"/>
                <a:gd name="T53" fmla="*/ 126 h 317"/>
                <a:gd name="T54" fmla="*/ 247 w 292"/>
                <a:gd name="T55" fmla="*/ 85 h 317"/>
                <a:gd name="T56" fmla="*/ 264 w 292"/>
                <a:gd name="T57" fmla="*/ 63 h 317"/>
                <a:gd name="T58" fmla="*/ 281 w 292"/>
                <a:gd name="T59" fmla="*/ 42 h 317"/>
                <a:gd name="T60" fmla="*/ 292 w 292"/>
                <a:gd name="T61" fmla="*/ 42 h 317"/>
                <a:gd name="T62" fmla="*/ 291 w 292"/>
                <a:gd name="T63" fmla="*/ 34 h 317"/>
                <a:gd name="T64" fmla="*/ 287 w 292"/>
                <a:gd name="T65" fmla="*/ 25 h 317"/>
                <a:gd name="T66" fmla="*/ 281 w 292"/>
                <a:gd name="T67" fmla="*/ 23 h 317"/>
                <a:gd name="T68" fmla="*/ 264 w 292"/>
                <a:gd name="T69" fmla="*/ 0 h 317"/>
                <a:gd name="T70" fmla="*/ 255 w 292"/>
                <a:gd name="T71" fmla="*/ 8 h 317"/>
                <a:gd name="T72" fmla="*/ 242 w 292"/>
                <a:gd name="T73" fmla="*/ 40 h 317"/>
                <a:gd name="T74" fmla="*/ 215 w 292"/>
                <a:gd name="T75" fmla="*/ 59 h 317"/>
                <a:gd name="T76" fmla="*/ 177 w 292"/>
                <a:gd name="T77" fmla="*/ 63 h 317"/>
                <a:gd name="T78" fmla="*/ 174 w 292"/>
                <a:gd name="T79" fmla="*/ 70 h 317"/>
                <a:gd name="T80" fmla="*/ 179 w 292"/>
                <a:gd name="T81" fmla="*/ 97 h 317"/>
                <a:gd name="T82" fmla="*/ 143 w 292"/>
                <a:gd name="T83" fmla="*/ 101 h 317"/>
                <a:gd name="T84" fmla="*/ 117 w 292"/>
                <a:gd name="T85" fmla="*/ 88 h 317"/>
                <a:gd name="T86" fmla="*/ 71 w 292"/>
                <a:gd name="T87" fmla="*/ 133 h 317"/>
                <a:gd name="T88" fmla="*/ 23 w 292"/>
                <a:gd name="T89" fmla="*/ 156 h 317"/>
                <a:gd name="T90" fmla="*/ 0 w 292"/>
                <a:gd name="T91" fmla="*/ 187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2" h="317">
                  <a:moveTo>
                    <a:pt x="0" y="187"/>
                  </a:moveTo>
                  <a:lnTo>
                    <a:pt x="13" y="207"/>
                  </a:lnTo>
                  <a:lnTo>
                    <a:pt x="23" y="203"/>
                  </a:lnTo>
                  <a:lnTo>
                    <a:pt x="52" y="211"/>
                  </a:lnTo>
                  <a:lnTo>
                    <a:pt x="40" y="253"/>
                  </a:lnTo>
                  <a:lnTo>
                    <a:pt x="42" y="260"/>
                  </a:lnTo>
                  <a:lnTo>
                    <a:pt x="49" y="260"/>
                  </a:lnTo>
                  <a:lnTo>
                    <a:pt x="30" y="271"/>
                  </a:lnTo>
                  <a:lnTo>
                    <a:pt x="18" y="297"/>
                  </a:lnTo>
                  <a:lnTo>
                    <a:pt x="40" y="295"/>
                  </a:lnTo>
                  <a:lnTo>
                    <a:pt x="32" y="303"/>
                  </a:lnTo>
                  <a:lnTo>
                    <a:pt x="43" y="317"/>
                  </a:lnTo>
                  <a:lnTo>
                    <a:pt x="59" y="312"/>
                  </a:lnTo>
                  <a:lnTo>
                    <a:pt x="59" y="300"/>
                  </a:lnTo>
                  <a:lnTo>
                    <a:pt x="81" y="314"/>
                  </a:lnTo>
                  <a:lnTo>
                    <a:pt x="94" y="307"/>
                  </a:lnTo>
                  <a:lnTo>
                    <a:pt x="102" y="314"/>
                  </a:lnTo>
                  <a:lnTo>
                    <a:pt x="130" y="286"/>
                  </a:lnTo>
                  <a:lnTo>
                    <a:pt x="159" y="286"/>
                  </a:lnTo>
                  <a:lnTo>
                    <a:pt x="185" y="268"/>
                  </a:lnTo>
                  <a:lnTo>
                    <a:pt x="154" y="234"/>
                  </a:lnTo>
                  <a:lnTo>
                    <a:pt x="143" y="229"/>
                  </a:lnTo>
                  <a:lnTo>
                    <a:pt x="145" y="194"/>
                  </a:lnTo>
                  <a:lnTo>
                    <a:pt x="167" y="178"/>
                  </a:lnTo>
                  <a:lnTo>
                    <a:pt x="185" y="177"/>
                  </a:lnTo>
                  <a:lnTo>
                    <a:pt x="216" y="153"/>
                  </a:lnTo>
                  <a:lnTo>
                    <a:pt x="247" y="126"/>
                  </a:lnTo>
                  <a:lnTo>
                    <a:pt x="247" y="85"/>
                  </a:lnTo>
                  <a:lnTo>
                    <a:pt x="264" y="63"/>
                  </a:lnTo>
                  <a:lnTo>
                    <a:pt x="281" y="42"/>
                  </a:lnTo>
                  <a:lnTo>
                    <a:pt x="292" y="42"/>
                  </a:lnTo>
                  <a:lnTo>
                    <a:pt x="291" y="34"/>
                  </a:lnTo>
                  <a:lnTo>
                    <a:pt x="287" y="25"/>
                  </a:lnTo>
                  <a:lnTo>
                    <a:pt x="281" y="23"/>
                  </a:lnTo>
                  <a:lnTo>
                    <a:pt x="264" y="0"/>
                  </a:lnTo>
                  <a:lnTo>
                    <a:pt x="255" y="8"/>
                  </a:lnTo>
                  <a:lnTo>
                    <a:pt x="242" y="40"/>
                  </a:lnTo>
                  <a:lnTo>
                    <a:pt x="215" y="59"/>
                  </a:lnTo>
                  <a:lnTo>
                    <a:pt x="177" y="63"/>
                  </a:lnTo>
                  <a:lnTo>
                    <a:pt x="174" y="70"/>
                  </a:lnTo>
                  <a:lnTo>
                    <a:pt x="179" y="97"/>
                  </a:lnTo>
                  <a:lnTo>
                    <a:pt x="143" y="101"/>
                  </a:lnTo>
                  <a:lnTo>
                    <a:pt x="117" y="88"/>
                  </a:lnTo>
                  <a:lnTo>
                    <a:pt x="71" y="133"/>
                  </a:lnTo>
                  <a:lnTo>
                    <a:pt x="23" y="156"/>
                  </a:lnTo>
                  <a:lnTo>
                    <a:pt x="0" y="187"/>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30" name="Freeform 50">
              <a:extLst>
                <a:ext uri="{FF2B5EF4-FFF2-40B4-BE49-F238E27FC236}">
                  <a16:creationId xmlns:a16="http://schemas.microsoft.com/office/drawing/2014/main" id="{38F56B76-94BF-204B-A69F-6D9C84DF6676}"/>
                </a:ext>
              </a:extLst>
            </p:cNvPr>
            <p:cNvSpPr>
              <a:spLocks noChangeAspect="1" noEditPoints="1"/>
            </p:cNvSpPr>
            <p:nvPr/>
          </p:nvSpPr>
          <p:spPr bwMode="gray">
            <a:xfrm>
              <a:off x="6936225" y="3624482"/>
              <a:ext cx="159244" cy="408933"/>
            </a:xfrm>
            <a:custGeom>
              <a:avLst/>
              <a:gdLst>
                <a:gd name="T0" fmla="*/ 236 w 328"/>
                <a:gd name="T1" fmla="*/ 94 h 698"/>
                <a:gd name="T2" fmla="*/ 201 w 328"/>
                <a:gd name="T3" fmla="*/ 127 h 698"/>
                <a:gd name="T4" fmla="*/ 173 w 328"/>
                <a:gd name="T5" fmla="*/ 162 h 698"/>
                <a:gd name="T6" fmla="*/ 160 w 328"/>
                <a:gd name="T7" fmla="*/ 226 h 698"/>
                <a:gd name="T8" fmla="*/ 193 w 328"/>
                <a:gd name="T9" fmla="*/ 271 h 698"/>
                <a:gd name="T10" fmla="*/ 252 w 328"/>
                <a:gd name="T11" fmla="*/ 333 h 698"/>
                <a:gd name="T12" fmla="*/ 272 w 328"/>
                <a:gd name="T13" fmla="*/ 347 h 698"/>
                <a:gd name="T14" fmla="*/ 284 w 328"/>
                <a:gd name="T15" fmla="*/ 362 h 698"/>
                <a:gd name="T16" fmla="*/ 317 w 328"/>
                <a:gd name="T17" fmla="*/ 424 h 698"/>
                <a:gd name="T18" fmla="*/ 328 w 328"/>
                <a:gd name="T19" fmla="*/ 508 h 698"/>
                <a:gd name="T20" fmla="*/ 318 w 328"/>
                <a:gd name="T21" fmla="*/ 520 h 698"/>
                <a:gd name="T22" fmla="*/ 311 w 328"/>
                <a:gd name="T23" fmla="*/ 571 h 698"/>
                <a:gd name="T24" fmla="*/ 266 w 328"/>
                <a:gd name="T25" fmla="*/ 597 h 698"/>
                <a:gd name="T26" fmla="*/ 210 w 328"/>
                <a:gd name="T27" fmla="*/ 613 h 698"/>
                <a:gd name="T28" fmla="*/ 193 w 328"/>
                <a:gd name="T29" fmla="*/ 636 h 698"/>
                <a:gd name="T30" fmla="*/ 194 w 328"/>
                <a:gd name="T31" fmla="*/ 651 h 698"/>
                <a:gd name="T32" fmla="*/ 179 w 328"/>
                <a:gd name="T33" fmla="*/ 653 h 698"/>
                <a:gd name="T34" fmla="*/ 159 w 328"/>
                <a:gd name="T35" fmla="*/ 668 h 698"/>
                <a:gd name="T36" fmla="*/ 123 w 328"/>
                <a:gd name="T37" fmla="*/ 698 h 698"/>
                <a:gd name="T38" fmla="*/ 125 w 328"/>
                <a:gd name="T39" fmla="*/ 689 h 698"/>
                <a:gd name="T40" fmla="*/ 120 w 328"/>
                <a:gd name="T41" fmla="*/ 647 h 698"/>
                <a:gd name="T42" fmla="*/ 109 w 328"/>
                <a:gd name="T43" fmla="*/ 619 h 698"/>
                <a:gd name="T44" fmla="*/ 123 w 328"/>
                <a:gd name="T45" fmla="*/ 604 h 698"/>
                <a:gd name="T46" fmla="*/ 140 w 328"/>
                <a:gd name="T47" fmla="*/ 594 h 698"/>
                <a:gd name="T48" fmla="*/ 170 w 328"/>
                <a:gd name="T49" fmla="*/ 554 h 698"/>
                <a:gd name="T50" fmla="*/ 194 w 328"/>
                <a:gd name="T51" fmla="*/ 542 h 698"/>
                <a:gd name="T52" fmla="*/ 232 w 328"/>
                <a:gd name="T53" fmla="*/ 525 h 698"/>
                <a:gd name="T54" fmla="*/ 244 w 328"/>
                <a:gd name="T55" fmla="*/ 520 h 698"/>
                <a:gd name="T56" fmla="*/ 238 w 328"/>
                <a:gd name="T57" fmla="*/ 441 h 698"/>
                <a:gd name="T58" fmla="*/ 240 w 328"/>
                <a:gd name="T59" fmla="*/ 382 h 698"/>
                <a:gd name="T60" fmla="*/ 207 w 328"/>
                <a:gd name="T61" fmla="*/ 323 h 698"/>
                <a:gd name="T62" fmla="*/ 194 w 328"/>
                <a:gd name="T63" fmla="*/ 311 h 698"/>
                <a:gd name="T64" fmla="*/ 168 w 328"/>
                <a:gd name="T65" fmla="*/ 276 h 698"/>
                <a:gd name="T66" fmla="*/ 130 w 328"/>
                <a:gd name="T67" fmla="*/ 223 h 698"/>
                <a:gd name="T68" fmla="*/ 84 w 328"/>
                <a:gd name="T69" fmla="*/ 172 h 698"/>
                <a:gd name="T70" fmla="*/ 116 w 328"/>
                <a:gd name="T71" fmla="*/ 161 h 698"/>
                <a:gd name="T72" fmla="*/ 97 w 328"/>
                <a:gd name="T73" fmla="*/ 122 h 698"/>
                <a:gd name="T74" fmla="*/ 43 w 328"/>
                <a:gd name="T75" fmla="*/ 113 h 698"/>
                <a:gd name="T76" fmla="*/ 32 w 328"/>
                <a:gd name="T77" fmla="*/ 82 h 698"/>
                <a:gd name="T78" fmla="*/ 0 w 328"/>
                <a:gd name="T79" fmla="*/ 39 h 698"/>
                <a:gd name="T80" fmla="*/ 37 w 328"/>
                <a:gd name="T81" fmla="*/ 34 h 698"/>
                <a:gd name="T82" fmla="*/ 59 w 328"/>
                <a:gd name="T83" fmla="*/ 28 h 698"/>
                <a:gd name="T84" fmla="*/ 74 w 328"/>
                <a:gd name="T85" fmla="*/ 31 h 698"/>
                <a:gd name="T86" fmla="*/ 101 w 328"/>
                <a:gd name="T87" fmla="*/ 22 h 698"/>
                <a:gd name="T88" fmla="*/ 173 w 328"/>
                <a:gd name="T89" fmla="*/ 17 h 698"/>
                <a:gd name="T90" fmla="*/ 202 w 328"/>
                <a:gd name="T91" fmla="*/ 28 h 698"/>
                <a:gd name="T92" fmla="*/ 210 w 328"/>
                <a:gd name="T93" fmla="*/ 64 h 698"/>
                <a:gd name="T94" fmla="*/ 262 w 328"/>
                <a:gd name="T95" fmla="*/ 85 h 698"/>
                <a:gd name="T96" fmla="*/ 84 w 328"/>
                <a:gd name="T97" fmla="*/ 626 h 698"/>
                <a:gd name="T98" fmla="*/ 77 w 328"/>
                <a:gd name="T99" fmla="*/ 616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8" h="698">
                  <a:moveTo>
                    <a:pt x="262" y="85"/>
                  </a:moveTo>
                  <a:lnTo>
                    <a:pt x="236" y="94"/>
                  </a:lnTo>
                  <a:lnTo>
                    <a:pt x="235" y="103"/>
                  </a:lnTo>
                  <a:lnTo>
                    <a:pt x="201" y="127"/>
                  </a:lnTo>
                  <a:lnTo>
                    <a:pt x="199" y="139"/>
                  </a:lnTo>
                  <a:lnTo>
                    <a:pt x="173" y="162"/>
                  </a:lnTo>
                  <a:lnTo>
                    <a:pt x="157" y="204"/>
                  </a:lnTo>
                  <a:lnTo>
                    <a:pt x="160" y="226"/>
                  </a:lnTo>
                  <a:lnTo>
                    <a:pt x="187" y="249"/>
                  </a:lnTo>
                  <a:lnTo>
                    <a:pt x="193" y="271"/>
                  </a:lnTo>
                  <a:lnTo>
                    <a:pt x="221" y="302"/>
                  </a:lnTo>
                  <a:lnTo>
                    <a:pt x="252" y="333"/>
                  </a:lnTo>
                  <a:lnTo>
                    <a:pt x="266" y="334"/>
                  </a:lnTo>
                  <a:lnTo>
                    <a:pt x="272" y="347"/>
                  </a:lnTo>
                  <a:lnTo>
                    <a:pt x="277" y="343"/>
                  </a:lnTo>
                  <a:lnTo>
                    <a:pt x="284" y="362"/>
                  </a:lnTo>
                  <a:lnTo>
                    <a:pt x="303" y="382"/>
                  </a:lnTo>
                  <a:lnTo>
                    <a:pt x="317" y="424"/>
                  </a:lnTo>
                  <a:lnTo>
                    <a:pt x="326" y="500"/>
                  </a:lnTo>
                  <a:lnTo>
                    <a:pt x="328" y="508"/>
                  </a:lnTo>
                  <a:lnTo>
                    <a:pt x="321" y="518"/>
                  </a:lnTo>
                  <a:lnTo>
                    <a:pt x="318" y="520"/>
                  </a:lnTo>
                  <a:lnTo>
                    <a:pt x="320" y="554"/>
                  </a:lnTo>
                  <a:lnTo>
                    <a:pt x="311" y="571"/>
                  </a:lnTo>
                  <a:lnTo>
                    <a:pt x="272" y="588"/>
                  </a:lnTo>
                  <a:lnTo>
                    <a:pt x="266" y="597"/>
                  </a:lnTo>
                  <a:lnTo>
                    <a:pt x="233" y="613"/>
                  </a:lnTo>
                  <a:lnTo>
                    <a:pt x="210" y="613"/>
                  </a:lnTo>
                  <a:lnTo>
                    <a:pt x="204" y="628"/>
                  </a:lnTo>
                  <a:lnTo>
                    <a:pt x="193" y="636"/>
                  </a:lnTo>
                  <a:lnTo>
                    <a:pt x="198" y="645"/>
                  </a:lnTo>
                  <a:lnTo>
                    <a:pt x="194" y="651"/>
                  </a:lnTo>
                  <a:lnTo>
                    <a:pt x="174" y="634"/>
                  </a:lnTo>
                  <a:lnTo>
                    <a:pt x="179" y="653"/>
                  </a:lnTo>
                  <a:lnTo>
                    <a:pt x="179" y="658"/>
                  </a:lnTo>
                  <a:lnTo>
                    <a:pt x="159" y="668"/>
                  </a:lnTo>
                  <a:lnTo>
                    <a:pt x="130" y="698"/>
                  </a:lnTo>
                  <a:lnTo>
                    <a:pt x="123" y="698"/>
                  </a:lnTo>
                  <a:lnTo>
                    <a:pt x="122" y="692"/>
                  </a:lnTo>
                  <a:lnTo>
                    <a:pt x="125" y="689"/>
                  </a:lnTo>
                  <a:lnTo>
                    <a:pt x="120" y="660"/>
                  </a:lnTo>
                  <a:lnTo>
                    <a:pt x="120" y="647"/>
                  </a:lnTo>
                  <a:lnTo>
                    <a:pt x="130" y="630"/>
                  </a:lnTo>
                  <a:lnTo>
                    <a:pt x="109" y="619"/>
                  </a:lnTo>
                  <a:lnTo>
                    <a:pt x="103" y="609"/>
                  </a:lnTo>
                  <a:lnTo>
                    <a:pt x="123" y="604"/>
                  </a:lnTo>
                  <a:lnTo>
                    <a:pt x="128" y="593"/>
                  </a:lnTo>
                  <a:lnTo>
                    <a:pt x="140" y="594"/>
                  </a:lnTo>
                  <a:lnTo>
                    <a:pt x="168" y="580"/>
                  </a:lnTo>
                  <a:lnTo>
                    <a:pt x="170" y="554"/>
                  </a:lnTo>
                  <a:lnTo>
                    <a:pt x="193" y="550"/>
                  </a:lnTo>
                  <a:lnTo>
                    <a:pt x="194" y="542"/>
                  </a:lnTo>
                  <a:lnTo>
                    <a:pt x="216" y="535"/>
                  </a:lnTo>
                  <a:lnTo>
                    <a:pt x="232" y="525"/>
                  </a:lnTo>
                  <a:lnTo>
                    <a:pt x="238" y="526"/>
                  </a:lnTo>
                  <a:lnTo>
                    <a:pt x="244" y="520"/>
                  </a:lnTo>
                  <a:lnTo>
                    <a:pt x="247" y="467"/>
                  </a:lnTo>
                  <a:lnTo>
                    <a:pt x="238" y="441"/>
                  </a:lnTo>
                  <a:lnTo>
                    <a:pt x="240" y="411"/>
                  </a:lnTo>
                  <a:lnTo>
                    <a:pt x="240" y="382"/>
                  </a:lnTo>
                  <a:lnTo>
                    <a:pt x="225" y="339"/>
                  </a:lnTo>
                  <a:lnTo>
                    <a:pt x="207" y="323"/>
                  </a:lnTo>
                  <a:lnTo>
                    <a:pt x="199" y="323"/>
                  </a:lnTo>
                  <a:lnTo>
                    <a:pt x="194" y="311"/>
                  </a:lnTo>
                  <a:lnTo>
                    <a:pt x="187" y="288"/>
                  </a:lnTo>
                  <a:lnTo>
                    <a:pt x="168" y="276"/>
                  </a:lnTo>
                  <a:lnTo>
                    <a:pt x="133" y="235"/>
                  </a:lnTo>
                  <a:lnTo>
                    <a:pt x="130" y="223"/>
                  </a:lnTo>
                  <a:lnTo>
                    <a:pt x="79" y="192"/>
                  </a:lnTo>
                  <a:lnTo>
                    <a:pt x="84" y="172"/>
                  </a:lnTo>
                  <a:lnTo>
                    <a:pt x="105" y="172"/>
                  </a:lnTo>
                  <a:lnTo>
                    <a:pt x="116" y="161"/>
                  </a:lnTo>
                  <a:lnTo>
                    <a:pt x="118" y="152"/>
                  </a:lnTo>
                  <a:lnTo>
                    <a:pt x="97" y="122"/>
                  </a:lnTo>
                  <a:lnTo>
                    <a:pt x="89" y="111"/>
                  </a:lnTo>
                  <a:lnTo>
                    <a:pt x="43" y="113"/>
                  </a:lnTo>
                  <a:lnTo>
                    <a:pt x="30" y="99"/>
                  </a:lnTo>
                  <a:lnTo>
                    <a:pt x="32" y="82"/>
                  </a:lnTo>
                  <a:lnTo>
                    <a:pt x="26" y="74"/>
                  </a:lnTo>
                  <a:lnTo>
                    <a:pt x="0" y="39"/>
                  </a:lnTo>
                  <a:lnTo>
                    <a:pt x="12" y="23"/>
                  </a:lnTo>
                  <a:lnTo>
                    <a:pt x="37" y="34"/>
                  </a:lnTo>
                  <a:lnTo>
                    <a:pt x="54" y="25"/>
                  </a:lnTo>
                  <a:lnTo>
                    <a:pt x="59" y="28"/>
                  </a:lnTo>
                  <a:lnTo>
                    <a:pt x="71" y="25"/>
                  </a:lnTo>
                  <a:lnTo>
                    <a:pt x="74" y="31"/>
                  </a:lnTo>
                  <a:lnTo>
                    <a:pt x="89" y="20"/>
                  </a:lnTo>
                  <a:lnTo>
                    <a:pt x="101" y="22"/>
                  </a:lnTo>
                  <a:lnTo>
                    <a:pt x="137" y="0"/>
                  </a:lnTo>
                  <a:lnTo>
                    <a:pt x="173" y="17"/>
                  </a:lnTo>
                  <a:lnTo>
                    <a:pt x="199" y="20"/>
                  </a:lnTo>
                  <a:lnTo>
                    <a:pt x="202" y="28"/>
                  </a:lnTo>
                  <a:lnTo>
                    <a:pt x="199" y="40"/>
                  </a:lnTo>
                  <a:lnTo>
                    <a:pt x="210" y="64"/>
                  </a:lnTo>
                  <a:lnTo>
                    <a:pt x="233" y="79"/>
                  </a:lnTo>
                  <a:lnTo>
                    <a:pt x="262" y="85"/>
                  </a:lnTo>
                  <a:close/>
                  <a:moveTo>
                    <a:pt x="77" y="616"/>
                  </a:moveTo>
                  <a:lnTo>
                    <a:pt x="84" y="626"/>
                  </a:lnTo>
                  <a:lnTo>
                    <a:pt x="80" y="611"/>
                  </a:lnTo>
                  <a:lnTo>
                    <a:pt x="77" y="616"/>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31" name="Freeform 51">
              <a:extLst>
                <a:ext uri="{FF2B5EF4-FFF2-40B4-BE49-F238E27FC236}">
                  <a16:creationId xmlns:a16="http://schemas.microsoft.com/office/drawing/2014/main" id="{B30F2F79-FDA7-EC44-AAC2-85DF6AFE5794}"/>
                </a:ext>
              </a:extLst>
            </p:cNvPr>
            <p:cNvSpPr>
              <a:spLocks noChangeAspect="1" noEditPoints="1"/>
            </p:cNvSpPr>
            <p:nvPr/>
          </p:nvSpPr>
          <p:spPr bwMode="gray">
            <a:xfrm>
              <a:off x="6832718" y="3695520"/>
              <a:ext cx="175166" cy="418532"/>
            </a:xfrm>
            <a:custGeom>
              <a:avLst/>
              <a:gdLst>
                <a:gd name="T0" fmla="*/ 232 w 362"/>
                <a:gd name="T1" fmla="*/ 413 h 709"/>
                <a:gd name="T2" fmla="*/ 196 w 362"/>
                <a:gd name="T3" fmla="*/ 386 h 709"/>
                <a:gd name="T4" fmla="*/ 151 w 362"/>
                <a:gd name="T5" fmla="*/ 347 h 709"/>
                <a:gd name="T6" fmla="*/ 108 w 362"/>
                <a:gd name="T7" fmla="*/ 348 h 709"/>
                <a:gd name="T8" fmla="*/ 106 w 362"/>
                <a:gd name="T9" fmla="*/ 409 h 709"/>
                <a:gd name="T10" fmla="*/ 86 w 362"/>
                <a:gd name="T11" fmla="*/ 463 h 709"/>
                <a:gd name="T12" fmla="*/ 76 w 362"/>
                <a:gd name="T13" fmla="*/ 545 h 709"/>
                <a:gd name="T14" fmla="*/ 113 w 362"/>
                <a:gd name="T15" fmla="*/ 579 h 709"/>
                <a:gd name="T16" fmla="*/ 137 w 362"/>
                <a:gd name="T17" fmla="*/ 633 h 709"/>
                <a:gd name="T18" fmla="*/ 181 w 362"/>
                <a:gd name="T19" fmla="*/ 653 h 709"/>
                <a:gd name="T20" fmla="*/ 205 w 362"/>
                <a:gd name="T21" fmla="*/ 697 h 709"/>
                <a:gd name="T22" fmla="*/ 165 w 362"/>
                <a:gd name="T23" fmla="*/ 709 h 709"/>
                <a:gd name="T24" fmla="*/ 156 w 362"/>
                <a:gd name="T25" fmla="*/ 673 h 709"/>
                <a:gd name="T26" fmla="*/ 122 w 362"/>
                <a:gd name="T27" fmla="*/ 673 h 709"/>
                <a:gd name="T28" fmla="*/ 51 w 362"/>
                <a:gd name="T29" fmla="*/ 590 h 709"/>
                <a:gd name="T30" fmla="*/ 32 w 362"/>
                <a:gd name="T31" fmla="*/ 557 h 709"/>
                <a:gd name="T32" fmla="*/ 60 w 362"/>
                <a:gd name="T33" fmla="*/ 469 h 709"/>
                <a:gd name="T34" fmla="*/ 93 w 362"/>
                <a:gd name="T35" fmla="*/ 421 h 709"/>
                <a:gd name="T36" fmla="*/ 64 w 362"/>
                <a:gd name="T37" fmla="*/ 325 h 709"/>
                <a:gd name="T38" fmla="*/ 27 w 362"/>
                <a:gd name="T39" fmla="*/ 282 h 709"/>
                <a:gd name="T40" fmla="*/ 42 w 362"/>
                <a:gd name="T41" fmla="*/ 254 h 709"/>
                <a:gd name="T42" fmla="*/ 54 w 362"/>
                <a:gd name="T43" fmla="*/ 220 h 709"/>
                <a:gd name="T44" fmla="*/ 42 w 362"/>
                <a:gd name="T45" fmla="*/ 211 h 709"/>
                <a:gd name="T46" fmla="*/ 15 w 362"/>
                <a:gd name="T47" fmla="*/ 152 h 709"/>
                <a:gd name="T48" fmla="*/ 6 w 362"/>
                <a:gd name="T49" fmla="*/ 108 h 709"/>
                <a:gd name="T50" fmla="*/ 20 w 362"/>
                <a:gd name="T51" fmla="*/ 56 h 709"/>
                <a:gd name="T52" fmla="*/ 86 w 362"/>
                <a:gd name="T53" fmla="*/ 27 h 709"/>
                <a:gd name="T54" fmla="*/ 120 w 362"/>
                <a:gd name="T55" fmla="*/ 0 h 709"/>
                <a:gd name="T56" fmla="*/ 125 w 362"/>
                <a:gd name="T57" fmla="*/ 10 h 709"/>
                <a:gd name="T58" fmla="*/ 136 w 362"/>
                <a:gd name="T59" fmla="*/ 44 h 709"/>
                <a:gd name="T60" fmla="*/ 162 w 362"/>
                <a:gd name="T61" fmla="*/ 54 h 709"/>
                <a:gd name="T62" fmla="*/ 151 w 362"/>
                <a:gd name="T63" fmla="*/ 137 h 709"/>
                <a:gd name="T64" fmla="*/ 196 w 362"/>
                <a:gd name="T65" fmla="*/ 121 h 709"/>
                <a:gd name="T66" fmla="*/ 215 w 362"/>
                <a:gd name="T67" fmla="*/ 130 h 709"/>
                <a:gd name="T68" fmla="*/ 246 w 362"/>
                <a:gd name="T69" fmla="*/ 129 h 709"/>
                <a:gd name="T70" fmla="*/ 271 w 362"/>
                <a:gd name="T71" fmla="*/ 113 h 709"/>
                <a:gd name="T72" fmla="*/ 317 w 362"/>
                <a:gd name="T73" fmla="*/ 152 h 709"/>
                <a:gd name="T74" fmla="*/ 326 w 362"/>
                <a:gd name="T75" fmla="*/ 211 h 709"/>
                <a:gd name="T76" fmla="*/ 346 w 362"/>
                <a:gd name="T77" fmla="*/ 225 h 709"/>
                <a:gd name="T78" fmla="*/ 362 w 362"/>
                <a:gd name="T79" fmla="*/ 259 h 709"/>
                <a:gd name="T80" fmla="*/ 349 w 362"/>
                <a:gd name="T81" fmla="*/ 310 h 709"/>
                <a:gd name="T82" fmla="*/ 332 w 362"/>
                <a:gd name="T83" fmla="*/ 306 h 709"/>
                <a:gd name="T84" fmla="*/ 257 w 362"/>
                <a:gd name="T85" fmla="*/ 305 h 709"/>
                <a:gd name="T86" fmla="*/ 216 w 362"/>
                <a:gd name="T87" fmla="*/ 345 h 709"/>
                <a:gd name="T88" fmla="*/ 224 w 362"/>
                <a:gd name="T89" fmla="*/ 387 h 709"/>
                <a:gd name="T90" fmla="*/ 244 w 362"/>
                <a:gd name="T91" fmla="*/ 433 h 709"/>
                <a:gd name="T92" fmla="*/ 34 w 362"/>
                <a:gd name="T93" fmla="*/ 610 h 709"/>
                <a:gd name="T94" fmla="*/ 34 w 362"/>
                <a:gd name="T95" fmla="*/ 597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2" h="709">
                  <a:moveTo>
                    <a:pt x="244" y="433"/>
                  </a:moveTo>
                  <a:lnTo>
                    <a:pt x="232" y="413"/>
                  </a:lnTo>
                  <a:lnTo>
                    <a:pt x="216" y="406"/>
                  </a:lnTo>
                  <a:lnTo>
                    <a:pt x="196" y="386"/>
                  </a:lnTo>
                  <a:lnTo>
                    <a:pt x="154" y="387"/>
                  </a:lnTo>
                  <a:lnTo>
                    <a:pt x="151" y="347"/>
                  </a:lnTo>
                  <a:lnTo>
                    <a:pt x="120" y="345"/>
                  </a:lnTo>
                  <a:lnTo>
                    <a:pt x="108" y="348"/>
                  </a:lnTo>
                  <a:lnTo>
                    <a:pt x="111" y="367"/>
                  </a:lnTo>
                  <a:lnTo>
                    <a:pt x="106" y="409"/>
                  </a:lnTo>
                  <a:lnTo>
                    <a:pt x="93" y="433"/>
                  </a:lnTo>
                  <a:lnTo>
                    <a:pt x="86" y="463"/>
                  </a:lnTo>
                  <a:lnTo>
                    <a:pt x="71" y="497"/>
                  </a:lnTo>
                  <a:lnTo>
                    <a:pt x="76" y="545"/>
                  </a:lnTo>
                  <a:lnTo>
                    <a:pt x="103" y="545"/>
                  </a:lnTo>
                  <a:lnTo>
                    <a:pt x="113" y="579"/>
                  </a:lnTo>
                  <a:lnTo>
                    <a:pt x="127" y="596"/>
                  </a:lnTo>
                  <a:lnTo>
                    <a:pt x="137" y="633"/>
                  </a:lnTo>
                  <a:lnTo>
                    <a:pt x="153" y="650"/>
                  </a:lnTo>
                  <a:lnTo>
                    <a:pt x="181" y="653"/>
                  </a:lnTo>
                  <a:lnTo>
                    <a:pt x="210" y="686"/>
                  </a:lnTo>
                  <a:lnTo>
                    <a:pt x="205" y="697"/>
                  </a:lnTo>
                  <a:lnTo>
                    <a:pt x="187" y="695"/>
                  </a:lnTo>
                  <a:lnTo>
                    <a:pt x="165" y="709"/>
                  </a:lnTo>
                  <a:lnTo>
                    <a:pt x="165" y="686"/>
                  </a:lnTo>
                  <a:lnTo>
                    <a:pt x="156" y="673"/>
                  </a:lnTo>
                  <a:lnTo>
                    <a:pt x="119" y="661"/>
                  </a:lnTo>
                  <a:lnTo>
                    <a:pt x="122" y="673"/>
                  </a:lnTo>
                  <a:lnTo>
                    <a:pt x="71" y="611"/>
                  </a:lnTo>
                  <a:lnTo>
                    <a:pt x="51" y="590"/>
                  </a:lnTo>
                  <a:lnTo>
                    <a:pt x="34" y="593"/>
                  </a:lnTo>
                  <a:lnTo>
                    <a:pt x="32" y="557"/>
                  </a:lnTo>
                  <a:lnTo>
                    <a:pt x="49" y="500"/>
                  </a:lnTo>
                  <a:lnTo>
                    <a:pt x="60" y="469"/>
                  </a:lnTo>
                  <a:lnTo>
                    <a:pt x="76" y="452"/>
                  </a:lnTo>
                  <a:lnTo>
                    <a:pt x="93" y="421"/>
                  </a:lnTo>
                  <a:lnTo>
                    <a:pt x="69" y="364"/>
                  </a:lnTo>
                  <a:lnTo>
                    <a:pt x="64" y="325"/>
                  </a:lnTo>
                  <a:lnTo>
                    <a:pt x="32" y="296"/>
                  </a:lnTo>
                  <a:lnTo>
                    <a:pt x="27" y="282"/>
                  </a:lnTo>
                  <a:lnTo>
                    <a:pt x="29" y="271"/>
                  </a:lnTo>
                  <a:lnTo>
                    <a:pt x="42" y="254"/>
                  </a:lnTo>
                  <a:lnTo>
                    <a:pt x="44" y="237"/>
                  </a:lnTo>
                  <a:lnTo>
                    <a:pt x="54" y="220"/>
                  </a:lnTo>
                  <a:lnTo>
                    <a:pt x="51" y="212"/>
                  </a:lnTo>
                  <a:lnTo>
                    <a:pt x="42" y="211"/>
                  </a:lnTo>
                  <a:lnTo>
                    <a:pt x="40" y="174"/>
                  </a:lnTo>
                  <a:lnTo>
                    <a:pt x="15" y="152"/>
                  </a:lnTo>
                  <a:lnTo>
                    <a:pt x="0" y="113"/>
                  </a:lnTo>
                  <a:lnTo>
                    <a:pt x="6" y="108"/>
                  </a:lnTo>
                  <a:lnTo>
                    <a:pt x="6" y="90"/>
                  </a:lnTo>
                  <a:lnTo>
                    <a:pt x="20" y="56"/>
                  </a:lnTo>
                  <a:lnTo>
                    <a:pt x="55" y="50"/>
                  </a:lnTo>
                  <a:lnTo>
                    <a:pt x="86" y="27"/>
                  </a:lnTo>
                  <a:lnTo>
                    <a:pt x="105" y="20"/>
                  </a:lnTo>
                  <a:lnTo>
                    <a:pt x="120" y="0"/>
                  </a:lnTo>
                  <a:lnTo>
                    <a:pt x="120" y="10"/>
                  </a:lnTo>
                  <a:lnTo>
                    <a:pt x="125" y="10"/>
                  </a:lnTo>
                  <a:lnTo>
                    <a:pt x="134" y="20"/>
                  </a:lnTo>
                  <a:lnTo>
                    <a:pt x="136" y="44"/>
                  </a:lnTo>
                  <a:lnTo>
                    <a:pt x="136" y="48"/>
                  </a:lnTo>
                  <a:lnTo>
                    <a:pt x="162" y="54"/>
                  </a:lnTo>
                  <a:lnTo>
                    <a:pt x="161" y="95"/>
                  </a:lnTo>
                  <a:lnTo>
                    <a:pt x="151" y="137"/>
                  </a:lnTo>
                  <a:lnTo>
                    <a:pt x="154" y="152"/>
                  </a:lnTo>
                  <a:lnTo>
                    <a:pt x="196" y="121"/>
                  </a:lnTo>
                  <a:lnTo>
                    <a:pt x="210" y="121"/>
                  </a:lnTo>
                  <a:lnTo>
                    <a:pt x="215" y="130"/>
                  </a:lnTo>
                  <a:lnTo>
                    <a:pt x="229" y="135"/>
                  </a:lnTo>
                  <a:lnTo>
                    <a:pt x="246" y="129"/>
                  </a:lnTo>
                  <a:lnTo>
                    <a:pt x="252" y="115"/>
                  </a:lnTo>
                  <a:lnTo>
                    <a:pt x="271" y="113"/>
                  </a:lnTo>
                  <a:lnTo>
                    <a:pt x="281" y="113"/>
                  </a:lnTo>
                  <a:lnTo>
                    <a:pt x="317" y="152"/>
                  </a:lnTo>
                  <a:lnTo>
                    <a:pt x="323" y="171"/>
                  </a:lnTo>
                  <a:lnTo>
                    <a:pt x="326" y="211"/>
                  </a:lnTo>
                  <a:lnTo>
                    <a:pt x="340" y="225"/>
                  </a:lnTo>
                  <a:lnTo>
                    <a:pt x="346" y="225"/>
                  </a:lnTo>
                  <a:lnTo>
                    <a:pt x="362" y="245"/>
                  </a:lnTo>
                  <a:lnTo>
                    <a:pt x="362" y="259"/>
                  </a:lnTo>
                  <a:lnTo>
                    <a:pt x="359" y="297"/>
                  </a:lnTo>
                  <a:lnTo>
                    <a:pt x="349" y="310"/>
                  </a:lnTo>
                  <a:lnTo>
                    <a:pt x="340" y="313"/>
                  </a:lnTo>
                  <a:lnTo>
                    <a:pt x="332" y="306"/>
                  </a:lnTo>
                  <a:lnTo>
                    <a:pt x="295" y="308"/>
                  </a:lnTo>
                  <a:lnTo>
                    <a:pt x="257" y="305"/>
                  </a:lnTo>
                  <a:lnTo>
                    <a:pt x="227" y="331"/>
                  </a:lnTo>
                  <a:lnTo>
                    <a:pt x="216" y="345"/>
                  </a:lnTo>
                  <a:lnTo>
                    <a:pt x="215" y="361"/>
                  </a:lnTo>
                  <a:lnTo>
                    <a:pt x="224" y="387"/>
                  </a:lnTo>
                  <a:lnTo>
                    <a:pt x="241" y="407"/>
                  </a:lnTo>
                  <a:lnTo>
                    <a:pt x="244" y="433"/>
                  </a:lnTo>
                  <a:close/>
                  <a:moveTo>
                    <a:pt x="34" y="597"/>
                  </a:moveTo>
                  <a:lnTo>
                    <a:pt x="34" y="610"/>
                  </a:lnTo>
                  <a:lnTo>
                    <a:pt x="38" y="601"/>
                  </a:lnTo>
                  <a:lnTo>
                    <a:pt x="34" y="597"/>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32" name="Freeform 52">
              <a:extLst>
                <a:ext uri="{FF2B5EF4-FFF2-40B4-BE49-F238E27FC236}">
                  <a16:creationId xmlns:a16="http://schemas.microsoft.com/office/drawing/2014/main" id="{547AE177-1469-3B4E-9024-42F0746101BD}"/>
                </a:ext>
              </a:extLst>
            </p:cNvPr>
            <p:cNvSpPr>
              <a:spLocks noChangeAspect="1" noEditPoints="1"/>
            </p:cNvSpPr>
            <p:nvPr/>
          </p:nvSpPr>
          <p:spPr bwMode="gray">
            <a:xfrm>
              <a:off x="6711695" y="3470895"/>
              <a:ext cx="199054" cy="518366"/>
            </a:xfrm>
            <a:custGeom>
              <a:avLst/>
              <a:gdLst>
                <a:gd name="T0" fmla="*/ 289 w 411"/>
                <a:gd name="T1" fmla="*/ 877 h 882"/>
                <a:gd name="T2" fmla="*/ 289 w 411"/>
                <a:gd name="T3" fmla="*/ 802 h 882"/>
                <a:gd name="T4" fmla="*/ 298 w 411"/>
                <a:gd name="T5" fmla="*/ 797 h 882"/>
                <a:gd name="T6" fmla="*/ 281 w 411"/>
                <a:gd name="T7" fmla="*/ 717 h 882"/>
                <a:gd name="T8" fmla="*/ 258 w 411"/>
                <a:gd name="T9" fmla="*/ 659 h 882"/>
                <a:gd name="T10" fmla="*/ 235 w 411"/>
                <a:gd name="T11" fmla="*/ 579 h 882"/>
                <a:gd name="T12" fmla="*/ 215 w 411"/>
                <a:gd name="T13" fmla="*/ 566 h 882"/>
                <a:gd name="T14" fmla="*/ 204 w 411"/>
                <a:gd name="T15" fmla="*/ 576 h 882"/>
                <a:gd name="T16" fmla="*/ 144 w 411"/>
                <a:gd name="T17" fmla="*/ 620 h 882"/>
                <a:gd name="T18" fmla="*/ 123 w 411"/>
                <a:gd name="T19" fmla="*/ 622 h 882"/>
                <a:gd name="T20" fmla="*/ 103 w 411"/>
                <a:gd name="T21" fmla="*/ 610 h 882"/>
                <a:gd name="T22" fmla="*/ 93 w 411"/>
                <a:gd name="T23" fmla="*/ 608 h 882"/>
                <a:gd name="T24" fmla="*/ 98 w 411"/>
                <a:gd name="T25" fmla="*/ 498 h 882"/>
                <a:gd name="T26" fmla="*/ 74 w 411"/>
                <a:gd name="T27" fmla="*/ 470 h 882"/>
                <a:gd name="T28" fmla="*/ 61 w 411"/>
                <a:gd name="T29" fmla="*/ 455 h 882"/>
                <a:gd name="T30" fmla="*/ 72 w 411"/>
                <a:gd name="T31" fmla="*/ 452 h 882"/>
                <a:gd name="T32" fmla="*/ 66 w 411"/>
                <a:gd name="T33" fmla="*/ 430 h 882"/>
                <a:gd name="T34" fmla="*/ 32 w 411"/>
                <a:gd name="T35" fmla="*/ 405 h 882"/>
                <a:gd name="T36" fmla="*/ 0 w 411"/>
                <a:gd name="T37" fmla="*/ 373 h 882"/>
                <a:gd name="T38" fmla="*/ 7 w 411"/>
                <a:gd name="T39" fmla="*/ 348 h 882"/>
                <a:gd name="T40" fmla="*/ 15 w 411"/>
                <a:gd name="T41" fmla="*/ 324 h 882"/>
                <a:gd name="T42" fmla="*/ 34 w 411"/>
                <a:gd name="T43" fmla="*/ 285 h 882"/>
                <a:gd name="T44" fmla="*/ 49 w 411"/>
                <a:gd name="T45" fmla="*/ 272 h 882"/>
                <a:gd name="T46" fmla="*/ 55 w 411"/>
                <a:gd name="T47" fmla="*/ 226 h 882"/>
                <a:gd name="T48" fmla="*/ 89 w 411"/>
                <a:gd name="T49" fmla="*/ 223 h 882"/>
                <a:gd name="T50" fmla="*/ 111 w 411"/>
                <a:gd name="T51" fmla="*/ 158 h 882"/>
                <a:gd name="T52" fmla="*/ 134 w 411"/>
                <a:gd name="T53" fmla="*/ 107 h 882"/>
                <a:gd name="T54" fmla="*/ 164 w 411"/>
                <a:gd name="T55" fmla="*/ 79 h 882"/>
                <a:gd name="T56" fmla="*/ 204 w 411"/>
                <a:gd name="T57" fmla="*/ 53 h 882"/>
                <a:gd name="T58" fmla="*/ 222 w 411"/>
                <a:gd name="T59" fmla="*/ 29 h 882"/>
                <a:gd name="T60" fmla="*/ 237 w 411"/>
                <a:gd name="T61" fmla="*/ 8 h 882"/>
                <a:gd name="T62" fmla="*/ 261 w 411"/>
                <a:gd name="T63" fmla="*/ 6 h 882"/>
                <a:gd name="T64" fmla="*/ 279 w 411"/>
                <a:gd name="T65" fmla="*/ 40 h 882"/>
                <a:gd name="T66" fmla="*/ 300 w 411"/>
                <a:gd name="T67" fmla="*/ 84 h 882"/>
                <a:gd name="T68" fmla="*/ 287 w 411"/>
                <a:gd name="T69" fmla="*/ 138 h 882"/>
                <a:gd name="T70" fmla="*/ 253 w 411"/>
                <a:gd name="T71" fmla="*/ 195 h 882"/>
                <a:gd name="T72" fmla="*/ 247 w 411"/>
                <a:gd name="T73" fmla="*/ 229 h 882"/>
                <a:gd name="T74" fmla="*/ 284 w 411"/>
                <a:gd name="T75" fmla="*/ 214 h 882"/>
                <a:gd name="T76" fmla="*/ 309 w 411"/>
                <a:gd name="T77" fmla="*/ 255 h 882"/>
                <a:gd name="T78" fmla="*/ 325 w 411"/>
                <a:gd name="T79" fmla="*/ 309 h 882"/>
                <a:gd name="T80" fmla="*/ 355 w 411"/>
                <a:gd name="T81" fmla="*/ 326 h 882"/>
                <a:gd name="T82" fmla="*/ 388 w 411"/>
                <a:gd name="T83" fmla="*/ 337 h 882"/>
                <a:gd name="T84" fmla="*/ 410 w 411"/>
                <a:gd name="T85" fmla="*/ 329 h 882"/>
                <a:gd name="T86" fmla="*/ 406 w 411"/>
                <a:gd name="T87" fmla="*/ 345 h 882"/>
                <a:gd name="T88" fmla="*/ 386 w 411"/>
                <a:gd name="T89" fmla="*/ 371 h 882"/>
                <a:gd name="T90" fmla="*/ 369 w 411"/>
                <a:gd name="T91" fmla="*/ 382 h 882"/>
                <a:gd name="T92" fmla="*/ 335 w 411"/>
                <a:gd name="T93" fmla="*/ 409 h 882"/>
                <a:gd name="T94" fmla="*/ 269 w 411"/>
                <a:gd name="T95" fmla="*/ 438 h 882"/>
                <a:gd name="T96" fmla="*/ 255 w 411"/>
                <a:gd name="T97" fmla="*/ 490 h 882"/>
                <a:gd name="T98" fmla="*/ 264 w 411"/>
                <a:gd name="T99" fmla="*/ 534 h 882"/>
                <a:gd name="T100" fmla="*/ 291 w 411"/>
                <a:gd name="T101" fmla="*/ 593 h 882"/>
                <a:gd name="T102" fmla="*/ 303 w 411"/>
                <a:gd name="T103" fmla="*/ 602 h 882"/>
                <a:gd name="T104" fmla="*/ 291 w 411"/>
                <a:gd name="T105" fmla="*/ 636 h 882"/>
                <a:gd name="T106" fmla="*/ 276 w 411"/>
                <a:gd name="T107" fmla="*/ 664 h 882"/>
                <a:gd name="T108" fmla="*/ 313 w 411"/>
                <a:gd name="T109" fmla="*/ 707 h 882"/>
                <a:gd name="T110" fmla="*/ 342 w 411"/>
                <a:gd name="T111" fmla="*/ 803 h 882"/>
                <a:gd name="T112" fmla="*/ 309 w 411"/>
                <a:gd name="T113" fmla="*/ 851 h 882"/>
                <a:gd name="T114" fmla="*/ 283 w 411"/>
                <a:gd name="T115" fmla="*/ 768 h 882"/>
                <a:gd name="T116" fmla="*/ 286 w 411"/>
                <a:gd name="T117" fmla="*/ 778 h 882"/>
                <a:gd name="T118" fmla="*/ 289 w 411"/>
                <a:gd name="T119" fmla="*/ 806 h 882"/>
                <a:gd name="T120" fmla="*/ 291 w 411"/>
                <a:gd name="T121" fmla="*/ 819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1" h="882">
                  <a:moveTo>
                    <a:pt x="298" y="882"/>
                  </a:moveTo>
                  <a:lnTo>
                    <a:pt x="289" y="877"/>
                  </a:lnTo>
                  <a:lnTo>
                    <a:pt x="304" y="812"/>
                  </a:lnTo>
                  <a:lnTo>
                    <a:pt x="289" y="802"/>
                  </a:lnTo>
                  <a:lnTo>
                    <a:pt x="291" y="795"/>
                  </a:lnTo>
                  <a:lnTo>
                    <a:pt x="298" y="797"/>
                  </a:lnTo>
                  <a:lnTo>
                    <a:pt x="295" y="754"/>
                  </a:lnTo>
                  <a:lnTo>
                    <a:pt x="281" y="717"/>
                  </a:lnTo>
                  <a:lnTo>
                    <a:pt x="276" y="722"/>
                  </a:lnTo>
                  <a:lnTo>
                    <a:pt x="258" y="659"/>
                  </a:lnTo>
                  <a:lnTo>
                    <a:pt x="252" y="585"/>
                  </a:lnTo>
                  <a:lnTo>
                    <a:pt x="235" y="579"/>
                  </a:lnTo>
                  <a:lnTo>
                    <a:pt x="220" y="565"/>
                  </a:lnTo>
                  <a:lnTo>
                    <a:pt x="215" y="566"/>
                  </a:lnTo>
                  <a:lnTo>
                    <a:pt x="207" y="540"/>
                  </a:lnTo>
                  <a:lnTo>
                    <a:pt x="204" y="576"/>
                  </a:lnTo>
                  <a:lnTo>
                    <a:pt x="178" y="590"/>
                  </a:lnTo>
                  <a:lnTo>
                    <a:pt x="144" y="620"/>
                  </a:lnTo>
                  <a:lnTo>
                    <a:pt x="128" y="614"/>
                  </a:lnTo>
                  <a:lnTo>
                    <a:pt x="123" y="622"/>
                  </a:lnTo>
                  <a:lnTo>
                    <a:pt x="106" y="614"/>
                  </a:lnTo>
                  <a:lnTo>
                    <a:pt x="103" y="610"/>
                  </a:lnTo>
                  <a:lnTo>
                    <a:pt x="106" y="603"/>
                  </a:lnTo>
                  <a:lnTo>
                    <a:pt x="93" y="608"/>
                  </a:lnTo>
                  <a:lnTo>
                    <a:pt x="106" y="553"/>
                  </a:lnTo>
                  <a:lnTo>
                    <a:pt x="98" y="498"/>
                  </a:lnTo>
                  <a:lnTo>
                    <a:pt x="77" y="460"/>
                  </a:lnTo>
                  <a:lnTo>
                    <a:pt x="74" y="470"/>
                  </a:lnTo>
                  <a:lnTo>
                    <a:pt x="66" y="464"/>
                  </a:lnTo>
                  <a:lnTo>
                    <a:pt x="61" y="455"/>
                  </a:lnTo>
                  <a:lnTo>
                    <a:pt x="63" y="446"/>
                  </a:lnTo>
                  <a:lnTo>
                    <a:pt x="72" y="452"/>
                  </a:lnTo>
                  <a:lnTo>
                    <a:pt x="64" y="441"/>
                  </a:lnTo>
                  <a:lnTo>
                    <a:pt x="66" y="430"/>
                  </a:lnTo>
                  <a:lnTo>
                    <a:pt x="32" y="413"/>
                  </a:lnTo>
                  <a:lnTo>
                    <a:pt x="32" y="405"/>
                  </a:lnTo>
                  <a:lnTo>
                    <a:pt x="12" y="393"/>
                  </a:lnTo>
                  <a:lnTo>
                    <a:pt x="0" y="373"/>
                  </a:lnTo>
                  <a:lnTo>
                    <a:pt x="1" y="351"/>
                  </a:lnTo>
                  <a:lnTo>
                    <a:pt x="7" y="348"/>
                  </a:lnTo>
                  <a:lnTo>
                    <a:pt x="17" y="351"/>
                  </a:lnTo>
                  <a:lnTo>
                    <a:pt x="15" y="324"/>
                  </a:lnTo>
                  <a:lnTo>
                    <a:pt x="38" y="312"/>
                  </a:lnTo>
                  <a:lnTo>
                    <a:pt x="34" y="285"/>
                  </a:lnTo>
                  <a:lnTo>
                    <a:pt x="35" y="275"/>
                  </a:lnTo>
                  <a:lnTo>
                    <a:pt x="49" y="272"/>
                  </a:lnTo>
                  <a:lnTo>
                    <a:pt x="51" y="232"/>
                  </a:lnTo>
                  <a:lnTo>
                    <a:pt x="55" y="226"/>
                  </a:lnTo>
                  <a:lnTo>
                    <a:pt x="86" y="226"/>
                  </a:lnTo>
                  <a:lnTo>
                    <a:pt x="89" y="223"/>
                  </a:lnTo>
                  <a:lnTo>
                    <a:pt x="110" y="175"/>
                  </a:lnTo>
                  <a:lnTo>
                    <a:pt x="111" y="158"/>
                  </a:lnTo>
                  <a:lnTo>
                    <a:pt x="136" y="131"/>
                  </a:lnTo>
                  <a:lnTo>
                    <a:pt x="134" y="107"/>
                  </a:lnTo>
                  <a:lnTo>
                    <a:pt x="139" y="94"/>
                  </a:lnTo>
                  <a:lnTo>
                    <a:pt x="164" y="79"/>
                  </a:lnTo>
                  <a:lnTo>
                    <a:pt x="179" y="60"/>
                  </a:lnTo>
                  <a:lnTo>
                    <a:pt x="204" y="53"/>
                  </a:lnTo>
                  <a:lnTo>
                    <a:pt x="218" y="59"/>
                  </a:lnTo>
                  <a:lnTo>
                    <a:pt x="222" y="29"/>
                  </a:lnTo>
                  <a:lnTo>
                    <a:pt x="237" y="20"/>
                  </a:lnTo>
                  <a:lnTo>
                    <a:pt x="237" y="8"/>
                  </a:lnTo>
                  <a:lnTo>
                    <a:pt x="247" y="0"/>
                  </a:lnTo>
                  <a:lnTo>
                    <a:pt x="261" y="6"/>
                  </a:lnTo>
                  <a:lnTo>
                    <a:pt x="270" y="17"/>
                  </a:lnTo>
                  <a:lnTo>
                    <a:pt x="279" y="40"/>
                  </a:lnTo>
                  <a:lnTo>
                    <a:pt x="291" y="40"/>
                  </a:lnTo>
                  <a:lnTo>
                    <a:pt x="300" y="84"/>
                  </a:lnTo>
                  <a:lnTo>
                    <a:pt x="296" y="116"/>
                  </a:lnTo>
                  <a:lnTo>
                    <a:pt x="287" y="138"/>
                  </a:lnTo>
                  <a:lnTo>
                    <a:pt x="262" y="167"/>
                  </a:lnTo>
                  <a:lnTo>
                    <a:pt x="253" y="195"/>
                  </a:lnTo>
                  <a:lnTo>
                    <a:pt x="255" y="215"/>
                  </a:lnTo>
                  <a:lnTo>
                    <a:pt x="247" y="229"/>
                  </a:lnTo>
                  <a:lnTo>
                    <a:pt x="252" y="234"/>
                  </a:lnTo>
                  <a:lnTo>
                    <a:pt x="284" y="214"/>
                  </a:lnTo>
                  <a:lnTo>
                    <a:pt x="304" y="215"/>
                  </a:lnTo>
                  <a:lnTo>
                    <a:pt x="309" y="255"/>
                  </a:lnTo>
                  <a:lnTo>
                    <a:pt x="335" y="270"/>
                  </a:lnTo>
                  <a:lnTo>
                    <a:pt x="325" y="309"/>
                  </a:lnTo>
                  <a:lnTo>
                    <a:pt x="354" y="316"/>
                  </a:lnTo>
                  <a:lnTo>
                    <a:pt x="355" y="326"/>
                  </a:lnTo>
                  <a:lnTo>
                    <a:pt x="371" y="341"/>
                  </a:lnTo>
                  <a:lnTo>
                    <a:pt x="388" y="337"/>
                  </a:lnTo>
                  <a:lnTo>
                    <a:pt x="402" y="328"/>
                  </a:lnTo>
                  <a:lnTo>
                    <a:pt x="410" y="329"/>
                  </a:lnTo>
                  <a:lnTo>
                    <a:pt x="411" y="334"/>
                  </a:lnTo>
                  <a:lnTo>
                    <a:pt x="406" y="345"/>
                  </a:lnTo>
                  <a:lnTo>
                    <a:pt x="385" y="359"/>
                  </a:lnTo>
                  <a:lnTo>
                    <a:pt x="386" y="371"/>
                  </a:lnTo>
                  <a:lnTo>
                    <a:pt x="374" y="373"/>
                  </a:lnTo>
                  <a:lnTo>
                    <a:pt x="369" y="382"/>
                  </a:lnTo>
                  <a:lnTo>
                    <a:pt x="354" y="402"/>
                  </a:lnTo>
                  <a:lnTo>
                    <a:pt x="335" y="409"/>
                  </a:lnTo>
                  <a:lnTo>
                    <a:pt x="304" y="432"/>
                  </a:lnTo>
                  <a:lnTo>
                    <a:pt x="269" y="438"/>
                  </a:lnTo>
                  <a:lnTo>
                    <a:pt x="255" y="472"/>
                  </a:lnTo>
                  <a:lnTo>
                    <a:pt x="255" y="490"/>
                  </a:lnTo>
                  <a:lnTo>
                    <a:pt x="249" y="495"/>
                  </a:lnTo>
                  <a:lnTo>
                    <a:pt x="264" y="534"/>
                  </a:lnTo>
                  <a:lnTo>
                    <a:pt x="289" y="556"/>
                  </a:lnTo>
                  <a:lnTo>
                    <a:pt x="291" y="593"/>
                  </a:lnTo>
                  <a:lnTo>
                    <a:pt x="300" y="594"/>
                  </a:lnTo>
                  <a:lnTo>
                    <a:pt x="303" y="602"/>
                  </a:lnTo>
                  <a:lnTo>
                    <a:pt x="293" y="619"/>
                  </a:lnTo>
                  <a:lnTo>
                    <a:pt x="291" y="636"/>
                  </a:lnTo>
                  <a:lnTo>
                    <a:pt x="278" y="653"/>
                  </a:lnTo>
                  <a:lnTo>
                    <a:pt x="276" y="664"/>
                  </a:lnTo>
                  <a:lnTo>
                    <a:pt x="281" y="678"/>
                  </a:lnTo>
                  <a:lnTo>
                    <a:pt x="313" y="707"/>
                  </a:lnTo>
                  <a:lnTo>
                    <a:pt x="318" y="746"/>
                  </a:lnTo>
                  <a:lnTo>
                    <a:pt x="342" y="803"/>
                  </a:lnTo>
                  <a:lnTo>
                    <a:pt x="325" y="834"/>
                  </a:lnTo>
                  <a:lnTo>
                    <a:pt x="309" y="851"/>
                  </a:lnTo>
                  <a:lnTo>
                    <a:pt x="298" y="882"/>
                  </a:lnTo>
                  <a:close/>
                  <a:moveTo>
                    <a:pt x="283" y="768"/>
                  </a:moveTo>
                  <a:lnTo>
                    <a:pt x="283" y="781"/>
                  </a:lnTo>
                  <a:lnTo>
                    <a:pt x="286" y="778"/>
                  </a:lnTo>
                  <a:lnTo>
                    <a:pt x="283" y="768"/>
                  </a:lnTo>
                  <a:close/>
                  <a:moveTo>
                    <a:pt x="289" y="806"/>
                  </a:moveTo>
                  <a:lnTo>
                    <a:pt x="281" y="819"/>
                  </a:lnTo>
                  <a:lnTo>
                    <a:pt x="291" y="819"/>
                  </a:lnTo>
                  <a:lnTo>
                    <a:pt x="289" y="806"/>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33" name="Freeform 54">
              <a:extLst>
                <a:ext uri="{FF2B5EF4-FFF2-40B4-BE49-F238E27FC236}">
                  <a16:creationId xmlns:a16="http://schemas.microsoft.com/office/drawing/2014/main" id="{FD457AFD-F370-6C4A-907B-3315B1FDEA84}"/>
                </a:ext>
              </a:extLst>
            </p:cNvPr>
            <p:cNvSpPr>
              <a:spLocks noChangeAspect="1" noEditPoints="1"/>
            </p:cNvSpPr>
            <p:nvPr/>
          </p:nvSpPr>
          <p:spPr bwMode="gray">
            <a:xfrm>
              <a:off x="6291293" y="2557034"/>
              <a:ext cx="1377447" cy="1211439"/>
            </a:xfrm>
            <a:custGeom>
              <a:avLst/>
              <a:gdLst>
                <a:gd name="T0" fmla="*/ 1837 w 2821"/>
                <a:gd name="T1" fmla="*/ 1862 h 2063"/>
                <a:gd name="T2" fmla="*/ 1701 w 2821"/>
                <a:gd name="T3" fmla="*/ 1908 h 2063"/>
                <a:gd name="T4" fmla="*/ 1663 w 2821"/>
                <a:gd name="T5" fmla="*/ 1903 h 2063"/>
                <a:gd name="T6" fmla="*/ 1580 w 2821"/>
                <a:gd name="T7" fmla="*/ 1902 h 2063"/>
                <a:gd name="T8" fmla="*/ 1419 w 2821"/>
                <a:gd name="T9" fmla="*/ 1839 h 2063"/>
                <a:gd name="T10" fmla="*/ 1318 w 2821"/>
                <a:gd name="T11" fmla="*/ 1856 h 2063"/>
                <a:gd name="T12" fmla="*/ 1267 w 2821"/>
                <a:gd name="T13" fmla="*/ 1886 h 2063"/>
                <a:gd name="T14" fmla="*/ 1166 w 2821"/>
                <a:gd name="T15" fmla="*/ 1812 h 2063"/>
                <a:gd name="T16" fmla="*/ 1144 w 2821"/>
                <a:gd name="T17" fmla="*/ 1695 h 2063"/>
                <a:gd name="T18" fmla="*/ 1094 w 2821"/>
                <a:gd name="T19" fmla="*/ 1565 h 2063"/>
                <a:gd name="T20" fmla="*/ 996 w 2821"/>
                <a:gd name="T21" fmla="*/ 1511 h 2063"/>
                <a:gd name="T22" fmla="*/ 750 w 2821"/>
                <a:gd name="T23" fmla="*/ 1560 h 2063"/>
                <a:gd name="T24" fmla="*/ 651 w 2821"/>
                <a:gd name="T25" fmla="*/ 1586 h 2063"/>
                <a:gd name="T26" fmla="*/ 530 w 2821"/>
                <a:gd name="T27" fmla="*/ 1556 h 2063"/>
                <a:gd name="T28" fmla="*/ 456 w 2821"/>
                <a:gd name="T29" fmla="*/ 1519 h 2063"/>
                <a:gd name="T30" fmla="*/ 289 w 2821"/>
                <a:gd name="T31" fmla="*/ 1422 h 2063"/>
                <a:gd name="T32" fmla="*/ 221 w 2821"/>
                <a:gd name="T33" fmla="*/ 1333 h 2063"/>
                <a:gd name="T34" fmla="*/ 264 w 2821"/>
                <a:gd name="T35" fmla="*/ 1299 h 2063"/>
                <a:gd name="T36" fmla="*/ 283 w 2821"/>
                <a:gd name="T37" fmla="*/ 1228 h 2063"/>
                <a:gd name="T38" fmla="*/ 276 w 2821"/>
                <a:gd name="T39" fmla="*/ 1156 h 2063"/>
                <a:gd name="T40" fmla="*/ 134 w 2821"/>
                <a:gd name="T41" fmla="*/ 1144 h 2063"/>
                <a:gd name="T42" fmla="*/ 78 w 2821"/>
                <a:gd name="T43" fmla="*/ 1085 h 2063"/>
                <a:gd name="T44" fmla="*/ 46 w 2821"/>
                <a:gd name="T45" fmla="*/ 992 h 2063"/>
                <a:gd name="T46" fmla="*/ 55 w 2821"/>
                <a:gd name="T47" fmla="*/ 876 h 2063"/>
                <a:gd name="T48" fmla="*/ 229 w 2821"/>
                <a:gd name="T49" fmla="*/ 816 h 2063"/>
                <a:gd name="T50" fmla="*/ 289 w 2821"/>
                <a:gd name="T51" fmla="*/ 605 h 2063"/>
                <a:gd name="T52" fmla="*/ 448 w 2821"/>
                <a:gd name="T53" fmla="*/ 452 h 2063"/>
                <a:gd name="T54" fmla="*/ 615 w 2821"/>
                <a:gd name="T55" fmla="*/ 336 h 2063"/>
                <a:gd name="T56" fmla="*/ 757 w 2821"/>
                <a:gd name="T57" fmla="*/ 410 h 2063"/>
                <a:gd name="T58" fmla="*/ 1031 w 2821"/>
                <a:gd name="T59" fmla="*/ 698 h 2063"/>
                <a:gd name="T60" fmla="*/ 1436 w 2821"/>
                <a:gd name="T61" fmla="*/ 810 h 2063"/>
                <a:gd name="T62" fmla="*/ 1763 w 2821"/>
                <a:gd name="T63" fmla="*/ 664 h 2063"/>
                <a:gd name="T64" fmla="*/ 1913 w 2821"/>
                <a:gd name="T65" fmla="*/ 562 h 2063"/>
                <a:gd name="T66" fmla="*/ 2094 w 2821"/>
                <a:gd name="T67" fmla="*/ 435 h 2063"/>
                <a:gd name="T68" fmla="*/ 1938 w 2821"/>
                <a:gd name="T69" fmla="*/ 341 h 2063"/>
                <a:gd name="T70" fmla="*/ 2137 w 2821"/>
                <a:gd name="T71" fmla="*/ 78 h 2063"/>
                <a:gd name="T72" fmla="*/ 2467 w 2821"/>
                <a:gd name="T73" fmla="*/ 194 h 2063"/>
                <a:gd name="T74" fmla="*/ 2713 w 2821"/>
                <a:gd name="T75" fmla="*/ 412 h 2063"/>
                <a:gd name="T76" fmla="*/ 2685 w 2821"/>
                <a:gd name="T77" fmla="*/ 582 h 2063"/>
                <a:gd name="T78" fmla="*/ 2594 w 2821"/>
                <a:gd name="T79" fmla="*/ 734 h 2063"/>
                <a:gd name="T80" fmla="*/ 2410 w 2821"/>
                <a:gd name="T81" fmla="*/ 859 h 2063"/>
                <a:gd name="T82" fmla="*/ 2192 w 2821"/>
                <a:gd name="T83" fmla="*/ 979 h 2063"/>
                <a:gd name="T84" fmla="*/ 2221 w 2821"/>
                <a:gd name="T85" fmla="*/ 847 h 2063"/>
                <a:gd name="T86" fmla="*/ 2037 w 2821"/>
                <a:gd name="T87" fmla="*/ 967 h 2063"/>
                <a:gd name="T88" fmla="*/ 2154 w 2821"/>
                <a:gd name="T89" fmla="*/ 1048 h 2063"/>
                <a:gd name="T90" fmla="*/ 2227 w 2821"/>
                <a:gd name="T91" fmla="*/ 1087 h 2063"/>
                <a:gd name="T92" fmla="*/ 2142 w 2821"/>
                <a:gd name="T93" fmla="*/ 1136 h 2063"/>
                <a:gd name="T94" fmla="*/ 2181 w 2821"/>
                <a:gd name="T95" fmla="*/ 1325 h 2063"/>
                <a:gd name="T96" fmla="*/ 2173 w 2821"/>
                <a:gd name="T97" fmla="*/ 1375 h 2063"/>
                <a:gd name="T98" fmla="*/ 2175 w 2821"/>
                <a:gd name="T99" fmla="*/ 1463 h 2063"/>
                <a:gd name="T100" fmla="*/ 2205 w 2821"/>
                <a:gd name="T101" fmla="*/ 1512 h 2063"/>
                <a:gd name="T102" fmla="*/ 2133 w 2821"/>
                <a:gd name="T103" fmla="*/ 1650 h 2063"/>
                <a:gd name="T104" fmla="*/ 2088 w 2821"/>
                <a:gd name="T105" fmla="*/ 1717 h 2063"/>
                <a:gd name="T106" fmla="*/ 2023 w 2821"/>
                <a:gd name="T107" fmla="*/ 1781 h 2063"/>
                <a:gd name="T108" fmla="*/ 1896 w 2821"/>
                <a:gd name="T109" fmla="*/ 1845 h 2063"/>
                <a:gd name="T110" fmla="*/ 1718 w 2821"/>
                <a:gd name="T111" fmla="*/ 1989 h 2063"/>
                <a:gd name="T112" fmla="*/ 1613 w 2821"/>
                <a:gd name="T113" fmla="*/ 2009 h 2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21" h="2063">
                  <a:moveTo>
                    <a:pt x="1884" y="1854"/>
                  </a:moveTo>
                  <a:lnTo>
                    <a:pt x="1878" y="1845"/>
                  </a:lnTo>
                  <a:lnTo>
                    <a:pt x="1871" y="1848"/>
                  </a:lnTo>
                  <a:lnTo>
                    <a:pt x="1873" y="1856"/>
                  </a:lnTo>
                  <a:lnTo>
                    <a:pt x="1859" y="1859"/>
                  </a:lnTo>
                  <a:lnTo>
                    <a:pt x="1856" y="1849"/>
                  </a:lnTo>
                  <a:lnTo>
                    <a:pt x="1839" y="1834"/>
                  </a:lnTo>
                  <a:lnTo>
                    <a:pt x="1837" y="1862"/>
                  </a:lnTo>
                  <a:lnTo>
                    <a:pt x="1833" y="1862"/>
                  </a:lnTo>
                  <a:lnTo>
                    <a:pt x="1817" y="1844"/>
                  </a:lnTo>
                  <a:lnTo>
                    <a:pt x="1810" y="1879"/>
                  </a:lnTo>
                  <a:lnTo>
                    <a:pt x="1778" y="1888"/>
                  </a:lnTo>
                  <a:lnTo>
                    <a:pt x="1760" y="1888"/>
                  </a:lnTo>
                  <a:lnTo>
                    <a:pt x="1751" y="1896"/>
                  </a:lnTo>
                  <a:lnTo>
                    <a:pt x="1724" y="1898"/>
                  </a:lnTo>
                  <a:lnTo>
                    <a:pt x="1701" y="1908"/>
                  </a:lnTo>
                  <a:lnTo>
                    <a:pt x="1693" y="1907"/>
                  </a:lnTo>
                  <a:lnTo>
                    <a:pt x="1683" y="1928"/>
                  </a:lnTo>
                  <a:lnTo>
                    <a:pt x="1693" y="1945"/>
                  </a:lnTo>
                  <a:lnTo>
                    <a:pt x="1693" y="1953"/>
                  </a:lnTo>
                  <a:lnTo>
                    <a:pt x="1680" y="1961"/>
                  </a:lnTo>
                  <a:lnTo>
                    <a:pt x="1672" y="1956"/>
                  </a:lnTo>
                  <a:lnTo>
                    <a:pt x="1658" y="1930"/>
                  </a:lnTo>
                  <a:lnTo>
                    <a:pt x="1663" y="1903"/>
                  </a:lnTo>
                  <a:lnTo>
                    <a:pt x="1659" y="1896"/>
                  </a:lnTo>
                  <a:lnTo>
                    <a:pt x="1638" y="1905"/>
                  </a:lnTo>
                  <a:lnTo>
                    <a:pt x="1633" y="1896"/>
                  </a:lnTo>
                  <a:lnTo>
                    <a:pt x="1610" y="1890"/>
                  </a:lnTo>
                  <a:lnTo>
                    <a:pt x="1595" y="1898"/>
                  </a:lnTo>
                  <a:lnTo>
                    <a:pt x="1595" y="1905"/>
                  </a:lnTo>
                  <a:lnTo>
                    <a:pt x="1592" y="1896"/>
                  </a:lnTo>
                  <a:lnTo>
                    <a:pt x="1580" y="1902"/>
                  </a:lnTo>
                  <a:lnTo>
                    <a:pt x="1551" y="1896"/>
                  </a:lnTo>
                  <a:lnTo>
                    <a:pt x="1528" y="1881"/>
                  </a:lnTo>
                  <a:lnTo>
                    <a:pt x="1517" y="1857"/>
                  </a:lnTo>
                  <a:lnTo>
                    <a:pt x="1520" y="1845"/>
                  </a:lnTo>
                  <a:lnTo>
                    <a:pt x="1517" y="1837"/>
                  </a:lnTo>
                  <a:lnTo>
                    <a:pt x="1491" y="1834"/>
                  </a:lnTo>
                  <a:lnTo>
                    <a:pt x="1455" y="1817"/>
                  </a:lnTo>
                  <a:lnTo>
                    <a:pt x="1419" y="1839"/>
                  </a:lnTo>
                  <a:lnTo>
                    <a:pt x="1407" y="1837"/>
                  </a:lnTo>
                  <a:lnTo>
                    <a:pt x="1392" y="1848"/>
                  </a:lnTo>
                  <a:lnTo>
                    <a:pt x="1389" y="1842"/>
                  </a:lnTo>
                  <a:lnTo>
                    <a:pt x="1377" y="1845"/>
                  </a:lnTo>
                  <a:lnTo>
                    <a:pt x="1372" y="1842"/>
                  </a:lnTo>
                  <a:lnTo>
                    <a:pt x="1355" y="1851"/>
                  </a:lnTo>
                  <a:lnTo>
                    <a:pt x="1330" y="1840"/>
                  </a:lnTo>
                  <a:lnTo>
                    <a:pt x="1318" y="1856"/>
                  </a:lnTo>
                  <a:lnTo>
                    <a:pt x="1296" y="1849"/>
                  </a:lnTo>
                  <a:lnTo>
                    <a:pt x="1288" y="1857"/>
                  </a:lnTo>
                  <a:lnTo>
                    <a:pt x="1288" y="1881"/>
                  </a:lnTo>
                  <a:lnTo>
                    <a:pt x="1296" y="1894"/>
                  </a:lnTo>
                  <a:lnTo>
                    <a:pt x="1290" y="1910"/>
                  </a:lnTo>
                  <a:lnTo>
                    <a:pt x="1273" y="1913"/>
                  </a:lnTo>
                  <a:lnTo>
                    <a:pt x="1268" y="1891"/>
                  </a:lnTo>
                  <a:lnTo>
                    <a:pt x="1267" y="1886"/>
                  </a:lnTo>
                  <a:lnTo>
                    <a:pt x="1259" y="1885"/>
                  </a:lnTo>
                  <a:lnTo>
                    <a:pt x="1245" y="1894"/>
                  </a:lnTo>
                  <a:lnTo>
                    <a:pt x="1228" y="1898"/>
                  </a:lnTo>
                  <a:lnTo>
                    <a:pt x="1212" y="1883"/>
                  </a:lnTo>
                  <a:lnTo>
                    <a:pt x="1211" y="1873"/>
                  </a:lnTo>
                  <a:lnTo>
                    <a:pt x="1182" y="1866"/>
                  </a:lnTo>
                  <a:lnTo>
                    <a:pt x="1192" y="1827"/>
                  </a:lnTo>
                  <a:lnTo>
                    <a:pt x="1166" y="1812"/>
                  </a:lnTo>
                  <a:lnTo>
                    <a:pt x="1161" y="1772"/>
                  </a:lnTo>
                  <a:lnTo>
                    <a:pt x="1141" y="1771"/>
                  </a:lnTo>
                  <a:lnTo>
                    <a:pt x="1109" y="1791"/>
                  </a:lnTo>
                  <a:lnTo>
                    <a:pt x="1104" y="1786"/>
                  </a:lnTo>
                  <a:lnTo>
                    <a:pt x="1112" y="1772"/>
                  </a:lnTo>
                  <a:lnTo>
                    <a:pt x="1110" y="1752"/>
                  </a:lnTo>
                  <a:lnTo>
                    <a:pt x="1119" y="1724"/>
                  </a:lnTo>
                  <a:lnTo>
                    <a:pt x="1144" y="1695"/>
                  </a:lnTo>
                  <a:lnTo>
                    <a:pt x="1153" y="1673"/>
                  </a:lnTo>
                  <a:lnTo>
                    <a:pt x="1157" y="1641"/>
                  </a:lnTo>
                  <a:lnTo>
                    <a:pt x="1148" y="1597"/>
                  </a:lnTo>
                  <a:lnTo>
                    <a:pt x="1136" y="1597"/>
                  </a:lnTo>
                  <a:lnTo>
                    <a:pt x="1127" y="1574"/>
                  </a:lnTo>
                  <a:lnTo>
                    <a:pt x="1118" y="1563"/>
                  </a:lnTo>
                  <a:lnTo>
                    <a:pt x="1104" y="1557"/>
                  </a:lnTo>
                  <a:lnTo>
                    <a:pt x="1094" y="1565"/>
                  </a:lnTo>
                  <a:lnTo>
                    <a:pt x="1090" y="1556"/>
                  </a:lnTo>
                  <a:lnTo>
                    <a:pt x="1082" y="1551"/>
                  </a:lnTo>
                  <a:lnTo>
                    <a:pt x="1047" y="1548"/>
                  </a:lnTo>
                  <a:lnTo>
                    <a:pt x="1050" y="1524"/>
                  </a:lnTo>
                  <a:lnTo>
                    <a:pt x="1039" y="1520"/>
                  </a:lnTo>
                  <a:lnTo>
                    <a:pt x="1039" y="1506"/>
                  </a:lnTo>
                  <a:lnTo>
                    <a:pt x="1030" y="1495"/>
                  </a:lnTo>
                  <a:lnTo>
                    <a:pt x="996" y="1511"/>
                  </a:lnTo>
                  <a:lnTo>
                    <a:pt x="963" y="1506"/>
                  </a:lnTo>
                  <a:lnTo>
                    <a:pt x="892" y="1562"/>
                  </a:lnTo>
                  <a:lnTo>
                    <a:pt x="833" y="1585"/>
                  </a:lnTo>
                  <a:lnTo>
                    <a:pt x="816" y="1573"/>
                  </a:lnTo>
                  <a:lnTo>
                    <a:pt x="801" y="1574"/>
                  </a:lnTo>
                  <a:lnTo>
                    <a:pt x="776" y="1569"/>
                  </a:lnTo>
                  <a:lnTo>
                    <a:pt x="767" y="1560"/>
                  </a:lnTo>
                  <a:lnTo>
                    <a:pt x="750" y="1560"/>
                  </a:lnTo>
                  <a:lnTo>
                    <a:pt x="730" y="1573"/>
                  </a:lnTo>
                  <a:lnTo>
                    <a:pt x="703" y="1607"/>
                  </a:lnTo>
                  <a:lnTo>
                    <a:pt x="694" y="1603"/>
                  </a:lnTo>
                  <a:lnTo>
                    <a:pt x="697" y="1582"/>
                  </a:lnTo>
                  <a:lnTo>
                    <a:pt x="694" y="1571"/>
                  </a:lnTo>
                  <a:lnTo>
                    <a:pt x="665" y="1580"/>
                  </a:lnTo>
                  <a:lnTo>
                    <a:pt x="655" y="1580"/>
                  </a:lnTo>
                  <a:lnTo>
                    <a:pt x="651" y="1586"/>
                  </a:lnTo>
                  <a:lnTo>
                    <a:pt x="629" y="1585"/>
                  </a:lnTo>
                  <a:lnTo>
                    <a:pt x="598" y="1571"/>
                  </a:lnTo>
                  <a:lnTo>
                    <a:pt x="591" y="1580"/>
                  </a:lnTo>
                  <a:lnTo>
                    <a:pt x="574" y="1574"/>
                  </a:lnTo>
                  <a:lnTo>
                    <a:pt x="566" y="1578"/>
                  </a:lnTo>
                  <a:lnTo>
                    <a:pt x="554" y="1563"/>
                  </a:lnTo>
                  <a:lnTo>
                    <a:pt x="542" y="1565"/>
                  </a:lnTo>
                  <a:lnTo>
                    <a:pt x="530" y="1556"/>
                  </a:lnTo>
                  <a:lnTo>
                    <a:pt x="530" y="1539"/>
                  </a:lnTo>
                  <a:lnTo>
                    <a:pt x="512" y="1543"/>
                  </a:lnTo>
                  <a:lnTo>
                    <a:pt x="493" y="1537"/>
                  </a:lnTo>
                  <a:lnTo>
                    <a:pt x="490" y="1531"/>
                  </a:lnTo>
                  <a:lnTo>
                    <a:pt x="484" y="1532"/>
                  </a:lnTo>
                  <a:lnTo>
                    <a:pt x="486" y="1507"/>
                  </a:lnTo>
                  <a:lnTo>
                    <a:pt x="473" y="1506"/>
                  </a:lnTo>
                  <a:lnTo>
                    <a:pt x="456" y="1519"/>
                  </a:lnTo>
                  <a:lnTo>
                    <a:pt x="448" y="1512"/>
                  </a:lnTo>
                  <a:lnTo>
                    <a:pt x="442" y="1492"/>
                  </a:lnTo>
                  <a:lnTo>
                    <a:pt x="403" y="1463"/>
                  </a:lnTo>
                  <a:lnTo>
                    <a:pt x="357" y="1453"/>
                  </a:lnTo>
                  <a:lnTo>
                    <a:pt x="352" y="1466"/>
                  </a:lnTo>
                  <a:lnTo>
                    <a:pt x="340" y="1456"/>
                  </a:lnTo>
                  <a:lnTo>
                    <a:pt x="293" y="1430"/>
                  </a:lnTo>
                  <a:lnTo>
                    <a:pt x="289" y="1422"/>
                  </a:lnTo>
                  <a:lnTo>
                    <a:pt x="272" y="1421"/>
                  </a:lnTo>
                  <a:lnTo>
                    <a:pt x="269" y="1413"/>
                  </a:lnTo>
                  <a:lnTo>
                    <a:pt x="244" y="1416"/>
                  </a:lnTo>
                  <a:lnTo>
                    <a:pt x="244" y="1405"/>
                  </a:lnTo>
                  <a:lnTo>
                    <a:pt x="232" y="1392"/>
                  </a:lnTo>
                  <a:lnTo>
                    <a:pt x="235" y="1362"/>
                  </a:lnTo>
                  <a:lnTo>
                    <a:pt x="222" y="1348"/>
                  </a:lnTo>
                  <a:lnTo>
                    <a:pt x="221" y="1333"/>
                  </a:lnTo>
                  <a:lnTo>
                    <a:pt x="232" y="1326"/>
                  </a:lnTo>
                  <a:lnTo>
                    <a:pt x="244" y="1342"/>
                  </a:lnTo>
                  <a:lnTo>
                    <a:pt x="252" y="1339"/>
                  </a:lnTo>
                  <a:lnTo>
                    <a:pt x="259" y="1329"/>
                  </a:lnTo>
                  <a:lnTo>
                    <a:pt x="266" y="1333"/>
                  </a:lnTo>
                  <a:lnTo>
                    <a:pt x="272" y="1322"/>
                  </a:lnTo>
                  <a:lnTo>
                    <a:pt x="264" y="1309"/>
                  </a:lnTo>
                  <a:lnTo>
                    <a:pt x="264" y="1299"/>
                  </a:lnTo>
                  <a:lnTo>
                    <a:pt x="252" y="1295"/>
                  </a:lnTo>
                  <a:lnTo>
                    <a:pt x="244" y="1288"/>
                  </a:lnTo>
                  <a:lnTo>
                    <a:pt x="247" y="1265"/>
                  </a:lnTo>
                  <a:lnTo>
                    <a:pt x="242" y="1254"/>
                  </a:lnTo>
                  <a:lnTo>
                    <a:pt x="264" y="1254"/>
                  </a:lnTo>
                  <a:lnTo>
                    <a:pt x="271" y="1246"/>
                  </a:lnTo>
                  <a:lnTo>
                    <a:pt x="275" y="1229"/>
                  </a:lnTo>
                  <a:lnTo>
                    <a:pt x="283" y="1228"/>
                  </a:lnTo>
                  <a:lnTo>
                    <a:pt x="283" y="1221"/>
                  </a:lnTo>
                  <a:lnTo>
                    <a:pt x="295" y="1211"/>
                  </a:lnTo>
                  <a:lnTo>
                    <a:pt x="308" y="1167"/>
                  </a:lnTo>
                  <a:lnTo>
                    <a:pt x="303" y="1165"/>
                  </a:lnTo>
                  <a:lnTo>
                    <a:pt x="295" y="1172"/>
                  </a:lnTo>
                  <a:lnTo>
                    <a:pt x="292" y="1160"/>
                  </a:lnTo>
                  <a:lnTo>
                    <a:pt x="283" y="1162"/>
                  </a:lnTo>
                  <a:lnTo>
                    <a:pt x="276" y="1156"/>
                  </a:lnTo>
                  <a:lnTo>
                    <a:pt x="276" y="1150"/>
                  </a:lnTo>
                  <a:lnTo>
                    <a:pt x="259" y="1139"/>
                  </a:lnTo>
                  <a:lnTo>
                    <a:pt x="233" y="1145"/>
                  </a:lnTo>
                  <a:lnTo>
                    <a:pt x="198" y="1170"/>
                  </a:lnTo>
                  <a:lnTo>
                    <a:pt x="185" y="1170"/>
                  </a:lnTo>
                  <a:lnTo>
                    <a:pt x="142" y="1156"/>
                  </a:lnTo>
                  <a:lnTo>
                    <a:pt x="134" y="1152"/>
                  </a:lnTo>
                  <a:lnTo>
                    <a:pt x="134" y="1144"/>
                  </a:lnTo>
                  <a:lnTo>
                    <a:pt x="117" y="1148"/>
                  </a:lnTo>
                  <a:lnTo>
                    <a:pt x="103" y="1133"/>
                  </a:lnTo>
                  <a:lnTo>
                    <a:pt x="108" y="1128"/>
                  </a:lnTo>
                  <a:lnTo>
                    <a:pt x="106" y="1111"/>
                  </a:lnTo>
                  <a:lnTo>
                    <a:pt x="100" y="1101"/>
                  </a:lnTo>
                  <a:lnTo>
                    <a:pt x="91" y="1094"/>
                  </a:lnTo>
                  <a:lnTo>
                    <a:pt x="81" y="1099"/>
                  </a:lnTo>
                  <a:lnTo>
                    <a:pt x="78" y="1085"/>
                  </a:lnTo>
                  <a:lnTo>
                    <a:pt x="46" y="1080"/>
                  </a:lnTo>
                  <a:lnTo>
                    <a:pt x="37" y="1072"/>
                  </a:lnTo>
                  <a:lnTo>
                    <a:pt x="51" y="1067"/>
                  </a:lnTo>
                  <a:lnTo>
                    <a:pt x="61" y="1067"/>
                  </a:lnTo>
                  <a:lnTo>
                    <a:pt x="61" y="1038"/>
                  </a:lnTo>
                  <a:lnTo>
                    <a:pt x="51" y="1018"/>
                  </a:lnTo>
                  <a:lnTo>
                    <a:pt x="51" y="1001"/>
                  </a:lnTo>
                  <a:lnTo>
                    <a:pt x="46" y="992"/>
                  </a:lnTo>
                  <a:lnTo>
                    <a:pt x="13" y="996"/>
                  </a:lnTo>
                  <a:lnTo>
                    <a:pt x="3" y="989"/>
                  </a:lnTo>
                  <a:lnTo>
                    <a:pt x="0" y="974"/>
                  </a:lnTo>
                  <a:lnTo>
                    <a:pt x="7" y="929"/>
                  </a:lnTo>
                  <a:lnTo>
                    <a:pt x="7" y="920"/>
                  </a:lnTo>
                  <a:lnTo>
                    <a:pt x="15" y="904"/>
                  </a:lnTo>
                  <a:lnTo>
                    <a:pt x="51" y="887"/>
                  </a:lnTo>
                  <a:lnTo>
                    <a:pt x="55" y="876"/>
                  </a:lnTo>
                  <a:lnTo>
                    <a:pt x="78" y="874"/>
                  </a:lnTo>
                  <a:lnTo>
                    <a:pt x="86" y="876"/>
                  </a:lnTo>
                  <a:lnTo>
                    <a:pt x="91" y="886"/>
                  </a:lnTo>
                  <a:lnTo>
                    <a:pt x="123" y="884"/>
                  </a:lnTo>
                  <a:lnTo>
                    <a:pt x="134" y="878"/>
                  </a:lnTo>
                  <a:lnTo>
                    <a:pt x="147" y="852"/>
                  </a:lnTo>
                  <a:lnTo>
                    <a:pt x="210" y="839"/>
                  </a:lnTo>
                  <a:lnTo>
                    <a:pt x="229" y="816"/>
                  </a:lnTo>
                  <a:lnTo>
                    <a:pt x="300" y="782"/>
                  </a:lnTo>
                  <a:lnTo>
                    <a:pt x="303" y="760"/>
                  </a:lnTo>
                  <a:lnTo>
                    <a:pt x="312" y="720"/>
                  </a:lnTo>
                  <a:lnTo>
                    <a:pt x="323" y="712"/>
                  </a:lnTo>
                  <a:lnTo>
                    <a:pt x="323" y="700"/>
                  </a:lnTo>
                  <a:lnTo>
                    <a:pt x="306" y="655"/>
                  </a:lnTo>
                  <a:lnTo>
                    <a:pt x="303" y="624"/>
                  </a:lnTo>
                  <a:lnTo>
                    <a:pt x="289" y="605"/>
                  </a:lnTo>
                  <a:lnTo>
                    <a:pt x="325" y="593"/>
                  </a:lnTo>
                  <a:lnTo>
                    <a:pt x="347" y="584"/>
                  </a:lnTo>
                  <a:lnTo>
                    <a:pt x="402" y="578"/>
                  </a:lnTo>
                  <a:lnTo>
                    <a:pt x="394" y="551"/>
                  </a:lnTo>
                  <a:lnTo>
                    <a:pt x="396" y="534"/>
                  </a:lnTo>
                  <a:lnTo>
                    <a:pt x="413" y="489"/>
                  </a:lnTo>
                  <a:lnTo>
                    <a:pt x="428" y="451"/>
                  </a:lnTo>
                  <a:lnTo>
                    <a:pt x="448" y="452"/>
                  </a:lnTo>
                  <a:lnTo>
                    <a:pt x="471" y="463"/>
                  </a:lnTo>
                  <a:lnTo>
                    <a:pt x="501" y="460"/>
                  </a:lnTo>
                  <a:lnTo>
                    <a:pt x="516" y="472"/>
                  </a:lnTo>
                  <a:lnTo>
                    <a:pt x="549" y="457"/>
                  </a:lnTo>
                  <a:lnTo>
                    <a:pt x="549" y="407"/>
                  </a:lnTo>
                  <a:lnTo>
                    <a:pt x="563" y="370"/>
                  </a:lnTo>
                  <a:lnTo>
                    <a:pt x="591" y="366"/>
                  </a:lnTo>
                  <a:lnTo>
                    <a:pt x="615" y="336"/>
                  </a:lnTo>
                  <a:lnTo>
                    <a:pt x="635" y="341"/>
                  </a:lnTo>
                  <a:lnTo>
                    <a:pt x="652" y="327"/>
                  </a:lnTo>
                  <a:lnTo>
                    <a:pt x="663" y="361"/>
                  </a:lnTo>
                  <a:lnTo>
                    <a:pt x="689" y="381"/>
                  </a:lnTo>
                  <a:lnTo>
                    <a:pt x="697" y="398"/>
                  </a:lnTo>
                  <a:lnTo>
                    <a:pt x="710" y="409"/>
                  </a:lnTo>
                  <a:lnTo>
                    <a:pt x="716" y="398"/>
                  </a:lnTo>
                  <a:lnTo>
                    <a:pt x="757" y="410"/>
                  </a:lnTo>
                  <a:lnTo>
                    <a:pt x="764" y="424"/>
                  </a:lnTo>
                  <a:lnTo>
                    <a:pt x="789" y="493"/>
                  </a:lnTo>
                  <a:lnTo>
                    <a:pt x="793" y="548"/>
                  </a:lnTo>
                  <a:lnTo>
                    <a:pt x="784" y="574"/>
                  </a:lnTo>
                  <a:lnTo>
                    <a:pt x="858" y="598"/>
                  </a:lnTo>
                  <a:lnTo>
                    <a:pt x="887" y="593"/>
                  </a:lnTo>
                  <a:lnTo>
                    <a:pt x="996" y="638"/>
                  </a:lnTo>
                  <a:lnTo>
                    <a:pt x="1031" y="698"/>
                  </a:lnTo>
                  <a:lnTo>
                    <a:pt x="1065" y="735"/>
                  </a:lnTo>
                  <a:lnTo>
                    <a:pt x="1079" y="740"/>
                  </a:lnTo>
                  <a:lnTo>
                    <a:pt x="1250" y="732"/>
                  </a:lnTo>
                  <a:lnTo>
                    <a:pt x="1287" y="743"/>
                  </a:lnTo>
                  <a:lnTo>
                    <a:pt x="1326" y="772"/>
                  </a:lnTo>
                  <a:lnTo>
                    <a:pt x="1389" y="794"/>
                  </a:lnTo>
                  <a:lnTo>
                    <a:pt x="1412" y="796"/>
                  </a:lnTo>
                  <a:lnTo>
                    <a:pt x="1436" y="810"/>
                  </a:lnTo>
                  <a:lnTo>
                    <a:pt x="1505" y="780"/>
                  </a:lnTo>
                  <a:lnTo>
                    <a:pt x="1512" y="772"/>
                  </a:lnTo>
                  <a:lnTo>
                    <a:pt x="1568" y="757"/>
                  </a:lnTo>
                  <a:lnTo>
                    <a:pt x="1604" y="754"/>
                  </a:lnTo>
                  <a:lnTo>
                    <a:pt x="1626" y="760"/>
                  </a:lnTo>
                  <a:lnTo>
                    <a:pt x="1680" y="746"/>
                  </a:lnTo>
                  <a:lnTo>
                    <a:pt x="1765" y="674"/>
                  </a:lnTo>
                  <a:lnTo>
                    <a:pt x="1763" y="664"/>
                  </a:lnTo>
                  <a:lnTo>
                    <a:pt x="1744" y="641"/>
                  </a:lnTo>
                  <a:lnTo>
                    <a:pt x="1765" y="596"/>
                  </a:lnTo>
                  <a:lnTo>
                    <a:pt x="1783" y="591"/>
                  </a:lnTo>
                  <a:lnTo>
                    <a:pt x="1807" y="607"/>
                  </a:lnTo>
                  <a:lnTo>
                    <a:pt x="1839" y="612"/>
                  </a:lnTo>
                  <a:lnTo>
                    <a:pt x="1862" y="596"/>
                  </a:lnTo>
                  <a:lnTo>
                    <a:pt x="1895" y="561"/>
                  </a:lnTo>
                  <a:lnTo>
                    <a:pt x="1913" y="562"/>
                  </a:lnTo>
                  <a:lnTo>
                    <a:pt x="1935" y="548"/>
                  </a:lnTo>
                  <a:lnTo>
                    <a:pt x="1992" y="491"/>
                  </a:lnTo>
                  <a:lnTo>
                    <a:pt x="2054" y="486"/>
                  </a:lnTo>
                  <a:lnTo>
                    <a:pt x="2111" y="483"/>
                  </a:lnTo>
                  <a:lnTo>
                    <a:pt x="2110" y="471"/>
                  </a:lnTo>
                  <a:lnTo>
                    <a:pt x="2099" y="464"/>
                  </a:lnTo>
                  <a:lnTo>
                    <a:pt x="2100" y="446"/>
                  </a:lnTo>
                  <a:lnTo>
                    <a:pt x="2094" y="435"/>
                  </a:lnTo>
                  <a:lnTo>
                    <a:pt x="2071" y="415"/>
                  </a:lnTo>
                  <a:lnTo>
                    <a:pt x="2054" y="392"/>
                  </a:lnTo>
                  <a:lnTo>
                    <a:pt x="2014" y="418"/>
                  </a:lnTo>
                  <a:lnTo>
                    <a:pt x="1995" y="426"/>
                  </a:lnTo>
                  <a:lnTo>
                    <a:pt x="1939" y="418"/>
                  </a:lnTo>
                  <a:lnTo>
                    <a:pt x="1929" y="390"/>
                  </a:lnTo>
                  <a:lnTo>
                    <a:pt x="1927" y="372"/>
                  </a:lnTo>
                  <a:lnTo>
                    <a:pt x="1938" y="341"/>
                  </a:lnTo>
                  <a:lnTo>
                    <a:pt x="1935" y="312"/>
                  </a:lnTo>
                  <a:lnTo>
                    <a:pt x="1967" y="257"/>
                  </a:lnTo>
                  <a:lnTo>
                    <a:pt x="2037" y="287"/>
                  </a:lnTo>
                  <a:lnTo>
                    <a:pt x="2100" y="249"/>
                  </a:lnTo>
                  <a:lnTo>
                    <a:pt x="2134" y="144"/>
                  </a:lnTo>
                  <a:lnTo>
                    <a:pt x="2170" y="112"/>
                  </a:lnTo>
                  <a:lnTo>
                    <a:pt x="2166" y="76"/>
                  </a:lnTo>
                  <a:lnTo>
                    <a:pt x="2137" y="78"/>
                  </a:lnTo>
                  <a:lnTo>
                    <a:pt x="2137" y="64"/>
                  </a:lnTo>
                  <a:lnTo>
                    <a:pt x="2178" y="22"/>
                  </a:lnTo>
                  <a:lnTo>
                    <a:pt x="2208" y="17"/>
                  </a:lnTo>
                  <a:lnTo>
                    <a:pt x="2303" y="0"/>
                  </a:lnTo>
                  <a:lnTo>
                    <a:pt x="2342" y="28"/>
                  </a:lnTo>
                  <a:lnTo>
                    <a:pt x="2396" y="38"/>
                  </a:lnTo>
                  <a:lnTo>
                    <a:pt x="2430" y="90"/>
                  </a:lnTo>
                  <a:lnTo>
                    <a:pt x="2467" y="194"/>
                  </a:lnTo>
                  <a:lnTo>
                    <a:pt x="2482" y="265"/>
                  </a:lnTo>
                  <a:lnTo>
                    <a:pt x="2482" y="282"/>
                  </a:lnTo>
                  <a:lnTo>
                    <a:pt x="2558" y="295"/>
                  </a:lnTo>
                  <a:lnTo>
                    <a:pt x="2574" y="302"/>
                  </a:lnTo>
                  <a:lnTo>
                    <a:pt x="2623" y="332"/>
                  </a:lnTo>
                  <a:lnTo>
                    <a:pt x="2650" y="417"/>
                  </a:lnTo>
                  <a:lnTo>
                    <a:pt x="2696" y="418"/>
                  </a:lnTo>
                  <a:lnTo>
                    <a:pt x="2713" y="412"/>
                  </a:lnTo>
                  <a:lnTo>
                    <a:pt x="2821" y="364"/>
                  </a:lnTo>
                  <a:lnTo>
                    <a:pt x="2816" y="424"/>
                  </a:lnTo>
                  <a:lnTo>
                    <a:pt x="2796" y="444"/>
                  </a:lnTo>
                  <a:lnTo>
                    <a:pt x="2773" y="523"/>
                  </a:lnTo>
                  <a:lnTo>
                    <a:pt x="2744" y="588"/>
                  </a:lnTo>
                  <a:lnTo>
                    <a:pt x="2733" y="596"/>
                  </a:lnTo>
                  <a:lnTo>
                    <a:pt x="2728" y="593"/>
                  </a:lnTo>
                  <a:lnTo>
                    <a:pt x="2685" y="582"/>
                  </a:lnTo>
                  <a:lnTo>
                    <a:pt x="2645" y="616"/>
                  </a:lnTo>
                  <a:lnTo>
                    <a:pt x="2657" y="652"/>
                  </a:lnTo>
                  <a:lnTo>
                    <a:pt x="2657" y="700"/>
                  </a:lnTo>
                  <a:lnTo>
                    <a:pt x="2626" y="735"/>
                  </a:lnTo>
                  <a:lnTo>
                    <a:pt x="2626" y="751"/>
                  </a:lnTo>
                  <a:lnTo>
                    <a:pt x="2620" y="749"/>
                  </a:lnTo>
                  <a:lnTo>
                    <a:pt x="2603" y="726"/>
                  </a:lnTo>
                  <a:lnTo>
                    <a:pt x="2594" y="734"/>
                  </a:lnTo>
                  <a:lnTo>
                    <a:pt x="2581" y="766"/>
                  </a:lnTo>
                  <a:lnTo>
                    <a:pt x="2554" y="785"/>
                  </a:lnTo>
                  <a:lnTo>
                    <a:pt x="2516" y="789"/>
                  </a:lnTo>
                  <a:lnTo>
                    <a:pt x="2513" y="796"/>
                  </a:lnTo>
                  <a:lnTo>
                    <a:pt x="2518" y="823"/>
                  </a:lnTo>
                  <a:lnTo>
                    <a:pt x="2482" y="827"/>
                  </a:lnTo>
                  <a:lnTo>
                    <a:pt x="2456" y="814"/>
                  </a:lnTo>
                  <a:lnTo>
                    <a:pt x="2410" y="859"/>
                  </a:lnTo>
                  <a:lnTo>
                    <a:pt x="2362" y="882"/>
                  </a:lnTo>
                  <a:lnTo>
                    <a:pt x="2339" y="913"/>
                  </a:lnTo>
                  <a:lnTo>
                    <a:pt x="2298" y="926"/>
                  </a:lnTo>
                  <a:lnTo>
                    <a:pt x="2292" y="921"/>
                  </a:lnTo>
                  <a:lnTo>
                    <a:pt x="2247" y="946"/>
                  </a:lnTo>
                  <a:lnTo>
                    <a:pt x="2225" y="971"/>
                  </a:lnTo>
                  <a:lnTo>
                    <a:pt x="2196" y="984"/>
                  </a:lnTo>
                  <a:lnTo>
                    <a:pt x="2192" y="979"/>
                  </a:lnTo>
                  <a:lnTo>
                    <a:pt x="2199" y="969"/>
                  </a:lnTo>
                  <a:lnTo>
                    <a:pt x="2212" y="966"/>
                  </a:lnTo>
                  <a:lnTo>
                    <a:pt x="2216" y="947"/>
                  </a:lnTo>
                  <a:lnTo>
                    <a:pt x="2198" y="938"/>
                  </a:lnTo>
                  <a:lnTo>
                    <a:pt x="2207" y="933"/>
                  </a:lnTo>
                  <a:lnTo>
                    <a:pt x="2208" y="923"/>
                  </a:lnTo>
                  <a:lnTo>
                    <a:pt x="2242" y="881"/>
                  </a:lnTo>
                  <a:lnTo>
                    <a:pt x="2221" y="847"/>
                  </a:lnTo>
                  <a:lnTo>
                    <a:pt x="2218" y="852"/>
                  </a:lnTo>
                  <a:lnTo>
                    <a:pt x="2192" y="857"/>
                  </a:lnTo>
                  <a:lnTo>
                    <a:pt x="2159" y="898"/>
                  </a:lnTo>
                  <a:lnTo>
                    <a:pt x="2116" y="921"/>
                  </a:lnTo>
                  <a:lnTo>
                    <a:pt x="2100" y="952"/>
                  </a:lnTo>
                  <a:lnTo>
                    <a:pt x="2069" y="962"/>
                  </a:lnTo>
                  <a:lnTo>
                    <a:pt x="2046" y="958"/>
                  </a:lnTo>
                  <a:lnTo>
                    <a:pt x="2037" y="967"/>
                  </a:lnTo>
                  <a:lnTo>
                    <a:pt x="2032" y="983"/>
                  </a:lnTo>
                  <a:lnTo>
                    <a:pt x="2029" y="997"/>
                  </a:lnTo>
                  <a:lnTo>
                    <a:pt x="2048" y="1021"/>
                  </a:lnTo>
                  <a:lnTo>
                    <a:pt x="2076" y="1040"/>
                  </a:lnTo>
                  <a:lnTo>
                    <a:pt x="2093" y="1070"/>
                  </a:lnTo>
                  <a:lnTo>
                    <a:pt x="2117" y="1079"/>
                  </a:lnTo>
                  <a:lnTo>
                    <a:pt x="2128" y="1079"/>
                  </a:lnTo>
                  <a:lnTo>
                    <a:pt x="2154" y="1048"/>
                  </a:lnTo>
                  <a:lnTo>
                    <a:pt x="2178" y="1038"/>
                  </a:lnTo>
                  <a:lnTo>
                    <a:pt x="2210" y="1060"/>
                  </a:lnTo>
                  <a:lnTo>
                    <a:pt x="2233" y="1055"/>
                  </a:lnTo>
                  <a:lnTo>
                    <a:pt x="2259" y="1063"/>
                  </a:lnTo>
                  <a:lnTo>
                    <a:pt x="2252" y="1085"/>
                  </a:lnTo>
                  <a:lnTo>
                    <a:pt x="2244" y="1096"/>
                  </a:lnTo>
                  <a:lnTo>
                    <a:pt x="2238" y="1085"/>
                  </a:lnTo>
                  <a:lnTo>
                    <a:pt x="2227" y="1087"/>
                  </a:lnTo>
                  <a:lnTo>
                    <a:pt x="2216" y="1099"/>
                  </a:lnTo>
                  <a:lnTo>
                    <a:pt x="2178" y="1108"/>
                  </a:lnTo>
                  <a:lnTo>
                    <a:pt x="2179" y="1118"/>
                  </a:lnTo>
                  <a:lnTo>
                    <a:pt x="2167" y="1136"/>
                  </a:lnTo>
                  <a:lnTo>
                    <a:pt x="2159" y="1138"/>
                  </a:lnTo>
                  <a:lnTo>
                    <a:pt x="2156" y="1128"/>
                  </a:lnTo>
                  <a:lnTo>
                    <a:pt x="2147" y="1128"/>
                  </a:lnTo>
                  <a:lnTo>
                    <a:pt x="2142" y="1136"/>
                  </a:lnTo>
                  <a:lnTo>
                    <a:pt x="2149" y="1144"/>
                  </a:lnTo>
                  <a:lnTo>
                    <a:pt x="2144" y="1150"/>
                  </a:lnTo>
                  <a:lnTo>
                    <a:pt x="2124" y="1167"/>
                  </a:lnTo>
                  <a:lnTo>
                    <a:pt x="2102" y="1206"/>
                  </a:lnTo>
                  <a:lnTo>
                    <a:pt x="2103" y="1212"/>
                  </a:lnTo>
                  <a:lnTo>
                    <a:pt x="2149" y="1237"/>
                  </a:lnTo>
                  <a:lnTo>
                    <a:pt x="2164" y="1265"/>
                  </a:lnTo>
                  <a:lnTo>
                    <a:pt x="2181" y="1325"/>
                  </a:lnTo>
                  <a:lnTo>
                    <a:pt x="2199" y="1342"/>
                  </a:lnTo>
                  <a:lnTo>
                    <a:pt x="2201" y="1350"/>
                  </a:lnTo>
                  <a:lnTo>
                    <a:pt x="2225" y="1379"/>
                  </a:lnTo>
                  <a:lnTo>
                    <a:pt x="2166" y="1360"/>
                  </a:lnTo>
                  <a:lnTo>
                    <a:pt x="2144" y="1365"/>
                  </a:lnTo>
                  <a:lnTo>
                    <a:pt x="2144" y="1370"/>
                  </a:lnTo>
                  <a:lnTo>
                    <a:pt x="2166" y="1365"/>
                  </a:lnTo>
                  <a:lnTo>
                    <a:pt x="2173" y="1375"/>
                  </a:lnTo>
                  <a:lnTo>
                    <a:pt x="2192" y="1382"/>
                  </a:lnTo>
                  <a:lnTo>
                    <a:pt x="2208" y="1397"/>
                  </a:lnTo>
                  <a:lnTo>
                    <a:pt x="2213" y="1399"/>
                  </a:lnTo>
                  <a:lnTo>
                    <a:pt x="2225" y="1419"/>
                  </a:lnTo>
                  <a:lnTo>
                    <a:pt x="2176" y="1449"/>
                  </a:lnTo>
                  <a:lnTo>
                    <a:pt x="2154" y="1452"/>
                  </a:lnTo>
                  <a:lnTo>
                    <a:pt x="2154" y="1455"/>
                  </a:lnTo>
                  <a:lnTo>
                    <a:pt x="2175" y="1463"/>
                  </a:lnTo>
                  <a:lnTo>
                    <a:pt x="2192" y="1455"/>
                  </a:lnTo>
                  <a:lnTo>
                    <a:pt x="2213" y="1472"/>
                  </a:lnTo>
                  <a:lnTo>
                    <a:pt x="2230" y="1475"/>
                  </a:lnTo>
                  <a:lnTo>
                    <a:pt x="2205" y="1495"/>
                  </a:lnTo>
                  <a:lnTo>
                    <a:pt x="2221" y="1490"/>
                  </a:lnTo>
                  <a:lnTo>
                    <a:pt x="2221" y="1502"/>
                  </a:lnTo>
                  <a:lnTo>
                    <a:pt x="2221" y="1511"/>
                  </a:lnTo>
                  <a:lnTo>
                    <a:pt x="2205" y="1512"/>
                  </a:lnTo>
                  <a:lnTo>
                    <a:pt x="2210" y="1524"/>
                  </a:lnTo>
                  <a:lnTo>
                    <a:pt x="2198" y="1565"/>
                  </a:lnTo>
                  <a:lnTo>
                    <a:pt x="2192" y="1557"/>
                  </a:lnTo>
                  <a:lnTo>
                    <a:pt x="2187" y="1562"/>
                  </a:lnTo>
                  <a:lnTo>
                    <a:pt x="2175" y="1580"/>
                  </a:lnTo>
                  <a:lnTo>
                    <a:pt x="2162" y="1600"/>
                  </a:lnTo>
                  <a:lnTo>
                    <a:pt x="2147" y="1625"/>
                  </a:lnTo>
                  <a:lnTo>
                    <a:pt x="2133" y="1650"/>
                  </a:lnTo>
                  <a:lnTo>
                    <a:pt x="2130" y="1636"/>
                  </a:lnTo>
                  <a:lnTo>
                    <a:pt x="2117" y="1642"/>
                  </a:lnTo>
                  <a:lnTo>
                    <a:pt x="2124" y="1659"/>
                  </a:lnTo>
                  <a:lnTo>
                    <a:pt x="2111" y="1692"/>
                  </a:lnTo>
                  <a:lnTo>
                    <a:pt x="2110" y="1705"/>
                  </a:lnTo>
                  <a:lnTo>
                    <a:pt x="2102" y="1701"/>
                  </a:lnTo>
                  <a:lnTo>
                    <a:pt x="2100" y="1713"/>
                  </a:lnTo>
                  <a:lnTo>
                    <a:pt x="2088" y="1717"/>
                  </a:lnTo>
                  <a:lnTo>
                    <a:pt x="2071" y="1747"/>
                  </a:lnTo>
                  <a:lnTo>
                    <a:pt x="2051" y="1747"/>
                  </a:lnTo>
                  <a:lnTo>
                    <a:pt x="2044" y="1752"/>
                  </a:lnTo>
                  <a:lnTo>
                    <a:pt x="2048" y="1760"/>
                  </a:lnTo>
                  <a:lnTo>
                    <a:pt x="2044" y="1768"/>
                  </a:lnTo>
                  <a:lnTo>
                    <a:pt x="2029" y="1778"/>
                  </a:lnTo>
                  <a:lnTo>
                    <a:pt x="2026" y="1788"/>
                  </a:lnTo>
                  <a:lnTo>
                    <a:pt x="2023" y="1781"/>
                  </a:lnTo>
                  <a:lnTo>
                    <a:pt x="2018" y="1794"/>
                  </a:lnTo>
                  <a:lnTo>
                    <a:pt x="1995" y="1798"/>
                  </a:lnTo>
                  <a:lnTo>
                    <a:pt x="1972" y="1827"/>
                  </a:lnTo>
                  <a:lnTo>
                    <a:pt x="1947" y="1837"/>
                  </a:lnTo>
                  <a:lnTo>
                    <a:pt x="1935" y="1834"/>
                  </a:lnTo>
                  <a:lnTo>
                    <a:pt x="1926" y="1842"/>
                  </a:lnTo>
                  <a:lnTo>
                    <a:pt x="1913" y="1834"/>
                  </a:lnTo>
                  <a:lnTo>
                    <a:pt x="1896" y="1845"/>
                  </a:lnTo>
                  <a:lnTo>
                    <a:pt x="1893" y="1837"/>
                  </a:lnTo>
                  <a:lnTo>
                    <a:pt x="1887" y="1840"/>
                  </a:lnTo>
                  <a:lnTo>
                    <a:pt x="1887" y="1849"/>
                  </a:lnTo>
                  <a:lnTo>
                    <a:pt x="1884" y="1854"/>
                  </a:lnTo>
                  <a:close/>
                  <a:moveTo>
                    <a:pt x="1698" y="1970"/>
                  </a:moveTo>
                  <a:lnTo>
                    <a:pt x="1700" y="1966"/>
                  </a:lnTo>
                  <a:lnTo>
                    <a:pt x="1715" y="1973"/>
                  </a:lnTo>
                  <a:lnTo>
                    <a:pt x="1718" y="1989"/>
                  </a:lnTo>
                  <a:lnTo>
                    <a:pt x="1712" y="1998"/>
                  </a:lnTo>
                  <a:lnTo>
                    <a:pt x="1697" y="2032"/>
                  </a:lnTo>
                  <a:lnTo>
                    <a:pt x="1678" y="2049"/>
                  </a:lnTo>
                  <a:lnTo>
                    <a:pt x="1667" y="2052"/>
                  </a:lnTo>
                  <a:lnTo>
                    <a:pt x="1661" y="2063"/>
                  </a:lnTo>
                  <a:lnTo>
                    <a:pt x="1622" y="2049"/>
                  </a:lnTo>
                  <a:lnTo>
                    <a:pt x="1616" y="2038"/>
                  </a:lnTo>
                  <a:lnTo>
                    <a:pt x="1613" y="2009"/>
                  </a:lnTo>
                  <a:lnTo>
                    <a:pt x="1655" y="1975"/>
                  </a:lnTo>
                  <a:lnTo>
                    <a:pt x="1698" y="197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334" name="Freeform 55">
              <a:extLst>
                <a:ext uri="{FF2B5EF4-FFF2-40B4-BE49-F238E27FC236}">
                  <a16:creationId xmlns:a16="http://schemas.microsoft.com/office/drawing/2014/main" id="{E5E39686-AE7E-FE40-ACFA-A12049D50611}"/>
                </a:ext>
              </a:extLst>
            </p:cNvPr>
            <p:cNvSpPr>
              <a:spLocks noChangeAspect="1" noEditPoints="1"/>
            </p:cNvSpPr>
            <p:nvPr/>
          </p:nvSpPr>
          <p:spPr bwMode="gray">
            <a:xfrm>
              <a:off x="7472872" y="3138756"/>
              <a:ext cx="108284" cy="180469"/>
            </a:xfrm>
            <a:custGeom>
              <a:avLst/>
              <a:gdLst>
                <a:gd name="T0" fmla="*/ 21 w 223"/>
                <a:gd name="T1" fmla="*/ 46 h 305"/>
                <a:gd name="T2" fmla="*/ 17 w 223"/>
                <a:gd name="T3" fmla="*/ 49 h 305"/>
                <a:gd name="T4" fmla="*/ 21 w 223"/>
                <a:gd name="T5" fmla="*/ 65 h 305"/>
                <a:gd name="T6" fmla="*/ 32 w 223"/>
                <a:gd name="T7" fmla="*/ 73 h 305"/>
                <a:gd name="T8" fmla="*/ 29 w 223"/>
                <a:gd name="T9" fmla="*/ 80 h 305"/>
                <a:gd name="T10" fmla="*/ 36 w 223"/>
                <a:gd name="T11" fmla="*/ 99 h 305"/>
                <a:gd name="T12" fmla="*/ 25 w 223"/>
                <a:gd name="T13" fmla="*/ 91 h 305"/>
                <a:gd name="T14" fmla="*/ 0 w 223"/>
                <a:gd name="T15" fmla="*/ 103 h 305"/>
                <a:gd name="T16" fmla="*/ 0 w 223"/>
                <a:gd name="T17" fmla="*/ 111 h 305"/>
                <a:gd name="T18" fmla="*/ 8 w 223"/>
                <a:gd name="T19" fmla="*/ 119 h 305"/>
                <a:gd name="T20" fmla="*/ 13 w 223"/>
                <a:gd name="T21" fmla="*/ 117 h 305"/>
                <a:gd name="T22" fmla="*/ 10 w 223"/>
                <a:gd name="T23" fmla="*/ 107 h 305"/>
                <a:gd name="T24" fmla="*/ 15 w 223"/>
                <a:gd name="T25" fmla="*/ 108 h 305"/>
                <a:gd name="T26" fmla="*/ 21 w 223"/>
                <a:gd name="T27" fmla="*/ 141 h 305"/>
                <a:gd name="T28" fmla="*/ 29 w 223"/>
                <a:gd name="T29" fmla="*/ 156 h 305"/>
                <a:gd name="T30" fmla="*/ 21 w 223"/>
                <a:gd name="T31" fmla="*/ 168 h 305"/>
                <a:gd name="T32" fmla="*/ 22 w 223"/>
                <a:gd name="T33" fmla="*/ 171 h 305"/>
                <a:gd name="T34" fmla="*/ 8 w 223"/>
                <a:gd name="T35" fmla="*/ 209 h 305"/>
                <a:gd name="T36" fmla="*/ 12 w 223"/>
                <a:gd name="T37" fmla="*/ 215 h 305"/>
                <a:gd name="T38" fmla="*/ 15 w 223"/>
                <a:gd name="T39" fmla="*/ 210 h 305"/>
                <a:gd name="T40" fmla="*/ 21 w 223"/>
                <a:gd name="T41" fmla="*/ 213 h 305"/>
                <a:gd name="T42" fmla="*/ 19 w 223"/>
                <a:gd name="T43" fmla="*/ 224 h 305"/>
                <a:gd name="T44" fmla="*/ 10 w 223"/>
                <a:gd name="T45" fmla="*/ 222 h 305"/>
                <a:gd name="T46" fmla="*/ 5 w 223"/>
                <a:gd name="T47" fmla="*/ 237 h 305"/>
                <a:gd name="T48" fmla="*/ 7 w 223"/>
                <a:gd name="T49" fmla="*/ 241 h 305"/>
                <a:gd name="T50" fmla="*/ 17 w 223"/>
                <a:gd name="T51" fmla="*/ 230 h 305"/>
                <a:gd name="T52" fmla="*/ 19 w 223"/>
                <a:gd name="T53" fmla="*/ 238 h 305"/>
                <a:gd name="T54" fmla="*/ 30 w 223"/>
                <a:gd name="T55" fmla="*/ 227 h 305"/>
                <a:gd name="T56" fmla="*/ 36 w 223"/>
                <a:gd name="T57" fmla="*/ 232 h 305"/>
                <a:gd name="T58" fmla="*/ 56 w 223"/>
                <a:gd name="T59" fmla="*/ 217 h 305"/>
                <a:gd name="T60" fmla="*/ 49 w 223"/>
                <a:gd name="T61" fmla="*/ 226 h 305"/>
                <a:gd name="T62" fmla="*/ 56 w 223"/>
                <a:gd name="T63" fmla="*/ 229 h 305"/>
                <a:gd name="T64" fmla="*/ 61 w 223"/>
                <a:gd name="T65" fmla="*/ 226 h 305"/>
                <a:gd name="T66" fmla="*/ 61 w 223"/>
                <a:gd name="T67" fmla="*/ 212 h 305"/>
                <a:gd name="T68" fmla="*/ 67 w 223"/>
                <a:gd name="T69" fmla="*/ 220 h 305"/>
                <a:gd name="T70" fmla="*/ 75 w 223"/>
                <a:gd name="T71" fmla="*/ 212 h 305"/>
                <a:gd name="T72" fmla="*/ 71 w 223"/>
                <a:gd name="T73" fmla="*/ 207 h 305"/>
                <a:gd name="T74" fmla="*/ 81 w 223"/>
                <a:gd name="T75" fmla="*/ 204 h 305"/>
                <a:gd name="T76" fmla="*/ 98 w 223"/>
                <a:gd name="T77" fmla="*/ 207 h 305"/>
                <a:gd name="T78" fmla="*/ 101 w 223"/>
                <a:gd name="T79" fmla="*/ 212 h 305"/>
                <a:gd name="T80" fmla="*/ 113 w 223"/>
                <a:gd name="T81" fmla="*/ 193 h 305"/>
                <a:gd name="T82" fmla="*/ 130 w 223"/>
                <a:gd name="T83" fmla="*/ 195 h 305"/>
                <a:gd name="T84" fmla="*/ 147 w 223"/>
                <a:gd name="T85" fmla="*/ 181 h 305"/>
                <a:gd name="T86" fmla="*/ 161 w 223"/>
                <a:gd name="T87" fmla="*/ 144 h 305"/>
                <a:gd name="T88" fmla="*/ 155 w 223"/>
                <a:gd name="T89" fmla="*/ 144 h 305"/>
                <a:gd name="T90" fmla="*/ 154 w 223"/>
                <a:gd name="T91" fmla="*/ 94 h 305"/>
                <a:gd name="T92" fmla="*/ 146 w 223"/>
                <a:gd name="T93" fmla="*/ 61 h 305"/>
                <a:gd name="T94" fmla="*/ 104 w 223"/>
                <a:gd name="T95" fmla="*/ 0 h 305"/>
                <a:gd name="T96" fmla="*/ 78 w 223"/>
                <a:gd name="T97" fmla="*/ 18 h 305"/>
                <a:gd name="T98" fmla="*/ 49 w 223"/>
                <a:gd name="T99" fmla="*/ 18 h 305"/>
                <a:gd name="T100" fmla="*/ 21 w 223"/>
                <a:gd name="T101" fmla="*/ 46 h 305"/>
                <a:gd name="T102" fmla="*/ 219 w 223"/>
                <a:gd name="T103" fmla="*/ 57 h 305"/>
                <a:gd name="T104" fmla="*/ 219 w 223"/>
                <a:gd name="T105" fmla="*/ 63 h 305"/>
                <a:gd name="T106" fmla="*/ 223 w 223"/>
                <a:gd name="T107" fmla="*/ 60 h 305"/>
                <a:gd name="T108" fmla="*/ 219 w 223"/>
                <a:gd name="T109" fmla="*/ 57 h 305"/>
                <a:gd name="T110" fmla="*/ 8 w 223"/>
                <a:gd name="T111" fmla="*/ 294 h 305"/>
                <a:gd name="T112" fmla="*/ 5 w 223"/>
                <a:gd name="T113" fmla="*/ 303 h 305"/>
                <a:gd name="T114" fmla="*/ 13 w 223"/>
                <a:gd name="T115" fmla="*/ 305 h 305"/>
                <a:gd name="T116" fmla="*/ 25 w 223"/>
                <a:gd name="T117" fmla="*/ 303 h 305"/>
                <a:gd name="T118" fmla="*/ 36 w 223"/>
                <a:gd name="T119" fmla="*/ 294 h 305"/>
                <a:gd name="T120" fmla="*/ 36 w 223"/>
                <a:gd name="T121" fmla="*/ 286 h 305"/>
                <a:gd name="T122" fmla="*/ 8 w 223"/>
                <a:gd name="T123" fmla="*/ 29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3" h="305">
                  <a:moveTo>
                    <a:pt x="21" y="46"/>
                  </a:moveTo>
                  <a:lnTo>
                    <a:pt x="17" y="49"/>
                  </a:lnTo>
                  <a:lnTo>
                    <a:pt x="21" y="65"/>
                  </a:lnTo>
                  <a:lnTo>
                    <a:pt x="32" y="73"/>
                  </a:lnTo>
                  <a:lnTo>
                    <a:pt x="29" y="80"/>
                  </a:lnTo>
                  <a:lnTo>
                    <a:pt x="36" y="99"/>
                  </a:lnTo>
                  <a:lnTo>
                    <a:pt x="25" y="91"/>
                  </a:lnTo>
                  <a:lnTo>
                    <a:pt x="0" y="103"/>
                  </a:lnTo>
                  <a:lnTo>
                    <a:pt x="0" y="111"/>
                  </a:lnTo>
                  <a:lnTo>
                    <a:pt x="8" y="119"/>
                  </a:lnTo>
                  <a:lnTo>
                    <a:pt x="13" y="117"/>
                  </a:lnTo>
                  <a:lnTo>
                    <a:pt x="10" y="107"/>
                  </a:lnTo>
                  <a:lnTo>
                    <a:pt x="15" y="108"/>
                  </a:lnTo>
                  <a:lnTo>
                    <a:pt x="21" y="141"/>
                  </a:lnTo>
                  <a:lnTo>
                    <a:pt x="29" y="156"/>
                  </a:lnTo>
                  <a:lnTo>
                    <a:pt x="21" y="168"/>
                  </a:lnTo>
                  <a:lnTo>
                    <a:pt x="22" y="171"/>
                  </a:lnTo>
                  <a:lnTo>
                    <a:pt x="8" y="209"/>
                  </a:lnTo>
                  <a:lnTo>
                    <a:pt x="12" y="215"/>
                  </a:lnTo>
                  <a:lnTo>
                    <a:pt x="15" y="210"/>
                  </a:lnTo>
                  <a:lnTo>
                    <a:pt x="21" y="213"/>
                  </a:lnTo>
                  <a:lnTo>
                    <a:pt x="19" y="224"/>
                  </a:lnTo>
                  <a:lnTo>
                    <a:pt x="10" y="222"/>
                  </a:lnTo>
                  <a:lnTo>
                    <a:pt x="5" y="237"/>
                  </a:lnTo>
                  <a:lnTo>
                    <a:pt x="7" y="241"/>
                  </a:lnTo>
                  <a:lnTo>
                    <a:pt x="17" y="230"/>
                  </a:lnTo>
                  <a:lnTo>
                    <a:pt x="19" y="238"/>
                  </a:lnTo>
                  <a:lnTo>
                    <a:pt x="30" y="227"/>
                  </a:lnTo>
                  <a:lnTo>
                    <a:pt x="36" y="232"/>
                  </a:lnTo>
                  <a:lnTo>
                    <a:pt x="56" y="217"/>
                  </a:lnTo>
                  <a:lnTo>
                    <a:pt x="49" y="226"/>
                  </a:lnTo>
                  <a:lnTo>
                    <a:pt x="56" y="229"/>
                  </a:lnTo>
                  <a:lnTo>
                    <a:pt x="61" y="226"/>
                  </a:lnTo>
                  <a:lnTo>
                    <a:pt x="61" y="212"/>
                  </a:lnTo>
                  <a:lnTo>
                    <a:pt x="67" y="220"/>
                  </a:lnTo>
                  <a:lnTo>
                    <a:pt x="75" y="212"/>
                  </a:lnTo>
                  <a:lnTo>
                    <a:pt x="71" y="207"/>
                  </a:lnTo>
                  <a:lnTo>
                    <a:pt x="81" y="204"/>
                  </a:lnTo>
                  <a:lnTo>
                    <a:pt x="98" y="207"/>
                  </a:lnTo>
                  <a:lnTo>
                    <a:pt x="101" y="212"/>
                  </a:lnTo>
                  <a:lnTo>
                    <a:pt x="113" y="193"/>
                  </a:lnTo>
                  <a:lnTo>
                    <a:pt x="130" y="195"/>
                  </a:lnTo>
                  <a:lnTo>
                    <a:pt x="147" y="181"/>
                  </a:lnTo>
                  <a:lnTo>
                    <a:pt x="161" y="144"/>
                  </a:lnTo>
                  <a:lnTo>
                    <a:pt x="155" y="144"/>
                  </a:lnTo>
                  <a:lnTo>
                    <a:pt x="154" y="94"/>
                  </a:lnTo>
                  <a:lnTo>
                    <a:pt x="146" y="61"/>
                  </a:lnTo>
                  <a:lnTo>
                    <a:pt x="104" y="0"/>
                  </a:lnTo>
                  <a:lnTo>
                    <a:pt x="78" y="18"/>
                  </a:lnTo>
                  <a:lnTo>
                    <a:pt x="49" y="18"/>
                  </a:lnTo>
                  <a:lnTo>
                    <a:pt x="21" y="46"/>
                  </a:lnTo>
                  <a:close/>
                  <a:moveTo>
                    <a:pt x="219" y="57"/>
                  </a:moveTo>
                  <a:lnTo>
                    <a:pt x="219" y="63"/>
                  </a:lnTo>
                  <a:lnTo>
                    <a:pt x="223" y="60"/>
                  </a:lnTo>
                  <a:lnTo>
                    <a:pt x="219" y="57"/>
                  </a:lnTo>
                  <a:close/>
                  <a:moveTo>
                    <a:pt x="8" y="294"/>
                  </a:moveTo>
                  <a:lnTo>
                    <a:pt x="5" y="303"/>
                  </a:lnTo>
                  <a:lnTo>
                    <a:pt x="13" y="305"/>
                  </a:lnTo>
                  <a:lnTo>
                    <a:pt x="25" y="303"/>
                  </a:lnTo>
                  <a:lnTo>
                    <a:pt x="36" y="294"/>
                  </a:lnTo>
                  <a:lnTo>
                    <a:pt x="36" y="286"/>
                  </a:lnTo>
                  <a:lnTo>
                    <a:pt x="8" y="294"/>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35" name="Freeform 56">
              <a:extLst>
                <a:ext uri="{FF2B5EF4-FFF2-40B4-BE49-F238E27FC236}">
                  <a16:creationId xmlns:a16="http://schemas.microsoft.com/office/drawing/2014/main" id="{1A0F88BE-514F-6748-BF2A-BF9819C0FB55}"/>
                </a:ext>
              </a:extLst>
            </p:cNvPr>
            <p:cNvSpPr>
              <a:spLocks noChangeAspect="1" noEditPoints="1"/>
            </p:cNvSpPr>
            <p:nvPr/>
          </p:nvSpPr>
          <p:spPr bwMode="gray">
            <a:xfrm>
              <a:off x="5628845" y="3092679"/>
              <a:ext cx="428363" cy="472289"/>
            </a:xfrm>
            <a:custGeom>
              <a:avLst/>
              <a:gdLst>
                <a:gd name="T0" fmla="*/ 835 w 882"/>
                <a:gd name="T1" fmla="*/ 738 h 805"/>
                <a:gd name="T2" fmla="*/ 882 w 882"/>
                <a:gd name="T3" fmla="*/ 704 h 805"/>
                <a:gd name="T4" fmla="*/ 806 w 882"/>
                <a:gd name="T5" fmla="*/ 621 h 805"/>
                <a:gd name="T6" fmla="*/ 774 w 882"/>
                <a:gd name="T7" fmla="*/ 564 h 805"/>
                <a:gd name="T8" fmla="*/ 808 w 882"/>
                <a:gd name="T9" fmla="*/ 492 h 805"/>
                <a:gd name="T10" fmla="*/ 766 w 882"/>
                <a:gd name="T11" fmla="*/ 458 h 805"/>
                <a:gd name="T12" fmla="*/ 766 w 882"/>
                <a:gd name="T13" fmla="*/ 364 h 805"/>
                <a:gd name="T14" fmla="*/ 754 w 882"/>
                <a:gd name="T15" fmla="*/ 335 h 805"/>
                <a:gd name="T16" fmla="*/ 772 w 882"/>
                <a:gd name="T17" fmla="*/ 307 h 805"/>
                <a:gd name="T18" fmla="*/ 791 w 882"/>
                <a:gd name="T19" fmla="*/ 234 h 805"/>
                <a:gd name="T20" fmla="*/ 709 w 882"/>
                <a:gd name="T21" fmla="*/ 154 h 805"/>
                <a:gd name="T22" fmla="*/ 615 w 882"/>
                <a:gd name="T23" fmla="*/ 108 h 805"/>
                <a:gd name="T24" fmla="*/ 559 w 882"/>
                <a:gd name="T25" fmla="*/ 101 h 805"/>
                <a:gd name="T26" fmla="*/ 451 w 882"/>
                <a:gd name="T27" fmla="*/ 138 h 805"/>
                <a:gd name="T28" fmla="*/ 347 w 882"/>
                <a:gd name="T29" fmla="*/ 189 h 805"/>
                <a:gd name="T30" fmla="*/ 256 w 882"/>
                <a:gd name="T31" fmla="*/ 144 h 805"/>
                <a:gd name="T32" fmla="*/ 203 w 882"/>
                <a:gd name="T33" fmla="*/ 78 h 805"/>
                <a:gd name="T34" fmla="*/ 186 w 882"/>
                <a:gd name="T35" fmla="*/ 19 h 805"/>
                <a:gd name="T36" fmla="*/ 118 w 882"/>
                <a:gd name="T37" fmla="*/ 56 h 805"/>
                <a:gd name="T38" fmla="*/ 84 w 882"/>
                <a:gd name="T39" fmla="*/ 54 h 805"/>
                <a:gd name="T40" fmla="*/ 22 w 882"/>
                <a:gd name="T41" fmla="*/ 0 h 805"/>
                <a:gd name="T42" fmla="*/ 7 w 882"/>
                <a:gd name="T43" fmla="*/ 49 h 805"/>
                <a:gd name="T44" fmla="*/ 31 w 882"/>
                <a:gd name="T45" fmla="*/ 150 h 805"/>
                <a:gd name="T46" fmla="*/ 59 w 882"/>
                <a:gd name="T47" fmla="*/ 220 h 805"/>
                <a:gd name="T48" fmla="*/ 88 w 882"/>
                <a:gd name="T49" fmla="*/ 251 h 805"/>
                <a:gd name="T50" fmla="*/ 75 w 882"/>
                <a:gd name="T51" fmla="*/ 299 h 805"/>
                <a:gd name="T52" fmla="*/ 58 w 882"/>
                <a:gd name="T53" fmla="*/ 350 h 805"/>
                <a:gd name="T54" fmla="*/ 85 w 882"/>
                <a:gd name="T55" fmla="*/ 386 h 805"/>
                <a:gd name="T56" fmla="*/ 160 w 882"/>
                <a:gd name="T57" fmla="*/ 499 h 805"/>
                <a:gd name="T58" fmla="*/ 206 w 882"/>
                <a:gd name="T59" fmla="*/ 551 h 805"/>
                <a:gd name="T60" fmla="*/ 212 w 882"/>
                <a:gd name="T61" fmla="*/ 526 h 805"/>
                <a:gd name="T62" fmla="*/ 232 w 882"/>
                <a:gd name="T63" fmla="*/ 545 h 805"/>
                <a:gd name="T64" fmla="*/ 270 w 882"/>
                <a:gd name="T65" fmla="*/ 550 h 805"/>
                <a:gd name="T66" fmla="*/ 297 w 882"/>
                <a:gd name="T67" fmla="*/ 599 h 805"/>
                <a:gd name="T68" fmla="*/ 381 w 882"/>
                <a:gd name="T69" fmla="*/ 682 h 805"/>
                <a:gd name="T70" fmla="*/ 427 w 882"/>
                <a:gd name="T71" fmla="*/ 720 h 805"/>
                <a:gd name="T72" fmla="*/ 483 w 882"/>
                <a:gd name="T73" fmla="*/ 738 h 805"/>
                <a:gd name="T74" fmla="*/ 568 w 882"/>
                <a:gd name="T75" fmla="*/ 704 h 805"/>
                <a:gd name="T76" fmla="*/ 667 w 882"/>
                <a:gd name="T77" fmla="*/ 783 h 805"/>
                <a:gd name="T78" fmla="*/ 720 w 882"/>
                <a:gd name="T79" fmla="*/ 796 h 805"/>
                <a:gd name="T80" fmla="*/ 774 w 882"/>
                <a:gd name="T81" fmla="*/ 804 h 805"/>
                <a:gd name="T82" fmla="*/ 536 w 882"/>
                <a:gd name="T83" fmla="*/ 715 h 805"/>
                <a:gd name="T84" fmla="*/ 554 w 882"/>
                <a:gd name="T85" fmla="*/ 714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2" h="805">
                  <a:moveTo>
                    <a:pt x="806" y="805"/>
                  </a:moveTo>
                  <a:lnTo>
                    <a:pt x="817" y="757"/>
                  </a:lnTo>
                  <a:lnTo>
                    <a:pt x="835" y="738"/>
                  </a:lnTo>
                  <a:lnTo>
                    <a:pt x="869" y="728"/>
                  </a:lnTo>
                  <a:lnTo>
                    <a:pt x="881" y="715"/>
                  </a:lnTo>
                  <a:lnTo>
                    <a:pt x="882" y="704"/>
                  </a:lnTo>
                  <a:lnTo>
                    <a:pt x="862" y="697"/>
                  </a:lnTo>
                  <a:lnTo>
                    <a:pt x="859" y="650"/>
                  </a:lnTo>
                  <a:lnTo>
                    <a:pt x="806" y="621"/>
                  </a:lnTo>
                  <a:lnTo>
                    <a:pt x="789" y="585"/>
                  </a:lnTo>
                  <a:lnTo>
                    <a:pt x="771" y="567"/>
                  </a:lnTo>
                  <a:lnTo>
                    <a:pt x="774" y="564"/>
                  </a:lnTo>
                  <a:lnTo>
                    <a:pt x="785" y="542"/>
                  </a:lnTo>
                  <a:lnTo>
                    <a:pt x="803" y="520"/>
                  </a:lnTo>
                  <a:lnTo>
                    <a:pt x="808" y="492"/>
                  </a:lnTo>
                  <a:lnTo>
                    <a:pt x="794" y="471"/>
                  </a:lnTo>
                  <a:lnTo>
                    <a:pt x="774" y="467"/>
                  </a:lnTo>
                  <a:lnTo>
                    <a:pt x="766" y="458"/>
                  </a:lnTo>
                  <a:lnTo>
                    <a:pt x="766" y="418"/>
                  </a:lnTo>
                  <a:lnTo>
                    <a:pt x="757" y="395"/>
                  </a:lnTo>
                  <a:lnTo>
                    <a:pt x="766" y="364"/>
                  </a:lnTo>
                  <a:lnTo>
                    <a:pt x="766" y="355"/>
                  </a:lnTo>
                  <a:lnTo>
                    <a:pt x="754" y="350"/>
                  </a:lnTo>
                  <a:lnTo>
                    <a:pt x="754" y="335"/>
                  </a:lnTo>
                  <a:lnTo>
                    <a:pt x="754" y="327"/>
                  </a:lnTo>
                  <a:lnTo>
                    <a:pt x="772" y="318"/>
                  </a:lnTo>
                  <a:lnTo>
                    <a:pt x="772" y="307"/>
                  </a:lnTo>
                  <a:lnTo>
                    <a:pt x="783" y="288"/>
                  </a:lnTo>
                  <a:lnTo>
                    <a:pt x="789" y="245"/>
                  </a:lnTo>
                  <a:lnTo>
                    <a:pt x="791" y="234"/>
                  </a:lnTo>
                  <a:lnTo>
                    <a:pt x="785" y="188"/>
                  </a:lnTo>
                  <a:lnTo>
                    <a:pt x="763" y="188"/>
                  </a:lnTo>
                  <a:lnTo>
                    <a:pt x="709" y="154"/>
                  </a:lnTo>
                  <a:lnTo>
                    <a:pt x="698" y="132"/>
                  </a:lnTo>
                  <a:lnTo>
                    <a:pt x="659" y="127"/>
                  </a:lnTo>
                  <a:lnTo>
                    <a:pt x="615" y="108"/>
                  </a:lnTo>
                  <a:lnTo>
                    <a:pt x="596" y="90"/>
                  </a:lnTo>
                  <a:lnTo>
                    <a:pt x="566" y="90"/>
                  </a:lnTo>
                  <a:lnTo>
                    <a:pt x="559" y="101"/>
                  </a:lnTo>
                  <a:lnTo>
                    <a:pt x="519" y="101"/>
                  </a:lnTo>
                  <a:lnTo>
                    <a:pt x="478" y="135"/>
                  </a:lnTo>
                  <a:lnTo>
                    <a:pt x="451" y="138"/>
                  </a:lnTo>
                  <a:lnTo>
                    <a:pt x="458" y="172"/>
                  </a:lnTo>
                  <a:lnTo>
                    <a:pt x="424" y="174"/>
                  </a:lnTo>
                  <a:lnTo>
                    <a:pt x="347" y="189"/>
                  </a:lnTo>
                  <a:lnTo>
                    <a:pt x="302" y="169"/>
                  </a:lnTo>
                  <a:lnTo>
                    <a:pt x="279" y="142"/>
                  </a:lnTo>
                  <a:lnTo>
                    <a:pt x="256" y="144"/>
                  </a:lnTo>
                  <a:lnTo>
                    <a:pt x="229" y="130"/>
                  </a:lnTo>
                  <a:lnTo>
                    <a:pt x="219" y="78"/>
                  </a:lnTo>
                  <a:lnTo>
                    <a:pt x="203" y="78"/>
                  </a:lnTo>
                  <a:lnTo>
                    <a:pt x="177" y="59"/>
                  </a:lnTo>
                  <a:lnTo>
                    <a:pt x="192" y="47"/>
                  </a:lnTo>
                  <a:lnTo>
                    <a:pt x="186" y="19"/>
                  </a:lnTo>
                  <a:lnTo>
                    <a:pt x="172" y="10"/>
                  </a:lnTo>
                  <a:lnTo>
                    <a:pt x="141" y="24"/>
                  </a:lnTo>
                  <a:lnTo>
                    <a:pt x="118" y="56"/>
                  </a:lnTo>
                  <a:lnTo>
                    <a:pt x="107" y="54"/>
                  </a:lnTo>
                  <a:lnTo>
                    <a:pt x="88" y="58"/>
                  </a:lnTo>
                  <a:lnTo>
                    <a:pt x="84" y="54"/>
                  </a:lnTo>
                  <a:lnTo>
                    <a:pt x="59" y="53"/>
                  </a:lnTo>
                  <a:lnTo>
                    <a:pt x="28" y="8"/>
                  </a:lnTo>
                  <a:lnTo>
                    <a:pt x="22" y="0"/>
                  </a:lnTo>
                  <a:lnTo>
                    <a:pt x="13" y="20"/>
                  </a:lnTo>
                  <a:lnTo>
                    <a:pt x="0" y="27"/>
                  </a:lnTo>
                  <a:lnTo>
                    <a:pt x="7" y="49"/>
                  </a:lnTo>
                  <a:lnTo>
                    <a:pt x="7" y="116"/>
                  </a:lnTo>
                  <a:lnTo>
                    <a:pt x="29" y="137"/>
                  </a:lnTo>
                  <a:lnTo>
                    <a:pt x="31" y="150"/>
                  </a:lnTo>
                  <a:lnTo>
                    <a:pt x="34" y="180"/>
                  </a:lnTo>
                  <a:lnTo>
                    <a:pt x="53" y="201"/>
                  </a:lnTo>
                  <a:lnTo>
                    <a:pt x="59" y="220"/>
                  </a:lnTo>
                  <a:lnTo>
                    <a:pt x="68" y="228"/>
                  </a:lnTo>
                  <a:lnTo>
                    <a:pt x="101" y="234"/>
                  </a:lnTo>
                  <a:lnTo>
                    <a:pt x="88" y="251"/>
                  </a:lnTo>
                  <a:lnTo>
                    <a:pt x="93" y="268"/>
                  </a:lnTo>
                  <a:lnTo>
                    <a:pt x="75" y="294"/>
                  </a:lnTo>
                  <a:lnTo>
                    <a:pt x="75" y="299"/>
                  </a:lnTo>
                  <a:lnTo>
                    <a:pt x="65" y="308"/>
                  </a:lnTo>
                  <a:lnTo>
                    <a:pt x="56" y="336"/>
                  </a:lnTo>
                  <a:lnTo>
                    <a:pt x="58" y="350"/>
                  </a:lnTo>
                  <a:lnTo>
                    <a:pt x="70" y="353"/>
                  </a:lnTo>
                  <a:lnTo>
                    <a:pt x="85" y="376"/>
                  </a:lnTo>
                  <a:lnTo>
                    <a:pt x="85" y="386"/>
                  </a:lnTo>
                  <a:lnTo>
                    <a:pt x="146" y="424"/>
                  </a:lnTo>
                  <a:lnTo>
                    <a:pt x="163" y="460"/>
                  </a:lnTo>
                  <a:lnTo>
                    <a:pt x="160" y="499"/>
                  </a:lnTo>
                  <a:lnTo>
                    <a:pt x="172" y="506"/>
                  </a:lnTo>
                  <a:lnTo>
                    <a:pt x="178" y="530"/>
                  </a:lnTo>
                  <a:lnTo>
                    <a:pt x="206" y="551"/>
                  </a:lnTo>
                  <a:lnTo>
                    <a:pt x="207" y="543"/>
                  </a:lnTo>
                  <a:lnTo>
                    <a:pt x="214" y="543"/>
                  </a:lnTo>
                  <a:lnTo>
                    <a:pt x="212" y="526"/>
                  </a:lnTo>
                  <a:lnTo>
                    <a:pt x="217" y="525"/>
                  </a:lnTo>
                  <a:lnTo>
                    <a:pt x="228" y="530"/>
                  </a:lnTo>
                  <a:lnTo>
                    <a:pt x="232" y="545"/>
                  </a:lnTo>
                  <a:lnTo>
                    <a:pt x="248" y="557"/>
                  </a:lnTo>
                  <a:lnTo>
                    <a:pt x="265" y="547"/>
                  </a:lnTo>
                  <a:lnTo>
                    <a:pt x="270" y="550"/>
                  </a:lnTo>
                  <a:lnTo>
                    <a:pt x="283" y="576"/>
                  </a:lnTo>
                  <a:lnTo>
                    <a:pt x="290" y="579"/>
                  </a:lnTo>
                  <a:lnTo>
                    <a:pt x="297" y="599"/>
                  </a:lnTo>
                  <a:lnTo>
                    <a:pt x="314" y="613"/>
                  </a:lnTo>
                  <a:lnTo>
                    <a:pt x="337" y="667"/>
                  </a:lnTo>
                  <a:lnTo>
                    <a:pt x="381" y="682"/>
                  </a:lnTo>
                  <a:lnTo>
                    <a:pt x="396" y="704"/>
                  </a:lnTo>
                  <a:lnTo>
                    <a:pt x="430" y="715"/>
                  </a:lnTo>
                  <a:lnTo>
                    <a:pt x="427" y="720"/>
                  </a:lnTo>
                  <a:lnTo>
                    <a:pt x="435" y="728"/>
                  </a:lnTo>
                  <a:lnTo>
                    <a:pt x="452" y="726"/>
                  </a:lnTo>
                  <a:lnTo>
                    <a:pt x="483" y="738"/>
                  </a:lnTo>
                  <a:lnTo>
                    <a:pt x="515" y="726"/>
                  </a:lnTo>
                  <a:lnTo>
                    <a:pt x="528" y="715"/>
                  </a:lnTo>
                  <a:lnTo>
                    <a:pt x="568" y="704"/>
                  </a:lnTo>
                  <a:lnTo>
                    <a:pt x="588" y="715"/>
                  </a:lnTo>
                  <a:lnTo>
                    <a:pt x="611" y="777"/>
                  </a:lnTo>
                  <a:lnTo>
                    <a:pt x="667" y="783"/>
                  </a:lnTo>
                  <a:lnTo>
                    <a:pt x="690" y="794"/>
                  </a:lnTo>
                  <a:lnTo>
                    <a:pt x="695" y="788"/>
                  </a:lnTo>
                  <a:lnTo>
                    <a:pt x="720" y="796"/>
                  </a:lnTo>
                  <a:lnTo>
                    <a:pt x="749" y="797"/>
                  </a:lnTo>
                  <a:lnTo>
                    <a:pt x="754" y="792"/>
                  </a:lnTo>
                  <a:lnTo>
                    <a:pt x="774" y="804"/>
                  </a:lnTo>
                  <a:lnTo>
                    <a:pt x="806" y="805"/>
                  </a:lnTo>
                  <a:close/>
                  <a:moveTo>
                    <a:pt x="554" y="714"/>
                  </a:moveTo>
                  <a:lnTo>
                    <a:pt x="536" y="715"/>
                  </a:lnTo>
                  <a:lnTo>
                    <a:pt x="514" y="737"/>
                  </a:lnTo>
                  <a:lnTo>
                    <a:pt x="536" y="729"/>
                  </a:lnTo>
                  <a:lnTo>
                    <a:pt x="554" y="714"/>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36" name="Freeform 57">
              <a:extLst>
                <a:ext uri="{FF2B5EF4-FFF2-40B4-BE49-F238E27FC236}">
                  <a16:creationId xmlns:a16="http://schemas.microsoft.com/office/drawing/2014/main" id="{DC3E9F63-8691-864D-ACD2-ACBAAD2FB9BB}"/>
                </a:ext>
              </a:extLst>
            </p:cNvPr>
            <p:cNvSpPr>
              <a:spLocks noChangeAspect="1" noEditPoints="1"/>
            </p:cNvSpPr>
            <p:nvPr/>
          </p:nvSpPr>
          <p:spPr bwMode="gray">
            <a:xfrm>
              <a:off x="5783309" y="3536168"/>
              <a:ext cx="117839" cy="107512"/>
            </a:xfrm>
            <a:custGeom>
              <a:avLst/>
              <a:gdLst>
                <a:gd name="T0" fmla="*/ 121 w 244"/>
                <a:gd name="T1" fmla="*/ 97 h 180"/>
                <a:gd name="T2" fmla="*/ 134 w 244"/>
                <a:gd name="T3" fmla="*/ 95 h 180"/>
                <a:gd name="T4" fmla="*/ 127 w 244"/>
                <a:gd name="T5" fmla="*/ 90 h 180"/>
                <a:gd name="T6" fmla="*/ 121 w 244"/>
                <a:gd name="T7" fmla="*/ 97 h 180"/>
                <a:gd name="T8" fmla="*/ 183 w 244"/>
                <a:gd name="T9" fmla="*/ 180 h 180"/>
                <a:gd name="T10" fmla="*/ 149 w 244"/>
                <a:gd name="T11" fmla="*/ 174 h 180"/>
                <a:gd name="T12" fmla="*/ 113 w 244"/>
                <a:gd name="T13" fmla="*/ 168 h 180"/>
                <a:gd name="T14" fmla="*/ 79 w 244"/>
                <a:gd name="T15" fmla="*/ 161 h 180"/>
                <a:gd name="T16" fmla="*/ 44 w 244"/>
                <a:gd name="T17" fmla="*/ 156 h 180"/>
                <a:gd name="T18" fmla="*/ 30 w 244"/>
                <a:gd name="T19" fmla="*/ 114 h 180"/>
                <a:gd name="T20" fmla="*/ 3 w 244"/>
                <a:gd name="T21" fmla="*/ 90 h 180"/>
                <a:gd name="T22" fmla="*/ 0 w 244"/>
                <a:gd name="T23" fmla="*/ 78 h 180"/>
                <a:gd name="T24" fmla="*/ 17 w 244"/>
                <a:gd name="T25" fmla="*/ 72 h 180"/>
                <a:gd name="T26" fmla="*/ 14 w 244"/>
                <a:gd name="T27" fmla="*/ 90 h 180"/>
                <a:gd name="T28" fmla="*/ 30 w 244"/>
                <a:gd name="T29" fmla="*/ 90 h 180"/>
                <a:gd name="T30" fmla="*/ 36 w 244"/>
                <a:gd name="T31" fmla="*/ 104 h 180"/>
                <a:gd name="T32" fmla="*/ 59 w 244"/>
                <a:gd name="T33" fmla="*/ 106 h 180"/>
                <a:gd name="T34" fmla="*/ 75 w 244"/>
                <a:gd name="T35" fmla="*/ 95 h 180"/>
                <a:gd name="T36" fmla="*/ 135 w 244"/>
                <a:gd name="T37" fmla="*/ 100 h 180"/>
                <a:gd name="T38" fmla="*/ 155 w 244"/>
                <a:gd name="T39" fmla="*/ 89 h 180"/>
                <a:gd name="T40" fmla="*/ 155 w 244"/>
                <a:gd name="T41" fmla="*/ 81 h 180"/>
                <a:gd name="T42" fmla="*/ 163 w 244"/>
                <a:gd name="T43" fmla="*/ 80 h 180"/>
                <a:gd name="T44" fmla="*/ 166 w 244"/>
                <a:gd name="T45" fmla="*/ 68 h 180"/>
                <a:gd name="T46" fmla="*/ 200 w 244"/>
                <a:gd name="T47" fmla="*/ 39 h 180"/>
                <a:gd name="T48" fmla="*/ 231 w 244"/>
                <a:gd name="T49" fmla="*/ 0 h 180"/>
                <a:gd name="T50" fmla="*/ 232 w 244"/>
                <a:gd name="T51" fmla="*/ 19 h 180"/>
                <a:gd name="T52" fmla="*/ 240 w 244"/>
                <a:gd name="T53" fmla="*/ 21 h 180"/>
                <a:gd name="T54" fmla="*/ 244 w 244"/>
                <a:gd name="T55" fmla="*/ 61 h 180"/>
                <a:gd name="T56" fmla="*/ 231 w 244"/>
                <a:gd name="T57" fmla="*/ 61 h 180"/>
                <a:gd name="T58" fmla="*/ 215 w 244"/>
                <a:gd name="T59" fmla="*/ 61 h 180"/>
                <a:gd name="T60" fmla="*/ 222 w 244"/>
                <a:gd name="T61" fmla="*/ 81 h 180"/>
                <a:gd name="T62" fmla="*/ 229 w 244"/>
                <a:gd name="T63" fmla="*/ 100 h 180"/>
                <a:gd name="T64" fmla="*/ 202 w 244"/>
                <a:gd name="T65" fmla="*/ 110 h 180"/>
                <a:gd name="T66" fmla="*/ 197 w 244"/>
                <a:gd name="T67" fmla="*/ 141 h 180"/>
                <a:gd name="T68" fmla="*/ 194 w 244"/>
                <a:gd name="T69" fmla="*/ 171 h 180"/>
                <a:gd name="T70" fmla="*/ 183 w 244"/>
                <a:gd name="T7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4" h="180">
                  <a:moveTo>
                    <a:pt x="121" y="97"/>
                  </a:moveTo>
                  <a:lnTo>
                    <a:pt x="134" y="95"/>
                  </a:lnTo>
                  <a:lnTo>
                    <a:pt x="127" y="90"/>
                  </a:lnTo>
                  <a:lnTo>
                    <a:pt x="121" y="97"/>
                  </a:lnTo>
                  <a:close/>
                  <a:moveTo>
                    <a:pt x="183" y="180"/>
                  </a:moveTo>
                  <a:lnTo>
                    <a:pt x="149" y="174"/>
                  </a:lnTo>
                  <a:lnTo>
                    <a:pt x="113" y="168"/>
                  </a:lnTo>
                  <a:lnTo>
                    <a:pt x="79" y="161"/>
                  </a:lnTo>
                  <a:lnTo>
                    <a:pt x="44" y="156"/>
                  </a:lnTo>
                  <a:lnTo>
                    <a:pt x="30" y="114"/>
                  </a:lnTo>
                  <a:lnTo>
                    <a:pt x="3" y="90"/>
                  </a:lnTo>
                  <a:lnTo>
                    <a:pt x="0" y="78"/>
                  </a:lnTo>
                  <a:lnTo>
                    <a:pt x="17" y="72"/>
                  </a:lnTo>
                  <a:lnTo>
                    <a:pt x="14" y="90"/>
                  </a:lnTo>
                  <a:lnTo>
                    <a:pt x="30" y="90"/>
                  </a:lnTo>
                  <a:lnTo>
                    <a:pt x="36" y="104"/>
                  </a:lnTo>
                  <a:lnTo>
                    <a:pt x="59" y="106"/>
                  </a:lnTo>
                  <a:lnTo>
                    <a:pt x="75" y="95"/>
                  </a:lnTo>
                  <a:lnTo>
                    <a:pt x="135" y="100"/>
                  </a:lnTo>
                  <a:lnTo>
                    <a:pt x="155" y="89"/>
                  </a:lnTo>
                  <a:lnTo>
                    <a:pt x="155" y="81"/>
                  </a:lnTo>
                  <a:lnTo>
                    <a:pt x="163" y="80"/>
                  </a:lnTo>
                  <a:lnTo>
                    <a:pt x="166" y="68"/>
                  </a:lnTo>
                  <a:lnTo>
                    <a:pt x="200" y="39"/>
                  </a:lnTo>
                  <a:lnTo>
                    <a:pt x="231" y="0"/>
                  </a:lnTo>
                  <a:lnTo>
                    <a:pt x="232" y="19"/>
                  </a:lnTo>
                  <a:lnTo>
                    <a:pt x="240" y="21"/>
                  </a:lnTo>
                  <a:lnTo>
                    <a:pt x="244" y="61"/>
                  </a:lnTo>
                  <a:lnTo>
                    <a:pt x="231" y="61"/>
                  </a:lnTo>
                  <a:lnTo>
                    <a:pt x="215" y="61"/>
                  </a:lnTo>
                  <a:lnTo>
                    <a:pt x="222" y="81"/>
                  </a:lnTo>
                  <a:lnTo>
                    <a:pt x="229" y="100"/>
                  </a:lnTo>
                  <a:lnTo>
                    <a:pt x="202" y="110"/>
                  </a:lnTo>
                  <a:lnTo>
                    <a:pt x="197" y="141"/>
                  </a:lnTo>
                  <a:lnTo>
                    <a:pt x="194" y="171"/>
                  </a:lnTo>
                  <a:lnTo>
                    <a:pt x="183" y="18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37" name="Freeform 58">
              <a:extLst>
                <a:ext uri="{FF2B5EF4-FFF2-40B4-BE49-F238E27FC236}">
                  <a16:creationId xmlns:a16="http://schemas.microsoft.com/office/drawing/2014/main" id="{8C79ADE2-9701-0240-98D0-7478238DE9B1}"/>
                </a:ext>
              </a:extLst>
            </p:cNvPr>
            <p:cNvSpPr>
              <a:spLocks noChangeAspect="1" noEditPoints="1"/>
            </p:cNvSpPr>
            <p:nvPr/>
          </p:nvSpPr>
          <p:spPr bwMode="gray">
            <a:xfrm>
              <a:off x="6611370" y="3524652"/>
              <a:ext cx="108284" cy="165110"/>
            </a:xfrm>
            <a:custGeom>
              <a:avLst/>
              <a:gdLst>
                <a:gd name="T0" fmla="*/ 203 w 220"/>
                <a:gd name="T1" fmla="*/ 280 h 280"/>
                <a:gd name="T2" fmla="*/ 204 w 220"/>
                <a:gd name="T3" fmla="*/ 258 h 280"/>
                <a:gd name="T4" fmla="*/ 210 w 220"/>
                <a:gd name="T5" fmla="*/ 255 h 280"/>
                <a:gd name="T6" fmla="*/ 220 w 220"/>
                <a:gd name="T7" fmla="*/ 258 h 280"/>
                <a:gd name="T8" fmla="*/ 218 w 220"/>
                <a:gd name="T9" fmla="*/ 231 h 280"/>
                <a:gd name="T10" fmla="*/ 212 w 220"/>
                <a:gd name="T11" fmla="*/ 179 h 280"/>
                <a:gd name="T12" fmla="*/ 196 w 220"/>
                <a:gd name="T13" fmla="*/ 138 h 280"/>
                <a:gd name="T14" fmla="*/ 190 w 220"/>
                <a:gd name="T15" fmla="*/ 138 h 280"/>
                <a:gd name="T16" fmla="*/ 182 w 220"/>
                <a:gd name="T17" fmla="*/ 150 h 280"/>
                <a:gd name="T18" fmla="*/ 172 w 220"/>
                <a:gd name="T19" fmla="*/ 175 h 280"/>
                <a:gd name="T20" fmla="*/ 162 w 220"/>
                <a:gd name="T21" fmla="*/ 162 h 280"/>
                <a:gd name="T22" fmla="*/ 153 w 220"/>
                <a:gd name="T23" fmla="*/ 161 h 280"/>
                <a:gd name="T24" fmla="*/ 147 w 220"/>
                <a:gd name="T25" fmla="*/ 131 h 280"/>
                <a:gd name="T26" fmla="*/ 149 w 220"/>
                <a:gd name="T27" fmla="*/ 125 h 280"/>
                <a:gd name="T28" fmla="*/ 179 w 220"/>
                <a:gd name="T29" fmla="*/ 102 h 280"/>
                <a:gd name="T30" fmla="*/ 203 w 220"/>
                <a:gd name="T31" fmla="*/ 72 h 280"/>
                <a:gd name="T32" fmla="*/ 170 w 220"/>
                <a:gd name="T33" fmla="*/ 62 h 280"/>
                <a:gd name="T34" fmla="*/ 98 w 220"/>
                <a:gd name="T35" fmla="*/ 62 h 280"/>
                <a:gd name="T36" fmla="*/ 85 w 220"/>
                <a:gd name="T37" fmla="*/ 50 h 280"/>
                <a:gd name="T38" fmla="*/ 76 w 220"/>
                <a:gd name="T39" fmla="*/ 14 h 280"/>
                <a:gd name="T40" fmla="*/ 69 w 220"/>
                <a:gd name="T41" fmla="*/ 26 h 280"/>
                <a:gd name="T42" fmla="*/ 60 w 220"/>
                <a:gd name="T43" fmla="*/ 21 h 280"/>
                <a:gd name="T44" fmla="*/ 57 w 220"/>
                <a:gd name="T45" fmla="*/ 25 h 280"/>
                <a:gd name="T46" fmla="*/ 49 w 220"/>
                <a:gd name="T47" fmla="*/ 4 h 280"/>
                <a:gd name="T48" fmla="*/ 43 w 220"/>
                <a:gd name="T49" fmla="*/ 3 h 280"/>
                <a:gd name="T50" fmla="*/ 40 w 220"/>
                <a:gd name="T51" fmla="*/ 20 h 280"/>
                <a:gd name="T52" fmla="*/ 26 w 220"/>
                <a:gd name="T53" fmla="*/ 0 h 280"/>
                <a:gd name="T54" fmla="*/ 8 w 220"/>
                <a:gd name="T55" fmla="*/ 31 h 280"/>
                <a:gd name="T56" fmla="*/ 14 w 220"/>
                <a:gd name="T57" fmla="*/ 46 h 280"/>
                <a:gd name="T58" fmla="*/ 32 w 220"/>
                <a:gd name="T59" fmla="*/ 50 h 280"/>
                <a:gd name="T60" fmla="*/ 35 w 220"/>
                <a:gd name="T61" fmla="*/ 62 h 280"/>
                <a:gd name="T62" fmla="*/ 18 w 220"/>
                <a:gd name="T63" fmla="*/ 63 h 280"/>
                <a:gd name="T64" fmla="*/ 15 w 220"/>
                <a:gd name="T65" fmla="*/ 71 h 280"/>
                <a:gd name="T66" fmla="*/ 5 w 220"/>
                <a:gd name="T67" fmla="*/ 74 h 280"/>
                <a:gd name="T68" fmla="*/ 0 w 220"/>
                <a:gd name="T69" fmla="*/ 85 h 280"/>
                <a:gd name="T70" fmla="*/ 28 w 220"/>
                <a:gd name="T71" fmla="*/ 110 h 280"/>
                <a:gd name="T72" fmla="*/ 26 w 220"/>
                <a:gd name="T73" fmla="*/ 144 h 280"/>
                <a:gd name="T74" fmla="*/ 35 w 220"/>
                <a:gd name="T75" fmla="*/ 167 h 280"/>
                <a:gd name="T76" fmla="*/ 34 w 220"/>
                <a:gd name="T77" fmla="*/ 189 h 280"/>
                <a:gd name="T78" fmla="*/ 40 w 220"/>
                <a:gd name="T79" fmla="*/ 201 h 280"/>
                <a:gd name="T80" fmla="*/ 47 w 220"/>
                <a:gd name="T81" fmla="*/ 244 h 280"/>
                <a:gd name="T82" fmla="*/ 79 w 220"/>
                <a:gd name="T83" fmla="*/ 233 h 280"/>
                <a:gd name="T84" fmla="*/ 82 w 220"/>
                <a:gd name="T85" fmla="*/ 240 h 280"/>
                <a:gd name="T86" fmla="*/ 96 w 220"/>
                <a:gd name="T87" fmla="*/ 223 h 280"/>
                <a:gd name="T88" fmla="*/ 108 w 220"/>
                <a:gd name="T89" fmla="*/ 236 h 280"/>
                <a:gd name="T90" fmla="*/ 125 w 220"/>
                <a:gd name="T91" fmla="*/ 215 h 280"/>
                <a:gd name="T92" fmla="*/ 122 w 220"/>
                <a:gd name="T93" fmla="*/ 194 h 280"/>
                <a:gd name="T94" fmla="*/ 133 w 220"/>
                <a:gd name="T95" fmla="*/ 179 h 280"/>
                <a:gd name="T96" fmla="*/ 145 w 220"/>
                <a:gd name="T97" fmla="*/ 192 h 280"/>
                <a:gd name="T98" fmla="*/ 166 w 220"/>
                <a:gd name="T99" fmla="*/ 187 h 280"/>
                <a:gd name="T100" fmla="*/ 170 w 220"/>
                <a:gd name="T101" fmla="*/ 192 h 280"/>
                <a:gd name="T102" fmla="*/ 186 w 220"/>
                <a:gd name="T103" fmla="*/ 215 h 280"/>
                <a:gd name="T104" fmla="*/ 196 w 220"/>
                <a:gd name="T105" fmla="*/ 269 h 280"/>
                <a:gd name="T106" fmla="*/ 203 w 220"/>
                <a:gd name="T107" fmla="*/ 280 h 280"/>
                <a:gd name="T108" fmla="*/ 127 w 220"/>
                <a:gd name="T109" fmla="*/ 192 h 280"/>
                <a:gd name="T110" fmla="*/ 128 w 220"/>
                <a:gd name="T111" fmla="*/ 209 h 280"/>
                <a:gd name="T112" fmla="*/ 133 w 220"/>
                <a:gd name="T113" fmla="*/ 212 h 280"/>
                <a:gd name="T114" fmla="*/ 139 w 220"/>
                <a:gd name="T115" fmla="*/ 199 h 280"/>
                <a:gd name="T116" fmla="*/ 133 w 220"/>
                <a:gd name="T117" fmla="*/ 190 h 280"/>
                <a:gd name="T118" fmla="*/ 127 w 220"/>
                <a:gd name="T119" fmla="*/ 19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0" h="280">
                  <a:moveTo>
                    <a:pt x="203" y="280"/>
                  </a:moveTo>
                  <a:lnTo>
                    <a:pt x="204" y="258"/>
                  </a:lnTo>
                  <a:lnTo>
                    <a:pt x="210" y="255"/>
                  </a:lnTo>
                  <a:lnTo>
                    <a:pt x="220" y="258"/>
                  </a:lnTo>
                  <a:lnTo>
                    <a:pt x="218" y="231"/>
                  </a:lnTo>
                  <a:lnTo>
                    <a:pt x="212" y="179"/>
                  </a:lnTo>
                  <a:lnTo>
                    <a:pt x="196" y="138"/>
                  </a:lnTo>
                  <a:lnTo>
                    <a:pt x="190" y="138"/>
                  </a:lnTo>
                  <a:lnTo>
                    <a:pt x="182" y="150"/>
                  </a:lnTo>
                  <a:lnTo>
                    <a:pt x="172" y="175"/>
                  </a:lnTo>
                  <a:lnTo>
                    <a:pt x="162" y="162"/>
                  </a:lnTo>
                  <a:lnTo>
                    <a:pt x="153" y="161"/>
                  </a:lnTo>
                  <a:lnTo>
                    <a:pt x="147" y="131"/>
                  </a:lnTo>
                  <a:lnTo>
                    <a:pt x="149" y="125"/>
                  </a:lnTo>
                  <a:lnTo>
                    <a:pt x="179" y="102"/>
                  </a:lnTo>
                  <a:lnTo>
                    <a:pt x="203" y="72"/>
                  </a:lnTo>
                  <a:lnTo>
                    <a:pt x="170" y="62"/>
                  </a:lnTo>
                  <a:lnTo>
                    <a:pt x="98" y="62"/>
                  </a:lnTo>
                  <a:lnTo>
                    <a:pt x="85" y="50"/>
                  </a:lnTo>
                  <a:lnTo>
                    <a:pt x="76" y="14"/>
                  </a:lnTo>
                  <a:lnTo>
                    <a:pt x="69" y="26"/>
                  </a:lnTo>
                  <a:lnTo>
                    <a:pt x="60" y="21"/>
                  </a:lnTo>
                  <a:lnTo>
                    <a:pt x="57" y="25"/>
                  </a:lnTo>
                  <a:lnTo>
                    <a:pt x="49" y="4"/>
                  </a:lnTo>
                  <a:lnTo>
                    <a:pt x="43" y="3"/>
                  </a:lnTo>
                  <a:lnTo>
                    <a:pt x="40" y="20"/>
                  </a:lnTo>
                  <a:lnTo>
                    <a:pt x="26" y="0"/>
                  </a:lnTo>
                  <a:lnTo>
                    <a:pt x="8" y="31"/>
                  </a:lnTo>
                  <a:lnTo>
                    <a:pt x="14" y="46"/>
                  </a:lnTo>
                  <a:lnTo>
                    <a:pt x="32" y="50"/>
                  </a:lnTo>
                  <a:lnTo>
                    <a:pt x="35" y="62"/>
                  </a:lnTo>
                  <a:lnTo>
                    <a:pt x="18" y="63"/>
                  </a:lnTo>
                  <a:lnTo>
                    <a:pt x="15" y="71"/>
                  </a:lnTo>
                  <a:lnTo>
                    <a:pt x="5" y="74"/>
                  </a:lnTo>
                  <a:lnTo>
                    <a:pt x="0" y="85"/>
                  </a:lnTo>
                  <a:lnTo>
                    <a:pt x="28" y="110"/>
                  </a:lnTo>
                  <a:lnTo>
                    <a:pt x="26" y="144"/>
                  </a:lnTo>
                  <a:lnTo>
                    <a:pt x="35" y="167"/>
                  </a:lnTo>
                  <a:lnTo>
                    <a:pt x="34" y="189"/>
                  </a:lnTo>
                  <a:lnTo>
                    <a:pt x="40" y="201"/>
                  </a:lnTo>
                  <a:lnTo>
                    <a:pt x="47" y="244"/>
                  </a:lnTo>
                  <a:lnTo>
                    <a:pt x="79" y="233"/>
                  </a:lnTo>
                  <a:lnTo>
                    <a:pt x="82" y="240"/>
                  </a:lnTo>
                  <a:lnTo>
                    <a:pt x="96" y="223"/>
                  </a:lnTo>
                  <a:lnTo>
                    <a:pt x="108" y="236"/>
                  </a:lnTo>
                  <a:lnTo>
                    <a:pt x="125" y="215"/>
                  </a:lnTo>
                  <a:lnTo>
                    <a:pt x="122" y="194"/>
                  </a:lnTo>
                  <a:lnTo>
                    <a:pt x="133" y="179"/>
                  </a:lnTo>
                  <a:lnTo>
                    <a:pt x="145" y="192"/>
                  </a:lnTo>
                  <a:lnTo>
                    <a:pt x="166" y="187"/>
                  </a:lnTo>
                  <a:lnTo>
                    <a:pt x="170" y="192"/>
                  </a:lnTo>
                  <a:lnTo>
                    <a:pt x="186" y="215"/>
                  </a:lnTo>
                  <a:lnTo>
                    <a:pt x="196" y="269"/>
                  </a:lnTo>
                  <a:lnTo>
                    <a:pt x="203" y="280"/>
                  </a:lnTo>
                  <a:close/>
                  <a:moveTo>
                    <a:pt x="127" y="192"/>
                  </a:moveTo>
                  <a:lnTo>
                    <a:pt x="128" y="209"/>
                  </a:lnTo>
                  <a:lnTo>
                    <a:pt x="133" y="212"/>
                  </a:lnTo>
                  <a:lnTo>
                    <a:pt x="139" y="199"/>
                  </a:lnTo>
                  <a:lnTo>
                    <a:pt x="133" y="190"/>
                  </a:lnTo>
                  <a:lnTo>
                    <a:pt x="127" y="192"/>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38" name="Freeform 59">
              <a:extLst>
                <a:ext uri="{FF2B5EF4-FFF2-40B4-BE49-F238E27FC236}">
                  <a16:creationId xmlns:a16="http://schemas.microsoft.com/office/drawing/2014/main" id="{3F4F36F6-1B0D-0A4D-AC78-87464F20DEB0}"/>
                </a:ext>
              </a:extLst>
            </p:cNvPr>
            <p:cNvSpPr>
              <a:spLocks noChangeAspect="1" noEditPoints="1"/>
            </p:cNvSpPr>
            <p:nvPr/>
          </p:nvSpPr>
          <p:spPr bwMode="gray">
            <a:xfrm>
              <a:off x="5806600" y="3579750"/>
              <a:ext cx="175166" cy="238065"/>
            </a:xfrm>
            <a:custGeom>
              <a:avLst/>
              <a:gdLst>
                <a:gd name="T0" fmla="*/ 171 w 359"/>
                <a:gd name="T1" fmla="*/ 144 h 407"/>
                <a:gd name="T2" fmla="*/ 162 w 359"/>
                <a:gd name="T3" fmla="*/ 170 h 407"/>
                <a:gd name="T4" fmla="*/ 156 w 359"/>
                <a:gd name="T5" fmla="*/ 193 h 407"/>
                <a:gd name="T6" fmla="*/ 147 w 359"/>
                <a:gd name="T7" fmla="*/ 218 h 407"/>
                <a:gd name="T8" fmla="*/ 139 w 359"/>
                <a:gd name="T9" fmla="*/ 243 h 407"/>
                <a:gd name="T10" fmla="*/ 105 w 359"/>
                <a:gd name="T11" fmla="*/ 254 h 407"/>
                <a:gd name="T12" fmla="*/ 69 w 359"/>
                <a:gd name="T13" fmla="*/ 266 h 407"/>
                <a:gd name="T14" fmla="*/ 35 w 359"/>
                <a:gd name="T15" fmla="*/ 278 h 407"/>
                <a:gd name="T16" fmla="*/ 0 w 359"/>
                <a:gd name="T17" fmla="*/ 291 h 407"/>
                <a:gd name="T18" fmla="*/ 24 w 359"/>
                <a:gd name="T19" fmla="*/ 349 h 407"/>
                <a:gd name="T20" fmla="*/ 48 w 359"/>
                <a:gd name="T21" fmla="*/ 407 h 407"/>
                <a:gd name="T22" fmla="*/ 99 w 359"/>
                <a:gd name="T23" fmla="*/ 388 h 407"/>
                <a:gd name="T24" fmla="*/ 136 w 359"/>
                <a:gd name="T25" fmla="*/ 390 h 407"/>
                <a:gd name="T26" fmla="*/ 151 w 359"/>
                <a:gd name="T27" fmla="*/ 376 h 407"/>
                <a:gd name="T28" fmla="*/ 151 w 359"/>
                <a:gd name="T29" fmla="*/ 362 h 407"/>
                <a:gd name="T30" fmla="*/ 164 w 359"/>
                <a:gd name="T31" fmla="*/ 347 h 407"/>
                <a:gd name="T32" fmla="*/ 204 w 359"/>
                <a:gd name="T33" fmla="*/ 340 h 407"/>
                <a:gd name="T34" fmla="*/ 221 w 359"/>
                <a:gd name="T35" fmla="*/ 303 h 407"/>
                <a:gd name="T36" fmla="*/ 238 w 359"/>
                <a:gd name="T37" fmla="*/ 291 h 407"/>
                <a:gd name="T38" fmla="*/ 266 w 359"/>
                <a:gd name="T39" fmla="*/ 288 h 407"/>
                <a:gd name="T40" fmla="*/ 264 w 359"/>
                <a:gd name="T41" fmla="*/ 238 h 407"/>
                <a:gd name="T42" fmla="*/ 276 w 359"/>
                <a:gd name="T43" fmla="*/ 224 h 407"/>
                <a:gd name="T44" fmla="*/ 286 w 359"/>
                <a:gd name="T45" fmla="*/ 213 h 407"/>
                <a:gd name="T46" fmla="*/ 292 w 359"/>
                <a:gd name="T47" fmla="*/ 221 h 407"/>
                <a:gd name="T48" fmla="*/ 300 w 359"/>
                <a:gd name="T49" fmla="*/ 220 h 407"/>
                <a:gd name="T50" fmla="*/ 317 w 359"/>
                <a:gd name="T51" fmla="*/ 190 h 407"/>
                <a:gd name="T52" fmla="*/ 351 w 359"/>
                <a:gd name="T53" fmla="*/ 149 h 407"/>
                <a:gd name="T54" fmla="*/ 359 w 359"/>
                <a:gd name="T55" fmla="*/ 122 h 407"/>
                <a:gd name="T56" fmla="*/ 334 w 359"/>
                <a:gd name="T57" fmla="*/ 104 h 407"/>
                <a:gd name="T58" fmla="*/ 308 w 359"/>
                <a:gd name="T59" fmla="*/ 66 h 407"/>
                <a:gd name="T60" fmla="*/ 261 w 359"/>
                <a:gd name="T61" fmla="*/ 53 h 407"/>
                <a:gd name="T62" fmla="*/ 224 w 359"/>
                <a:gd name="T63" fmla="*/ 34 h 407"/>
                <a:gd name="T64" fmla="*/ 204 w 359"/>
                <a:gd name="T65" fmla="*/ 11 h 407"/>
                <a:gd name="T66" fmla="*/ 200 w 359"/>
                <a:gd name="T67" fmla="*/ 0 h 407"/>
                <a:gd name="T68" fmla="*/ 185 w 359"/>
                <a:gd name="T69" fmla="*/ 0 h 407"/>
                <a:gd name="T70" fmla="*/ 171 w 359"/>
                <a:gd name="T71" fmla="*/ 0 h 407"/>
                <a:gd name="T72" fmla="*/ 178 w 359"/>
                <a:gd name="T73" fmla="*/ 20 h 407"/>
                <a:gd name="T74" fmla="*/ 185 w 359"/>
                <a:gd name="T75" fmla="*/ 39 h 407"/>
                <a:gd name="T76" fmla="*/ 158 w 359"/>
                <a:gd name="T77" fmla="*/ 49 h 407"/>
                <a:gd name="T78" fmla="*/ 153 w 359"/>
                <a:gd name="T79" fmla="*/ 80 h 407"/>
                <a:gd name="T80" fmla="*/ 150 w 359"/>
                <a:gd name="T81" fmla="*/ 110 h 407"/>
                <a:gd name="T82" fmla="*/ 171 w 359"/>
                <a:gd name="T83" fmla="*/ 144 h 407"/>
                <a:gd name="T84" fmla="*/ 305 w 359"/>
                <a:gd name="T85" fmla="*/ 230 h 407"/>
                <a:gd name="T86" fmla="*/ 318 w 359"/>
                <a:gd name="T87" fmla="*/ 215 h 407"/>
                <a:gd name="T88" fmla="*/ 317 w 359"/>
                <a:gd name="T89" fmla="*/ 209 h 407"/>
                <a:gd name="T90" fmla="*/ 306 w 359"/>
                <a:gd name="T91" fmla="*/ 221 h 407"/>
                <a:gd name="T92" fmla="*/ 305 w 359"/>
                <a:gd name="T93" fmla="*/ 23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9" h="407">
                  <a:moveTo>
                    <a:pt x="171" y="144"/>
                  </a:moveTo>
                  <a:lnTo>
                    <a:pt x="162" y="170"/>
                  </a:lnTo>
                  <a:lnTo>
                    <a:pt x="156" y="193"/>
                  </a:lnTo>
                  <a:lnTo>
                    <a:pt x="147" y="218"/>
                  </a:lnTo>
                  <a:lnTo>
                    <a:pt x="139" y="243"/>
                  </a:lnTo>
                  <a:lnTo>
                    <a:pt x="105" y="254"/>
                  </a:lnTo>
                  <a:lnTo>
                    <a:pt x="69" y="266"/>
                  </a:lnTo>
                  <a:lnTo>
                    <a:pt x="35" y="278"/>
                  </a:lnTo>
                  <a:lnTo>
                    <a:pt x="0" y="291"/>
                  </a:lnTo>
                  <a:lnTo>
                    <a:pt x="24" y="349"/>
                  </a:lnTo>
                  <a:lnTo>
                    <a:pt x="48" y="407"/>
                  </a:lnTo>
                  <a:lnTo>
                    <a:pt x="99" y="388"/>
                  </a:lnTo>
                  <a:lnTo>
                    <a:pt x="136" y="390"/>
                  </a:lnTo>
                  <a:lnTo>
                    <a:pt x="151" y="376"/>
                  </a:lnTo>
                  <a:lnTo>
                    <a:pt x="151" y="362"/>
                  </a:lnTo>
                  <a:lnTo>
                    <a:pt x="164" y="347"/>
                  </a:lnTo>
                  <a:lnTo>
                    <a:pt x="204" y="340"/>
                  </a:lnTo>
                  <a:lnTo>
                    <a:pt x="221" y="303"/>
                  </a:lnTo>
                  <a:lnTo>
                    <a:pt x="238" y="291"/>
                  </a:lnTo>
                  <a:lnTo>
                    <a:pt x="266" y="288"/>
                  </a:lnTo>
                  <a:lnTo>
                    <a:pt x="264" y="238"/>
                  </a:lnTo>
                  <a:lnTo>
                    <a:pt x="276" y="224"/>
                  </a:lnTo>
                  <a:lnTo>
                    <a:pt x="286" y="213"/>
                  </a:lnTo>
                  <a:lnTo>
                    <a:pt x="292" y="221"/>
                  </a:lnTo>
                  <a:lnTo>
                    <a:pt x="300" y="220"/>
                  </a:lnTo>
                  <a:lnTo>
                    <a:pt x="317" y="190"/>
                  </a:lnTo>
                  <a:lnTo>
                    <a:pt x="351" y="149"/>
                  </a:lnTo>
                  <a:lnTo>
                    <a:pt x="359" y="122"/>
                  </a:lnTo>
                  <a:lnTo>
                    <a:pt x="334" y="104"/>
                  </a:lnTo>
                  <a:lnTo>
                    <a:pt x="308" y="66"/>
                  </a:lnTo>
                  <a:lnTo>
                    <a:pt x="261" y="53"/>
                  </a:lnTo>
                  <a:lnTo>
                    <a:pt x="224" y="34"/>
                  </a:lnTo>
                  <a:lnTo>
                    <a:pt x="204" y="11"/>
                  </a:lnTo>
                  <a:lnTo>
                    <a:pt x="200" y="0"/>
                  </a:lnTo>
                  <a:lnTo>
                    <a:pt x="185" y="0"/>
                  </a:lnTo>
                  <a:lnTo>
                    <a:pt x="171" y="0"/>
                  </a:lnTo>
                  <a:lnTo>
                    <a:pt x="178" y="20"/>
                  </a:lnTo>
                  <a:lnTo>
                    <a:pt x="185" y="39"/>
                  </a:lnTo>
                  <a:lnTo>
                    <a:pt x="158" y="49"/>
                  </a:lnTo>
                  <a:lnTo>
                    <a:pt x="153" y="80"/>
                  </a:lnTo>
                  <a:lnTo>
                    <a:pt x="150" y="110"/>
                  </a:lnTo>
                  <a:lnTo>
                    <a:pt x="171" y="144"/>
                  </a:lnTo>
                  <a:close/>
                  <a:moveTo>
                    <a:pt x="305" y="230"/>
                  </a:moveTo>
                  <a:lnTo>
                    <a:pt x="318" y="215"/>
                  </a:lnTo>
                  <a:lnTo>
                    <a:pt x="317" y="209"/>
                  </a:lnTo>
                  <a:lnTo>
                    <a:pt x="306" y="221"/>
                  </a:lnTo>
                  <a:lnTo>
                    <a:pt x="305" y="23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339" name="Freeform 60">
              <a:extLst>
                <a:ext uri="{FF2B5EF4-FFF2-40B4-BE49-F238E27FC236}">
                  <a16:creationId xmlns:a16="http://schemas.microsoft.com/office/drawing/2014/main" id="{33AD8D7A-CDAA-434B-B15D-3DB30AC13F73}"/>
                </a:ext>
              </a:extLst>
            </p:cNvPr>
            <p:cNvSpPr>
              <a:spLocks noChangeAspect="1" noEditPoints="1"/>
            </p:cNvSpPr>
            <p:nvPr/>
          </p:nvSpPr>
          <p:spPr bwMode="gray">
            <a:xfrm>
              <a:off x="5593811" y="3743515"/>
              <a:ext cx="267528" cy="188148"/>
            </a:xfrm>
            <a:custGeom>
              <a:avLst/>
              <a:gdLst>
                <a:gd name="T0" fmla="*/ 432 w 549"/>
                <a:gd name="T1" fmla="*/ 0 h 320"/>
                <a:gd name="T2" fmla="*/ 396 w 549"/>
                <a:gd name="T3" fmla="*/ 9 h 320"/>
                <a:gd name="T4" fmla="*/ 359 w 549"/>
                <a:gd name="T5" fmla="*/ 17 h 320"/>
                <a:gd name="T6" fmla="*/ 322 w 549"/>
                <a:gd name="T7" fmla="*/ 26 h 320"/>
                <a:gd name="T8" fmla="*/ 285 w 549"/>
                <a:gd name="T9" fmla="*/ 34 h 320"/>
                <a:gd name="T10" fmla="*/ 256 w 549"/>
                <a:gd name="T11" fmla="*/ 66 h 320"/>
                <a:gd name="T12" fmla="*/ 227 w 549"/>
                <a:gd name="T13" fmla="*/ 99 h 320"/>
                <a:gd name="T14" fmla="*/ 198 w 549"/>
                <a:gd name="T15" fmla="*/ 131 h 320"/>
                <a:gd name="T16" fmla="*/ 170 w 549"/>
                <a:gd name="T17" fmla="*/ 162 h 320"/>
                <a:gd name="T18" fmla="*/ 170 w 549"/>
                <a:gd name="T19" fmla="*/ 110 h 320"/>
                <a:gd name="T20" fmla="*/ 127 w 549"/>
                <a:gd name="T21" fmla="*/ 97 h 320"/>
                <a:gd name="T22" fmla="*/ 85 w 549"/>
                <a:gd name="T23" fmla="*/ 82 h 320"/>
                <a:gd name="T24" fmla="*/ 37 w 549"/>
                <a:gd name="T25" fmla="*/ 94 h 320"/>
                <a:gd name="T26" fmla="*/ 19 w 549"/>
                <a:gd name="T27" fmla="*/ 108 h 320"/>
                <a:gd name="T28" fmla="*/ 12 w 549"/>
                <a:gd name="T29" fmla="*/ 121 h 320"/>
                <a:gd name="T30" fmla="*/ 3 w 549"/>
                <a:gd name="T31" fmla="*/ 124 h 320"/>
                <a:gd name="T32" fmla="*/ 7 w 549"/>
                <a:gd name="T33" fmla="*/ 150 h 320"/>
                <a:gd name="T34" fmla="*/ 2 w 549"/>
                <a:gd name="T35" fmla="*/ 158 h 320"/>
                <a:gd name="T36" fmla="*/ 5 w 549"/>
                <a:gd name="T37" fmla="*/ 176 h 320"/>
                <a:gd name="T38" fmla="*/ 0 w 549"/>
                <a:gd name="T39" fmla="*/ 178 h 320"/>
                <a:gd name="T40" fmla="*/ 11 w 549"/>
                <a:gd name="T41" fmla="*/ 190 h 320"/>
                <a:gd name="T42" fmla="*/ 20 w 549"/>
                <a:gd name="T43" fmla="*/ 238 h 320"/>
                <a:gd name="T44" fmla="*/ 28 w 549"/>
                <a:gd name="T45" fmla="*/ 247 h 320"/>
                <a:gd name="T46" fmla="*/ 29 w 549"/>
                <a:gd name="T47" fmla="*/ 278 h 320"/>
                <a:gd name="T48" fmla="*/ 41 w 549"/>
                <a:gd name="T49" fmla="*/ 300 h 320"/>
                <a:gd name="T50" fmla="*/ 59 w 549"/>
                <a:gd name="T51" fmla="*/ 303 h 320"/>
                <a:gd name="T52" fmla="*/ 105 w 549"/>
                <a:gd name="T53" fmla="*/ 298 h 320"/>
                <a:gd name="T54" fmla="*/ 132 w 549"/>
                <a:gd name="T55" fmla="*/ 285 h 320"/>
                <a:gd name="T56" fmla="*/ 147 w 549"/>
                <a:gd name="T57" fmla="*/ 268 h 320"/>
                <a:gd name="T58" fmla="*/ 192 w 549"/>
                <a:gd name="T59" fmla="*/ 268 h 320"/>
                <a:gd name="T60" fmla="*/ 214 w 549"/>
                <a:gd name="T61" fmla="*/ 263 h 320"/>
                <a:gd name="T62" fmla="*/ 241 w 549"/>
                <a:gd name="T63" fmla="*/ 243 h 320"/>
                <a:gd name="T64" fmla="*/ 273 w 549"/>
                <a:gd name="T65" fmla="*/ 243 h 320"/>
                <a:gd name="T66" fmla="*/ 283 w 549"/>
                <a:gd name="T67" fmla="*/ 235 h 320"/>
                <a:gd name="T68" fmla="*/ 299 w 549"/>
                <a:gd name="T69" fmla="*/ 215 h 320"/>
                <a:gd name="T70" fmla="*/ 320 w 549"/>
                <a:gd name="T71" fmla="*/ 204 h 320"/>
                <a:gd name="T72" fmla="*/ 402 w 549"/>
                <a:gd name="T73" fmla="*/ 181 h 320"/>
                <a:gd name="T74" fmla="*/ 418 w 549"/>
                <a:gd name="T75" fmla="*/ 170 h 320"/>
                <a:gd name="T76" fmla="*/ 444 w 549"/>
                <a:gd name="T77" fmla="*/ 164 h 320"/>
                <a:gd name="T78" fmla="*/ 442 w 549"/>
                <a:gd name="T79" fmla="*/ 148 h 320"/>
                <a:gd name="T80" fmla="*/ 449 w 549"/>
                <a:gd name="T81" fmla="*/ 136 h 320"/>
                <a:gd name="T82" fmla="*/ 480 w 549"/>
                <a:gd name="T83" fmla="*/ 116 h 320"/>
                <a:gd name="T84" fmla="*/ 456 w 549"/>
                <a:gd name="T85" fmla="*/ 58 h 320"/>
                <a:gd name="T86" fmla="*/ 432 w 549"/>
                <a:gd name="T87" fmla="*/ 0 h 320"/>
                <a:gd name="T88" fmla="*/ 543 w 549"/>
                <a:gd name="T89" fmla="*/ 305 h 320"/>
                <a:gd name="T90" fmla="*/ 549 w 549"/>
                <a:gd name="T91" fmla="*/ 306 h 320"/>
                <a:gd name="T92" fmla="*/ 542 w 549"/>
                <a:gd name="T93" fmla="*/ 315 h 320"/>
                <a:gd name="T94" fmla="*/ 525 w 549"/>
                <a:gd name="T95" fmla="*/ 320 h 320"/>
                <a:gd name="T96" fmla="*/ 498 w 549"/>
                <a:gd name="T97" fmla="*/ 311 h 320"/>
                <a:gd name="T98" fmla="*/ 506 w 549"/>
                <a:gd name="T99" fmla="*/ 300 h 320"/>
                <a:gd name="T100" fmla="*/ 514 w 549"/>
                <a:gd name="T101" fmla="*/ 305 h 320"/>
                <a:gd name="T102" fmla="*/ 543 w 549"/>
                <a:gd name="T103" fmla="*/ 305 h 320"/>
                <a:gd name="T104" fmla="*/ 2 w 549"/>
                <a:gd name="T105" fmla="*/ 243 h 320"/>
                <a:gd name="T106" fmla="*/ 7 w 549"/>
                <a:gd name="T107" fmla="*/ 244 h 320"/>
                <a:gd name="T108" fmla="*/ 5 w 549"/>
                <a:gd name="T109" fmla="*/ 239 h 320"/>
                <a:gd name="T110" fmla="*/ 2 w 549"/>
                <a:gd name="T111" fmla="*/ 24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49" h="320">
                  <a:moveTo>
                    <a:pt x="432" y="0"/>
                  </a:moveTo>
                  <a:lnTo>
                    <a:pt x="396" y="9"/>
                  </a:lnTo>
                  <a:lnTo>
                    <a:pt x="359" y="17"/>
                  </a:lnTo>
                  <a:lnTo>
                    <a:pt x="322" y="26"/>
                  </a:lnTo>
                  <a:lnTo>
                    <a:pt x="285" y="34"/>
                  </a:lnTo>
                  <a:lnTo>
                    <a:pt x="256" y="66"/>
                  </a:lnTo>
                  <a:lnTo>
                    <a:pt x="227" y="99"/>
                  </a:lnTo>
                  <a:lnTo>
                    <a:pt x="198" y="131"/>
                  </a:lnTo>
                  <a:lnTo>
                    <a:pt x="170" y="162"/>
                  </a:lnTo>
                  <a:lnTo>
                    <a:pt x="170" y="110"/>
                  </a:lnTo>
                  <a:lnTo>
                    <a:pt x="127" y="97"/>
                  </a:lnTo>
                  <a:lnTo>
                    <a:pt x="85" y="82"/>
                  </a:lnTo>
                  <a:lnTo>
                    <a:pt x="37" y="94"/>
                  </a:lnTo>
                  <a:lnTo>
                    <a:pt x="19" y="108"/>
                  </a:lnTo>
                  <a:lnTo>
                    <a:pt x="12" y="121"/>
                  </a:lnTo>
                  <a:lnTo>
                    <a:pt x="3" y="124"/>
                  </a:lnTo>
                  <a:lnTo>
                    <a:pt x="7" y="150"/>
                  </a:lnTo>
                  <a:lnTo>
                    <a:pt x="2" y="158"/>
                  </a:lnTo>
                  <a:lnTo>
                    <a:pt x="5" y="176"/>
                  </a:lnTo>
                  <a:lnTo>
                    <a:pt x="0" y="178"/>
                  </a:lnTo>
                  <a:lnTo>
                    <a:pt x="11" y="190"/>
                  </a:lnTo>
                  <a:lnTo>
                    <a:pt x="20" y="238"/>
                  </a:lnTo>
                  <a:lnTo>
                    <a:pt x="28" y="247"/>
                  </a:lnTo>
                  <a:lnTo>
                    <a:pt x="29" y="278"/>
                  </a:lnTo>
                  <a:lnTo>
                    <a:pt x="41" y="300"/>
                  </a:lnTo>
                  <a:lnTo>
                    <a:pt x="59" y="303"/>
                  </a:lnTo>
                  <a:lnTo>
                    <a:pt x="105" y="298"/>
                  </a:lnTo>
                  <a:lnTo>
                    <a:pt x="132" y="285"/>
                  </a:lnTo>
                  <a:lnTo>
                    <a:pt x="147" y="268"/>
                  </a:lnTo>
                  <a:lnTo>
                    <a:pt x="192" y="268"/>
                  </a:lnTo>
                  <a:lnTo>
                    <a:pt x="214" y="263"/>
                  </a:lnTo>
                  <a:lnTo>
                    <a:pt x="241" y="243"/>
                  </a:lnTo>
                  <a:lnTo>
                    <a:pt x="273" y="243"/>
                  </a:lnTo>
                  <a:lnTo>
                    <a:pt x="283" y="235"/>
                  </a:lnTo>
                  <a:lnTo>
                    <a:pt x="299" y="215"/>
                  </a:lnTo>
                  <a:lnTo>
                    <a:pt x="320" y="204"/>
                  </a:lnTo>
                  <a:lnTo>
                    <a:pt x="402" y="181"/>
                  </a:lnTo>
                  <a:lnTo>
                    <a:pt x="418" y="170"/>
                  </a:lnTo>
                  <a:lnTo>
                    <a:pt x="444" y="164"/>
                  </a:lnTo>
                  <a:lnTo>
                    <a:pt x="442" y="148"/>
                  </a:lnTo>
                  <a:lnTo>
                    <a:pt x="449" y="136"/>
                  </a:lnTo>
                  <a:lnTo>
                    <a:pt x="480" y="116"/>
                  </a:lnTo>
                  <a:lnTo>
                    <a:pt x="456" y="58"/>
                  </a:lnTo>
                  <a:lnTo>
                    <a:pt x="432" y="0"/>
                  </a:lnTo>
                  <a:close/>
                  <a:moveTo>
                    <a:pt x="543" y="305"/>
                  </a:moveTo>
                  <a:lnTo>
                    <a:pt x="549" y="306"/>
                  </a:lnTo>
                  <a:lnTo>
                    <a:pt x="542" y="315"/>
                  </a:lnTo>
                  <a:lnTo>
                    <a:pt x="525" y="320"/>
                  </a:lnTo>
                  <a:lnTo>
                    <a:pt x="498" y="311"/>
                  </a:lnTo>
                  <a:lnTo>
                    <a:pt x="506" y="300"/>
                  </a:lnTo>
                  <a:lnTo>
                    <a:pt x="514" y="305"/>
                  </a:lnTo>
                  <a:lnTo>
                    <a:pt x="543" y="305"/>
                  </a:lnTo>
                  <a:close/>
                  <a:moveTo>
                    <a:pt x="2" y="243"/>
                  </a:moveTo>
                  <a:lnTo>
                    <a:pt x="7" y="244"/>
                  </a:lnTo>
                  <a:lnTo>
                    <a:pt x="5" y="239"/>
                  </a:lnTo>
                  <a:lnTo>
                    <a:pt x="2" y="243"/>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40" name="Freeform 61">
              <a:extLst>
                <a:ext uri="{FF2B5EF4-FFF2-40B4-BE49-F238E27FC236}">
                  <a16:creationId xmlns:a16="http://schemas.microsoft.com/office/drawing/2014/main" id="{E9C2297A-3EB0-5240-9ECC-074B6C6EE166}"/>
                </a:ext>
              </a:extLst>
            </p:cNvPr>
            <p:cNvSpPr>
              <a:spLocks noChangeAspect="1" noEditPoints="1"/>
            </p:cNvSpPr>
            <p:nvPr/>
          </p:nvSpPr>
          <p:spPr bwMode="gray">
            <a:xfrm>
              <a:off x="5221184" y="3012044"/>
              <a:ext cx="420400" cy="220786"/>
            </a:xfrm>
            <a:custGeom>
              <a:avLst/>
              <a:gdLst>
                <a:gd name="T0" fmla="*/ 817 w 866"/>
                <a:gd name="T1" fmla="*/ 104 h 376"/>
                <a:gd name="T2" fmla="*/ 798 w 866"/>
                <a:gd name="T3" fmla="*/ 56 h 376"/>
                <a:gd name="T4" fmla="*/ 719 w 866"/>
                <a:gd name="T5" fmla="*/ 34 h 376"/>
                <a:gd name="T6" fmla="*/ 615 w 866"/>
                <a:gd name="T7" fmla="*/ 62 h 376"/>
                <a:gd name="T8" fmla="*/ 531 w 866"/>
                <a:gd name="T9" fmla="*/ 68 h 376"/>
                <a:gd name="T10" fmla="*/ 466 w 866"/>
                <a:gd name="T11" fmla="*/ 22 h 376"/>
                <a:gd name="T12" fmla="*/ 433 w 866"/>
                <a:gd name="T13" fmla="*/ 19 h 376"/>
                <a:gd name="T14" fmla="*/ 340 w 866"/>
                <a:gd name="T15" fmla="*/ 5 h 376"/>
                <a:gd name="T16" fmla="*/ 150 w 866"/>
                <a:gd name="T17" fmla="*/ 53 h 376"/>
                <a:gd name="T18" fmla="*/ 178 w 866"/>
                <a:gd name="T19" fmla="*/ 85 h 376"/>
                <a:gd name="T20" fmla="*/ 141 w 866"/>
                <a:gd name="T21" fmla="*/ 101 h 376"/>
                <a:gd name="T22" fmla="*/ 91 w 866"/>
                <a:gd name="T23" fmla="*/ 99 h 376"/>
                <a:gd name="T24" fmla="*/ 58 w 866"/>
                <a:gd name="T25" fmla="*/ 101 h 376"/>
                <a:gd name="T26" fmla="*/ 9 w 866"/>
                <a:gd name="T27" fmla="*/ 135 h 376"/>
                <a:gd name="T28" fmla="*/ 32 w 866"/>
                <a:gd name="T29" fmla="*/ 173 h 376"/>
                <a:gd name="T30" fmla="*/ 51 w 866"/>
                <a:gd name="T31" fmla="*/ 220 h 376"/>
                <a:gd name="T32" fmla="*/ 19 w 866"/>
                <a:gd name="T33" fmla="*/ 224 h 376"/>
                <a:gd name="T34" fmla="*/ 58 w 866"/>
                <a:gd name="T35" fmla="*/ 252 h 376"/>
                <a:gd name="T36" fmla="*/ 66 w 866"/>
                <a:gd name="T37" fmla="*/ 266 h 376"/>
                <a:gd name="T38" fmla="*/ 63 w 866"/>
                <a:gd name="T39" fmla="*/ 299 h 376"/>
                <a:gd name="T40" fmla="*/ 108 w 866"/>
                <a:gd name="T41" fmla="*/ 300 h 376"/>
                <a:gd name="T42" fmla="*/ 96 w 866"/>
                <a:gd name="T43" fmla="*/ 316 h 376"/>
                <a:gd name="T44" fmla="*/ 119 w 866"/>
                <a:gd name="T45" fmla="*/ 314 h 376"/>
                <a:gd name="T46" fmla="*/ 144 w 866"/>
                <a:gd name="T47" fmla="*/ 320 h 376"/>
                <a:gd name="T48" fmla="*/ 180 w 866"/>
                <a:gd name="T49" fmla="*/ 351 h 376"/>
                <a:gd name="T50" fmla="*/ 231 w 866"/>
                <a:gd name="T51" fmla="*/ 310 h 376"/>
                <a:gd name="T52" fmla="*/ 317 w 866"/>
                <a:gd name="T53" fmla="*/ 359 h 376"/>
                <a:gd name="T54" fmla="*/ 399 w 866"/>
                <a:gd name="T55" fmla="*/ 316 h 376"/>
                <a:gd name="T56" fmla="*/ 447 w 866"/>
                <a:gd name="T57" fmla="*/ 319 h 376"/>
                <a:gd name="T58" fmla="*/ 459 w 866"/>
                <a:gd name="T59" fmla="*/ 333 h 376"/>
                <a:gd name="T60" fmla="*/ 467 w 866"/>
                <a:gd name="T61" fmla="*/ 370 h 376"/>
                <a:gd name="T62" fmla="*/ 493 w 866"/>
                <a:gd name="T63" fmla="*/ 345 h 376"/>
                <a:gd name="T64" fmla="*/ 509 w 866"/>
                <a:gd name="T65" fmla="*/ 317 h 376"/>
                <a:gd name="T66" fmla="*/ 569 w 866"/>
                <a:gd name="T67" fmla="*/ 307 h 376"/>
                <a:gd name="T68" fmla="*/ 679 w 866"/>
                <a:gd name="T69" fmla="*/ 295 h 376"/>
                <a:gd name="T70" fmla="*/ 752 w 866"/>
                <a:gd name="T71" fmla="*/ 293 h 376"/>
                <a:gd name="T72" fmla="*/ 800 w 866"/>
                <a:gd name="T73" fmla="*/ 282 h 376"/>
                <a:gd name="T74" fmla="*/ 859 w 866"/>
                <a:gd name="T75" fmla="*/ 293 h 376"/>
                <a:gd name="T76" fmla="*/ 842 w 866"/>
                <a:gd name="T77" fmla="*/ 252 h 376"/>
                <a:gd name="T78" fmla="*/ 848 w 866"/>
                <a:gd name="T79" fmla="*/ 156 h 376"/>
                <a:gd name="T80" fmla="*/ 66 w 866"/>
                <a:gd name="T81" fmla="*/ 14 h 376"/>
                <a:gd name="T82" fmla="*/ 25 w 866"/>
                <a:gd name="T83" fmla="*/ 31 h 376"/>
                <a:gd name="T84" fmla="*/ 9 w 866"/>
                <a:gd name="T85" fmla="*/ 73 h 376"/>
                <a:gd name="T86" fmla="*/ 37 w 866"/>
                <a:gd name="T87" fmla="*/ 88 h 376"/>
                <a:gd name="T88" fmla="*/ 71 w 866"/>
                <a:gd name="T89" fmla="*/ 68 h 376"/>
                <a:gd name="T90" fmla="*/ 99 w 866"/>
                <a:gd name="T91" fmla="*/ 3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6" h="376">
                  <a:moveTo>
                    <a:pt x="857" y="136"/>
                  </a:moveTo>
                  <a:lnTo>
                    <a:pt x="822" y="112"/>
                  </a:lnTo>
                  <a:lnTo>
                    <a:pt x="817" y="104"/>
                  </a:lnTo>
                  <a:lnTo>
                    <a:pt x="812" y="75"/>
                  </a:lnTo>
                  <a:lnTo>
                    <a:pt x="806" y="63"/>
                  </a:lnTo>
                  <a:lnTo>
                    <a:pt x="798" y="56"/>
                  </a:lnTo>
                  <a:lnTo>
                    <a:pt x="773" y="29"/>
                  </a:lnTo>
                  <a:lnTo>
                    <a:pt x="752" y="37"/>
                  </a:lnTo>
                  <a:lnTo>
                    <a:pt x="719" y="34"/>
                  </a:lnTo>
                  <a:lnTo>
                    <a:pt x="713" y="29"/>
                  </a:lnTo>
                  <a:lnTo>
                    <a:pt x="661" y="67"/>
                  </a:lnTo>
                  <a:lnTo>
                    <a:pt x="615" y="62"/>
                  </a:lnTo>
                  <a:lnTo>
                    <a:pt x="558" y="71"/>
                  </a:lnTo>
                  <a:lnTo>
                    <a:pt x="541" y="63"/>
                  </a:lnTo>
                  <a:lnTo>
                    <a:pt x="531" y="68"/>
                  </a:lnTo>
                  <a:lnTo>
                    <a:pt x="500" y="51"/>
                  </a:lnTo>
                  <a:lnTo>
                    <a:pt x="478" y="50"/>
                  </a:lnTo>
                  <a:lnTo>
                    <a:pt x="466" y="22"/>
                  </a:lnTo>
                  <a:lnTo>
                    <a:pt x="456" y="29"/>
                  </a:lnTo>
                  <a:lnTo>
                    <a:pt x="444" y="25"/>
                  </a:lnTo>
                  <a:lnTo>
                    <a:pt x="433" y="19"/>
                  </a:lnTo>
                  <a:lnTo>
                    <a:pt x="421" y="0"/>
                  </a:lnTo>
                  <a:lnTo>
                    <a:pt x="405" y="8"/>
                  </a:lnTo>
                  <a:lnTo>
                    <a:pt x="340" y="5"/>
                  </a:lnTo>
                  <a:lnTo>
                    <a:pt x="294" y="22"/>
                  </a:lnTo>
                  <a:lnTo>
                    <a:pt x="236" y="65"/>
                  </a:lnTo>
                  <a:lnTo>
                    <a:pt x="150" y="53"/>
                  </a:lnTo>
                  <a:lnTo>
                    <a:pt x="141" y="67"/>
                  </a:lnTo>
                  <a:lnTo>
                    <a:pt x="148" y="75"/>
                  </a:lnTo>
                  <a:lnTo>
                    <a:pt x="178" y="85"/>
                  </a:lnTo>
                  <a:lnTo>
                    <a:pt x="141" y="87"/>
                  </a:lnTo>
                  <a:lnTo>
                    <a:pt x="133" y="90"/>
                  </a:lnTo>
                  <a:lnTo>
                    <a:pt x="141" y="101"/>
                  </a:lnTo>
                  <a:lnTo>
                    <a:pt x="131" y="102"/>
                  </a:lnTo>
                  <a:lnTo>
                    <a:pt x="91" y="104"/>
                  </a:lnTo>
                  <a:lnTo>
                    <a:pt x="91" y="99"/>
                  </a:lnTo>
                  <a:lnTo>
                    <a:pt x="80" y="95"/>
                  </a:lnTo>
                  <a:lnTo>
                    <a:pt x="83" y="107"/>
                  </a:lnTo>
                  <a:lnTo>
                    <a:pt x="58" y="101"/>
                  </a:lnTo>
                  <a:lnTo>
                    <a:pt x="36" y="104"/>
                  </a:lnTo>
                  <a:lnTo>
                    <a:pt x="17" y="126"/>
                  </a:lnTo>
                  <a:lnTo>
                    <a:pt x="9" y="135"/>
                  </a:lnTo>
                  <a:lnTo>
                    <a:pt x="6" y="156"/>
                  </a:lnTo>
                  <a:lnTo>
                    <a:pt x="40" y="153"/>
                  </a:lnTo>
                  <a:lnTo>
                    <a:pt x="32" y="173"/>
                  </a:lnTo>
                  <a:lnTo>
                    <a:pt x="45" y="195"/>
                  </a:lnTo>
                  <a:lnTo>
                    <a:pt x="37" y="207"/>
                  </a:lnTo>
                  <a:lnTo>
                    <a:pt x="51" y="220"/>
                  </a:lnTo>
                  <a:lnTo>
                    <a:pt x="29" y="220"/>
                  </a:lnTo>
                  <a:lnTo>
                    <a:pt x="20" y="206"/>
                  </a:lnTo>
                  <a:lnTo>
                    <a:pt x="19" y="224"/>
                  </a:lnTo>
                  <a:lnTo>
                    <a:pt x="14" y="229"/>
                  </a:lnTo>
                  <a:lnTo>
                    <a:pt x="53" y="244"/>
                  </a:lnTo>
                  <a:lnTo>
                    <a:pt x="58" y="252"/>
                  </a:lnTo>
                  <a:lnTo>
                    <a:pt x="49" y="263"/>
                  </a:lnTo>
                  <a:lnTo>
                    <a:pt x="54" y="269"/>
                  </a:lnTo>
                  <a:lnTo>
                    <a:pt x="66" y="266"/>
                  </a:lnTo>
                  <a:lnTo>
                    <a:pt x="58" y="280"/>
                  </a:lnTo>
                  <a:lnTo>
                    <a:pt x="71" y="290"/>
                  </a:lnTo>
                  <a:lnTo>
                    <a:pt x="63" y="299"/>
                  </a:lnTo>
                  <a:lnTo>
                    <a:pt x="65" y="303"/>
                  </a:lnTo>
                  <a:lnTo>
                    <a:pt x="102" y="299"/>
                  </a:lnTo>
                  <a:lnTo>
                    <a:pt x="108" y="300"/>
                  </a:lnTo>
                  <a:lnTo>
                    <a:pt x="71" y="319"/>
                  </a:lnTo>
                  <a:lnTo>
                    <a:pt x="68" y="324"/>
                  </a:lnTo>
                  <a:lnTo>
                    <a:pt x="96" y="316"/>
                  </a:lnTo>
                  <a:lnTo>
                    <a:pt x="97" y="325"/>
                  </a:lnTo>
                  <a:lnTo>
                    <a:pt x="107" y="316"/>
                  </a:lnTo>
                  <a:lnTo>
                    <a:pt x="119" y="314"/>
                  </a:lnTo>
                  <a:lnTo>
                    <a:pt x="133" y="324"/>
                  </a:lnTo>
                  <a:lnTo>
                    <a:pt x="138" y="319"/>
                  </a:lnTo>
                  <a:lnTo>
                    <a:pt x="144" y="320"/>
                  </a:lnTo>
                  <a:lnTo>
                    <a:pt x="147" y="337"/>
                  </a:lnTo>
                  <a:lnTo>
                    <a:pt x="155" y="344"/>
                  </a:lnTo>
                  <a:lnTo>
                    <a:pt x="180" y="351"/>
                  </a:lnTo>
                  <a:lnTo>
                    <a:pt x="209" y="342"/>
                  </a:lnTo>
                  <a:lnTo>
                    <a:pt x="215" y="311"/>
                  </a:lnTo>
                  <a:lnTo>
                    <a:pt x="231" y="310"/>
                  </a:lnTo>
                  <a:lnTo>
                    <a:pt x="277" y="328"/>
                  </a:lnTo>
                  <a:lnTo>
                    <a:pt x="300" y="354"/>
                  </a:lnTo>
                  <a:lnTo>
                    <a:pt x="317" y="359"/>
                  </a:lnTo>
                  <a:lnTo>
                    <a:pt x="373" y="341"/>
                  </a:lnTo>
                  <a:lnTo>
                    <a:pt x="391" y="319"/>
                  </a:lnTo>
                  <a:lnTo>
                    <a:pt x="399" y="316"/>
                  </a:lnTo>
                  <a:lnTo>
                    <a:pt x="441" y="328"/>
                  </a:lnTo>
                  <a:lnTo>
                    <a:pt x="447" y="327"/>
                  </a:lnTo>
                  <a:lnTo>
                    <a:pt x="447" y="319"/>
                  </a:lnTo>
                  <a:lnTo>
                    <a:pt x="463" y="311"/>
                  </a:lnTo>
                  <a:lnTo>
                    <a:pt x="472" y="319"/>
                  </a:lnTo>
                  <a:lnTo>
                    <a:pt x="459" y="333"/>
                  </a:lnTo>
                  <a:lnTo>
                    <a:pt x="456" y="373"/>
                  </a:lnTo>
                  <a:lnTo>
                    <a:pt x="464" y="376"/>
                  </a:lnTo>
                  <a:lnTo>
                    <a:pt x="467" y="370"/>
                  </a:lnTo>
                  <a:lnTo>
                    <a:pt x="478" y="359"/>
                  </a:lnTo>
                  <a:lnTo>
                    <a:pt x="478" y="350"/>
                  </a:lnTo>
                  <a:lnTo>
                    <a:pt x="493" y="345"/>
                  </a:lnTo>
                  <a:lnTo>
                    <a:pt x="484" y="333"/>
                  </a:lnTo>
                  <a:lnTo>
                    <a:pt x="492" y="311"/>
                  </a:lnTo>
                  <a:lnTo>
                    <a:pt x="509" y="317"/>
                  </a:lnTo>
                  <a:lnTo>
                    <a:pt x="510" y="322"/>
                  </a:lnTo>
                  <a:lnTo>
                    <a:pt x="529" y="322"/>
                  </a:lnTo>
                  <a:lnTo>
                    <a:pt x="569" y="307"/>
                  </a:lnTo>
                  <a:lnTo>
                    <a:pt x="586" y="317"/>
                  </a:lnTo>
                  <a:lnTo>
                    <a:pt x="608" y="322"/>
                  </a:lnTo>
                  <a:lnTo>
                    <a:pt x="679" y="295"/>
                  </a:lnTo>
                  <a:lnTo>
                    <a:pt x="725" y="297"/>
                  </a:lnTo>
                  <a:lnTo>
                    <a:pt x="747" y="283"/>
                  </a:lnTo>
                  <a:lnTo>
                    <a:pt x="752" y="293"/>
                  </a:lnTo>
                  <a:lnTo>
                    <a:pt x="755" y="299"/>
                  </a:lnTo>
                  <a:lnTo>
                    <a:pt x="781" y="274"/>
                  </a:lnTo>
                  <a:lnTo>
                    <a:pt x="800" y="282"/>
                  </a:lnTo>
                  <a:lnTo>
                    <a:pt x="839" y="282"/>
                  </a:lnTo>
                  <a:lnTo>
                    <a:pt x="848" y="291"/>
                  </a:lnTo>
                  <a:lnTo>
                    <a:pt x="859" y="293"/>
                  </a:lnTo>
                  <a:lnTo>
                    <a:pt x="866" y="286"/>
                  </a:lnTo>
                  <a:lnTo>
                    <a:pt x="864" y="273"/>
                  </a:lnTo>
                  <a:lnTo>
                    <a:pt x="842" y="252"/>
                  </a:lnTo>
                  <a:lnTo>
                    <a:pt x="842" y="185"/>
                  </a:lnTo>
                  <a:lnTo>
                    <a:pt x="835" y="163"/>
                  </a:lnTo>
                  <a:lnTo>
                    <a:pt x="848" y="156"/>
                  </a:lnTo>
                  <a:lnTo>
                    <a:pt x="857" y="136"/>
                  </a:lnTo>
                  <a:close/>
                  <a:moveTo>
                    <a:pt x="91" y="12"/>
                  </a:moveTo>
                  <a:lnTo>
                    <a:pt x="66" y="14"/>
                  </a:lnTo>
                  <a:lnTo>
                    <a:pt x="51" y="5"/>
                  </a:lnTo>
                  <a:lnTo>
                    <a:pt x="14" y="19"/>
                  </a:lnTo>
                  <a:lnTo>
                    <a:pt x="25" y="31"/>
                  </a:lnTo>
                  <a:lnTo>
                    <a:pt x="25" y="41"/>
                  </a:lnTo>
                  <a:lnTo>
                    <a:pt x="14" y="48"/>
                  </a:lnTo>
                  <a:lnTo>
                    <a:pt x="9" y="73"/>
                  </a:lnTo>
                  <a:lnTo>
                    <a:pt x="0" y="85"/>
                  </a:lnTo>
                  <a:lnTo>
                    <a:pt x="9" y="92"/>
                  </a:lnTo>
                  <a:lnTo>
                    <a:pt x="37" y="88"/>
                  </a:lnTo>
                  <a:lnTo>
                    <a:pt x="9" y="105"/>
                  </a:lnTo>
                  <a:lnTo>
                    <a:pt x="9" y="122"/>
                  </a:lnTo>
                  <a:lnTo>
                    <a:pt x="71" y="68"/>
                  </a:lnTo>
                  <a:lnTo>
                    <a:pt x="136" y="67"/>
                  </a:lnTo>
                  <a:lnTo>
                    <a:pt x="139" y="51"/>
                  </a:lnTo>
                  <a:lnTo>
                    <a:pt x="99" y="34"/>
                  </a:lnTo>
                  <a:lnTo>
                    <a:pt x="94" y="28"/>
                  </a:lnTo>
                  <a:lnTo>
                    <a:pt x="91" y="12"/>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341" name="Freeform 62">
              <a:extLst>
                <a:ext uri="{FF2B5EF4-FFF2-40B4-BE49-F238E27FC236}">
                  <a16:creationId xmlns:a16="http://schemas.microsoft.com/office/drawing/2014/main" id="{3F425A36-2AD8-CE4C-A178-E8F8431A4FD8}"/>
                </a:ext>
              </a:extLst>
            </p:cNvPr>
            <p:cNvSpPr>
              <a:spLocks noChangeAspect="1"/>
            </p:cNvSpPr>
            <p:nvPr/>
          </p:nvSpPr>
          <p:spPr bwMode="gray">
            <a:xfrm>
              <a:off x="8898092" y="5580836"/>
              <a:ext cx="11147" cy="11517"/>
            </a:xfrm>
            <a:custGeom>
              <a:avLst/>
              <a:gdLst>
                <a:gd name="T0" fmla="*/ 23 w 23"/>
                <a:gd name="T1" fmla="*/ 0 h 20"/>
                <a:gd name="T2" fmla="*/ 22 w 23"/>
                <a:gd name="T3" fmla="*/ 16 h 20"/>
                <a:gd name="T4" fmla="*/ 12 w 23"/>
                <a:gd name="T5" fmla="*/ 20 h 20"/>
                <a:gd name="T6" fmla="*/ 8 w 23"/>
                <a:gd name="T7" fmla="*/ 5 h 20"/>
                <a:gd name="T8" fmla="*/ 0 w 23"/>
                <a:gd name="T9" fmla="*/ 3 h 20"/>
                <a:gd name="T10" fmla="*/ 23 w 23"/>
                <a:gd name="T11" fmla="*/ 0 h 20"/>
              </a:gdLst>
              <a:ahLst/>
              <a:cxnLst>
                <a:cxn ang="0">
                  <a:pos x="T0" y="T1"/>
                </a:cxn>
                <a:cxn ang="0">
                  <a:pos x="T2" y="T3"/>
                </a:cxn>
                <a:cxn ang="0">
                  <a:pos x="T4" y="T5"/>
                </a:cxn>
                <a:cxn ang="0">
                  <a:pos x="T6" y="T7"/>
                </a:cxn>
                <a:cxn ang="0">
                  <a:pos x="T8" y="T9"/>
                </a:cxn>
                <a:cxn ang="0">
                  <a:pos x="T10" y="T11"/>
                </a:cxn>
              </a:cxnLst>
              <a:rect l="0" t="0" r="r" b="b"/>
              <a:pathLst>
                <a:path w="23" h="20">
                  <a:moveTo>
                    <a:pt x="23" y="0"/>
                  </a:moveTo>
                  <a:lnTo>
                    <a:pt x="22" y="16"/>
                  </a:lnTo>
                  <a:lnTo>
                    <a:pt x="12" y="20"/>
                  </a:lnTo>
                  <a:lnTo>
                    <a:pt x="8" y="5"/>
                  </a:lnTo>
                  <a:lnTo>
                    <a:pt x="0" y="3"/>
                  </a:lnTo>
                  <a:lnTo>
                    <a:pt x="23" y="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42" name="Freeform 341">
              <a:extLst>
                <a:ext uri="{FF2B5EF4-FFF2-40B4-BE49-F238E27FC236}">
                  <a16:creationId xmlns:a16="http://schemas.microsoft.com/office/drawing/2014/main" id="{60B7CF1D-9F28-3F4E-A608-2080EB6D4F00}"/>
                </a:ext>
              </a:extLst>
            </p:cNvPr>
            <p:cNvSpPr>
              <a:spLocks noChangeAspect="1"/>
            </p:cNvSpPr>
            <p:nvPr/>
          </p:nvSpPr>
          <p:spPr bwMode="gray">
            <a:xfrm>
              <a:off x="5401753" y="3372219"/>
              <a:ext cx="7974" cy="13434"/>
            </a:xfrm>
            <a:custGeom>
              <a:avLst/>
              <a:gdLst>
                <a:gd name="T0" fmla="*/ 3 w 17"/>
                <a:gd name="T1" fmla="*/ 20 h 20"/>
                <a:gd name="T2" fmla="*/ 9 w 17"/>
                <a:gd name="T3" fmla="*/ 17 h 20"/>
                <a:gd name="T4" fmla="*/ 9 w 17"/>
                <a:gd name="T5" fmla="*/ 14 h 20"/>
                <a:gd name="T6" fmla="*/ 17 w 17"/>
                <a:gd name="T7" fmla="*/ 3 h 20"/>
                <a:gd name="T8" fmla="*/ 13 w 17"/>
                <a:gd name="T9" fmla="*/ 0 h 20"/>
                <a:gd name="T10" fmla="*/ 0 w 17"/>
                <a:gd name="T11" fmla="*/ 12 h 20"/>
                <a:gd name="T12" fmla="*/ 3 w 17"/>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7" h="20">
                  <a:moveTo>
                    <a:pt x="3" y="20"/>
                  </a:moveTo>
                  <a:lnTo>
                    <a:pt x="9" y="17"/>
                  </a:lnTo>
                  <a:lnTo>
                    <a:pt x="9" y="14"/>
                  </a:lnTo>
                  <a:lnTo>
                    <a:pt x="17" y="3"/>
                  </a:lnTo>
                  <a:lnTo>
                    <a:pt x="13" y="0"/>
                  </a:lnTo>
                  <a:lnTo>
                    <a:pt x="0" y="12"/>
                  </a:lnTo>
                  <a:lnTo>
                    <a:pt x="3" y="2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43" name="Freeform 342">
              <a:extLst>
                <a:ext uri="{FF2B5EF4-FFF2-40B4-BE49-F238E27FC236}">
                  <a16:creationId xmlns:a16="http://schemas.microsoft.com/office/drawing/2014/main" id="{4F3FA43F-672D-E244-9D31-0B5AC1621B70}"/>
                </a:ext>
              </a:extLst>
            </p:cNvPr>
            <p:cNvSpPr>
              <a:spLocks noChangeAspect="1"/>
            </p:cNvSpPr>
            <p:nvPr/>
          </p:nvSpPr>
          <p:spPr bwMode="gray">
            <a:xfrm>
              <a:off x="5003052" y="4874753"/>
              <a:ext cx="368401" cy="391466"/>
            </a:xfrm>
            <a:custGeom>
              <a:avLst/>
              <a:gdLst>
                <a:gd name="T0" fmla="*/ 59 w 755"/>
                <a:gd name="T1" fmla="*/ 354 h 664"/>
                <a:gd name="T2" fmla="*/ 49 w 755"/>
                <a:gd name="T3" fmla="*/ 331 h 664"/>
                <a:gd name="T4" fmla="*/ 16 w 755"/>
                <a:gd name="T5" fmla="*/ 319 h 664"/>
                <a:gd name="T6" fmla="*/ 0 w 755"/>
                <a:gd name="T7" fmla="*/ 337 h 664"/>
                <a:gd name="T8" fmla="*/ 81 w 755"/>
                <a:gd name="T9" fmla="*/ 509 h 664"/>
                <a:gd name="T10" fmla="*/ 76 w 755"/>
                <a:gd name="T11" fmla="*/ 559 h 664"/>
                <a:gd name="T12" fmla="*/ 62 w 755"/>
                <a:gd name="T13" fmla="*/ 568 h 664"/>
                <a:gd name="T14" fmla="*/ 69 w 755"/>
                <a:gd name="T15" fmla="*/ 580 h 664"/>
                <a:gd name="T16" fmla="*/ 86 w 755"/>
                <a:gd name="T17" fmla="*/ 630 h 664"/>
                <a:gd name="T18" fmla="*/ 95 w 755"/>
                <a:gd name="T19" fmla="*/ 630 h 664"/>
                <a:gd name="T20" fmla="*/ 107 w 755"/>
                <a:gd name="T21" fmla="*/ 645 h 664"/>
                <a:gd name="T22" fmla="*/ 130 w 755"/>
                <a:gd name="T23" fmla="*/ 656 h 664"/>
                <a:gd name="T24" fmla="*/ 164 w 755"/>
                <a:gd name="T25" fmla="*/ 664 h 664"/>
                <a:gd name="T26" fmla="*/ 247 w 755"/>
                <a:gd name="T27" fmla="*/ 645 h 664"/>
                <a:gd name="T28" fmla="*/ 265 w 755"/>
                <a:gd name="T29" fmla="*/ 628 h 664"/>
                <a:gd name="T30" fmla="*/ 307 w 755"/>
                <a:gd name="T31" fmla="*/ 631 h 664"/>
                <a:gd name="T32" fmla="*/ 386 w 755"/>
                <a:gd name="T33" fmla="*/ 635 h 664"/>
                <a:gd name="T34" fmla="*/ 426 w 755"/>
                <a:gd name="T35" fmla="*/ 630 h 664"/>
                <a:gd name="T36" fmla="*/ 430 w 755"/>
                <a:gd name="T37" fmla="*/ 611 h 664"/>
                <a:gd name="T38" fmla="*/ 492 w 755"/>
                <a:gd name="T39" fmla="*/ 599 h 664"/>
                <a:gd name="T40" fmla="*/ 601 w 755"/>
                <a:gd name="T41" fmla="*/ 494 h 664"/>
                <a:gd name="T42" fmla="*/ 689 w 755"/>
                <a:gd name="T43" fmla="*/ 367 h 664"/>
                <a:gd name="T44" fmla="*/ 755 w 755"/>
                <a:gd name="T45" fmla="*/ 237 h 664"/>
                <a:gd name="T46" fmla="*/ 717 w 755"/>
                <a:gd name="T47" fmla="*/ 188 h 664"/>
                <a:gd name="T48" fmla="*/ 695 w 755"/>
                <a:gd name="T49" fmla="*/ 29 h 664"/>
                <a:gd name="T50" fmla="*/ 662 w 755"/>
                <a:gd name="T51" fmla="*/ 8 h 664"/>
                <a:gd name="T52" fmla="*/ 602 w 755"/>
                <a:gd name="T53" fmla="*/ 0 h 664"/>
                <a:gd name="T54" fmla="*/ 540 w 755"/>
                <a:gd name="T55" fmla="*/ 34 h 664"/>
                <a:gd name="T56" fmla="*/ 484 w 755"/>
                <a:gd name="T57" fmla="*/ 88 h 664"/>
                <a:gd name="T58" fmla="*/ 434 w 755"/>
                <a:gd name="T59" fmla="*/ 141 h 664"/>
                <a:gd name="T60" fmla="*/ 381 w 755"/>
                <a:gd name="T61" fmla="*/ 183 h 664"/>
                <a:gd name="T62" fmla="*/ 316 w 755"/>
                <a:gd name="T63" fmla="*/ 169 h 664"/>
                <a:gd name="T64" fmla="*/ 234 w 755"/>
                <a:gd name="T65" fmla="*/ 240 h 664"/>
                <a:gd name="T66" fmla="*/ 193 w 755"/>
                <a:gd name="T67" fmla="*/ 226 h 664"/>
                <a:gd name="T68" fmla="*/ 200 w 755"/>
                <a:gd name="T69" fmla="*/ 180 h 664"/>
                <a:gd name="T70" fmla="*/ 157 w 755"/>
                <a:gd name="T71" fmla="*/ 189 h 664"/>
                <a:gd name="T72" fmla="*/ 157 w 755"/>
                <a:gd name="T73" fmla="*/ 328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5" h="664">
                  <a:moveTo>
                    <a:pt x="118" y="354"/>
                  </a:moveTo>
                  <a:lnTo>
                    <a:pt x="59" y="354"/>
                  </a:lnTo>
                  <a:lnTo>
                    <a:pt x="49" y="344"/>
                  </a:lnTo>
                  <a:lnTo>
                    <a:pt x="49" y="331"/>
                  </a:lnTo>
                  <a:lnTo>
                    <a:pt x="27" y="316"/>
                  </a:lnTo>
                  <a:lnTo>
                    <a:pt x="16" y="319"/>
                  </a:lnTo>
                  <a:lnTo>
                    <a:pt x="8" y="333"/>
                  </a:lnTo>
                  <a:lnTo>
                    <a:pt x="0" y="337"/>
                  </a:lnTo>
                  <a:lnTo>
                    <a:pt x="44" y="441"/>
                  </a:lnTo>
                  <a:lnTo>
                    <a:pt x="81" y="509"/>
                  </a:lnTo>
                  <a:lnTo>
                    <a:pt x="84" y="545"/>
                  </a:lnTo>
                  <a:lnTo>
                    <a:pt x="76" y="559"/>
                  </a:lnTo>
                  <a:lnTo>
                    <a:pt x="66" y="554"/>
                  </a:lnTo>
                  <a:lnTo>
                    <a:pt x="62" y="568"/>
                  </a:lnTo>
                  <a:lnTo>
                    <a:pt x="70" y="574"/>
                  </a:lnTo>
                  <a:lnTo>
                    <a:pt x="69" y="580"/>
                  </a:lnTo>
                  <a:lnTo>
                    <a:pt x="90" y="610"/>
                  </a:lnTo>
                  <a:lnTo>
                    <a:pt x="86" y="630"/>
                  </a:lnTo>
                  <a:lnTo>
                    <a:pt x="92" y="647"/>
                  </a:lnTo>
                  <a:lnTo>
                    <a:pt x="95" y="630"/>
                  </a:lnTo>
                  <a:lnTo>
                    <a:pt x="109" y="630"/>
                  </a:lnTo>
                  <a:lnTo>
                    <a:pt x="107" y="645"/>
                  </a:lnTo>
                  <a:lnTo>
                    <a:pt x="127" y="647"/>
                  </a:lnTo>
                  <a:lnTo>
                    <a:pt x="130" y="656"/>
                  </a:lnTo>
                  <a:lnTo>
                    <a:pt x="140" y="662"/>
                  </a:lnTo>
                  <a:lnTo>
                    <a:pt x="164" y="664"/>
                  </a:lnTo>
                  <a:lnTo>
                    <a:pt x="180" y="652"/>
                  </a:lnTo>
                  <a:lnTo>
                    <a:pt x="247" y="645"/>
                  </a:lnTo>
                  <a:lnTo>
                    <a:pt x="248" y="638"/>
                  </a:lnTo>
                  <a:lnTo>
                    <a:pt x="265" y="628"/>
                  </a:lnTo>
                  <a:lnTo>
                    <a:pt x="279" y="627"/>
                  </a:lnTo>
                  <a:lnTo>
                    <a:pt x="307" y="631"/>
                  </a:lnTo>
                  <a:lnTo>
                    <a:pt x="332" y="625"/>
                  </a:lnTo>
                  <a:lnTo>
                    <a:pt x="386" y="635"/>
                  </a:lnTo>
                  <a:lnTo>
                    <a:pt x="393" y="625"/>
                  </a:lnTo>
                  <a:lnTo>
                    <a:pt x="426" y="630"/>
                  </a:lnTo>
                  <a:lnTo>
                    <a:pt x="423" y="616"/>
                  </a:lnTo>
                  <a:lnTo>
                    <a:pt x="430" y="611"/>
                  </a:lnTo>
                  <a:lnTo>
                    <a:pt x="474" y="610"/>
                  </a:lnTo>
                  <a:lnTo>
                    <a:pt x="492" y="599"/>
                  </a:lnTo>
                  <a:lnTo>
                    <a:pt x="557" y="546"/>
                  </a:lnTo>
                  <a:lnTo>
                    <a:pt x="601" y="494"/>
                  </a:lnTo>
                  <a:lnTo>
                    <a:pt x="628" y="471"/>
                  </a:lnTo>
                  <a:lnTo>
                    <a:pt x="689" y="367"/>
                  </a:lnTo>
                  <a:lnTo>
                    <a:pt x="737" y="325"/>
                  </a:lnTo>
                  <a:lnTo>
                    <a:pt x="755" y="237"/>
                  </a:lnTo>
                  <a:lnTo>
                    <a:pt x="720" y="235"/>
                  </a:lnTo>
                  <a:lnTo>
                    <a:pt x="717" y="188"/>
                  </a:lnTo>
                  <a:lnTo>
                    <a:pt x="712" y="110"/>
                  </a:lnTo>
                  <a:lnTo>
                    <a:pt x="695" y="29"/>
                  </a:lnTo>
                  <a:lnTo>
                    <a:pt x="679" y="14"/>
                  </a:lnTo>
                  <a:lnTo>
                    <a:pt x="662" y="8"/>
                  </a:lnTo>
                  <a:lnTo>
                    <a:pt x="630" y="8"/>
                  </a:lnTo>
                  <a:lnTo>
                    <a:pt x="602" y="0"/>
                  </a:lnTo>
                  <a:lnTo>
                    <a:pt x="594" y="3"/>
                  </a:lnTo>
                  <a:lnTo>
                    <a:pt x="540" y="34"/>
                  </a:lnTo>
                  <a:lnTo>
                    <a:pt x="509" y="57"/>
                  </a:lnTo>
                  <a:lnTo>
                    <a:pt x="484" y="88"/>
                  </a:lnTo>
                  <a:lnTo>
                    <a:pt x="469" y="108"/>
                  </a:lnTo>
                  <a:lnTo>
                    <a:pt x="434" y="141"/>
                  </a:lnTo>
                  <a:lnTo>
                    <a:pt x="417" y="175"/>
                  </a:lnTo>
                  <a:lnTo>
                    <a:pt x="381" y="183"/>
                  </a:lnTo>
                  <a:lnTo>
                    <a:pt x="338" y="167"/>
                  </a:lnTo>
                  <a:lnTo>
                    <a:pt x="316" y="169"/>
                  </a:lnTo>
                  <a:lnTo>
                    <a:pt x="262" y="232"/>
                  </a:lnTo>
                  <a:lnTo>
                    <a:pt x="234" y="240"/>
                  </a:lnTo>
                  <a:lnTo>
                    <a:pt x="197" y="234"/>
                  </a:lnTo>
                  <a:lnTo>
                    <a:pt x="193" y="226"/>
                  </a:lnTo>
                  <a:lnTo>
                    <a:pt x="202" y="198"/>
                  </a:lnTo>
                  <a:lnTo>
                    <a:pt x="200" y="180"/>
                  </a:lnTo>
                  <a:lnTo>
                    <a:pt x="157" y="133"/>
                  </a:lnTo>
                  <a:lnTo>
                    <a:pt x="157" y="189"/>
                  </a:lnTo>
                  <a:lnTo>
                    <a:pt x="157" y="247"/>
                  </a:lnTo>
                  <a:lnTo>
                    <a:pt x="157" y="328"/>
                  </a:lnTo>
                  <a:lnTo>
                    <a:pt x="118" y="354"/>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344" name="Freeform 343">
              <a:extLst>
                <a:ext uri="{FF2B5EF4-FFF2-40B4-BE49-F238E27FC236}">
                  <a16:creationId xmlns:a16="http://schemas.microsoft.com/office/drawing/2014/main" id="{1264D25E-7219-7940-A98E-54B8AC7449B9}"/>
                </a:ext>
              </a:extLst>
            </p:cNvPr>
            <p:cNvSpPr>
              <a:spLocks noChangeAspect="1"/>
            </p:cNvSpPr>
            <p:nvPr/>
          </p:nvSpPr>
          <p:spPr bwMode="gray">
            <a:xfrm>
              <a:off x="5127446" y="4487128"/>
              <a:ext cx="264739" cy="272488"/>
            </a:xfrm>
            <a:custGeom>
              <a:avLst/>
              <a:gdLst>
                <a:gd name="T0" fmla="*/ 261 w 539"/>
                <a:gd name="T1" fmla="*/ 408 h 464"/>
                <a:gd name="T2" fmla="*/ 288 w 539"/>
                <a:gd name="T3" fmla="*/ 392 h 464"/>
                <a:gd name="T4" fmla="*/ 307 w 539"/>
                <a:gd name="T5" fmla="*/ 386 h 464"/>
                <a:gd name="T6" fmla="*/ 354 w 539"/>
                <a:gd name="T7" fmla="*/ 347 h 464"/>
                <a:gd name="T8" fmla="*/ 381 w 539"/>
                <a:gd name="T9" fmla="*/ 349 h 464"/>
                <a:gd name="T10" fmla="*/ 405 w 539"/>
                <a:gd name="T11" fmla="*/ 312 h 464"/>
                <a:gd name="T12" fmla="*/ 481 w 539"/>
                <a:gd name="T13" fmla="*/ 284 h 464"/>
                <a:gd name="T14" fmla="*/ 505 w 539"/>
                <a:gd name="T15" fmla="*/ 270 h 464"/>
                <a:gd name="T16" fmla="*/ 508 w 539"/>
                <a:gd name="T17" fmla="*/ 235 h 464"/>
                <a:gd name="T18" fmla="*/ 531 w 539"/>
                <a:gd name="T19" fmla="*/ 201 h 464"/>
                <a:gd name="T20" fmla="*/ 520 w 539"/>
                <a:gd name="T21" fmla="*/ 157 h 464"/>
                <a:gd name="T22" fmla="*/ 539 w 539"/>
                <a:gd name="T23" fmla="*/ 117 h 464"/>
                <a:gd name="T24" fmla="*/ 517 w 539"/>
                <a:gd name="T25" fmla="*/ 69 h 464"/>
                <a:gd name="T26" fmla="*/ 508 w 539"/>
                <a:gd name="T27" fmla="*/ 57 h 464"/>
                <a:gd name="T28" fmla="*/ 434 w 539"/>
                <a:gd name="T29" fmla="*/ 20 h 464"/>
                <a:gd name="T30" fmla="*/ 415 w 539"/>
                <a:gd name="T31" fmla="*/ 29 h 464"/>
                <a:gd name="T32" fmla="*/ 395 w 539"/>
                <a:gd name="T33" fmla="*/ 0 h 464"/>
                <a:gd name="T34" fmla="*/ 325 w 539"/>
                <a:gd name="T35" fmla="*/ 20 h 464"/>
                <a:gd name="T36" fmla="*/ 317 w 539"/>
                <a:gd name="T37" fmla="*/ 41 h 464"/>
                <a:gd name="T38" fmla="*/ 319 w 539"/>
                <a:gd name="T39" fmla="*/ 84 h 464"/>
                <a:gd name="T40" fmla="*/ 302 w 539"/>
                <a:gd name="T41" fmla="*/ 168 h 464"/>
                <a:gd name="T42" fmla="*/ 354 w 539"/>
                <a:gd name="T43" fmla="*/ 190 h 464"/>
                <a:gd name="T44" fmla="*/ 344 w 539"/>
                <a:gd name="T45" fmla="*/ 230 h 464"/>
                <a:gd name="T46" fmla="*/ 317 w 539"/>
                <a:gd name="T47" fmla="*/ 228 h 464"/>
                <a:gd name="T48" fmla="*/ 282 w 539"/>
                <a:gd name="T49" fmla="*/ 191 h 464"/>
                <a:gd name="T50" fmla="*/ 234 w 539"/>
                <a:gd name="T51" fmla="*/ 165 h 464"/>
                <a:gd name="T52" fmla="*/ 158 w 539"/>
                <a:gd name="T53" fmla="*/ 156 h 464"/>
                <a:gd name="T54" fmla="*/ 115 w 539"/>
                <a:gd name="T55" fmla="*/ 145 h 464"/>
                <a:gd name="T56" fmla="*/ 93 w 539"/>
                <a:gd name="T57" fmla="*/ 125 h 464"/>
                <a:gd name="T58" fmla="*/ 88 w 539"/>
                <a:gd name="T59" fmla="*/ 215 h 464"/>
                <a:gd name="T60" fmla="*/ 67 w 539"/>
                <a:gd name="T61" fmla="*/ 225 h 464"/>
                <a:gd name="T62" fmla="*/ 0 w 539"/>
                <a:gd name="T63" fmla="*/ 225 h 464"/>
                <a:gd name="T64" fmla="*/ 0 w 539"/>
                <a:gd name="T65" fmla="*/ 293 h 464"/>
                <a:gd name="T66" fmla="*/ 2 w 539"/>
                <a:gd name="T67" fmla="*/ 394 h 464"/>
                <a:gd name="T68" fmla="*/ 96 w 539"/>
                <a:gd name="T69" fmla="*/ 433 h 464"/>
                <a:gd name="T70" fmla="*/ 144 w 539"/>
                <a:gd name="T71" fmla="*/ 453 h 464"/>
                <a:gd name="T72" fmla="*/ 203 w 539"/>
                <a:gd name="T73" fmla="*/ 457 h 464"/>
                <a:gd name="T74" fmla="*/ 222 w 539"/>
                <a:gd name="T75" fmla="*/ 462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9" h="464">
                  <a:moveTo>
                    <a:pt x="227" y="456"/>
                  </a:moveTo>
                  <a:lnTo>
                    <a:pt x="261" y="408"/>
                  </a:lnTo>
                  <a:lnTo>
                    <a:pt x="273" y="406"/>
                  </a:lnTo>
                  <a:lnTo>
                    <a:pt x="288" y="392"/>
                  </a:lnTo>
                  <a:lnTo>
                    <a:pt x="305" y="392"/>
                  </a:lnTo>
                  <a:lnTo>
                    <a:pt x="307" y="386"/>
                  </a:lnTo>
                  <a:lnTo>
                    <a:pt x="308" y="366"/>
                  </a:lnTo>
                  <a:lnTo>
                    <a:pt x="354" y="347"/>
                  </a:lnTo>
                  <a:lnTo>
                    <a:pt x="367" y="352"/>
                  </a:lnTo>
                  <a:lnTo>
                    <a:pt x="381" y="349"/>
                  </a:lnTo>
                  <a:lnTo>
                    <a:pt x="370" y="323"/>
                  </a:lnTo>
                  <a:lnTo>
                    <a:pt x="405" y="312"/>
                  </a:lnTo>
                  <a:lnTo>
                    <a:pt x="441" y="299"/>
                  </a:lnTo>
                  <a:lnTo>
                    <a:pt x="481" y="284"/>
                  </a:lnTo>
                  <a:lnTo>
                    <a:pt x="515" y="275"/>
                  </a:lnTo>
                  <a:lnTo>
                    <a:pt x="505" y="270"/>
                  </a:lnTo>
                  <a:lnTo>
                    <a:pt x="497" y="258"/>
                  </a:lnTo>
                  <a:lnTo>
                    <a:pt x="508" y="235"/>
                  </a:lnTo>
                  <a:lnTo>
                    <a:pt x="509" y="211"/>
                  </a:lnTo>
                  <a:lnTo>
                    <a:pt x="531" y="201"/>
                  </a:lnTo>
                  <a:lnTo>
                    <a:pt x="520" y="188"/>
                  </a:lnTo>
                  <a:lnTo>
                    <a:pt x="520" y="157"/>
                  </a:lnTo>
                  <a:lnTo>
                    <a:pt x="526" y="126"/>
                  </a:lnTo>
                  <a:lnTo>
                    <a:pt x="539" y="117"/>
                  </a:lnTo>
                  <a:lnTo>
                    <a:pt x="522" y="75"/>
                  </a:lnTo>
                  <a:lnTo>
                    <a:pt x="517" y="69"/>
                  </a:lnTo>
                  <a:lnTo>
                    <a:pt x="509" y="69"/>
                  </a:lnTo>
                  <a:lnTo>
                    <a:pt x="508" y="57"/>
                  </a:lnTo>
                  <a:lnTo>
                    <a:pt x="452" y="37"/>
                  </a:lnTo>
                  <a:lnTo>
                    <a:pt x="434" y="20"/>
                  </a:lnTo>
                  <a:lnTo>
                    <a:pt x="422" y="18"/>
                  </a:lnTo>
                  <a:lnTo>
                    <a:pt x="415" y="29"/>
                  </a:lnTo>
                  <a:lnTo>
                    <a:pt x="396" y="18"/>
                  </a:lnTo>
                  <a:lnTo>
                    <a:pt x="395" y="0"/>
                  </a:lnTo>
                  <a:lnTo>
                    <a:pt x="333" y="15"/>
                  </a:lnTo>
                  <a:lnTo>
                    <a:pt x="325" y="20"/>
                  </a:lnTo>
                  <a:lnTo>
                    <a:pt x="324" y="32"/>
                  </a:lnTo>
                  <a:lnTo>
                    <a:pt x="317" y="41"/>
                  </a:lnTo>
                  <a:lnTo>
                    <a:pt x="317" y="52"/>
                  </a:lnTo>
                  <a:lnTo>
                    <a:pt x="319" y="84"/>
                  </a:lnTo>
                  <a:lnTo>
                    <a:pt x="319" y="105"/>
                  </a:lnTo>
                  <a:lnTo>
                    <a:pt x="302" y="168"/>
                  </a:lnTo>
                  <a:lnTo>
                    <a:pt x="322" y="190"/>
                  </a:lnTo>
                  <a:lnTo>
                    <a:pt x="354" y="190"/>
                  </a:lnTo>
                  <a:lnTo>
                    <a:pt x="356" y="239"/>
                  </a:lnTo>
                  <a:lnTo>
                    <a:pt x="344" y="230"/>
                  </a:lnTo>
                  <a:lnTo>
                    <a:pt x="334" y="233"/>
                  </a:lnTo>
                  <a:lnTo>
                    <a:pt x="317" y="228"/>
                  </a:lnTo>
                  <a:lnTo>
                    <a:pt x="294" y="211"/>
                  </a:lnTo>
                  <a:lnTo>
                    <a:pt x="282" y="191"/>
                  </a:lnTo>
                  <a:lnTo>
                    <a:pt x="251" y="181"/>
                  </a:lnTo>
                  <a:lnTo>
                    <a:pt x="234" y="165"/>
                  </a:lnTo>
                  <a:lnTo>
                    <a:pt x="195" y="173"/>
                  </a:lnTo>
                  <a:lnTo>
                    <a:pt x="158" y="156"/>
                  </a:lnTo>
                  <a:lnTo>
                    <a:pt x="146" y="135"/>
                  </a:lnTo>
                  <a:lnTo>
                    <a:pt x="115" y="145"/>
                  </a:lnTo>
                  <a:lnTo>
                    <a:pt x="107" y="122"/>
                  </a:lnTo>
                  <a:lnTo>
                    <a:pt x="93" y="125"/>
                  </a:lnTo>
                  <a:lnTo>
                    <a:pt x="96" y="131"/>
                  </a:lnTo>
                  <a:lnTo>
                    <a:pt x="88" y="215"/>
                  </a:lnTo>
                  <a:lnTo>
                    <a:pt x="101" y="225"/>
                  </a:lnTo>
                  <a:lnTo>
                    <a:pt x="67" y="225"/>
                  </a:lnTo>
                  <a:lnTo>
                    <a:pt x="33" y="225"/>
                  </a:lnTo>
                  <a:lnTo>
                    <a:pt x="0" y="225"/>
                  </a:lnTo>
                  <a:lnTo>
                    <a:pt x="0" y="258"/>
                  </a:lnTo>
                  <a:lnTo>
                    <a:pt x="0" y="293"/>
                  </a:lnTo>
                  <a:lnTo>
                    <a:pt x="0" y="340"/>
                  </a:lnTo>
                  <a:lnTo>
                    <a:pt x="2" y="394"/>
                  </a:lnTo>
                  <a:lnTo>
                    <a:pt x="54" y="443"/>
                  </a:lnTo>
                  <a:lnTo>
                    <a:pt x="96" y="433"/>
                  </a:lnTo>
                  <a:lnTo>
                    <a:pt x="129" y="439"/>
                  </a:lnTo>
                  <a:lnTo>
                    <a:pt x="144" y="453"/>
                  </a:lnTo>
                  <a:lnTo>
                    <a:pt x="178" y="460"/>
                  </a:lnTo>
                  <a:lnTo>
                    <a:pt x="203" y="457"/>
                  </a:lnTo>
                  <a:lnTo>
                    <a:pt x="212" y="464"/>
                  </a:lnTo>
                  <a:lnTo>
                    <a:pt x="222" y="462"/>
                  </a:lnTo>
                  <a:lnTo>
                    <a:pt x="227" y="456"/>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45" name="Freeform 344">
              <a:extLst>
                <a:ext uri="{FF2B5EF4-FFF2-40B4-BE49-F238E27FC236}">
                  <a16:creationId xmlns:a16="http://schemas.microsoft.com/office/drawing/2014/main" id="{389F1102-839D-0C4B-A886-06304CBB27B8}"/>
                </a:ext>
              </a:extLst>
            </p:cNvPr>
            <p:cNvSpPr>
              <a:spLocks noChangeAspect="1"/>
            </p:cNvSpPr>
            <p:nvPr/>
          </p:nvSpPr>
          <p:spPr bwMode="gray">
            <a:xfrm>
              <a:off x="5309254" y="4548533"/>
              <a:ext cx="240815" cy="468224"/>
            </a:xfrm>
            <a:custGeom>
              <a:avLst/>
              <a:gdLst>
                <a:gd name="T0" fmla="*/ 216 w 490"/>
                <a:gd name="T1" fmla="*/ 96 h 794"/>
                <a:gd name="T2" fmla="*/ 263 w 490"/>
                <a:gd name="T3" fmla="*/ 56 h 794"/>
                <a:gd name="T4" fmla="*/ 296 w 490"/>
                <a:gd name="T5" fmla="*/ 62 h 794"/>
                <a:gd name="T6" fmla="*/ 351 w 490"/>
                <a:gd name="T7" fmla="*/ 54 h 794"/>
                <a:gd name="T8" fmla="*/ 385 w 490"/>
                <a:gd name="T9" fmla="*/ 39 h 794"/>
                <a:gd name="T10" fmla="*/ 413 w 490"/>
                <a:gd name="T11" fmla="*/ 44 h 794"/>
                <a:gd name="T12" fmla="*/ 481 w 490"/>
                <a:gd name="T13" fmla="*/ 8 h 794"/>
                <a:gd name="T14" fmla="*/ 486 w 490"/>
                <a:gd name="T15" fmla="*/ 8 h 794"/>
                <a:gd name="T16" fmla="*/ 490 w 490"/>
                <a:gd name="T17" fmla="*/ 29 h 794"/>
                <a:gd name="T18" fmla="*/ 478 w 490"/>
                <a:gd name="T19" fmla="*/ 113 h 794"/>
                <a:gd name="T20" fmla="*/ 478 w 490"/>
                <a:gd name="T21" fmla="*/ 125 h 794"/>
                <a:gd name="T22" fmla="*/ 484 w 490"/>
                <a:gd name="T23" fmla="*/ 180 h 794"/>
                <a:gd name="T24" fmla="*/ 484 w 490"/>
                <a:gd name="T25" fmla="*/ 192 h 794"/>
                <a:gd name="T26" fmla="*/ 490 w 490"/>
                <a:gd name="T27" fmla="*/ 201 h 794"/>
                <a:gd name="T28" fmla="*/ 482 w 490"/>
                <a:gd name="T29" fmla="*/ 229 h 794"/>
                <a:gd name="T30" fmla="*/ 455 w 490"/>
                <a:gd name="T31" fmla="*/ 269 h 794"/>
                <a:gd name="T32" fmla="*/ 447 w 490"/>
                <a:gd name="T33" fmla="*/ 281 h 794"/>
                <a:gd name="T34" fmla="*/ 416 w 490"/>
                <a:gd name="T35" fmla="*/ 305 h 794"/>
                <a:gd name="T36" fmla="*/ 376 w 490"/>
                <a:gd name="T37" fmla="*/ 323 h 794"/>
                <a:gd name="T38" fmla="*/ 314 w 490"/>
                <a:gd name="T39" fmla="*/ 359 h 794"/>
                <a:gd name="T40" fmla="*/ 297 w 490"/>
                <a:gd name="T41" fmla="*/ 373 h 794"/>
                <a:gd name="T42" fmla="*/ 283 w 490"/>
                <a:gd name="T43" fmla="*/ 403 h 794"/>
                <a:gd name="T44" fmla="*/ 277 w 490"/>
                <a:gd name="T45" fmla="*/ 393 h 794"/>
                <a:gd name="T46" fmla="*/ 223 w 490"/>
                <a:gd name="T47" fmla="*/ 452 h 794"/>
                <a:gd name="T48" fmla="*/ 211 w 490"/>
                <a:gd name="T49" fmla="*/ 487 h 794"/>
                <a:gd name="T50" fmla="*/ 228 w 490"/>
                <a:gd name="T51" fmla="*/ 506 h 794"/>
                <a:gd name="T52" fmla="*/ 246 w 490"/>
                <a:gd name="T53" fmla="*/ 562 h 794"/>
                <a:gd name="T54" fmla="*/ 249 w 490"/>
                <a:gd name="T55" fmla="*/ 616 h 794"/>
                <a:gd name="T56" fmla="*/ 238 w 490"/>
                <a:gd name="T57" fmla="*/ 664 h 794"/>
                <a:gd name="T58" fmla="*/ 245 w 490"/>
                <a:gd name="T59" fmla="*/ 662 h 794"/>
                <a:gd name="T60" fmla="*/ 216 w 490"/>
                <a:gd name="T61" fmla="*/ 696 h 794"/>
                <a:gd name="T62" fmla="*/ 127 w 490"/>
                <a:gd name="T63" fmla="*/ 737 h 794"/>
                <a:gd name="T64" fmla="*/ 122 w 490"/>
                <a:gd name="T65" fmla="*/ 770 h 794"/>
                <a:gd name="T66" fmla="*/ 128 w 490"/>
                <a:gd name="T67" fmla="*/ 794 h 794"/>
                <a:gd name="T68" fmla="*/ 90 w 490"/>
                <a:gd name="T69" fmla="*/ 745 h 794"/>
                <a:gd name="T70" fmla="*/ 68 w 490"/>
                <a:gd name="T71" fmla="*/ 586 h 794"/>
                <a:gd name="T72" fmla="*/ 94 w 490"/>
                <a:gd name="T73" fmla="*/ 542 h 794"/>
                <a:gd name="T74" fmla="*/ 122 w 490"/>
                <a:gd name="T75" fmla="*/ 408 h 794"/>
                <a:gd name="T76" fmla="*/ 135 w 490"/>
                <a:gd name="T77" fmla="*/ 334 h 794"/>
                <a:gd name="T78" fmla="*/ 119 w 490"/>
                <a:gd name="T79" fmla="*/ 288 h 794"/>
                <a:gd name="T80" fmla="*/ 11 w 490"/>
                <a:gd name="T81" fmla="*/ 260 h 794"/>
                <a:gd name="T82" fmla="*/ 0 w 490"/>
                <a:gd name="T83" fmla="*/ 220 h 794"/>
                <a:gd name="T84" fmla="*/ 71 w 490"/>
                <a:gd name="T85" fmla="*/ 196 h 794"/>
                <a:gd name="T86" fmla="*/ 145 w 490"/>
                <a:gd name="T87" fmla="*/ 172 h 794"/>
                <a:gd name="T88" fmla="*/ 201 w 490"/>
                <a:gd name="T89" fmla="*/ 192 h 794"/>
                <a:gd name="T90" fmla="*/ 211 w 490"/>
                <a:gd name="T91" fmla="*/ 230 h 794"/>
                <a:gd name="T92" fmla="*/ 204 w 490"/>
                <a:gd name="T93" fmla="*/ 276 h 794"/>
                <a:gd name="T94" fmla="*/ 233 w 490"/>
                <a:gd name="T95" fmla="*/ 317 h 794"/>
                <a:gd name="T96" fmla="*/ 245 w 490"/>
                <a:gd name="T97" fmla="*/ 302 h 794"/>
                <a:gd name="T98" fmla="*/ 243 w 490"/>
                <a:gd name="T99" fmla="*/ 276 h 794"/>
                <a:gd name="T100" fmla="*/ 272 w 490"/>
                <a:gd name="T101" fmla="*/ 238 h 794"/>
                <a:gd name="T102" fmla="*/ 272 w 490"/>
                <a:gd name="T103" fmla="*/ 212 h 794"/>
                <a:gd name="T104" fmla="*/ 223 w 490"/>
                <a:gd name="T105" fmla="*/ 147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0" h="794">
                  <a:moveTo>
                    <a:pt x="223" y="147"/>
                  </a:moveTo>
                  <a:lnTo>
                    <a:pt x="216" y="96"/>
                  </a:lnTo>
                  <a:lnTo>
                    <a:pt x="228" y="54"/>
                  </a:lnTo>
                  <a:lnTo>
                    <a:pt x="263" y="56"/>
                  </a:lnTo>
                  <a:lnTo>
                    <a:pt x="277" y="51"/>
                  </a:lnTo>
                  <a:lnTo>
                    <a:pt x="296" y="62"/>
                  </a:lnTo>
                  <a:lnTo>
                    <a:pt x="319" y="54"/>
                  </a:lnTo>
                  <a:lnTo>
                    <a:pt x="351" y="54"/>
                  </a:lnTo>
                  <a:lnTo>
                    <a:pt x="365" y="42"/>
                  </a:lnTo>
                  <a:lnTo>
                    <a:pt x="385" y="39"/>
                  </a:lnTo>
                  <a:lnTo>
                    <a:pt x="398" y="46"/>
                  </a:lnTo>
                  <a:lnTo>
                    <a:pt x="413" y="44"/>
                  </a:lnTo>
                  <a:lnTo>
                    <a:pt x="460" y="28"/>
                  </a:lnTo>
                  <a:lnTo>
                    <a:pt x="481" y="8"/>
                  </a:lnTo>
                  <a:lnTo>
                    <a:pt x="482" y="0"/>
                  </a:lnTo>
                  <a:lnTo>
                    <a:pt x="486" y="8"/>
                  </a:lnTo>
                  <a:lnTo>
                    <a:pt x="490" y="14"/>
                  </a:lnTo>
                  <a:lnTo>
                    <a:pt x="490" y="29"/>
                  </a:lnTo>
                  <a:lnTo>
                    <a:pt x="475" y="65"/>
                  </a:lnTo>
                  <a:lnTo>
                    <a:pt x="478" y="113"/>
                  </a:lnTo>
                  <a:lnTo>
                    <a:pt x="473" y="119"/>
                  </a:lnTo>
                  <a:lnTo>
                    <a:pt x="478" y="125"/>
                  </a:lnTo>
                  <a:lnTo>
                    <a:pt x="478" y="180"/>
                  </a:lnTo>
                  <a:lnTo>
                    <a:pt x="484" y="180"/>
                  </a:lnTo>
                  <a:lnTo>
                    <a:pt x="487" y="184"/>
                  </a:lnTo>
                  <a:lnTo>
                    <a:pt x="484" y="192"/>
                  </a:lnTo>
                  <a:lnTo>
                    <a:pt x="490" y="195"/>
                  </a:lnTo>
                  <a:lnTo>
                    <a:pt x="490" y="201"/>
                  </a:lnTo>
                  <a:lnTo>
                    <a:pt x="475" y="227"/>
                  </a:lnTo>
                  <a:lnTo>
                    <a:pt x="482" y="229"/>
                  </a:lnTo>
                  <a:lnTo>
                    <a:pt x="481" y="242"/>
                  </a:lnTo>
                  <a:lnTo>
                    <a:pt x="455" y="269"/>
                  </a:lnTo>
                  <a:lnTo>
                    <a:pt x="441" y="277"/>
                  </a:lnTo>
                  <a:lnTo>
                    <a:pt x="447" y="281"/>
                  </a:lnTo>
                  <a:lnTo>
                    <a:pt x="443" y="289"/>
                  </a:lnTo>
                  <a:lnTo>
                    <a:pt x="416" y="305"/>
                  </a:lnTo>
                  <a:lnTo>
                    <a:pt x="411" y="313"/>
                  </a:lnTo>
                  <a:lnTo>
                    <a:pt x="376" y="323"/>
                  </a:lnTo>
                  <a:lnTo>
                    <a:pt x="339" y="340"/>
                  </a:lnTo>
                  <a:lnTo>
                    <a:pt x="314" y="359"/>
                  </a:lnTo>
                  <a:lnTo>
                    <a:pt x="313" y="367"/>
                  </a:lnTo>
                  <a:lnTo>
                    <a:pt x="297" y="373"/>
                  </a:lnTo>
                  <a:lnTo>
                    <a:pt x="305" y="378"/>
                  </a:lnTo>
                  <a:lnTo>
                    <a:pt x="283" y="403"/>
                  </a:lnTo>
                  <a:lnTo>
                    <a:pt x="280" y="403"/>
                  </a:lnTo>
                  <a:lnTo>
                    <a:pt x="277" y="393"/>
                  </a:lnTo>
                  <a:lnTo>
                    <a:pt x="271" y="407"/>
                  </a:lnTo>
                  <a:lnTo>
                    <a:pt x="223" y="452"/>
                  </a:lnTo>
                  <a:lnTo>
                    <a:pt x="213" y="454"/>
                  </a:lnTo>
                  <a:lnTo>
                    <a:pt x="211" y="487"/>
                  </a:lnTo>
                  <a:lnTo>
                    <a:pt x="226" y="501"/>
                  </a:lnTo>
                  <a:lnTo>
                    <a:pt x="228" y="506"/>
                  </a:lnTo>
                  <a:lnTo>
                    <a:pt x="243" y="565"/>
                  </a:lnTo>
                  <a:lnTo>
                    <a:pt x="246" y="562"/>
                  </a:lnTo>
                  <a:lnTo>
                    <a:pt x="250" y="565"/>
                  </a:lnTo>
                  <a:lnTo>
                    <a:pt x="249" y="616"/>
                  </a:lnTo>
                  <a:lnTo>
                    <a:pt x="237" y="655"/>
                  </a:lnTo>
                  <a:lnTo>
                    <a:pt x="238" y="664"/>
                  </a:lnTo>
                  <a:lnTo>
                    <a:pt x="249" y="648"/>
                  </a:lnTo>
                  <a:lnTo>
                    <a:pt x="245" y="662"/>
                  </a:lnTo>
                  <a:lnTo>
                    <a:pt x="228" y="687"/>
                  </a:lnTo>
                  <a:lnTo>
                    <a:pt x="216" y="696"/>
                  </a:lnTo>
                  <a:lnTo>
                    <a:pt x="162" y="715"/>
                  </a:lnTo>
                  <a:lnTo>
                    <a:pt x="127" y="737"/>
                  </a:lnTo>
                  <a:lnTo>
                    <a:pt x="111" y="757"/>
                  </a:lnTo>
                  <a:lnTo>
                    <a:pt x="122" y="770"/>
                  </a:lnTo>
                  <a:lnTo>
                    <a:pt x="131" y="761"/>
                  </a:lnTo>
                  <a:lnTo>
                    <a:pt x="128" y="794"/>
                  </a:lnTo>
                  <a:lnTo>
                    <a:pt x="93" y="792"/>
                  </a:lnTo>
                  <a:lnTo>
                    <a:pt x="90" y="745"/>
                  </a:lnTo>
                  <a:lnTo>
                    <a:pt x="85" y="667"/>
                  </a:lnTo>
                  <a:lnTo>
                    <a:pt x="68" y="586"/>
                  </a:lnTo>
                  <a:lnTo>
                    <a:pt x="73" y="562"/>
                  </a:lnTo>
                  <a:lnTo>
                    <a:pt x="94" y="542"/>
                  </a:lnTo>
                  <a:lnTo>
                    <a:pt x="130" y="455"/>
                  </a:lnTo>
                  <a:lnTo>
                    <a:pt x="122" y="408"/>
                  </a:lnTo>
                  <a:lnTo>
                    <a:pt x="135" y="373"/>
                  </a:lnTo>
                  <a:lnTo>
                    <a:pt x="135" y="334"/>
                  </a:lnTo>
                  <a:lnTo>
                    <a:pt x="128" y="294"/>
                  </a:lnTo>
                  <a:lnTo>
                    <a:pt x="119" y="288"/>
                  </a:lnTo>
                  <a:lnTo>
                    <a:pt x="59" y="264"/>
                  </a:lnTo>
                  <a:lnTo>
                    <a:pt x="11" y="260"/>
                  </a:lnTo>
                  <a:lnTo>
                    <a:pt x="11" y="246"/>
                  </a:lnTo>
                  <a:lnTo>
                    <a:pt x="0" y="220"/>
                  </a:lnTo>
                  <a:lnTo>
                    <a:pt x="35" y="209"/>
                  </a:lnTo>
                  <a:lnTo>
                    <a:pt x="71" y="196"/>
                  </a:lnTo>
                  <a:lnTo>
                    <a:pt x="111" y="181"/>
                  </a:lnTo>
                  <a:lnTo>
                    <a:pt x="145" y="172"/>
                  </a:lnTo>
                  <a:lnTo>
                    <a:pt x="165" y="196"/>
                  </a:lnTo>
                  <a:lnTo>
                    <a:pt x="201" y="192"/>
                  </a:lnTo>
                  <a:lnTo>
                    <a:pt x="207" y="196"/>
                  </a:lnTo>
                  <a:lnTo>
                    <a:pt x="211" y="230"/>
                  </a:lnTo>
                  <a:lnTo>
                    <a:pt x="198" y="260"/>
                  </a:lnTo>
                  <a:lnTo>
                    <a:pt x="204" y="276"/>
                  </a:lnTo>
                  <a:lnTo>
                    <a:pt x="237" y="306"/>
                  </a:lnTo>
                  <a:lnTo>
                    <a:pt x="233" y="317"/>
                  </a:lnTo>
                  <a:lnTo>
                    <a:pt x="243" y="317"/>
                  </a:lnTo>
                  <a:lnTo>
                    <a:pt x="245" y="302"/>
                  </a:lnTo>
                  <a:lnTo>
                    <a:pt x="240" y="289"/>
                  </a:lnTo>
                  <a:lnTo>
                    <a:pt x="243" y="276"/>
                  </a:lnTo>
                  <a:lnTo>
                    <a:pt x="267" y="263"/>
                  </a:lnTo>
                  <a:lnTo>
                    <a:pt x="272" y="238"/>
                  </a:lnTo>
                  <a:lnTo>
                    <a:pt x="267" y="227"/>
                  </a:lnTo>
                  <a:lnTo>
                    <a:pt x="272" y="212"/>
                  </a:lnTo>
                  <a:lnTo>
                    <a:pt x="267" y="196"/>
                  </a:lnTo>
                  <a:lnTo>
                    <a:pt x="223" y="147"/>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46" name="Freeform 345">
              <a:extLst>
                <a:ext uri="{FF2B5EF4-FFF2-40B4-BE49-F238E27FC236}">
                  <a16:creationId xmlns:a16="http://schemas.microsoft.com/office/drawing/2014/main" id="{0DFE75C4-4F95-D146-9CE4-C09FA69DCE2D}"/>
                </a:ext>
              </a:extLst>
            </p:cNvPr>
            <p:cNvSpPr>
              <a:spLocks noChangeAspect="1"/>
            </p:cNvSpPr>
            <p:nvPr/>
          </p:nvSpPr>
          <p:spPr bwMode="gray">
            <a:xfrm>
              <a:off x="5371453" y="4523589"/>
              <a:ext cx="70171" cy="211084"/>
            </a:xfrm>
            <a:custGeom>
              <a:avLst/>
              <a:gdLst>
                <a:gd name="T0" fmla="*/ 96 w 145"/>
                <a:gd name="T1" fmla="*/ 193 h 363"/>
                <a:gd name="T2" fmla="*/ 96 w 145"/>
                <a:gd name="T3" fmla="*/ 204 h 363"/>
                <a:gd name="T4" fmla="*/ 105 w 145"/>
                <a:gd name="T5" fmla="*/ 209 h 363"/>
                <a:gd name="T6" fmla="*/ 113 w 145"/>
                <a:gd name="T7" fmla="*/ 236 h 363"/>
                <a:gd name="T8" fmla="*/ 96 w 145"/>
                <a:gd name="T9" fmla="*/ 219 h 363"/>
                <a:gd name="T10" fmla="*/ 93 w 145"/>
                <a:gd name="T11" fmla="*/ 227 h 363"/>
                <a:gd name="T12" fmla="*/ 82 w 145"/>
                <a:gd name="T13" fmla="*/ 224 h 363"/>
                <a:gd name="T14" fmla="*/ 82 w 145"/>
                <a:gd name="T15" fmla="*/ 205 h 363"/>
                <a:gd name="T16" fmla="*/ 74 w 145"/>
                <a:gd name="T17" fmla="*/ 193 h 363"/>
                <a:gd name="T18" fmla="*/ 68 w 145"/>
                <a:gd name="T19" fmla="*/ 158 h 363"/>
                <a:gd name="T20" fmla="*/ 57 w 145"/>
                <a:gd name="T21" fmla="*/ 137 h 363"/>
                <a:gd name="T22" fmla="*/ 69 w 145"/>
                <a:gd name="T23" fmla="*/ 108 h 363"/>
                <a:gd name="T24" fmla="*/ 68 w 145"/>
                <a:gd name="T25" fmla="*/ 48 h 363"/>
                <a:gd name="T26" fmla="*/ 52 w 145"/>
                <a:gd name="T27" fmla="*/ 26 h 363"/>
                <a:gd name="T28" fmla="*/ 55 w 145"/>
                <a:gd name="T29" fmla="*/ 12 h 363"/>
                <a:gd name="T30" fmla="*/ 46 w 145"/>
                <a:gd name="T31" fmla="*/ 7 h 363"/>
                <a:gd name="T32" fmla="*/ 34 w 145"/>
                <a:gd name="T33" fmla="*/ 10 h 363"/>
                <a:gd name="T34" fmla="*/ 11 w 145"/>
                <a:gd name="T35" fmla="*/ 0 h 363"/>
                <a:gd name="T36" fmla="*/ 12 w 145"/>
                <a:gd name="T37" fmla="*/ 12 h 363"/>
                <a:gd name="T38" fmla="*/ 20 w 145"/>
                <a:gd name="T39" fmla="*/ 12 h 363"/>
                <a:gd name="T40" fmla="*/ 25 w 145"/>
                <a:gd name="T41" fmla="*/ 18 h 363"/>
                <a:gd name="T42" fmla="*/ 42 w 145"/>
                <a:gd name="T43" fmla="*/ 60 h 363"/>
                <a:gd name="T44" fmla="*/ 29 w 145"/>
                <a:gd name="T45" fmla="*/ 69 h 363"/>
                <a:gd name="T46" fmla="*/ 23 w 145"/>
                <a:gd name="T47" fmla="*/ 100 h 363"/>
                <a:gd name="T48" fmla="*/ 23 w 145"/>
                <a:gd name="T49" fmla="*/ 131 h 363"/>
                <a:gd name="T50" fmla="*/ 34 w 145"/>
                <a:gd name="T51" fmla="*/ 144 h 363"/>
                <a:gd name="T52" fmla="*/ 12 w 145"/>
                <a:gd name="T53" fmla="*/ 154 h 363"/>
                <a:gd name="T54" fmla="*/ 11 w 145"/>
                <a:gd name="T55" fmla="*/ 178 h 363"/>
                <a:gd name="T56" fmla="*/ 0 w 145"/>
                <a:gd name="T57" fmla="*/ 201 h 363"/>
                <a:gd name="T58" fmla="*/ 8 w 145"/>
                <a:gd name="T59" fmla="*/ 213 h 363"/>
                <a:gd name="T60" fmla="*/ 18 w 145"/>
                <a:gd name="T61" fmla="*/ 218 h 363"/>
                <a:gd name="T62" fmla="*/ 38 w 145"/>
                <a:gd name="T63" fmla="*/ 242 h 363"/>
                <a:gd name="T64" fmla="*/ 74 w 145"/>
                <a:gd name="T65" fmla="*/ 238 h 363"/>
                <a:gd name="T66" fmla="*/ 80 w 145"/>
                <a:gd name="T67" fmla="*/ 242 h 363"/>
                <a:gd name="T68" fmla="*/ 84 w 145"/>
                <a:gd name="T69" fmla="*/ 276 h 363"/>
                <a:gd name="T70" fmla="*/ 71 w 145"/>
                <a:gd name="T71" fmla="*/ 306 h 363"/>
                <a:gd name="T72" fmla="*/ 77 w 145"/>
                <a:gd name="T73" fmla="*/ 322 h 363"/>
                <a:gd name="T74" fmla="*/ 110 w 145"/>
                <a:gd name="T75" fmla="*/ 352 h 363"/>
                <a:gd name="T76" fmla="*/ 106 w 145"/>
                <a:gd name="T77" fmla="*/ 363 h 363"/>
                <a:gd name="T78" fmla="*/ 116 w 145"/>
                <a:gd name="T79" fmla="*/ 363 h 363"/>
                <a:gd name="T80" fmla="*/ 118 w 145"/>
                <a:gd name="T81" fmla="*/ 348 h 363"/>
                <a:gd name="T82" fmla="*/ 113 w 145"/>
                <a:gd name="T83" fmla="*/ 335 h 363"/>
                <a:gd name="T84" fmla="*/ 116 w 145"/>
                <a:gd name="T85" fmla="*/ 322 h 363"/>
                <a:gd name="T86" fmla="*/ 140 w 145"/>
                <a:gd name="T87" fmla="*/ 309 h 363"/>
                <a:gd name="T88" fmla="*/ 145 w 145"/>
                <a:gd name="T89" fmla="*/ 284 h 363"/>
                <a:gd name="T90" fmla="*/ 140 w 145"/>
                <a:gd name="T91" fmla="*/ 273 h 363"/>
                <a:gd name="T92" fmla="*/ 145 w 145"/>
                <a:gd name="T93" fmla="*/ 258 h 363"/>
                <a:gd name="T94" fmla="*/ 140 w 145"/>
                <a:gd name="T95" fmla="*/ 242 h 363"/>
                <a:gd name="T96" fmla="*/ 96 w 145"/>
                <a:gd name="T97" fmla="*/ 19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5" h="363">
                  <a:moveTo>
                    <a:pt x="96" y="193"/>
                  </a:moveTo>
                  <a:lnTo>
                    <a:pt x="96" y="204"/>
                  </a:lnTo>
                  <a:lnTo>
                    <a:pt x="105" y="209"/>
                  </a:lnTo>
                  <a:lnTo>
                    <a:pt x="113" y="236"/>
                  </a:lnTo>
                  <a:lnTo>
                    <a:pt x="96" y="219"/>
                  </a:lnTo>
                  <a:lnTo>
                    <a:pt x="93" y="227"/>
                  </a:lnTo>
                  <a:lnTo>
                    <a:pt x="82" y="224"/>
                  </a:lnTo>
                  <a:lnTo>
                    <a:pt x="82" y="205"/>
                  </a:lnTo>
                  <a:lnTo>
                    <a:pt x="74" y="193"/>
                  </a:lnTo>
                  <a:lnTo>
                    <a:pt x="68" y="158"/>
                  </a:lnTo>
                  <a:lnTo>
                    <a:pt x="57" y="137"/>
                  </a:lnTo>
                  <a:lnTo>
                    <a:pt x="69" y="108"/>
                  </a:lnTo>
                  <a:lnTo>
                    <a:pt x="68" y="48"/>
                  </a:lnTo>
                  <a:lnTo>
                    <a:pt x="52" y="26"/>
                  </a:lnTo>
                  <a:lnTo>
                    <a:pt x="55" y="12"/>
                  </a:lnTo>
                  <a:lnTo>
                    <a:pt x="46" y="7"/>
                  </a:lnTo>
                  <a:lnTo>
                    <a:pt x="34" y="10"/>
                  </a:lnTo>
                  <a:lnTo>
                    <a:pt x="11" y="0"/>
                  </a:lnTo>
                  <a:lnTo>
                    <a:pt x="12" y="12"/>
                  </a:lnTo>
                  <a:lnTo>
                    <a:pt x="20" y="12"/>
                  </a:lnTo>
                  <a:lnTo>
                    <a:pt x="25" y="18"/>
                  </a:lnTo>
                  <a:lnTo>
                    <a:pt x="42" y="60"/>
                  </a:lnTo>
                  <a:lnTo>
                    <a:pt x="29" y="69"/>
                  </a:lnTo>
                  <a:lnTo>
                    <a:pt x="23" y="100"/>
                  </a:lnTo>
                  <a:lnTo>
                    <a:pt x="23" y="131"/>
                  </a:lnTo>
                  <a:lnTo>
                    <a:pt x="34" y="144"/>
                  </a:lnTo>
                  <a:lnTo>
                    <a:pt x="12" y="154"/>
                  </a:lnTo>
                  <a:lnTo>
                    <a:pt x="11" y="178"/>
                  </a:lnTo>
                  <a:lnTo>
                    <a:pt x="0" y="201"/>
                  </a:lnTo>
                  <a:lnTo>
                    <a:pt x="8" y="213"/>
                  </a:lnTo>
                  <a:lnTo>
                    <a:pt x="18" y="218"/>
                  </a:lnTo>
                  <a:lnTo>
                    <a:pt x="38" y="242"/>
                  </a:lnTo>
                  <a:lnTo>
                    <a:pt x="74" y="238"/>
                  </a:lnTo>
                  <a:lnTo>
                    <a:pt x="80" y="242"/>
                  </a:lnTo>
                  <a:lnTo>
                    <a:pt x="84" y="276"/>
                  </a:lnTo>
                  <a:lnTo>
                    <a:pt x="71" y="306"/>
                  </a:lnTo>
                  <a:lnTo>
                    <a:pt x="77" y="322"/>
                  </a:lnTo>
                  <a:lnTo>
                    <a:pt x="110" y="352"/>
                  </a:lnTo>
                  <a:lnTo>
                    <a:pt x="106" y="363"/>
                  </a:lnTo>
                  <a:lnTo>
                    <a:pt x="116" y="363"/>
                  </a:lnTo>
                  <a:lnTo>
                    <a:pt x="118" y="348"/>
                  </a:lnTo>
                  <a:lnTo>
                    <a:pt x="113" y="335"/>
                  </a:lnTo>
                  <a:lnTo>
                    <a:pt x="116" y="322"/>
                  </a:lnTo>
                  <a:lnTo>
                    <a:pt x="140" y="309"/>
                  </a:lnTo>
                  <a:lnTo>
                    <a:pt x="145" y="284"/>
                  </a:lnTo>
                  <a:lnTo>
                    <a:pt x="140" y="273"/>
                  </a:lnTo>
                  <a:lnTo>
                    <a:pt x="145" y="258"/>
                  </a:lnTo>
                  <a:lnTo>
                    <a:pt x="140" y="242"/>
                  </a:lnTo>
                  <a:lnTo>
                    <a:pt x="96" y="193"/>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47" name="Freeform 346">
              <a:extLst>
                <a:ext uri="{FF2B5EF4-FFF2-40B4-BE49-F238E27FC236}">
                  <a16:creationId xmlns:a16="http://schemas.microsoft.com/office/drawing/2014/main" id="{0A98E957-17C0-FF4E-BBD3-A99D387B4C18}"/>
                </a:ext>
              </a:extLst>
            </p:cNvPr>
            <p:cNvSpPr>
              <a:spLocks noChangeAspect="1"/>
            </p:cNvSpPr>
            <p:nvPr/>
          </p:nvSpPr>
          <p:spPr bwMode="gray">
            <a:xfrm>
              <a:off x="5396970" y="4143634"/>
              <a:ext cx="180214" cy="249462"/>
            </a:xfrm>
            <a:custGeom>
              <a:avLst/>
              <a:gdLst>
                <a:gd name="T0" fmla="*/ 13 w 366"/>
                <a:gd name="T1" fmla="*/ 256 h 423"/>
                <a:gd name="T2" fmla="*/ 5 w 366"/>
                <a:gd name="T3" fmla="*/ 247 h 423"/>
                <a:gd name="T4" fmla="*/ 13 w 366"/>
                <a:gd name="T5" fmla="*/ 237 h 423"/>
                <a:gd name="T6" fmla="*/ 22 w 366"/>
                <a:gd name="T7" fmla="*/ 237 h 423"/>
                <a:gd name="T8" fmla="*/ 29 w 366"/>
                <a:gd name="T9" fmla="*/ 231 h 423"/>
                <a:gd name="T10" fmla="*/ 39 w 366"/>
                <a:gd name="T11" fmla="*/ 227 h 423"/>
                <a:gd name="T12" fmla="*/ 39 w 366"/>
                <a:gd name="T13" fmla="*/ 223 h 423"/>
                <a:gd name="T14" fmla="*/ 29 w 366"/>
                <a:gd name="T15" fmla="*/ 222 h 423"/>
                <a:gd name="T16" fmla="*/ 21 w 366"/>
                <a:gd name="T17" fmla="*/ 223 h 423"/>
                <a:gd name="T18" fmla="*/ 16 w 366"/>
                <a:gd name="T19" fmla="*/ 227 h 423"/>
                <a:gd name="T20" fmla="*/ 10 w 366"/>
                <a:gd name="T21" fmla="*/ 227 h 423"/>
                <a:gd name="T22" fmla="*/ 7 w 366"/>
                <a:gd name="T23" fmla="*/ 220 h 423"/>
                <a:gd name="T24" fmla="*/ 2 w 366"/>
                <a:gd name="T25" fmla="*/ 214 h 423"/>
                <a:gd name="T26" fmla="*/ 2 w 366"/>
                <a:gd name="T27" fmla="*/ 202 h 423"/>
                <a:gd name="T28" fmla="*/ 46 w 366"/>
                <a:gd name="T29" fmla="*/ 143 h 423"/>
                <a:gd name="T30" fmla="*/ 50 w 366"/>
                <a:gd name="T31" fmla="*/ 113 h 423"/>
                <a:gd name="T32" fmla="*/ 46 w 366"/>
                <a:gd name="T33" fmla="*/ 84 h 423"/>
                <a:gd name="T34" fmla="*/ 25 w 366"/>
                <a:gd name="T35" fmla="*/ 67 h 423"/>
                <a:gd name="T36" fmla="*/ 17 w 366"/>
                <a:gd name="T37" fmla="*/ 30 h 423"/>
                <a:gd name="T38" fmla="*/ 0 w 366"/>
                <a:gd name="T39" fmla="*/ 24 h 423"/>
                <a:gd name="T40" fmla="*/ 24 w 366"/>
                <a:gd name="T41" fmla="*/ 2 h 423"/>
                <a:gd name="T42" fmla="*/ 87 w 366"/>
                <a:gd name="T43" fmla="*/ 0 h 423"/>
                <a:gd name="T44" fmla="*/ 124 w 366"/>
                <a:gd name="T45" fmla="*/ 4 h 423"/>
                <a:gd name="T46" fmla="*/ 180 w 366"/>
                <a:gd name="T47" fmla="*/ 39 h 423"/>
                <a:gd name="T48" fmla="*/ 229 w 366"/>
                <a:gd name="T49" fmla="*/ 51 h 423"/>
                <a:gd name="T50" fmla="*/ 249 w 366"/>
                <a:gd name="T51" fmla="*/ 51 h 423"/>
                <a:gd name="T52" fmla="*/ 270 w 366"/>
                <a:gd name="T53" fmla="*/ 41 h 423"/>
                <a:gd name="T54" fmla="*/ 283 w 366"/>
                <a:gd name="T55" fmla="*/ 27 h 423"/>
                <a:gd name="T56" fmla="*/ 315 w 366"/>
                <a:gd name="T57" fmla="*/ 19 h 423"/>
                <a:gd name="T58" fmla="*/ 342 w 366"/>
                <a:gd name="T59" fmla="*/ 33 h 423"/>
                <a:gd name="T60" fmla="*/ 366 w 366"/>
                <a:gd name="T61" fmla="*/ 33 h 423"/>
                <a:gd name="T62" fmla="*/ 347 w 366"/>
                <a:gd name="T63" fmla="*/ 62 h 423"/>
                <a:gd name="T64" fmla="*/ 325 w 366"/>
                <a:gd name="T65" fmla="*/ 83 h 423"/>
                <a:gd name="T66" fmla="*/ 325 w 366"/>
                <a:gd name="T67" fmla="*/ 126 h 423"/>
                <a:gd name="T68" fmla="*/ 325 w 366"/>
                <a:gd name="T69" fmla="*/ 168 h 423"/>
                <a:gd name="T70" fmla="*/ 325 w 366"/>
                <a:gd name="T71" fmla="*/ 210 h 423"/>
                <a:gd name="T72" fmla="*/ 325 w 366"/>
                <a:gd name="T73" fmla="*/ 253 h 423"/>
                <a:gd name="T74" fmla="*/ 350 w 366"/>
                <a:gd name="T75" fmla="*/ 287 h 423"/>
                <a:gd name="T76" fmla="*/ 339 w 366"/>
                <a:gd name="T77" fmla="*/ 299 h 423"/>
                <a:gd name="T78" fmla="*/ 327 w 366"/>
                <a:gd name="T79" fmla="*/ 304 h 423"/>
                <a:gd name="T80" fmla="*/ 319 w 366"/>
                <a:gd name="T81" fmla="*/ 322 h 423"/>
                <a:gd name="T82" fmla="*/ 304 w 366"/>
                <a:gd name="T83" fmla="*/ 328 h 423"/>
                <a:gd name="T84" fmla="*/ 296 w 366"/>
                <a:gd name="T85" fmla="*/ 335 h 423"/>
                <a:gd name="T86" fmla="*/ 265 w 366"/>
                <a:gd name="T87" fmla="*/ 409 h 423"/>
                <a:gd name="T88" fmla="*/ 249 w 366"/>
                <a:gd name="T89" fmla="*/ 423 h 423"/>
                <a:gd name="T90" fmla="*/ 185 w 366"/>
                <a:gd name="T91" fmla="*/ 384 h 423"/>
                <a:gd name="T92" fmla="*/ 175 w 366"/>
                <a:gd name="T93" fmla="*/ 349 h 423"/>
                <a:gd name="T94" fmla="*/ 13 w 366"/>
                <a:gd name="T95" fmla="*/ 256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6" h="423">
                  <a:moveTo>
                    <a:pt x="13" y="256"/>
                  </a:moveTo>
                  <a:lnTo>
                    <a:pt x="5" y="247"/>
                  </a:lnTo>
                  <a:lnTo>
                    <a:pt x="13" y="237"/>
                  </a:lnTo>
                  <a:lnTo>
                    <a:pt x="22" y="237"/>
                  </a:lnTo>
                  <a:lnTo>
                    <a:pt x="29" y="231"/>
                  </a:lnTo>
                  <a:lnTo>
                    <a:pt x="39" y="227"/>
                  </a:lnTo>
                  <a:lnTo>
                    <a:pt x="39" y="223"/>
                  </a:lnTo>
                  <a:lnTo>
                    <a:pt x="29" y="222"/>
                  </a:lnTo>
                  <a:lnTo>
                    <a:pt x="21" y="223"/>
                  </a:lnTo>
                  <a:lnTo>
                    <a:pt x="16" y="227"/>
                  </a:lnTo>
                  <a:lnTo>
                    <a:pt x="10" y="227"/>
                  </a:lnTo>
                  <a:lnTo>
                    <a:pt x="7" y="220"/>
                  </a:lnTo>
                  <a:lnTo>
                    <a:pt x="2" y="214"/>
                  </a:lnTo>
                  <a:lnTo>
                    <a:pt x="2" y="202"/>
                  </a:lnTo>
                  <a:lnTo>
                    <a:pt x="46" y="143"/>
                  </a:lnTo>
                  <a:lnTo>
                    <a:pt x="50" y="113"/>
                  </a:lnTo>
                  <a:lnTo>
                    <a:pt x="46" y="84"/>
                  </a:lnTo>
                  <a:lnTo>
                    <a:pt x="25" y="67"/>
                  </a:lnTo>
                  <a:lnTo>
                    <a:pt x="17" y="30"/>
                  </a:lnTo>
                  <a:lnTo>
                    <a:pt x="0" y="24"/>
                  </a:lnTo>
                  <a:lnTo>
                    <a:pt x="24" y="2"/>
                  </a:lnTo>
                  <a:lnTo>
                    <a:pt x="87" y="0"/>
                  </a:lnTo>
                  <a:lnTo>
                    <a:pt x="124" y="4"/>
                  </a:lnTo>
                  <a:lnTo>
                    <a:pt x="180" y="39"/>
                  </a:lnTo>
                  <a:lnTo>
                    <a:pt x="229" y="51"/>
                  </a:lnTo>
                  <a:lnTo>
                    <a:pt x="249" y="51"/>
                  </a:lnTo>
                  <a:lnTo>
                    <a:pt x="270" y="41"/>
                  </a:lnTo>
                  <a:lnTo>
                    <a:pt x="283" y="27"/>
                  </a:lnTo>
                  <a:lnTo>
                    <a:pt x="315" y="19"/>
                  </a:lnTo>
                  <a:lnTo>
                    <a:pt x="342" y="33"/>
                  </a:lnTo>
                  <a:lnTo>
                    <a:pt x="366" y="33"/>
                  </a:lnTo>
                  <a:lnTo>
                    <a:pt x="347" y="62"/>
                  </a:lnTo>
                  <a:lnTo>
                    <a:pt x="325" y="83"/>
                  </a:lnTo>
                  <a:lnTo>
                    <a:pt x="325" y="126"/>
                  </a:lnTo>
                  <a:lnTo>
                    <a:pt x="325" y="168"/>
                  </a:lnTo>
                  <a:lnTo>
                    <a:pt x="325" y="210"/>
                  </a:lnTo>
                  <a:lnTo>
                    <a:pt x="325" y="253"/>
                  </a:lnTo>
                  <a:lnTo>
                    <a:pt x="350" y="287"/>
                  </a:lnTo>
                  <a:lnTo>
                    <a:pt x="339" y="299"/>
                  </a:lnTo>
                  <a:lnTo>
                    <a:pt x="327" y="304"/>
                  </a:lnTo>
                  <a:lnTo>
                    <a:pt x="319" y="322"/>
                  </a:lnTo>
                  <a:lnTo>
                    <a:pt x="304" y="328"/>
                  </a:lnTo>
                  <a:lnTo>
                    <a:pt x="296" y="335"/>
                  </a:lnTo>
                  <a:lnTo>
                    <a:pt x="265" y="409"/>
                  </a:lnTo>
                  <a:lnTo>
                    <a:pt x="249" y="423"/>
                  </a:lnTo>
                  <a:lnTo>
                    <a:pt x="185" y="384"/>
                  </a:lnTo>
                  <a:lnTo>
                    <a:pt x="175" y="349"/>
                  </a:lnTo>
                  <a:lnTo>
                    <a:pt x="13" y="256"/>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48" name="Freeform 347">
              <a:extLst>
                <a:ext uri="{FF2B5EF4-FFF2-40B4-BE49-F238E27FC236}">
                  <a16:creationId xmlns:a16="http://schemas.microsoft.com/office/drawing/2014/main" id="{96924E0F-234D-9847-B6BE-1CF4B2344708}"/>
                </a:ext>
              </a:extLst>
            </p:cNvPr>
            <p:cNvSpPr>
              <a:spLocks noChangeAspect="1"/>
            </p:cNvSpPr>
            <p:nvPr/>
          </p:nvSpPr>
          <p:spPr bwMode="gray">
            <a:xfrm>
              <a:off x="4893011" y="4423803"/>
              <a:ext cx="285471" cy="339653"/>
            </a:xfrm>
            <a:custGeom>
              <a:avLst/>
              <a:gdLst>
                <a:gd name="T0" fmla="*/ 260 w 582"/>
                <a:gd name="T1" fmla="*/ 540 h 574"/>
                <a:gd name="T2" fmla="*/ 156 w 582"/>
                <a:gd name="T3" fmla="*/ 540 h 574"/>
                <a:gd name="T4" fmla="*/ 78 w 582"/>
                <a:gd name="T5" fmla="*/ 518 h 574"/>
                <a:gd name="T6" fmla="*/ 51 w 582"/>
                <a:gd name="T7" fmla="*/ 518 h 574"/>
                <a:gd name="T8" fmla="*/ 20 w 582"/>
                <a:gd name="T9" fmla="*/ 526 h 574"/>
                <a:gd name="T10" fmla="*/ 0 w 582"/>
                <a:gd name="T11" fmla="*/ 506 h 574"/>
                <a:gd name="T12" fmla="*/ 5 w 582"/>
                <a:gd name="T13" fmla="*/ 472 h 574"/>
                <a:gd name="T14" fmla="*/ 20 w 582"/>
                <a:gd name="T15" fmla="*/ 438 h 574"/>
                <a:gd name="T16" fmla="*/ 45 w 582"/>
                <a:gd name="T17" fmla="*/ 350 h 574"/>
                <a:gd name="T18" fmla="*/ 58 w 582"/>
                <a:gd name="T19" fmla="*/ 327 h 574"/>
                <a:gd name="T20" fmla="*/ 90 w 582"/>
                <a:gd name="T21" fmla="*/ 299 h 574"/>
                <a:gd name="T22" fmla="*/ 99 w 582"/>
                <a:gd name="T23" fmla="*/ 243 h 574"/>
                <a:gd name="T24" fmla="*/ 99 w 582"/>
                <a:gd name="T25" fmla="*/ 220 h 574"/>
                <a:gd name="T26" fmla="*/ 68 w 582"/>
                <a:gd name="T27" fmla="*/ 156 h 574"/>
                <a:gd name="T28" fmla="*/ 75 w 582"/>
                <a:gd name="T29" fmla="*/ 114 h 574"/>
                <a:gd name="T30" fmla="*/ 33 w 582"/>
                <a:gd name="T31" fmla="*/ 20 h 574"/>
                <a:gd name="T32" fmla="*/ 112 w 582"/>
                <a:gd name="T33" fmla="*/ 2 h 574"/>
                <a:gd name="T34" fmla="*/ 180 w 582"/>
                <a:gd name="T35" fmla="*/ 0 h 574"/>
                <a:gd name="T36" fmla="*/ 231 w 582"/>
                <a:gd name="T37" fmla="*/ 14 h 574"/>
                <a:gd name="T38" fmla="*/ 274 w 582"/>
                <a:gd name="T39" fmla="*/ 104 h 574"/>
                <a:gd name="T40" fmla="*/ 325 w 582"/>
                <a:gd name="T41" fmla="*/ 99 h 574"/>
                <a:gd name="T42" fmla="*/ 367 w 582"/>
                <a:gd name="T43" fmla="*/ 54 h 574"/>
                <a:gd name="T44" fmla="*/ 424 w 582"/>
                <a:gd name="T45" fmla="*/ 68 h 574"/>
                <a:gd name="T46" fmla="*/ 469 w 582"/>
                <a:gd name="T47" fmla="*/ 79 h 574"/>
                <a:gd name="T48" fmla="*/ 471 w 582"/>
                <a:gd name="T49" fmla="*/ 168 h 574"/>
                <a:gd name="T50" fmla="*/ 480 w 582"/>
                <a:gd name="T51" fmla="*/ 246 h 574"/>
                <a:gd name="T52" fmla="*/ 503 w 582"/>
                <a:gd name="T53" fmla="*/ 241 h 574"/>
                <a:gd name="T54" fmla="*/ 565 w 582"/>
                <a:gd name="T55" fmla="*/ 240 h 574"/>
                <a:gd name="T56" fmla="*/ 577 w 582"/>
                <a:gd name="T57" fmla="*/ 240 h 574"/>
                <a:gd name="T58" fmla="*/ 582 w 582"/>
                <a:gd name="T59" fmla="*/ 334 h 574"/>
                <a:gd name="T60" fmla="*/ 514 w 582"/>
                <a:gd name="T61" fmla="*/ 334 h 574"/>
                <a:gd name="T62" fmla="*/ 481 w 582"/>
                <a:gd name="T63" fmla="*/ 368 h 574"/>
                <a:gd name="T64" fmla="*/ 481 w 582"/>
                <a:gd name="T65" fmla="*/ 449 h 574"/>
                <a:gd name="T66" fmla="*/ 535 w 582"/>
                <a:gd name="T67" fmla="*/ 552 h 574"/>
                <a:gd name="T68" fmla="*/ 390 w 582"/>
                <a:gd name="T69" fmla="*/ 560 h 574"/>
                <a:gd name="T70" fmla="*/ 328 w 582"/>
                <a:gd name="T71" fmla="*/ 557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2" h="574">
                  <a:moveTo>
                    <a:pt x="310" y="540"/>
                  </a:moveTo>
                  <a:lnTo>
                    <a:pt x="260" y="540"/>
                  </a:lnTo>
                  <a:lnTo>
                    <a:pt x="207" y="540"/>
                  </a:lnTo>
                  <a:lnTo>
                    <a:pt x="156" y="540"/>
                  </a:lnTo>
                  <a:lnTo>
                    <a:pt x="105" y="540"/>
                  </a:lnTo>
                  <a:lnTo>
                    <a:pt x="78" y="518"/>
                  </a:lnTo>
                  <a:lnTo>
                    <a:pt x="71" y="518"/>
                  </a:lnTo>
                  <a:lnTo>
                    <a:pt x="51" y="518"/>
                  </a:lnTo>
                  <a:lnTo>
                    <a:pt x="29" y="532"/>
                  </a:lnTo>
                  <a:lnTo>
                    <a:pt x="20" y="526"/>
                  </a:lnTo>
                  <a:lnTo>
                    <a:pt x="2" y="539"/>
                  </a:lnTo>
                  <a:lnTo>
                    <a:pt x="0" y="506"/>
                  </a:lnTo>
                  <a:lnTo>
                    <a:pt x="5" y="515"/>
                  </a:lnTo>
                  <a:lnTo>
                    <a:pt x="5" y="472"/>
                  </a:lnTo>
                  <a:lnTo>
                    <a:pt x="12" y="466"/>
                  </a:lnTo>
                  <a:lnTo>
                    <a:pt x="20" y="438"/>
                  </a:lnTo>
                  <a:lnTo>
                    <a:pt x="36" y="371"/>
                  </a:lnTo>
                  <a:lnTo>
                    <a:pt x="45" y="350"/>
                  </a:lnTo>
                  <a:lnTo>
                    <a:pt x="58" y="337"/>
                  </a:lnTo>
                  <a:lnTo>
                    <a:pt x="58" y="327"/>
                  </a:lnTo>
                  <a:lnTo>
                    <a:pt x="75" y="319"/>
                  </a:lnTo>
                  <a:lnTo>
                    <a:pt x="90" y="299"/>
                  </a:lnTo>
                  <a:lnTo>
                    <a:pt x="96" y="277"/>
                  </a:lnTo>
                  <a:lnTo>
                    <a:pt x="99" y="243"/>
                  </a:lnTo>
                  <a:lnTo>
                    <a:pt x="102" y="235"/>
                  </a:lnTo>
                  <a:lnTo>
                    <a:pt x="99" y="220"/>
                  </a:lnTo>
                  <a:lnTo>
                    <a:pt x="78" y="195"/>
                  </a:lnTo>
                  <a:lnTo>
                    <a:pt x="68" y="156"/>
                  </a:lnTo>
                  <a:lnTo>
                    <a:pt x="78" y="139"/>
                  </a:lnTo>
                  <a:lnTo>
                    <a:pt x="75" y="114"/>
                  </a:lnTo>
                  <a:lnTo>
                    <a:pt x="56" y="58"/>
                  </a:lnTo>
                  <a:lnTo>
                    <a:pt x="33" y="20"/>
                  </a:lnTo>
                  <a:lnTo>
                    <a:pt x="78" y="2"/>
                  </a:lnTo>
                  <a:lnTo>
                    <a:pt x="112" y="2"/>
                  </a:lnTo>
                  <a:lnTo>
                    <a:pt x="146" y="0"/>
                  </a:lnTo>
                  <a:lnTo>
                    <a:pt x="180" y="0"/>
                  </a:lnTo>
                  <a:lnTo>
                    <a:pt x="215" y="0"/>
                  </a:lnTo>
                  <a:lnTo>
                    <a:pt x="231" y="14"/>
                  </a:lnTo>
                  <a:lnTo>
                    <a:pt x="246" y="70"/>
                  </a:lnTo>
                  <a:lnTo>
                    <a:pt x="274" y="104"/>
                  </a:lnTo>
                  <a:lnTo>
                    <a:pt x="285" y="107"/>
                  </a:lnTo>
                  <a:lnTo>
                    <a:pt x="325" y="99"/>
                  </a:lnTo>
                  <a:lnTo>
                    <a:pt x="356" y="101"/>
                  </a:lnTo>
                  <a:lnTo>
                    <a:pt x="367" y="54"/>
                  </a:lnTo>
                  <a:lnTo>
                    <a:pt x="424" y="50"/>
                  </a:lnTo>
                  <a:lnTo>
                    <a:pt x="424" y="68"/>
                  </a:lnTo>
                  <a:lnTo>
                    <a:pt x="464" y="68"/>
                  </a:lnTo>
                  <a:lnTo>
                    <a:pt x="469" y="79"/>
                  </a:lnTo>
                  <a:lnTo>
                    <a:pt x="475" y="142"/>
                  </a:lnTo>
                  <a:lnTo>
                    <a:pt x="471" y="168"/>
                  </a:lnTo>
                  <a:lnTo>
                    <a:pt x="484" y="220"/>
                  </a:lnTo>
                  <a:lnTo>
                    <a:pt x="480" y="246"/>
                  </a:lnTo>
                  <a:lnTo>
                    <a:pt x="493" y="254"/>
                  </a:lnTo>
                  <a:lnTo>
                    <a:pt x="503" y="241"/>
                  </a:lnTo>
                  <a:lnTo>
                    <a:pt x="532" y="240"/>
                  </a:lnTo>
                  <a:lnTo>
                    <a:pt x="565" y="240"/>
                  </a:lnTo>
                  <a:lnTo>
                    <a:pt x="574" y="234"/>
                  </a:lnTo>
                  <a:lnTo>
                    <a:pt x="577" y="240"/>
                  </a:lnTo>
                  <a:lnTo>
                    <a:pt x="569" y="324"/>
                  </a:lnTo>
                  <a:lnTo>
                    <a:pt x="582" y="334"/>
                  </a:lnTo>
                  <a:lnTo>
                    <a:pt x="548" y="334"/>
                  </a:lnTo>
                  <a:lnTo>
                    <a:pt x="514" y="334"/>
                  </a:lnTo>
                  <a:lnTo>
                    <a:pt x="481" y="334"/>
                  </a:lnTo>
                  <a:lnTo>
                    <a:pt x="481" y="368"/>
                  </a:lnTo>
                  <a:lnTo>
                    <a:pt x="481" y="402"/>
                  </a:lnTo>
                  <a:lnTo>
                    <a:pt x="481" y="449"/>
                  </a:lnTo>
                  <a:lnTo>
                    <a:pt x="483" y="503"/>
                  </a:lnTo>
                  <a:lnTo>
                    <a:pt x="535" y="552"/>
                  </a:lnTo>
                  <a:lnTo>
                    <a:pt x="454" y="574"/>
                  </a:lnTo>
                  <a:lnTo>
                    <a:pt x="390" y="560"/>
                  </a:lnTo>
                  <a:lnTo>
                    <a:pt x="344" y="562"/>
                  </a:lnTo>
                  <a:lnTo>
                    <a:pt x="328" y="557"/>
                  </a:lnTo>
                  <a:lnTo>
                    <a:pt x="310" y="54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49" name="Freeform 348">
              <a:extLst>
                <a:ext uri="{FF2B5EF4-FFF2-40B4-BE49-F238E27FC236}">
                  <a16:creationId xmlns:a16="http://schemas.microsoft.com/office/drawing/2014/main" id="{CFE61459-D25D-A84B-8A5C-1BC232C6F12F}"/>
                </a:ext>
              </a:extLst>
            </p:cNvPr>
            <p:cNvSpPr>
              <a:spLocks noChangeAspect="1"/>
            </p:cNvSpPr>
            <p:nvPr/>
          </p:nvSpPr>
          <p:spPr bwMode="gray">
            <a:xfrm>
              <a:off x="5197618" y="4692454"/>
              <a:ext cx="178619" cy="199572"/>
            </a:xfrm>
            <a:custGeom>
              <a:avLst/>
              <a:gdLst>
                <a:gd name="T0" fmla="*/ 83 w 361"/>
                <a:gd name="T1" fmla="*/ 109 h 342"/>
                <a:gd name="T2" fmla="*/ 95 w 361"/>
                <a:gd name="T3" fmla="*/ 104 h 342"/>
                <a:gd name="T4" fmla="*/ 115 w 361"/>
                <a:gd name="T5" fmla="*/ 83 h 342"/>
                <a:gd name="T6" fmla="*/ 132 w 361"/>
                <a:gd name="T7" fmla="*/ 73 h 342"/>
                <a:gd name="T8" fmla="*/ 133 w 361"/>
                <a:gd name="T9" fmla="*/ 64 h 342"/>
                <a:gd name="T10" fmla="*/ 150 w 361"/>
                <a:gd name="T11" fmla="*/ 58 h 342"/>
                <a:gd name="T12" fmla="*/ 164 w 361"/>
                <a:gd name="T13" fmla="*/ 61 h 342"/>
                <a:gd name="T14" fmla="*/ 172 w 361"/>
                <a:gd name="T15" fmla="*/ 52 h 342"/>
                <a:gd name="T16" fmla="*/ 161 w 361"/>
                <a:gd name="T17" fmla="*/ 45 h 342"/>
                <a:gd name="T18" fmla="*/ 163 w 361"/>
                <a:gd name="T19" fmla="*/ 39 h 342"/>
                <a:gd name="T20" fmla="*/ 164 w 361"/>
                <a:gd name="T21" fmla="*/ 19 h 342"/>
                <a:gd name="T22" fmla="*/ 210 w 361"/>
                <a:gd name="T23" fmla="*/ 0 h 342"/>
                <a:gd name="T24" fmla="*/ 223 w 361"/>
                <a:gd name="T25" fmla="*/ 5 h 342"/>
                <a:gd name="T26" fmla="*/ 237 w 361"/>
                <a:gd name="T27" fmla="*/ 2 h 342"/>
                <a:gd name="T28" fmla="*/ 237 w 361"/>
                <a:gd name="T29" fmla="*/ 16 h 342"/>
                <a:gd name="T30" fmla="*/ 285 w 361"/>
                <a:gd name="T31" fmla="*/ 20 h 342"/>
                <a:gd name="T32" fmla="*/ 345 w 361"/>
                <a:gd name="T33" fmla="*/ 44 h 342"/>
                <a:gd name="T34" fmla="*/ 354 w 361"/>
                <a:gd name="T35" fmla="*/ 50 h 342"/>
                <a:gd name="T36" fmla="*/ 361 w 361"/>
                <a:gd name="T37" fmla="*/ 90 h 342"/>
                <a:gd name="T38" fmla="*/ 361 w 361"/>
                <a:gd name="T39" fmla="*/ 129 h 342"/>
                <a:gd name="T40" fmla="*/ 348 w 361"/>
                <a:gd name="T41" fmla="*/ 164 h 342"/>
                <a:gd name="T42" fmla="*/ 356 w 361"/>
                <a:gd name="T43" fmla="*/ 211 h 342"/>
                <a:gd name="T44" fmla="*/ 320 w 361"/>
                <a:gd name="T45" fmla="*/ 298 h 342"/>
                <a:gd name="T46" fmla="*/ 299 w 361"/>
                <a:gd name="T47" fmla="*/ 318 h 342"/>
                <a:gd name="T48" fmla="*/ 294 w 361"/>
                <a:gd name="T49" fmla="*/ 342 h 342"/>
                <a:gd name="T50" fmla="*/ 278 w 361"/>
                <a:gd name="T51" fmla="*/ 327 h 342"/>
                <a:gd name="T52" fmla="*/ 261 w 361"/>
                <a:gd name="T53" fmla="*/ 321 h 342"/>
                <a:gd name="T54" fmla="*/ 229 w 361"/>
                <a:gd name="T55" fmla="*/ 321 h 342"/>
                <a:gd name="T56" fmla="*/ 201 w 361"/>
                <a:gd name="T57" fmla="*/ 313 h 342"/>
                <a:gd name="T58" fmla="*/ 193 w 361"/>
                <a:gd name="T59" fmla="*/ 316 h 342"/>
                <a:gd name="T60" fmla="*/ 163 w 361"/>
                <a:gd name="T61" fmla="*/ 301 h 342"/>
                <a:gd name="T62" fmla="*/ 141 w 361"/>
                <a:gd name="T63" fmla="*/ 299 h 342"/>
                <a:gd name="T64" fmla="*/ 127 w 361"/>
                <a:gd name="T65" fmla="*/ 288 h 342"/>
                <a:gd name="T66" fmla="*/ 119 w 361"/>
                <a:gd name="T67" fmla="*/ 242 h 342"/>
                <a:gd name="T68" fmla="*/ 79 w 361"/>
                <a:gd name="T69" fmla="*/ 211 h 342"/>
                <a:gd name="T70" fmla="*/ 67 w 361"/>
                <a:gd name="T71" fmla="*/ 208 h 342"/>
                <a:gd name="T72" fmla="*/ 41 w 361"/>
                <a:gd name="T73" fmla="*/ 183 h 342"/>
                <a:gd name="T74" fmla="*/ 22 w 361"/>
                <a:gd name="T75" fmla="*/ 146 h 342"/>
                <a:gd name="T76" fmla="*/ 3 w 361"/>
                <a:gd name="T77" fmla="*/ 118 h 342"/>
                <a:gd name="T78" fmla="*/ 0 w 361"/>
                <a:gd name="T79" fmla="*/ 106 h 342"/>
                <a:gd name="T80" fmla="*/ 34 w 361"/>
                <a:gd name="T81" fmla="*/ 113 h 342"/>
                <a:gd name="T82" fmla="*/ 59 w 361"/>
                <a:gd name="T83" fmla="*/ 110 h 342"/>
                <a:gd name="T84" fmla="*/ 68 w 361"/>
                <a:gd name="T85" fmla="*/ 117 h 342"/>
                <a:gd name="T86" fmla="*/ 78 w 361"/>
                <a:gd name="T87" fmla="*/ 115 h 342"/>
                <a:gd name="T88" fmla="*/ 83 w 361"/>
                <a:gd name="T89" fmla="*/ 1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1" h="342">
                  <a:moveTo>
                    <a:pt x="83" y="109"/>
                  </a:moveTo>
                  <a:lnTo>
                    <a:pt x="95" y="104"/>
                  </a:lnTo>
                  <a:lnTo>
                    <a:pt x="115" y="83"/>
                  </a:lnTo>
                  <a:lnTo>
                    <a:pt x="132" y="73"/>
                  </a:lnTo>
                  <a:lnTo>
                    <a:pt x="133" y="64"/>
                  </a:lnTo>
                  <a:lnTo>
                    <a:pt x="150" y="58"/>
                  </a:lnTo>
                  <a:lnTo>
                    <a:pt x="164" y="61"/>
                  </a:lnTo>
                  <a:lnTo>
                    <a:pt x="172" y="52"/>
                  </a:lnTo>
                  <a:lnTo>
                    <a:pt x="161" y="45"/>
                  </a:lnTo>
                  <a:lnTo>
                    <a:pt x="163" y="39"/>
                  </a:lnTo>
                  <a:lnTo>
                    <a:pt x="164" y="19"/>
                  </a:lnTo>
                  <a:lnTo>
                    <a:pt x="210" y="0"/>
                  </a:lnTo>
                  <a:lnTo>
                    <a:pt x="223" y="5"/>
                  </a:lnTo>
                  <a:lnTo>
                    <a:pt x="237" y="2"/>
                  </a:lnTo>
                  <a:lnTo>
                    <a:pt x="237" y="16"/>
                  </a:lnTo>
                  <a:lnTo>
                    <a:pt x="285" y="20"/>
                  </a:lnTo>
                  <a:lnTo>
                    <a:pt x="345" y="44"/>
                  </a:lnTo>
                  <a:lnTo>
                    <a:pt x="354" y="50"/>
                  </a:lnTo>
                  <a:lnTo>
                    <a:pt x="361" y="90"/>
                  </a:lnTo>
                  <a:lnTo>
                    <a:pt x="361" y="129"/>
                  </a:lnTo>
                  <a:lnTo>
                    <a:pt x="348" y="164"/>
                  </a:lnTo>
                  <a:lnTo>
                    <a:pt x="356" y="211"/>
                  </a:lnTo>
                  <a:lnTo>
                    <a:pt x="320" y="298"/>
                  </a:lnTo>
                  <a:lnTo>
                    <a:pt x="299" y="318"/>
                  </a:lnTo>
                  <a:lnTo>
                    <a:pt x="294" y="342"/>
                  </a:lnTo>
                  <a:lnTo>
                    <a:pt x="278" y="327"/>
                  </a:lnTo>
                  <a:lnTo>
                    <a:pt x="261" y="321"/>
                  </a:lnTo>
                  <a:lnTo>
                    <a:pt x="229" y="321"/>
                  </a:lnTo>
                  <a:lnTo>
                    <a:pt x="201" y="313"/>
                  </a:lnTo>
                  <a:lnTo>
                    <a:pt x="193" y="316"/>
                  </a:lnTo>
                  <a:lnTo>
                    <a:pt x="163" y="301"/>
                  </a:lnTo>
                  <a:lnTo>
                    <a:pt x="141" y="299"/>
                  </a:lnTo>
                  <a:lnTo>
                    <a:pt x="127" y="288"/>
                  </a:lnTo>
                  <a:lnTo>
                    <a:pt x="119" y="242"/>
                  </a:lnTo>
                  <a:lnTo>
                    <a:pt x="79" y="211"/>
                  </a:lnTo>
                  <a:lnTo>
                    <a:pt x="67" y="208"/>
                  </a:lnTo>
                  <a:lnTo>
                    <a:pt x="41" y="183"/>
                  </a:lnTo>
                  <a:lnTo>
                    <a:pt x="22" y="146"/>
                  </a:lnTo>
                  <a:lnTo>
                    <a:pt x="3" y="118"/>
                  </a:lnTo>
                  <a:lnTo>
                    <a:pt x="0" y="106"/>
                  </a:lnTo>
                  <a:lnTo>
                    <a:pt x="34" y="113"/>
                  </a:lnTo>
                  <a:lnTo>
                    <a:pt x="59" y="110"/>
                  </a:lnTo>
                  <a:lnTo>
                    <a:pt x="68" y="117"/>
                  </a:lnTo>
                  <a:lnTo>
                    <a:pt x="78" y="115"/>
                  </a:lnTo>
                  <a:lnTo>
                    <a:pt x="83" y="109"/>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350" name="Freeform 349">
              <a:extLst>
                <a:ext uri="{FF2B5EF4-FFF2-40B4-BE49-F238E27FC236}">
                  <a16:creationId xmlns:a16="http://schemas.microsoft.com/office/drawing/2014/main" id="{F1F6458C-2853-B94F-A669-A049E26D8C0E}"/>
                </a:ext>
              </a:extLst>
            </p:cNvPr>
            <p:cNvSpPr>
              <a:spLocks noChangeAspect="1"/>
            </p:cNvSpPr>
            <p:nvPr/>
          </p:nvSpPr>
          <p:spPr bwMode="gray">
            <a:xfrm>
              <a:off x="5081198" y="4753861"/>
              <a:ext cx="212109" cy="262897"/>
            </a:xfrm>
            <a:custGeom>
              <a:avLst/>
              <a:gdLst>
                <a:gd name="T0" fmla="*/ 437 w 437"/>
                <a:gd name="T1" fmla="*/ 212 h 449"/>
                <a:gd name="T2" fmla="*/ 407 w 437"/>
                <a:gd name="T3" fmla="*/ 197 h 449"/>
                <a:gd name="T4" fmla="*/ 385 w 437"/>
                <a:gd name="T5" fmla="*/ 195 h 449"/>
                <a:gd name="T6" fmla="*/ 371 w 437"/>
                <a:gd name="T7" fmla="*/ 184 h 449"/>
                <a:gd name="T8" fmla="*/ 363 w 437"/>
                <a:gd name="T9" fmla="*/ 138 h 449"/>
                <a:gd name="T10" fmla="*/ 323 w 437"/>
                <a:gd name="T11" fmla="*/ 107 h 449"/>
                <a:gd name="T12" fmla="*/ 311 w 437"/>
                <a:gd name="T13" fmla="*/ 104 h 449"/>
                <a:gd name="T14" fmla="*/ 285 w 437"/>
                <a:gd name="T15" fmla="*/ 79 h 449"/>
                <a:gd name="T16" fmla="*/ 266 w 437"/>
                <a:gd name="T17" fmla="*/ 42 h 449"/>
                <a:gd name="T18" fmla="*/ 247 w 437"/>
                <a:gd name="T19" fmla="*/ 14 h 449"/>
                <a:gd name="T20" fmla="*/ 244 w 437"/>
                <a:gd name="T21" fmla="*/ 2 h 449"/>
                <a:gd name="T22" fmla="*/ 229 w 437"/>
                <a:gd name="T23" fmla="*/ 0 h 449"/>
                <a:gd name="T24" fmla="*/ 219 w 437"/>
                <a:gd name="T25" fmla="*/ 9 h 449"/>
                <a:gd name="T26" fmla="*/ 196 w 437"/>
                <a:gd name="T27" fmla="*/ 16 h 449"/>
                <a:gd name="T28" fmla="*/ 170 w 437"/>
                <a:gd name="T29" fmla="*/ 42 h 449"/>
                <a:gd name="T30" fmla="*/ 161 w 437"/>
                <a:gd name="T31" fmla="*/ 19 h 449"/>
                <a:gd name="T32" fmla="*/ 139 w 437"/>
                <a:gd name="T33" fmla="*/ 14 h 449"/>
                <a:gd name="T34" fmla="*/ 48 w 437"/>
                <a:gd name="T35" fmla="*/ 34 h 449"/>
                <a:gd name="T36" fmla="*/ 48 w 437"/>
                <a:gd name="T37" fmla="*/ 81 h 449"/>
                <a:gd name="T38" fmla="*/ 48 w 437"/>
                <a:gd name="T39" fmla="*/ 115 h 449"/>
                <a:gd name="T40" fmla="*/ 48 w 437"/>
                <a:gd name="T41" fmla="*/ 155 h 449"/>
                <a:gd name="T42" fmla="*/ 48 w 437"/>
                <a:gd name="T43" fmla="*/ 204 h 449"/>
                <a:gd name="T44" fmla="*/ 6 w 437"/>
                <a:gd name="T45" fmla="*/ 203 h 449"/>
                <a:gd name="T46" fmla="*/ 0 w 437"/>
                <a:gd name="T47" fmla="*/ 206 h 449"/>
                <a:gd name="T48" fmla="*/ 0 w 437"/>
                <a:gd name="T49" fmla="*/ 277 h 449"/>
                <a:gd name="T50" fmla="*/ 0 w 437"/>
                <a:gd name="T51" fmla="*/ 342 h 449"/>
                <a:gd name="T52" fmla="*/ 43 w 437"/>
                <a:gd name="T53" fmla="*/ 389 h 449"/>
                <a:gd name="T54" fmla="*/ 45 w 437"/>
                <a:gd name="T55" fmla="*/ 407 h 449"/>
                <a:gd name="T56" fmla="*/ 36 w 437"/>
                <a:gd name="T57" fmla="*/ 435 h 449"/>
                <a:gd name="T58" fmla="*/ 40 w 437"/>
                <a:gd name="T59" fmla="*/ 443 h 449"/>
                <a:gd name="T60" fmla="*/ 77 w 437"/>
                <a:gd name="T61" fmla="*/ 449 h 449"/>
                <a:gd name="T62" fmla="*/ 105 w 437"/>
                <a:gd name="T63" fmla="*/ 441 h 449"/>
                <a:gd name="T64" fmla="*/ 159 w 437"/>
                <a:gd name="T65" fmla="*/ 378 h 449"/>
                <a:gd name="T66" fmla="*/ 181 w 437"/>
                <a:gd name="T67" fmla="*/ 376 h 449"/>
                <a:gd name="T68" fmla="*/ 224 w 437"/>
                <a:gd name="T69" fmla="*/ 392 h 449"/>
                <a:gd name="T70" fmla="*/ 260 w 437"/>
                <a:gd name="T71" fmla="*/ 384 h 449"/>
                <a:gd name="T72" fmla="*/ 277 w 437"/>
                <a:gd name="T73" fmla="*/ 350 h 449"/>
                <a:gd name="T74" fmla="*/ 312 w 437"/>
                <a:gd name="T75" fmla="*/ 317 h 449"/>
                <a:gd name="T76" fmla="*/ 327 w 437"/>
                <a:gd name="T77" fmla="*/ 297 h 449"/>
                <a:gd name="T78" fmla="*/ 352 w 437"/>
                <a:gd name="T79" fmla="*/ 266 h 449"/>
                <a:gd name="T80" fmla="*/ 383 w 437"/>
                <a:gd name="T81" fmla="*/ 243 h 449"/>
                <a:gd name="T82" fmla="*/ 437 w 437"/>
                <a:gd name="T83" fmla="*/ 212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7" h="449">
                  <a:moveTo>
                    <a:pt x="437" y="212"/>
                  </a:moveTo>
                  <a:lnTo>
                    <a:pt x="407" y="197"/>
                  </a:lnTo>
                  <a:lnTo>
                    <a:pt x="385" y="195"/>
                  </a:lnTo>
                  <a:lnTo>
                    <a:pt x="371" y="184"/>
                  </a:lnTo>
                  <a:lnTo>
                    <a:pt x="363" y="138"/>
                  </a:lnTo>
                  <a:lnTo>
                    <a:pt x="323" y="107"/>
                  </a:lnTo>
                  <a:lnTo>
                    <a:pt x="311" y="104"/>
                  </a:lnTo>
                  <a:lnTo>
                    <a:pt x="285" y="79"/>
                  </a:lnTo>
                  <a:lnTo>
                    <a:pt x="266" y="42"/>
                  </a:lnTo>
                  <a:lnTo>
                    <a:pt x="247" y="14"/>
                  </a:lnTo>
                  <a:lnTo>
                    <a:pt x="244" y="2"/>
                  </a:lnTo>
                  <a:lnTo>
                    <a:pt x="229" y="0"/>
                  </a:lnTo>
                  <a:lnTo>
                    <a:pt x="219" y="9"/>
                  </a:lnTo>
                  <a:lnTo>
                    <a:pt x="196" y="16"/>
                  </a:lnTo>
                  <a:lnTo>
                    <a:pt x="170" y="42"/>
                  </a:lnTo>
                  <a:lnTo>
                    <a:pt x="161" y="19"/>
                  </a:lnTo>
                  <a:lnTo>
                    <a:pt x="139" y="14"/>
                  </a:lnTo>
                  <a:lnTo>
                    <a:pt x="48" y="34"/>
                  </a:lnTo>
                  <a:lnTo>
                    <a:pt x="48" y="81"/>
                  </a:lnTo>
                  <a:lnTo>
                    <a:pt x="48" y="115"/>
                  </a:lnTo>
                  <a:lnTo>
                    <a:pt x="48" y="155"/>
                  </a:lnTo>
                  <a:lnTo>
                    <a:pt x="48" y="204"/>
                  </a:lnTo>
                  <a:lnTo>
                    <a:pt x="6" y="203"/>
                  </a:lnTo>
                  <a:lnTo>
                    <a:pt x="0" y="206"/>
                  </a:lnTo>
                  <a:lnTo>
                    <a:pt x="0" y="277"/>
                  </a:lnTo>
                  <a:lnTo>
                    <a:pt x="0" y="342"/>
                  </a:lnTo>
                  <a:lnTo>
                    <a:pt x="43" y="389"/>
                  </a:lnTo>
                  <a:lnTo>
                    <a:pt x="45" y="407"/>
                  </a:lnTo>
                  <a:lnTo>
                    <a:pt x="36" y="435"/>
                  </a:lnTo>
                  <a:lnTo>
                    <a:pt x="40" y="443"/>
                  </a:lnTo>
                  <a:lnTo>
                    <a:pt x="77" y="449"/>
                  </a:lnTo>
                  <a:lnTo>
                    <a:pt x="105" y="441"/>
                  </a:lnTo>
                  <a:lnTo>
                    <a:pt x="159" y="378"/>
                  </a:lnTo>
                  <a:lnTo>
                    <a:pt x="181" y="376"/>
                  </a:lnTo>
                  <a:lnTo>
                    <a:pt x="224" y="392"/>
                  </a:lnTo>
                  <a:lnTo>
                    <a:pt x="260" y="384"/>
                  </a:lnTo>
                  <a:lnTo>
                    <a:pt x="277" y="350"/>
                  </a:lnTo>
                  <a:lnTo>
                    <a:pt x="312" y="317"/>
                  </a:lnTo>
                  <a:lnTo>
                    <a:pt x="327" y="297"/>
                  </a:lnTo>
                  <a:lnTo>
                    <a:pt x="352" y="266"/>
                  </a:lnTo>
                  <a:lnTo>
                    <a:pt x="383" y="243"/>
                  </a:lnTo>
                  <a:lnTo>
                    <a:pt x="437" y="212"/>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51" name="Freeform 350">
              <a:extLst>
                <a:ext uri="{FF2B5EF4-FFF2-40B4-BE49-F238E27FC236}">
                  <a16:creationId xmlns:a16="http://schemas.microsoft.com/office/drawing/2014/main" id="{1E6A27F0-0B38-F84B-80BD-6DC107283974}"/>
                </a:ext>
              </a:extLst>
            </p:cNvPr>
            <p:cNvSpPr>
              <a:spLocks noChangeAspect="1"/>
            </p:cNvSpPr>
            <p:nvPr/>
          </p:nvSpPr>
          <p:spPr bwMode="gray">
            <a:xfrm>
              <a:off x="4894604" y="4726996"/>
              <a:ext cx="303014" cy="356923"/>
            </a:xfrm>
            <a:custGeom>
              <a:avLst/>
              <a:gdLst>
                <a:gd name="T0" fmla="*/ 308 w 623"/>
                <a:gd name="T1" fmla="*/ 22 h 605"/>
                <a:gd name="T2" fmla="*/ 258 w 623"/>
                <a:gd name="T3" fmla="*/ 22 h 605"/>
                <a:gd name="T4" fmla="*/ 205 w 623"/>
                <a:gd name="T5" fmla="*/ 22 h 605"/>
                <a:gd name="T6" fmla="*/ 154 w 623"/>
                <a:gd name="T7" fmla="*/ 22 h 605"/>
                <a:gd name="T8" fmla="*/ 103 w 623"/>
                <a:gd name="T9" fmla="*/ 22 h 605"/>
                <a:gd name="T10" fmla="*/ 76 w 623"/>
                <a:gd name="T11" fmla="*/ 0 h 605"/>
                <a:gd name="T12" fmla="*/ 69 w 623"/>
                <a:gd name="T13" fmla="*/ 0 h 605"/>
                <a:gd name="T14" fmla="*/ 49 w 623"/>
                <a:gd name="T15" fmla="*/ 0 h 605"/>
                <a:gd name="T16" fmla="*/ 27 w 623"/>
                <a:gd name="T17" fmla="*/ 14 h 605"/>
                <a:gd name="T18" fmla="*/ 18 w 623"/>
                <a:gd name="T19" fmla="*/ 8 h 605"/>
                <a:gd name="T20" fmla="*/ 0 w 623"/>
                <a:gd name="T21" fmla="*/ 21 h 605"/>
                <a:gd name="T22" fmla="*/ 1 w 623"/>
                <a:gd name="T23" fmla="*/ 61 h 605"/>
                <a:gd name="T24" fmla="*/ 46 w 623"/>
                <a:gd name="T25" fmla="*/ 126 h 605"/>
                <a:gd name="T26" fmla="*/ 80 w 623"/>
                <a:gd name="T27" fmla="*/ 200 h 605"/>
                <a:gd name="T28" fmla="*/ 125 w 623"/>
                <a:gd name="T29" fmla="*/ 276 h 605"/>
                <a:gd name="T30" fmla="*/ 127 w 623"/>
                <a:gd name="T31" fmla="*/ 356 h 605"/>
                <a:gd name="T32" fmla="*/ 144 w 623"/>
                <a:gd name="T33" fmla="*/ 400 h 605"/>
                <a:gd name="T34" fmla="*/ 144 w 623"/>
                <a:gd name="T35" fmla="*/ 437 h 605"/>
                <a:gd name="T36" fmla="*/ 162 w 623"/>
                <a:gd name="T37" fmla="*/ 522 h 605"/>
                <a:gd name="T38" fmla="*/ 187 w 623"/>
                <a:gd name="T39" fmla="*/ 557 h 605"/>
                <a:gd name="T40" fmla="*/ 222 w 623"/>
                <a:gd name="T41" fmla="*/ 588 h 605"/>
                <a:gd name="T42" fmla="*/ 230 w 623"/>
                <a:gd name="T43" fmla="*/ 584 h 605"/>
                <a:gd name="T44" fmla="*/ 238 w 623"/>
                <a:gd name="T45" fmla="*/ 570 h 605"/>
                <a:gd name="T46" fmla="*/ 249 w 623"/>
                <a:gd name="T47" fmla="*/ 567 h 605"/>
                <a:gd name="T48" fmla="*/ 271 w 623"/>
                <a:gd name="T49" fmla="*/ 582 h 605"/>
                <a:gd name="T50" fmla="*/ 271 w 623"/>
                <a:gd name="T51" fmla="*/ 595 h 605"/>
                <a:gd name="T52" fmla="*/ 281 w 623"/>
                <a:gd name="T53" fmla="*/ 605 h 605"/>
                <a:gd name="T54" fmla="*/ 340 w 623"/>
                <a:gd name="T55" fmla="*/ 605 h 605"/>
                <a:gd name="T56" fmla="*/ 379 w 623"/>
                <a:gd name="T57" fmla="*/ 579 h 605"/>
                <a:gd name="T58" fmla="*/ 379 w 623"/>
                <a:gd name="T59" fmla="*/ 498 h 605"/>
                <a:gd name="T60" fmla="*/ 379 w 623"/>
                <a:gd name="T61" fmla="*/ 440 h 605"/>
                <a:gd name="T62" fmla="*/ 379 w 623"/>
                <a:gd name="T63" fmla="*/ 384 h 605"/>
                <a:gd name="T64" fmla="*/ 379 w 623"/>
                <a:gd name="T65" fmla="*/ 319 h 605"/>
                <a:gd name="T66" fmla="*/ 379 w 623"/>
                <a:gd name="T67" fmla="*/ 248 h 605"/>
                <a:gd name="T68" fmla="*/ 385 w 623"/>
                <a:gd name="T69" fmla="*/ 245 h 605"/>
                <a:gd name="T70" fmla="*/ 427 w 623"/>
                <a:gd name="T71" fmla="*/ 246 h 605"/>
                <a:gd name="T72" fmla="*/ 427 w 623"/>
                <a:gd name="T73" fmla="*/ 197 h 605"/>
                <a:gd name="T74" fmla="*/ 427 w 623"/>
                <a:gd name="T75" fmla="*/ 155 h 605"/>
                <a:gd name="T76" fmla="*/ 427 w 623"/>
                <a:gd name="T77" fmla="*/ 124 h 605"/>
                <a:gd name="T78" fmla="*/ 427 w 623"/>
                <a:gd name="T79" fmla="*/ 76 h 605"/>
                <a:gd name="T80" fmla="*/ 518 w 623"/>
                <a:gd name="T81" fmla="*/ 56 h 605"/>
                <a:gd name="T82" fmla="*/ 540 w 623"/>
                <a:gd name="T83" fmla="*/ 61 h 605"/>
                <a:gd name="T84" fmla="*/ 549 w 623"/>
                <a:gd name="T85" fmla="*/ 84 h 605"/>
                <a:gd name="T86" fmla="*/ 575 w 623"/>
                <a:gd name="T87" fmla="*/ 58 h 605"/>
                <a:gd name="T88" fmla="*/ 598 w 623"/>
                <a:gd name="T89" fmla="*/ 51 h 605"/>
                <a:gd name="T90" fmla="*/ 608 w 623"/>
                <a:gd name="T91" fmla="*/ 42 h 605"/>
                <a:gd name="T92" fmla="*/ 623 w 623"/>
                <a:gd name="T93" fmla="*/ 44 h 605"/>
                <a:gd name="T94" fmla="*/ 608 w 623"/>
                <a:gd name="T95" fmla="*/ 30 h 605"/>
                <a:gd name="T96" fmla="*/ 575 w 623"/>
                <a:gd name="T97" fmla="*/ 24 h 605"/>
                <a:gd name="T98" fmla="*/ 533 w 623"/>
                <a:gd name="T99" fmla="*/ 34 h 605"/>
                <a:gd name="T100" fmla="*/ 452 w 623"/>
                <a:gd name="T101" fmla="*/ 56 h 605"/>
                <a:gd name="T102" fmla="*/ 388 w 623"/>
                <a:gd name="T103" fmla="*/ 42 h 605"/>
                <a:gd name="T104" fmla="*/ 342 w 623"/>
                <a:gd name="T105" fmla="*/ 44 h 605"/>
                <a:gd name="T106" fmla="*/ 326 w 623"/>
                <a:gd name="T107" fmla="*/ 39 h 605"/>
                <a:gd name="T108" fmla="*/ 308 w 623"/>
                <a:gd name="T109" fmla="*/ 22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3" h="605">
                  <a:moveTo>
                    <a:pt x="308" y="22"/>
                  </a:moveTo>
                  <a:lnTo>
                    <a:pt x="258" y="22"/>
                  </a:lnTo>
                  <a:lnTo>
                    <a:pt x="205" y="22"/>
                  </a:lnTo>
                  <a:lnTo>
                    <a:pt x="154" y="22"/>
                  </a:lnTo>
                  <a:lnTo>
                    <a:pt x="103" y="22"/>
                  </a:lnTo>
                  <a:lnTo>
                    <a:pt x="76" y="0"/>
                  </a:lnTo>
                  <a:lnTo>
                    <a:pt x="69" y="0"/>
                  </a:lnTo>
                  <a:lnTo>
                    <a:pt x="49" y="0"/>
                  </a:lnTo>
                  <a:lnTo>
                    <a:pt x="27" y="14"/>
                  </a:lnTo>
                  <a:lnTo>
                    <a:pt x="18" y="8"/>
                  </a:lnTo>
                  <a:lnTo>
                    <a:pt x="0" y="21"/>
                  </a:lnTo>
                  <a:lnTo>
                    <a:pt x="1" y="61"/>
                  </a:lnTo>
                  <a:lnTo>
                    <a:pt x="46" y="126"/>
                  </a:lnTo>
                  <a:lnTo>
                    <a:pt x="80" y="200"/>
                  </a:lnTo>
                  <a:lnTo>
                    <a:pt x="125" y="276"/>
                  </a:lnTo>
                  <a:lnTo>
                    <a:pt x="127" y="356"/>
                  </a:lnTo>
                  <a:lnTo>
                    <a:pt x="144" y="400"/>
                  </a:lnTo>
                  <a:lnTo>
                    <a:pt x="144" y="437"/>
                  </a:lnTo>
                  <a:lnTo>
                    <a:pt x="162" y="522"/>
                  </a:lnTo>
                  <a:lnTo>
                    <a:pt x="187" y="557"/>
                  </a:lnTo>
                  <a:lnTo>
                    <a:pt x="222" y="588"/>
                  </a:lnTo>
                  <a:lnTo>
                    <a:pt x="230" y="584"/>
                  </a:lnTo>
                  <a:lnTo>
                    <a:pt x="238" y="570"/>
                  </a:lnTo>
                  <a:lnTo>
                    <a:pt x="249" y="567"/>
                  </a:lnTo>
                  <a:lnTo>
                    <a:pt x="271" y="582"/>
                  </a:lnTo>
                  <a:lnTo>
                    <a:pt x="271" y="595"/>
                  </a:lnTo>
                  <a:lnTo>
                    <a:pt x="281" y="605"/>
                  </a:lnTo>
                  <a:lnTo>
                    <a:pt x="340" y="605"/>
                  </a:lnTo>
                  <a:lnTo>
                    <a:pt x="379" y="579"/>
                  </a:lnTo>
                  <a:lnTo>
                    <a:pt x="379" y="498"/>
                  </a:lnTo>
                  <a:lnTo>
                    <a:pt x="379" y="440"/>
                  </a:lnTo>
                  <a:lnTo>
                    <a:pt x="379" y="384"/>
                  </a:lnTo>
                  <a:lnTo>
                    <a:pt x="379" y="319"/>
                  </a:lnTo>
                  <a:lnTo>
                    <a:pt x="379" y="248"/>
                  </a:lnTo>
                  <a:lnTo>
                    <a:pt x="385" y="245"/>
                  </a:lnTo>
                  <a:lnTo>
                    <a:pt x="427" y="246"/>
                  </a:lnTo>
                  <a:lnTo>
                    <a:pt x="427" y="197"/>
                  </a:lnTo>
                  <a:lnTo>
                    <a:pt x="427" y="155"/>
                  </a:lnTo>
                  <a:lnTo>
                    <a:pt x="427" y="124"/>
                  </a:lnTo>
                  <a:lnTo>
                    <a:pt x="427" y="76"/>
                  </a:lnTo>
                  <a:lnTo>
                    <a:pt x="518" y="56"/>
                  </a:lnTo>
                  <a:lnTo>
                    <a:pt x="540" y="61"/>
                  </a:lnTo>
                  <a:lnTo>
                    <a:pt x="549" y="84"/>
                  </a:lnTo>
                  <a:lnTo>
                    <a:pt x="575" y="58"/>
                  </a:lnTo>
                  <a:lnTo>
                    <a:pt x="598" y="51"/>
                  </a:lnTo>
                  <a:lnTo>
                    <a:pt x="608" y="42"/>
                  </a:lnTo>
                  <a:lnTo>
                    <a:pt x="623" y="44"/>
                  </a:lnTo>
                  <a:lnTo>
                    <a:pt x="608" y="30"/>
                  </a:lnTo>
                  <a:lnTo>
                    <a:pt x="575" y="24"/>
                  </a:lnTo>
                  <a:lnTo>
                    <a:pt x="533" y="34"/>
                  </a:lnTo>
                  <a:lnTo>
                    <a:pt x="452" y="56"/>
                  </a:lnTo>
                  <a:lnTo>
                    <a:pt x="388" y="42"/>
                  </a:lnTo>
                  <a:lnTo>
                    <a:pt x="342" y="44"/>
                  </a:lnTo>
                  <a:lnTo>
                    <a:pt x="326" y="39"/>
                  </a:lnTo>
                  <a:lnTo>
                    <a:pt x="308" y="22"/>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52" name="Freeform 351">
              <a:extLst>
                <a:ext uri="{FF2B5EF4-FFF2-40B4-BE49-F238E27FC236}">
                  <a16:creationId xmlns:a16="http://schemas.microsoft.com/office/drawing/2014/main" id="{DF71A1C0-9D3A-854A-B9B1-9FB724515EA9}"/>
                </a:ext>
              </a:extLst>
            </p:cNvPr>
            <p:cNvSpPr>
              <a:spLocks noChangeAspect="1"/>
            </p:cNvSpPr>
            <p:nvPr/>
          </p:nvSpPr>
          <p:spPr bwMode="gray">
            <a:xfrm>
              <a:off x="5288522" y="4295232"/>
              <a:ext cx="39870" cy="46054"/>
            </a:xfrm>
            <a:custGeom>
              <a:avLst/>
              <a:gdLst>
                <a:gd name="T0" fmla="*/ 67 w 87"/>
                <a:gd name="T1" fmla="*/ 0 h 79"/>
                <a:gd name="T2" fmla="*/ 56 w 87"/>
                <a:gd name="T3" fmla="*/ 4 h 79"/>
                <a:gd name="T4" fmla="*/ 48 w 87"/>
                <a:gd name="T5" fmla="*/ 16 h 79"/>
                <a:gd name="T6" fmla="*/ 33 w 87"/>
                <a:gd name="T7" fmla="*/ 13 h 79"/>
                <a:gd name="T8" fmla="*/ 12 w 87"/>
                <a:gd name="T9" fmla="*/ 42 h 79"/>
                <a:gd name="T10" fmla="*/ 0 w 87"/>
                <a:gd name="T11" fmla="*/ 62 h 79"/>
                <a:gd name="T12" fmla="*/ 5 w 87"/>
                <a:gd name="T13" fmla="*/ 76 h 79"/>
                <a:gd name="T14" fmla="*/ 11 w 87"/>
                <a:gd name="T15" fmla="*/ 67 h 79"/>
                <a:gd name="T16" fmla="*/ 16 w 87"/>
                <a:gd name="T17" fmla="*/ 68 h 79"/>
                <a:gd name="T18" fmla="*/ 24 w 87"/>
                <a:gd name="T19" fmla="*/ 79 h 79"/>
                <a:gd name="T20" fmla="*/ 39 w 87"/>
                <a:gd name="T21" fmla="*/ 76 h 79"/>
                <a:gd name="T22" fmla="*/ 46 w 87"/>
                <a:gd name="T23" fmla="*/ 61 h 79"/>
                <a:gd name="T24" fmla="*/ 68 w 87"/>
                <a:gd name="T25" fmla="*/ 59 h 79"/>
                <a:gd name="T26" fmla="*/ 75 w 87"/>
                <a:gd name="T27" fmla="*/ 62 h 79"/>
                <a:gd name="T28" fmla="*/ 87 w 87"/>
                <a:gd name="T29" fmla="*/ 42 h 79"/>
                <a:gd name="T30" fmla="*/ 67 w 87"/>
                <a:gd name="T3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 h="79">
                  <a:moveTo>
                    <a:pt x="67" y="0"/>
                  </a:moveTo>
                  <a:lnTo>
                    <a:pt x="56" y="4"/>
                  </a:lnTo>
                  <a:lnTo>
                    <a:pt x="48" y="16"/>
                  </a:lnTo>
                  <a:lnTo>
                    <a:pt x="33" y="13"/>
                  </a:lnTo>
                  <a:lnTo>
                    <a:pt x="12" y="42"/>
                  </a:lnTo>
                  <a:lnTo>
                    <a:pt x="0" y="62"/>
                  </a:lnTo>
                  <a:lnTo>
                    <a:pt x="5" y="76"/>
                  </a:lnTo>
                  <a:lnTo>
                    <a:pt x="11" y="67"/>
                  </a:lnTo>
                  <a:lnTo>
                    <a:pt x="16" y="68"/>
                  </a:lnTo>
                  <a:lnTo>
                    <a:pt x="24" y="79"/>
                  </a:lnTo>
                  <a:lnTo>
                    <a:pt x="39" y="76"/>
                  </a:lnTo>
                  <a:lnTo>
                    <a:pt x="46" y="61"/>
                  </a:lnTo>
                  <a:lnTo>
                    <a:pt x="68" y="59"/>
                  </a:lnTo>
                  <a:lnTo>
                    <a:pt x="75" y="62"/>
                  </a:lnTo>
                  <a:lnTo>
                    <a:pt x="87" y="42"/>
                  </a:lnTo>
                  <a:lnTo>
                    <a:pt x="67" y="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53" name="Freeform 352">
              <a:extLst>
                <a:ext uri="{FF2B5EF4-FFF2-40B4-BE49-F238E27FC236}">
                  <a16:creationId xmlns:a16="http://schemas.microsoft.com/office/drawing/2014/main" id="{E7CF29E2-8BFA-3D46-95D9-FF0267B418EB}"/>
                </a:ext>
              </a:extLst>
            </p:cNvPr>
            <p:cNvSpPr>
              <a:spLocks noChangeAspect="1"/>
            </p:cNvSpPr>
            <p:nvPr/>
          </p:nvSpPr>
          <p:spPr bwMode="gray">
            <a:xfrm>
              <a:off x="5290117" y="4329772"/>
              <a:ext cx="38273" cy="55649"/>
            </a:xfrm>
            <a:custGeom>
              <a:avLst/>
              <a:gdLst>
                <a:gd name="T0" fmla="*/ 19 w 79"/>
                <a:gd name="T1" fmla="*/ 96 h 96"/>
                <a:gd name="T2" fmla="*/ 9 w 79"/>
                <a:gd name="T3" fmla="*/ 71 h 96"/>
                <a:gd name="T4" fmla="*/ 9 w 79"/>
                <a:gd name="T5" fmla="*/ 48 h 96"/>
                <a:gd name="T6" fmla="*/ 7 w 79"/>
                <a:gd name="T7" fmla="*/ 28 h 96"/>
                <a:gd name="T8" fmla="*/ 0 w 79"/>
                <a:gd name="T9" fmla="*/ 17 h 96"/>
                <a:gd name="T10" fmla="*/ 6 w 79"/>
                <a:gd name="T11" fmla="*/ 8 h 96"/>
                <a:gd name="T12" fmla="*/ 11 w 79"/>
                <a:gd name="T13" fmla="*/ 9 h 96"/>
                <a:gd name="T14" fmla="*/ 19 w 79"/>
                <a:gd name="T15" fmla="*/ 20 h 96"/>
                <a:gd name="T16" fmla="*/ 34 w 79"/>
                <a:gd name="T17" fmla="*/ 17 h 96"/>
                <a:gd name="T18" fmla="*/ 41 w 79"/>
                <a:gd name="T19" fmla="*/ 2 h 96"/>
                <a:gd name="T20" fmla="*/ 63 w 79"/>
                <a:gd name="T21" fmla="*/ 0 h 96"/>
                <a:gd name="T22" fmla="*/ 70 w 79"/>
                <a:gd name="T23" fmla="*/ 3 h 96"/>
                <a:gd name="T24" fmla="*/ 65 w 79"/>
                <a:gd name="T25" fmla="*/ 19 h 96"/>
                <a:gd name="T26" fmla="*/ 77 w 79"/>
                <a:gd name="T27" fmla="*/ 28 h 96"/>
                <a:gd name="T28" fmla="*/ 79 w 79"/>
                <a:gd name="T29" fmla="*/ 39 h 96"/>
                <a:gd name="T30" fmla="*/ 48 w 79"/>
                <a:gd name="T31" fmla="*/ 88 h 96"/>
                <a:gd name="T32" fmla="*/ 24 w 79"/>
                <a:gd name="T33" fmla="*/ 96 h 96"/>
                <a:gd name="T34" fmla="*/ 19 w 79"/>
                <a:gd name="T35"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 h="96">
                  <a:moveTo>
                    <a:pt x="19" y="96"/>
                  </a:moveTo>
                  <a:lnTo>
                    <a:pt x="9" y="71"/>
                  </a:lnTo>
                  <a:lnTo>
                    <a:pt x="9" y="48"/>
                  </a:lnTo>
                  <a:lnTo>
                    <a:pt x="7" y="28"/>
                  </a:lnTo>
                  <a:lnTo>
                    <a:pt x="0" y="17"/>
                  </a:lnTo>
                  <a:lnTo>
                    <a:pt x="6" y="8"/>
                  </a:lnTo>
                  <a:lnTo>
                    <a:pt x="11" y="9"/>
                  </a:lnTo>
                  <a:lnTo>
                    <a:pt x="19" y="20"/>
                  </a:lnTo>
                  <a:lnTo>
                    <a:pt x="34" y="17"/>
                  </a:lnTo>
                  <a:lnTo>
                    <a:pt x="41" y="2"/>
                  </a:lnTo>
                  <a:lnTo>
                    <a:pt x="63" y="0"/>
                  </a:lnTo>
                  <a:lnTo>
                    <a:pt x="70" y="3"/>
                  </a:lnTo>
                  <a:lnTo>
                    <a:pt x="65" y="19"/>
                  </a:lnTo>
                  <a:lnTo>
                    <a:pt x="77" y="28"/>
                  </a:lnTo>
                  <a:lnTo>
                    <a:pt x="79" y="39"/>
                  </a:lnTo>
                  <a:lnTo>
                    <a:pt x="48" y="88"/>
                  </a:lnTo>
                  <a:lnTo>
                    <a:pt x="24" y="96"/>
                  </a:lnTo>
                  <a:lnTo>
                    <a:pt x="19" y="96"/>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54" name="Freeform 353">
              <a:extLst>
                <a:ext uri="{FF2B5EF4-FFF2-40B4-BE49-F238E27FC236}">
                  <a16:creationId xmlns:a16="http://schemas.microsoft.com/office/drawing/2014/main" id="{63B78FBC-1EC0-5E4C-B0D5-32A8B91280DF}"/>
                </a:ext>
              </a:extLst>
            </p:cNvPr>
            <p:cNvSpPr>
              <a:spLocks noChangeAspect="1"/>
            </p:cNvSpPr>
            <p:nvPr/>
          </p:nvSpPr>
          <p:spPr bwMode="gray">
            <a:xfrm>
              <a:off x="4900984" y="4385422"/>
              <a:ext cx="23922" cy="40297"/>
            </a:xfrm>
            <a:custGeom>
              <a:avLst/>
              <a:gdLst>
                <a:gd name="T0" fmla="*/ 16 w 48"/>
                <a:gd name="T1" fmla="*/ 66 h 66"/>
                <a:gd name="T2" fmla="*/ 8 w 48"/>
                <a:gd name="T3" fmla="*/ 61 h 66"/>
                <a:gd name="T4" fmla="*/ 5 w 48"/>
                <a:gd name="T5" fmla="*/ 36 h 66"/>
                <a:gd name="T6" fmla="*/ 0 w 48"/>
                <a:gd name="T7" fmla="*/ 30 h 66"/>
                <a:gd name="T8" fmla="*/ 20 w 48"/>
                <a:gd name="T9" fmla="*/ 17 h 66"/>
                <a:gd name="T10" fmla="*/ 28 w 48"/>
                <a:gd name="T11" fmla="*/ 5 h 66"/>
                <a:gd name="T12" fmla="*/ 36 w 48"/>
                <a:gd name="T13" fmla="*/ 0 h 66"/>
                <a:gd name="T14" fmla="*/ 42 w 48"/>
                <a:gd name="T15" fmla="*/ 4 h 66"/>
                <a:gd name="T16" fmla="*/ 48 w 48"/>
                <a:gd name="T17" fmla="*/ 13 h 66"/>
                <a:gd name="T18" fmla="*/ 29 w 48"/>
                <a:gd name="T19" fmla="*/ 27 h 66"/>
                <a:gd name="T20" fmla="*/ 24 w 48"/>
                <a:gd name="T21" fmla="*/ 63 h 66"/>
                <a:gd name="T22" fmla="*/ 16 w 48"/>
                <a:gd name="T23"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66">
                  <a:moveTo>
                    <a:pt x="16" y="66"/>
                  </a:moveTo>
                  <a:lnTo>
                    <a:pt x="8" y="61"/>
                  </a:lnTo>
                  <a:lnTo>
                    <a:pt x="5" y="36"/>
                  </a:lnTo>
                  <a:lnTo>
                    <a:pt x="0" y="30"/>
                  </a:lnTo>
                  <a:lnTo>
                    <a:pt x="20" y="17"/>
                  </a:lnTo>
                  <a:lnTo>
                    <a:pt x="28" y="5"/>
                  </a:lnTo>
                  <a:lnTo>
                    <a:pt x="36" y="0"/>
                  </a:lnTo>
                  <a:lnTo>
                    <a:pt x="42" y="4"/>
                  </a:lnTo>
                  <a:lnTo>
                    <a:pt x="48" y="13"/>
                  </a:lnTo>
                  <a:lnTo>
                    <a:pt x="29" y="27"/>
                  </a:lnTo>
                  <a:lnTo>
                    <a:pt x="24" y="63"/>
                  </a:lnTo>
                  <a:lnTo>
                    <a:pt x="16" y="66"/>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55" name="Freeform 354">
              <a:extLst>
                <a:ext uri="{FF2B5EF4-FFF2-40B4-BE49-F238E27FC236}">
                  <a16:creationId xmlns:a16="http://schemas.microsoft.com/office/drawing/2014/main" id="{58DC5440-8EB2-9746-97E8-5356CDD62D09}"/>
                </a:ext>
              </a:extLst>
            </p:cNvPr>
            <p:cNvSpPr>
              <a:spLocks noChangeAspect="1"/>
            </p:cNvSpPr>
            <p:nvPr/>
          </p:nvSpPr>
          <p:spPr bwMode="gray">
            <a:xfrm>
              <a:off x="5243866" y="5068570"/>
              <a:ext cx="52629" cy="65244"/>
            </a:xfrm>
            <a:custGeom>
              <a:avLst/>
              <a:gdLst>
                <a:gd name="T0" fmla="*/ 107 w 107"/>
                <a:gd name="T1" fmla="*/ 42 h 110"/>
                <a:gd name="T2" fmla="*/ 107 w 107"/>
                <a:gd name="T3" fmla="*/ 49 h 110"/>
                <a:gd name="T4" fmla="*/ 86 w 107"/>
                <a:gd name="T5" fmla="*/ 83 h 110"/>
                <a:gd name="T6" fmla="*/ 63 w 107"/>
                <a:gd name="T7" fmla="*/ 91 h 110"/>
                <a:gd name="T8" fmla="*/ 48 w 107"/>
                <a:gd name="T9" fmla="*/ 108 h 110"/>
                <a:gd name="T10" fmla="*/ 37 w 107"/>
                <a:gd name="T11" fmla="*/ 110 h 110"/>
                <a:gd name="T12" fmla="*/ 20 w 107"/>
                <a:gd name="T13" fmla="*/ 94 h 110"/>
                <a:gd name="T14" fmla="*/ 0 w 107"/>
                <a:gd name="T15" fmla="*/ 60 h 110"/>
                <a:gd name="T16" fmla="*/ 23 w 107"/>
                <a:gd name="T17" fmla="*/ 23 h 110"/>
                <a:gd name="T18" fmla="*/ 59 w 107"/>
                <a:gd name="T19" fmla="*/ 1 h 110"/>
                <a:gd name="T20" fmla="*/ 71 w 107"/>
                <a:gd name="T21" fmla="*/ 0 h 110"/>
                <a:gd name="T22" fmla="*/ 82 w 107"/>
                <a:gd name="T23" fmla="*/ 4 h 110"/>
                <a:gd name="T24" fmla="*/ 107 w 107"/>
                <a:gd name="T25" fmla="*/ 4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10">
                  <a:moveTo>
                    <a:pt x="107" y="42"/>
                  </a:moveTo>
                  <a:lnTo>
                    <a:pt x="107" y="49"/>
                  </a:lnTo>
                  <a:lnTo>
                    <a:pt x="86" y="83"/>
                  </a:lnTo>
                  <a:lnTo>
                    <a:pt x="63" y="91"/>
                  </a:lnTo>
                  <a:lnTo>
                    <a:pt x="48" y="108"/>
                  </a:lnTo>
                  <a:lnTo>
                    <a:pt x="37" y="110"/>
                  </a:lnTo>
                  <a:lnTo>
                    <a:pt x="20" y="94"/>
                  </a:lnTo>
                  <a:lnTo>
                    <a:pt x="0" y="60"/>
                  </a:lnTo>
                  <a:lnTo>
                    <a:pt x="23" y="23"/>
                  </a:lnTo>
                  <a:lnTo>
                    <a:pt x="59" y="1"/>
                  </a:lnTo>
                  <a:lnTo>
                    <a:pt x="71" y="0"/>
                  </a:lnTo>
                  <a:lnTo>
                    <a:pt x="82" y="4"/>
                  </a:lnTo>
                  <a:lnTo>
                    <a:pt x="107" y="42"/>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356" name="Freeform 355">
              <a:extLst>
                <a:ext uri="{FF2B5EF4-FFF2-40B4-BE49-F238E27FC236}">
                  <a16:creationId xmlns:a16="http://schemas.microsoft.com/office/drawing/2014/main" id="{81239247-4616-DC40-AC02-561015F7ACE0}"/>
                </a:ext>
              </a:extLst>
            </p:cNvPr>
            <p:cNvSpPr>
              <a:spLocks noChangeAspect="1"/>
            </p:cNvSpPr>
            <p:nvPr/>
          </p:nvSpPr>
          <p:spPr bwMode="gray">
            <a:xfrm>
              <a:off x="5326800" y="4984135"/>
              <a:ext cx="27112" cy="44136"/>
            </a:xfrm>
            <a:custGeom>
              <a:avLst/>
              <a:gdLst>
                <a:gd name="T0" fmla="*/ 56 w 56"/>
                <a:gd name="T1" fmla="*/ 52 h 76"/>
                <a:gd name="T2" fmla="*/ 53 w 56"/>
                <a:gd name="T3" fmla="*/ 5 h 76"/>
                <a:gd name="T4" fmla="*/ 47 w 56"/>
                <a:gd name="T5" fmla="*/ 12 h 76"/>
                <a:gd name="T6" fmla="*/ 27 w 56"/>
                <a:gd name="T7" fmla="*/ 0 h 76"/>
                <a:gd name="T8" fmla="*/ 15 w 56"/>
                <a:gd name="T9" fmla="*/ 6 h 76"/>
                <a:gd name="T10" fmla="*/ 0 w 56"/>
                <a:gd name="T11" fmla="*/ 46 h 76"/>
                <a:gd name="T12" fmla="*/ 10 w 56"/>
                <a:gd name="T13" fmla="*/ 72 h 76"/>
                <a:gd name="T14" fmla="*/ 28 w 56"/>
                <a:gd name="T15" fmla="*/ 74 h 76"/>
                <a:gd name="T16" fmla="*/ 40 w 56"/>
                <a:gd name="T17" fmla="*/ 76 h 76"/>
                <a:gd name="T18" fmla="*/ 56 w 56"/>
                <a:gd name="T19" fmla="*/ 5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76">
                  <a:moveTo>
                    <a:pt x="56" y="52"/>
                  </a:moveTo>
                  <a:lnTo>
                    <a:pt x="53" y="5"/>
                  </a:lnTo>
                  <a:lnTo>
                    <a:pt x="47" y="12"/>
                  </a:lnTo>
                  <a:lnTo>
                    <a:pt x="27" y="0"/>
                  </a:lnTo>
                  <a:lnTo>
                    <a:pt x="15" y="6"/>
                  </a:lnTo>
                  <a:lnTo>
                    <a:pt x="0" y="46"/>
                  </a:lnTo>
                  <a:lnTo>
                    <a:pt x="10" y="72"/>
                  </a:lnTo>
                  <a:lnTo>
                    <a:pt x="28" y="74"/>
                  </a:lnTo>
                  <a:lnTo>
                    <a:pt x="40" y="76"/>
                  </a:lnTo>
                  <a:lnTo>
                    <a:pt x="56" y="52"/>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57" name="Freeform 80">
              <a:extLst>
                <a:ext uri="{FF2B5EF4-FFF2-40B4-BE49-F238E27FC236}">
                  <a16:creationId xmlns:a16="http://schemas.microsoft.com/office/drawing/2014/main" id="{E4C1CDA4-ED16-AA48-A071-585FA30E2B58}"/>
                </a:ext>
              </a:extLst>
            </p:cNvPr>
            <p:cNvSpPr>
              <a:spLocks noChangeAspect="1"/>
            </p:cNvSpPr>
            <p:nvPr/>
          </p:nvSpPr>
          <p:spPr bwMode="gray">
            <a:xfrm>
              <a:off x="5676061" y="4523589"/>
              <a:ext cx="6380" cy="1920"/>
            </a:xfrm>
            <a:custGeom>
              <a:avLst/>
              <a:gdLst>
                <a:gd name="T0" fmla="*/ 4 w 11"/>
                <a:gd name="T1" fmla="*/ 2 h 6"/>
                <a:gd name="T2" fmla="*/ 0 w 11"/>
                <a:gd name="T3" fmla="*/ 4 h 6"/>
                <a:gd name="T4" fmla="*/ 4 w 11"/>
                <a:gd name="T5" fmla="*/ 6 h 6"/>
                <a:gd name="T6" fmla="*/ 11 w 11"/>
                <a:gd name="T7" fmla="*/ 0 h 6"/>
                <a:gd name="T8" fmla="*/ 4 w 11"/>
                <a:gd name="T9" fmla="*/ 2 h 6"/>
              </a:gdLst>
              <a:ahLst/>
              <a:cxnLst>
                <a:cxn ang="0">
                  <a:pos x="T0" y="T1"/>
                </a:cxn>
                <a:cxn ang="0">
                  <a:pos x="T2" y="T3"/>
                </a:cxn>
                <a:cxn ang="0">
                  <a:pos x="T4" y="T5"/>
                </a:cxn>
                <a:cxn ang="0">
                  <a:pos x="T6" y="T7"/>
                </a:cxn>
                <a:cxn ang="0">
                  <a:pos x="T8" y="T9"/>
                </a:cxn>
              </a:cxnLst>
              <a:rect l="0" t="0" r="r" b="b"/>
              <a:pathLst>
                <a:path w="11" h="6">
                  <a:moveTo>
                    <a:pt x="4" y="2"/>
                  </a:moveTo>
                  <a:lnTo>
                    <a:pt x="0" y="4"/>
                  </a:lnTo>
                  <a:lnTo>
                    <a:pt x="4" y="6"/>
                  </a:lnTo>
                  <a:lnTo>
                    <a:pt x="11" y="0"/>
                  </a:lnTo>
                  <a:lnTo>
                    <a:pt x="4" y="2"/>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58" name="Freeform 81">
              <a:extLst>
                <a:ext uri="{FF2B5EF4-FFF2-40B4-BE49-F238E27FC236}">
                  <a16:creationId xmlns:a16="http://schemas.microsoft.com/office/drawing/2014/main" id="{A9F60E53-67DC-C34D-A628-959364DE5F9A}"/>
                </a:ext>
              </a:extLst>
            </p:cNvPr>
            <p:cNvSpPr>
              <a:spLocks noChangeAspect="1"/>
            </p:cNvSpPr>
            <p:nvPr/>
          </p:nvSpPr>
          <p:spPr bwMode="gray">
            <a:xfrm>
              <a:off x="5604293" y="4598426"/>
              <a:ext cx="161075" cy="381870"/>
            </a:xfrm>
            <a:custGeom>
              <a:avLst/>
              <a:gdLst>
                <a:gd name="T0" fmla="*/ 60 w 329"/>
                <a:gd name="T1" fmla="*/ 187 h 652"/>
                <a:gd name="T2" fmla="*/ 89 w 329"/>
                <a:gd name="T3" fmla="*/ 179 h 652"/>
                <a:gd name="T4" fmla="*/ 100 w 329"/>
                <a:gd name="T5" fmla="*/ 179 h 652"/>
                <a:gd name="T6" fmla="*/ 110 w 329"/>
                <a:gd name="T7" fmla="*/ 170 h 652"/>
                <a:gd name="T8" fmla="*/ 129 w 329"/>
                <a:gd name="T9" fmla="*/ 166 h 652"/>
                <a:gd name="T10" fmla="*/ 156 w 329"/>
                <a:gd name="T11" fmla="*/ 183 h 652"/>
                <a:gd name="T12" fmla="*/ 146 w 329"/>
                <a:gd name="T13" fmla="*/ 159 h 652"/>
                <a:gd name="T14" fmla="*/ 171 w 329"/>
                <a:gd name="T15" fmla="*/ 147 h 652"/>
                <a:gd name="T16" fmla="*/ 183 w 329"/>
                <a:gd name="T17" fmla="*/ 155 h 652"/>
                <a:gd name="T18" fmla="*/ 186 w 329"/>
                <a:gd name="T19" fmla="*/ 124 h 652"/>
                <a:gd name="T20" fmla="*/ 193 w 329"/>
                <a:gd name="T21" fmla="*/ 133 h 652"/>
                <a:gd name="T22" fmla="*/ 219 w 329"/>
                <a:gd name="T23" fmla="*/ 116 h 652"/>
                <a:gd name="T24" fmla="*/ 213 w 329"/>
                <a:gd name="T25" fmla="*/ 90 h 652"/>
                <a:gd name="T26" fmla="*/ 213 w 329"/>
                <a:gd name="T27" fmla="*/ 67 h 652"/>
                <a:gd name="T28" fmla="*/ 224 w 329"/>
                <a:gd name="T29" fmla="*/ 67 h 652"/>
                <a:gd name="T30" fmla="*/ 241 w 329"/>
                <a:gd name="T31" fmla="*/ 51 h 652"/>
                <a:gd name="T32" fmla="*/ 254 w 329"/>
                <a:gd name="T33" fmla="*/ 51 h 652"/>
                <a:gd name="T34" fmla="*/ 254 w 329"/>
                <a:gd name="T35" fmla="*/ 11 h 652"/>
                <a:gd name="T36" fmla="*/ 273 w 329"/>
                <a:gd name="T37" fmla="*/ 0 h 652"/>
                <a:gd name="T38" fmla="*/ 329 w 329"/>
                <a:gd name="T39" fmla="*/ 152 h 652"/>
                <a:gd name="T40" fmla="*/ 317 w 329"/>
                <a:gd name="T41" fmla="*/ 175 h 652"/>
                <a:gd name="T42" fmla="*/ 300 w 329"/>
                <a:gd name="T43" fmla="*/ 153 h 652"/>
                <a:gd name="T44" fmla="*/ 303 w 329"/>
                <a:gd name="T45" fmla="*/ 209 h 652"/>
                <a:gd name="T46" fmla="*/ 278 w 329"/>
                <a:gd name="T47" fmla="*/ 306 h 652"/>
                <a:gd name="T48" fmla="*/ 199 w 329"/>
                <a:gd name="T49" fmla="*/ 574 h 652"/>
                <a:gd name="T50" fmla="*/ 177 w 329"/>
                <a:gd name="T51" fmla="*/ 618 h 652"/>
                <a:gd name="T52" fmla="*/ 126 w 329"/>
                <a:gd name="T53" fmla="*/ 633 h 652"/>
                <a:gd name="T54" fmla="*/ 41 w 329"/>
                <a:gd name="T55" fmla="*/ 618 h 652"/>
                <a:gd name="T56" fmla="*/ 21 w 329"/>
                <a:gd name="T57" fmla="*/ 568 h 652"/>
                <a:gd name="T58" fmla="*/ 15 w 329"/>
                <a:gd name="T59" fmla="*/ 523 h 652"/>
                <a:gd name="T60" fmla="*/ 0 w 329"/>
                <a:gd name="T61" fmla="*/ 466 h 652"/>
                <a:gd name="T62" fmla="*/ 18 w 329"/>
                <a:gd name="T63" fmla="*/ 435 h 652"/>
                <a:gd name="T64" fmla="*/ 32 w 329"/>
                <a:gd name="T65" fmla="*/ 409 h 652"/>
                <a:gd name="T66" fmla="*/ 61 w 329"/>
                <a:gd name="T67" fmla="*/ 352 h 652"/>
                <a:gd name="T68" fmla="*/ 41 w 329"/>
                <a:gd name="T69" fmla="*/ 265 h 652"/>
                <a:gd name="T70" fmla="*/ 54 w 329"/>
                <a:gd name="T71" fmla="*/ 206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9" h="652">
                  <a:moveTo>
                    <a:pt x="54" y="192"/>
                  </a:moveTo>
                  <a:lnTo>
                    <a:pt x="60" y="187"/>
                  </a:lnTo>
                  <a:lnTo>
                    <a:pt x="78" y="187"/>
                  </a:lnTo>
                  <a:lnTo>
                    <a:pt x="89" y="179"/>
                  </a:lnTo>
                  <a:lnTo>
                    <a:pt x="95" y="184"/>
                  </a:lnTo>
                  <a:lnTo>
                    <a:pt x="100" y="179"/>
                  </a:lnTo>
                  <a:lnTo>
                    <a:pt x="105" y="181"/>
                  </a:lnTo>
                  <a:lnTo>
                    <a:pt x="110" y="170"/>
                  </a:lnTo>
                  <a:lnTo>
                    <a:pt x="123" y="170"/>
                  </a:lnTo>
                  <a:lnTo>
                    <a:pt x="129" y="166"/>
                  </a:lnTo>
                  <a:lnTo>
                    <a:pt x="143" y="183"/>
                  </a:lnTo>
                  <a:lnTo>
                    <a:pt x="156" y="183"/>
                  </a:lnTo>
                  <a:lnTo>
                    <a:pt x="146" y="167"/>
                  </a:lnTo>
                  <a:lnTo>
                    <a:pt x="146" y="159"/>
                  </a:lnTo>
                  <a:lnTo>
                    <a:pt x="165" y="144"/>
                  </a:lnTo>
                  <a:lnTo>
                    <a:pt x="171" y="147"/>
                  </a:lnTo>
                  <a:lnTo>
                    <a:pt x="173" y="157"/>
                  </a:lnTo>
                  <a:lnTo>
                    <a:pt x="183" y="155"/>
                  </a:lnTo>
                  <a:lnTo>
                    <a:pt x="176" y="141"/>
                  </a:lnTo>
                  <a:lnTo>
                    <a:pt x="186" y="124"/>
                  </a:lnTo>
                  <a:lnTo>
                    <a:pt x="193" y="116"/>
                  </a:lnTo>
                  <a:lnTo>
                    <a:pt x="193" y="133"/>
                  </a:lnTo>
                  <a:lnTo>
                    <a:pt x="207" y="116"/>
                  </a:lnTo>
                  <a:lnTo>
                    <a:pt x="219" y="116"/>
                  </a:lnTo>
                  <a:lnTo>
                    <a:pt x="203" y="105"/>
                  </a:lnTo>
                  <a:lnTo>
                    <a:pt x="213" y="90"/>
                  </a:lnTo>
                  <a:lnTo>
                    <a:pt x="219" y="95"/>
                  </a:lnTo>
                  <a:lnTo>
                    <a:pt x="213" y="67"/>
                  </a:lnTo>
                  <a:lnTo>
                    <a:pt x="215" y="64"/>
                  </a:lnTo>
                  <a:lnTo>
                    <a:pt x="224" y="67"/>
                  </a:lnTo>
                  <a:lnTo>
                    <a:pt x="228" y="76"/>
                  </a:lnTo>
                  <a:lnTo>
                    <a:pt x="241" y="51"/>
                  </a:lnTo>
                  <a:lnTo>
                    <a:pt x="245" y="56"/>
                  </a:lnTo>
                  <a:lnTo>
                    <a:pt x="254" y="51"/>
                  </a:lnTo>
                  <a:lnTo>
                    <a:pt x="259" y="20"/>
                  </a:lnTo>
                  <a:lnTo>
                    <a:pt x="254" y="11"/>
                  </a:lnTo>
                  <a:lnTo>
                    <a:pt x="258" y="13"/>
                  </a:lnTo>
                  <a:lnTo>
                    <a:pt x="273" y="0"/>
                  </a:lnTo>
                  <a:lnTo>
                    <a:pt x="304" y="39"/>
                  </a:lnTo>
                  <a:lnTo>
                    <a:pt x="329" y="152"/>
                  </a:lnTo>
                  <a:lnTo>
                    <a:pt x="324" y="175"/>
                  </a:lnTo>
                  <a:lnTo>
                    <a:pt x="317" y="175"/>
                  </a:lnTo>
                  <a:lnTo>
                    <a:pt x="309" y="152"/>
                  </a:lnTo>
                  <a:lnTo>
                    <a:pt x="300" y="153"/>
                  </a:lnTo>
                  <a:lnTo>
                    <a:pt x="298" y="186"/>
                  </a:lnTo>
                  <a:lnTo>
                    <a:pt x="303" y="209"/>
                  </a:lnTo>
                  <a:lnTo>
                    <a:pt x="287" y="237"/>
                  </a:lnTo>
                  <a:lnTo>
                    <a:pt x="278" y="306"/>
                  </a:lnTo>
                  <a:lnTo>
                    <a:pt x="242" y="407"/>
                  </a:lnTo>
                  <a:lnTo>
                    <a:pt x="199" y="574"/>
                  </a:lnTo>
                  <a:lnTo>
                    <a:pt x="188" y="599"/>
                  </a:lnTo>
                  <a:lnTo>
                    <a:pt x="177" y="618"/>
                  </a:lnTo>
                  <a:lnTo>
                    <a:pt x="160" y="628"/>
                  </a:lnTo>
                  <a:lnTo>
                    <a:pt x="126" y="633"/>
                  </a:lnTo>
                  <a:lnTo>
                    <a:pt x="89" y="652"/>
                  </a:lnTo>
                  <a:lnTo>
                    <a:pt x="41" y="618"/>
                  </a:lnTo>
                  <a:lnTo>
                    <a:pt x="29" y="599"/>
                  </a:lnTo>
                  <a:lnTo>
                    <a:pt x="21" y="568"/>
                  </a:lnTo>
                  <a:lnTo>
                    <a:pt x="24" y="548"/>
                  </a:lnTo>
                  <a:lnTo>
                    <a:pt x="15" y="523"/>
                  </a:lnTo>
                  <a:lnTo>
                    <a:pt x="1" y="503"/>
                  </a:lnTo>
                  <a:lnTo>
                    <a:pt x="0" y="466"/>
                  </a:lnTo>
                  <a:lnTo>
                    <a:pt x="12" y="441"/>
                  </a:lnTo>
                  <a:lnTo>
                    <a:pt x="18" y="435"/>
                  </a:lnTo>
                  <a:lnTo>
                    <a:pt x="26" y="432"/>
                  </a:lnTo>
                  <a:lnTo>
                    <a:pt x="32" y="409"/>
                  </a:lnTo>
                  <a:lnTo>
                    <a:pt x="60" y="364"/>
                  </a:lnTo>
                  <a:lnTo>
                    <a:pt x="61" y="352"/>
                  </a:lnTo>
                  <a:lnTo>
                    <a:pt x="46" y="314"/>
                  </a:lnTo>
                  <a:lnTo>
                    <a:pt x="41" y="265"/>
                  </a:lnTo>
                  <a:lnTo>
                    <a:pt x="32" y="252"/>
                  </a:lnTo>
                  <a:lnTo>
                    <a:pt x="54" y="206"/>
                  </a:lnTo>
                  <a:lnTo>
                    <a:pt x="54" y="192"/>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359" name="Freeform 82">
              <a:extLst>
                <a:ext uri="{FF2B5EF4-FFF2-40B4-BE49-F238E27FC236}">
                  <a16:creationId xmlns:a16="http://schemas.microsoft.com/office/drawing/2014/main" id="{70192645-78CD-2349-A797-0259187FA086}"/>
                </a:ext>
              </a:extLst>
            </p:cNvPr>
            <p:cNvSpPr>
              <a:spLocks noChangeAspect="1"/>
            </p:cNvSpPr>
            <p:nvPr/>
          </p:nvSpPr>
          <p:spPr bwMode="gray">
            <a:xfrm>
              <a:off x="4778185" y="4254933"/>
              <a:ext cx="6380" cy="9595"/>
            </a:xfrm>
            <a:custGeom>
              <a:avLst/>
              <a:gdLst>
                <a:gd name="T0" fmla="*/ 7 w 14"/>
                <a:gd name="T1" fmla="*/ 0 h 17"/>
                <a:gd name="T2" fmla="*/ 14 w 14"/>
                <a:gd name="T3" fmla="*/ 9 h 17"/>
                <a:gd name="T4" fmla="*/ 5 w 14"/>
                <a:gd name="T5" fmla="*/ 17 h 17"/>
                <a:gd name="T6" fmla="*/ 0 w 14"/>
                <a:gd name="T7" fmla="*/ 8 h 17"/>
                <a:gd name="T8" fmla="*/ 7 w 14"/>
                <a:gd name="T9" fmla="*/ 0 h 17"/>
              </a:gdLst>
              <a:ahLst/>
              <a:cxnLst>
                <a:cxn ang="0">
                  <a:pos x="T0" y="T1"/>
                </a:cxn>
                <a:cxn ang="0">
                  <a:pos x="T2" y="T3"/>
                </a:cxn>
                <a:cxn ang="0">
                  <a:pos x="T4" y="T5"/>
                </a:cxn>
                <a:cxn ang="0">
                  <a:pos x="T6" y="T7"/>
                </a:cxn>
                <a:cxn ang="0">
                  <a:pos x="T8" y="T9"/>
                </a:cxn>
              </a:cxnLst>
              <a:rect l="0" t="0" r="r" b="b"/>
              <a:pathLst>
                <a:path w="14" h="17">
                  <a:moveTo>
                    <a:pt x="7" y="0"/>
                  </a:moveTo>
                  <a:lnTo>
                    <a:pt x="14" y="9"/>
                  </a:lnTo>
                  <a:lnTo>
                    <a:pt x="5" y="17"/>
                  </a:lnTo>
                  <a:lnTo>
                    <a:pt x="0" y="8"/>
                  </a:lnTo>
                  <a:lnTo>
                    <a:pt x="7" y="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60" name="Freeform 83">
              <a:extLst>
                <a:ext uri="{FF2B5EF4-FFF2-40B4-BE49-F238E27FC236}">
                  <a16:creationId xmlns:a16="http://schemas.microsoft.com/office/drawing/2014/main" id="{3EDDD368-9A65-DC48-8B7E-DB9AC8FC885C}"/>
                </a:ext>
              </a:extLst>
            </p:cNvPr>
            <p:cNvSpPr>
              <a:spLocks noChangeAspect="1"/>
            </p:cNvSpPr>
            <p:nvPr/>
          </p:nvSpPr>
          <p:spPr bwMode="gray">
            <a:xfrm>
              <a:off x="5186454" y="3368380"/>
              <a:ext cx="251980" cy="299356"/>
            </a:xfrm>
            <a:custGeom>
              <a:avLst/>
              <a:gdLst>
                <a:gd name="T0" fmla="*/ 438 w 515"/>
                <a:gd name="T1" fmla="*/ 17 h 508"/>
                <a:gd name="T2" fmla="*/ 394 w 515"/>
                <a:gd name="T3" fmla="*/ 33 h 508"/>
                <a:gd name="T4" fmla="*/ 367 w 515"/>
                <a:gd name="T5" fmla="*/ 33 h 508"/>
                <a:gd name="T6" fmla="*/ 350 w 515"/>
                <a:gd name="T7" fmla="*/ 21 h 508"/>
                <a:gd name="T8" fmla="*/ 336 w 515"/>
                <a:gd name="T9" fmla="*/ 5 h 508"/>
                <a:gd name="T10" fmla="*/ 304 w 515"/>
                <a:gd name="T11" fmla="*/ 8 h 508"/>
                <a:gd name="T12" fmla="*/ 274 w 515"/>
                <a:gd name="T13" fmla="*/ 17 h 508"/>
                <a:gd name="T14" fmla="*/ 261 w 515"/>
                <a:gd name="T15" fmla="*/ 10 h 508"/>
                <a:gd name="T16" fmla="*/ 104 w 515"/>
                <a:gd name="T17" fmla="*/ 10 h 508"/>
                <a:gd name="T18" fmla="*/ 29 w 515"/>
                <a:gd name="T19" fmla="*/ 7 h 508"/>
                <a:gd name="T20" fmla="*/ 16 w 515"/>
                <a:gd name="T21" fmla="*/ 2 h 508"/>
                <a:gd name="T22" fmla="*/ 11 w 515"/>
                <a:gd name="T23" fmla="*/ 69 h 508"/>
                <a:gd name="T24" fmla="*/ 1 w 515"/>
                <a:gd name="T25" fmla="*/ 100 h 508"/>
                <a:gd name="T26" fmla="*/ 6 w 515"/>
                <a:gd name="T27" fmla="*/ 122 h 508"/>
                <a:gd name="T28" fmla="*/ 21 w 515"/>
                <a:gd name="T29" fmla="*/ 183 h 508"/>
                <a:gd name="T30" fmla="*/ 21 w 515"/>
                <a:gd name="T31" fmla="*/ 274 h 508"/>
                <a:gd name="T32" fmla="*/ 21 w 515"/>
                <a:gd name="T33" fmla="*/ 364 h 508"/>
                <a:gd name="T34" fmla="*/ 21 w 515"/>
                <a:gd name="T35" fmla="*/ 452 h 508"/>
                <a:gd name="T36" fmla="*/ 57 w 515"/>
                <a:gd name="T37" fmla="*/ 496 h 508"/>
                <a:gd name="T38" fmla="*/ 128 w 515"/>
                <a:gd name="T39" fmla="*/ 496 h 508"/>
                <a:gd name="T40" fmla="*/ 201 w 515"/>
                <a:gd name="T41" fmla="*/ 496 h 508"/>
                <a:gd name="T42" fmla="*/ 272 w 515"/>
                <a:gd name="T43" fmla="*/ 496 h 508"/>
                <a:gd name="T44" fmla="*/ 314 w 515"/>
                <a:gd name="T45" fmla="*/ 486 h 508"/>
                <a:gd name="T46" fmla="*/ 316 w 515"/>
                <a:gd name="T47" fmla="*/ 496 h 508"/>
                <a:gd name="T48" fmla="*/ 397 w 515"/>
                <a:gd name="T49" fmla="*/ 496 h 508"/>
                <a:gd name="T50" fmla="*/ 436 w 515"/>
                <a:gd name="T51" fmla="*/ 506 h 508"/>
                <a:gd name="T52" fmla="*/ 467 w 515"/>
                <a:gd name="T53" fmla="*/ 479 h 508"/>
                <a:gd name="T54" fmla="*/ 489 w 515"/>
                <a:gd name="T55" fmla="*/ 457 h 508"/>
                <a:gd name="T56" fmla="*/ 501 w 515"/>
                <a:gd name="T57" fmla="*/ 401 h 508"/>
                <a:gd name="T58" fmla="*/ 487 w 515"/>
                <a:gd name="T59" fmla="*/ 372 h 508"/>
                <a:gd name="T60" fmla="*/ 425 w 515"/>
                <a:gd name="T61" fmla="*/ 234 h 508"/>
                <a:gd name="T62" fmla="*/ 410 w 515"/>
                <a:gd name="T63" fmla="*/ 194 h 508"/>
                <a:gd name="T64" fmla="*/ 373 w 515"/>
                <a:gd name="T65" fmla="*/ 148 h 508"/>
                <a:gd name="T66" fmla="*/ 360 w 515"/>
                <a:gd name="T67" fmla="*/ 109 h 508"/>
                <a:gd name="T68" fmla="*/ 377 w 515"/>
                <a:gd name="T69" fmla="*/ 114 h 508"/>
                <a:gd name="T70" fmla="*/ 400 w 515"/>
                <a:gd name="T71" fmla="*/ 163 h 508"/>
                <a:gd name="T72" fmla="*/ 453 w 515"/>
                <a:gd name="T73" fmla="*/ 197 h 508"/>
                <a:gd name="T74" fmla="*/ 473 w 515"/>
                <a:gd name="T75" fmla="*/ 120 h 508"/>
                <a:gd name="T76" fmla="*/ 455 w 515"/>
                <a:gd name="T77" fmla="*/ 69 h 508"/>
                <a:gd name="T78" fmla="*/ 441 w 515"/>
                <a:gd name="T79" fmla="*/ 2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5" h="508">
                  <a:moveTo>
                    <a:pt x="441" y="25"/>
                  </a:moveTo>
                  <a:lnTo>
                    <a:pt x="438" y="17"/>
                  </a:lnTo>
                  <a:lnTo>
                    <a:pt x="413" y="30"/>
                  </a:lnTo>
                  <a:lnTo>
                    <a:pt x="394" y="33"/>
                  </a:lnTo>
                  <a:lnTo>
                    <a:pt x="390" y="29"/>
                  </a:lnTo>
                  <a:lnTo>
                    <a:pt x="367" y="33"/>
                  </a:lnTo>
                  <a:lnTo>
                    <a:pt x="360" y="24"/>
                  </a:lnTo>
                  <a:lnTo>
                    <a:pt x="350" y="21"/>
                  </a:lnTo>
                  <a:lnTo>
                    <a:pt x="350" y="22"/>
                  </a:lnTo>
                  <a:lnTo>
                    <a:pt x="336" y="5"/>
                  </a:lnTo>
                  <a:lnTo>
                    <a:pt x="326" y="8"/>
                  </a:lnTo>
                  <a:lnTo>
                    <a:pt x="304" y="8"/>
                  </a:lnTo>
                  <a:lnTo>
                    <a:pt x="297" y="7"/>
                  </a:lnTo>
                  <a:lnTo>
                    <a:pt x="274" y="17"/>
                  </a:lnTo>
                  <a:lnTo>
                    <a:pt x="282" y="7"/>
                  </a:lnTo>
                  <a:lnTo>
                    <a:pt x="261" y="10"/>
                  </a:lnTo>
                  <a:lnTo>
                    <a:pt x="201" y="44"/>
                  </a:lnTo>
                  <a:lnTo>
                    <a:pt x="104" y="10"/>
                  </a:lnTo>
                  <a:lnTo>
                    <a:pt x="57" y="2"/>
                  </a:lnTo>
                  <a:lnTo>
                    <a:pt x="29" y="7"/>
                  </a:lnTo>
                  <a:lnTo>
                    <a:pt x="21" y="0"/>
                  </a:lnTo>
                  <a:lnTo>
                    <a:pt x="16" y="2"/>
                  </a:lnTo>
                  <a:lnTo>
                    <a:pt x="6" y="17"/>
                  </a:lnTo>
                  <a:lnTo>
                    <a:pt x="11" y="69"/>
                  </a:lnTo>
                  <a:lnTo>
                    <a:pt x="0" y="83"/>
                  </a:lnTo>
                  <a:lnTo>
                    <a:pt x="1" y="100"/>
                  </a:lnTo>
                  <a:lnTo>
                    <a:pt x="9" y="112"/>
                  </a:lnTo>
                  <a:lnTo>
                    <a:pt x="6" y="122"/>
                  </a:lnTo>
                  <a:lnTo>
                    <a:pt x="21" y="137"/>
                  </a:lnTo>
                  <a:lnTo>
                    <a:pt x="21" y="183"/>
                  </a:lnTo>
                  <a:lnTo>
                    <a:pt x="21" y="228"/>
                  </a:lnTo>
                  <a:lnTo>
                    <a:pt x="21" y="274"/>
                  </a:lnTo>
                  <a:lnTo>
                    <a:pt x="21" y="318"/>
                  </a:lnTo>
                  <a:lnTo>
                    <a:pt x="21" y="364"/>
                  </a:lnTo>
                  <a:lnTo>
                    <a:pt x="21" y="408"/>
                  </a:lnTo>
                  <a:lnTo>
                    <a:pt x="21" y="452"/>
                  </a:lnTo>
                  <a:lnTo>
                    <a:pt x="21" y="496"/>
                  </a:lnTo>
                  <a:lnTo>
                    <a:pt x="57" y="496"/>
                  </a:lnTo>
                  <a:lnTo>
                    <a:pt x="93" y="496"/>
                  </a:lnTo>
                  <a:lnTo>
                    <a:pt x="128" y="496"/>
                  </a:lnTo>
                  <a:lnTo>
                    <a:pt x="165" y="496"/>
                  </a:lnTo>
                  <a:lnTo>
                    <a:pt x="201" y="496"/>
                  </a:lnTo>
                  <a:lnTo>
                    <a:pt x="236" y="496"/>
                  </a:lnTo>
                  <a:lnTo>
                    <a:pt x="272" y="496"/>
                  </a:lnTo>
                  <a:lnTo>
                    <a:pt x="308" y="496"/>
                  </a:lnTo>
                  <a:lnTo>
                    <a:pt x="314" y="486"/>
                  </a:lnTo>
                  <a:lnTo>
                    <a:pt x="319" y="486"/>
                  </a:lnTo>
                  <a:lnTo>
                    <a:pt x="316" y="496"/>
                  </a:lnTo>
                  <a:lnTo>
                    <a:pt x="356" y="496"/>
                  </a:lnTo>
                  <a:lnTo>
                    <a:pt x="397" y="496"/>
                  </a:lnTo>
                  <a:lnTo>
                    <a:pt x="414" y="508"/>
                  </a:lnTo>
                  <a:lnTo>
                    <a:pt x="436" y="506"/>
                  </a:lnTo>
                  <a:lnTo>
                    <a:pt x="441" y="486"/>
                  </a:lnTo>
                  <a:lnTo>
                    <a:pt x="467" y="479"/>
                  </a:lnTo>
                  <a:lnTo>
                    <a:pt x="478" y="454"/>
                  </a:lnTo>
                  <a:lnTo>
                    <a:pt x="489" y="457"/>
                  </a:lnTo>
                  <a:lnTo>
                    <a:pt x="507" y="442"/>
                  </a:lnTo>
                  <a:lnTo>
                    <a:pt x="501" y="401"/>
                  </a:lnTo>
                  <a:lnTo>
                    <a:pt x="515" y="400"/>
                  </a:lnTo>
                  <a:lnTo>
                    <a:pt x="487" y="372"/>
                  </a:lnTo>
                  <a:lnTo>
                    <a:pt x="434" y="271"/>
                  </a:lnTo>
                  <a:lnTo>
                    <a:pt x="425" y="234"/>
                  </a:lnTo>
                  <a:lnTo>
                    <a:pt x="413" y="215"/>
                  </a:lnTo>
                  <a:lnTo>
                    <a:pt x="410" y="194"/>
                  </a:lnTo>
                  <a:lnTo>
                    <a:pt x="385" y="171"/>
                  </a:lnTo>
                  <a:lnTo>
                    <a:pt x="373" y="148"/>
                  </a:lnTo>
                  <a:lnTo>
                    <a:pt x="370" y="126"/>
                  </a:lnTo>
                  <a:lnTo>
                    <a:pt x="360" y="109"/>
                  </a:lnTo>
                  <a:lnTo>
                    <a:pt x="367" y="86"/>
                  </a:lnTo>
                  <a:lnTo>
                    <a:pt x="377" y="114"/>
                  </a:lnTo>
                  <a:lnTo>
                    <a:pt x="397" y="148"/>
                  </a:lnTo>
                  <a:lnTo>
                    <a:pt x="400" y="163"/>
                  </a:lnTo>
                  <a:lnTo>
                    <a:pt x="436" y="203"/>
                  </a:lnTo>
                  <a:lnTo>
                    <a:pt x="453" y="197"/>
                  </a:lnTo>
                  <a:lnTo>
                    <a:pt x="455" y="177"/>
                  </a:lnTo>
                  <a:lnTo>
                    <a:pt x="473" y="120"/>
                  </a:lnTo>
                  <a:lnTo>
                    <a:pt x="463" y="95"/>
                  </a:lnTo>
                  <a:lnTo>
                    <a:pt x="455" y="69"/>
                  </a:lnTo>
                  <a:lnTo>
                    <a:pt x="447" y="44"/>
                  </a:lnTo>
                  <a:lnTo>
                    <a:pt x="441" y="25"/>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61" name="Freeform 84">
              <a:extLst>
                <a:ext uri="{FF2B5EF4-FFF2-40B4-BE49-F238E27FC236}">
                  <a16:creationId xmlns:a16="http://schemas.microsoft.com/office/drawing/2014/main" id="{239225EB-08DB-A140-82E8-48FEFE5D6281}"/>
                </a:ext>
              </a:extLst>
            </p:cNvPr>
            <p:cNvSpPr>
              <a:spLocks noChangeAspect="1"/>
            </p:cNvSpPr>
            <p:nvPr/>
          </p:nvSpPr>
          <p:spPr bwMode="gray">
            <a:xfrm>
              <a:off x="4633056" y="3615924"/>
              <a:ext cx="360427" cy="333897"/>
            </a:xfrm>
            <a:custGeom>
              <a:avLst/>
              <a:gdLst>
                <a:gd name="T0" fmla="*/ 189 w 735"/>
                <a:gd name="T1" fmla="*/ 251 h 567"/>
                <a:gd name="T2" fmla="*/ 189 w 735"/>
                <a:gd name="T3" fmla="*/ 327 h 567"/>
                <a:gd name="T4" fmla="*/ 176 w 735"/>
                <a:gd name="T5" fmla="*/ 368 h 567"/>
                <a:gd name="T6" fmla="*/ 109 w 735"/>
                <a:gd name="T7" fmla="*/ 396 h 567"/>
                <a:gd name="T8" fmla="*/ 36 w 735"/>
                <a:gd name="T9" fmla="*/ 413 h 567"/>
                <a:gd name="T10" fmla="*/ 0 w 735"/>
                <a:gd name="T11" fmla="*/ 435 h 567"/>
                <a:gd name="T12" fmla="*/ 14 w 735"/>
                <a:gd name="T13" fmla="*/ 461 h 567"/>
                <a:gd name="T14" fmla="*/ 62 w 735"/>
                <a:gd name="T15" fmla="*/ 520 h 567"/>
                <a:gd name="T16" fmla="*/ 87 w 735"/>
                <a:gd name="T17" fmla="*/ 520 h 567"/>
                <a:gd name="T18" fmla="*/ 102 w 735"/>
                <a:gd name="T19" fmla="*/ 534 h 567"/>
                <a:gd name="T20" fmla="*/ 93 w 735"/>
                <a:gd name="T21" fmla="*/ 542 h 567"/>
                <a:gd name="T22" fmla="*/ 114 w 735"/>
                <a:gd name="T23" fmla="*/ 554 h 567"/>
                <a:gd name="T24" fmla="*/ 127 w 735"/>
                <a:gd name="T25" fmla="*/ 537 h 567"/>
                <a:gd name="T26" fmla="*/ 163 w 735"/>
                <a:gd name="T27" fmla="*/ 534 h 567"/>
                <a:gd name="T28" fmla="*/ 189 w 735"/>
                <a:gd name="T29" fmla="*/ 486 h 567"/>
                <a:gd name="T30" fmla="*/ 258 w 735"/>
                <a:gd name="T31" fmla="*/ 469 h 567"/>
                <a:gd name="T32" fmla="*/ 319 w 735"/>
                <a:gd name="T33" fmla="*/ 509 h 567"/>
                <a:gd name="T34" fmla="*/ 345 w 735"/>
                <a:gd name="T35" fmla="*/ 494 h 567"/>
                <a:gd name="T36" fmla="*/ 396 w 735"/>
                <a:gd name="T37" fmla="*/ 511 h 567"/>
                <a:gd name="T38" fmla="*/ 438 w 735"/>
                <a:gd name="T39" fmla="*/ 517 h 567"/>
                <a:gd name="T40" fmla="*/ 534 w 735"/>
                <a:gd name="T41" fmla="*/ 489 h 567"/>
                <a:gd name="T42" fmla="*/ 586 w 735"/>
                <a:gd name="T43" fmla="*/ 483 h 567"/>
                <a:gd name="T44" fmla="*/ 605 w 735"/>
                <a:gd name="T45" fmla="*/ 469 h 567"/>
                <a:gd name="T46" fmla="*/ 616 w 735"/>
                <a:gd name="T47" fmla="*/ 444 h 567"/>
                <a:gd name="T48" fmla="*/ 624 w 735"/>
                <a:gd name="T49" fmla="*/ 428 h 567"/>
                <a:gd name="T50" fmla="*/ 707 w 735"/>
                <a:gd name="T51" fmla="*/ 322 h 567"/>
                <a:gd name="T52" fmla="*/ 724 w 735"/>
                <a:gd name="T53" fmla="*/ 173 h 567"/>
                <a:gd name="T54" fmla="*/ 705 w 735"/>
                <a:gd name="T55" fmla="*/ 132 h 567"/>
                <a:gd name="T56" fmla="*/ 690 w 735"/>
                <a:gd name="T57" fmla="*/ 23 h 567"/>
                <a:gd name="T58" fmla="*/ 668 w 735"/>
                <a:gd name="T59" fmla="*/ 17 h 567"/>
                <a:gd name="T60" fmla="*/ 537 w 735"/>
                <a:gd name="T61" fmla="*/ 0 h 567"/>
                <a:gd name="T62" fmla="*/ 495 w 735"/>
                <a:gd name="T63" fmla="*/ 31 h 567"/>
                <a:gd name="T64" fmla="*/ 450 w 735"/>
                <a:gd name="T65" fmla="*/ 59 h 567"/>
                <a:gd name="T66" fmla="*/ 407 w 735"/>
                <a:gd name="T67" fmla="*/ 88 h 567"/>
                <a:gd name="T68" fmla="*/ 363 w 735"/>
                <a:gd name="T69" fmla="*/ 116 h 567"/>
                <a:gd name="T70" fmla="*/ 311 w 735"/>
                <a:gd name="T71" fmla="*/ 158 h 567"/>
                <a:gd name="T72" fmla="*/ 260 w 735"/>
                <a:gd name="T73" fmla="*/ 196 h 567"/>
                <a:gd name="T74" fmla="*/ 189 w 735"/>
                <a:gd name="T75" fmla="*/ 213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5" h="567">
                  <a:moveTo>
                    <a:pt x="189" y="213"/>
                  </a:moveTo>
                  <a:lnTo>
                    <a:pt x="189" y="251"/>
                  </a:lnTo>
                  <a:lnTo>
                    <a:pt x="189" y="289"/>
                  </a:lnTo>
                  <a:lnTo>
                    <a:pt x="189" y="327"/>
                  </a:lnTo>
                  <a:lnTo>
                    <a:pt x="190" y="364"/>
                  </a:lnTo>
                  <a:lnTo>
                    <a:pt x="176" y="368"/>
                  </a:lnTo>
                  <a:lnTo>
                    <a:pt x="156" y="396"/>
                  </a:lnTo>
                  <a:lnTo>
                    <a:pt x="109" y="396"/>
                  </a:lnTo>
                  <a:lnTo>
                    <a:pt x="59" y="396"/>
                  </a:lnTo>
                  <a:lnTo>
                    <a:pt x="36" y="413"/>
                  </a:lnTo>
                  <a:lnTo>
                    <a:pt x="6" y="413"/>
                  </a:lnTo>
                  <a:lnTo>
                    <a:pt x="0" y="435"/>
                  </a:lnTo>
                  <a:lnTo>
                    <a:pt x="11" y="444"/>
                  </a:lnTo>
                  <a:lnTo>
                    <a:pt x="14" y="461"/>
                  </a:lnTo>
                  <a:lnTo>
                    <a:pt x="37" y="484"/>
                  </a:lnTo>
                  <a:lnTo>
                    <a:pt x="62" y="520"/>
                  </a:lnTo>
                  <a:lnTo>
                    <a:pt x="75" y="526"/>
                  </a:lnTo>
                  <a:lnTo>
                    <a:pt x="87" y="520"/>
                  </a:lnTo>
                  <a:lnTo>
                    <a:pt x="96" y="523"/>
                  </a:lnTo>
                  <a:lnTo>
                    <a:pt x="102" y="534"/>
                  </a:lnTo>
                  <a:lnTo>
                    <a:pt x="93" y="537"/>
                  </a:lnTo>
                  <a:lnTo>
                    <a:pt x="93" y="542"/>
                  </a:lnTo>
                  <a:lnTo>
                    <a:pt x="107" y="557"/>
                  </a:lnTo>
                  <a:lnTo>
                    <a:pt x="114" y="554"/>
                  </a:lnTo>
                  <a:lnTo>
                    <a:pt x="107" y="542"/>
                  </a:lnTo>
                  <a:lnTo>
                    <a:pt x="127" y="537"/>
                  </a:lnTo>
                  <a:lnTo>
                    <a:pt x="163" y="567"/>
                  </a:lnTo>
                  <a:lnTo>
                    <a:pt x="163" y="534"/>
                  </a:lnTo>
                  <a:lnTo>
                    <a:pt x="180" y="517"/>
                  </a:lnTo>
                  <a:lnTo>
                    <a:pt x="189" y="486"/>
                  </a:lnTo>
                  <a:lnTo>
                    <a:pt x="218" y="472"/>
                  </a:lnTo>
                  <a:lnTo>
                    <a:pt x="258" y="469"/>
                  </a:lnTo>
                  <a:lnTo>
                    <a:pt x="291" y="486"/>
                  </a:lnTo>
                  <a:lnTo>
                    <a:pt x="319" y="509"/>
                  </a:lnTo>
                  <a:lnTo>
                    <a:pt x="325" y="509"/>
                  </a:lnTo>
                  <a:lnTo>
                    <a:pt x="345" y="494"/>
                  </a:lnTo>
                  <a:lnTo>
                    <a:pt x="363" y="492"/>
                  </a:lnTo>
                  <a:lnTo>
                    <a:pt x="396" y="511"/>
                  </a:lnTo>
                  <a:lnTo>
                    <a:pt x="427" y="518"/>
                  </a:lnTo>
                  <a:lnTo>
                    <a:pt x="438" y="517"/>
                  </a:lnTo>
                  <a:lnTo>
                    <a:pt x="472" y="492"/>
                  </a:lnTo>
                  <a:lnTo>
                    <a:pt x="534" y="489"/>
                  </a:lnTo>
                  <a:lnTo>
                    <a:pt x="566" y="500"/>
                  </a:lnTo>
                  <a:lnTo>
                    <a:pt x="586" y="483"/>
                  </a:lnTo>
                  <a:lnTo>
                    <a:pt x="597" y="483"/>
                  </a:lnTo>
                  <a:lnTo>
                    <a:pt x="605" y="469"/>
                  </a:lnTo>
                  <a:lnTo>
                    <a:pt x="620" y="469"/>
                  </a:lnTo>
                  <a:lnTo>
                    <a:pt x="616" y="444"/>
                  </a:lnTo>
                  <a:lnTo>
                    <a:pt x="614" y="433"/>
                  </a:lnTo>
                  <a:lnTo>
                    <a:pt x="624" y="428"/>
                  </a:lnTo>
                  <a:lnTo>
                    <a:pt x="628" y="410"/>
                  </a:lnTo>
                  <a:lnTo>
                    <a:pt x="707" y="322"/>
                  </a:lnTo>
                  <a:lnTo>
                    <a:pt x="712" y="238"/>
                  </a:lnTo>
                  <a:lnTo>
                    <a:pt x="724" y="173"/>
                  </a:lnTo>
                  <a:lnTo>
                    <a:pt x="735" y="152"/>
                  </a:lnTo>
                  <a:lnTo>
                    <a:pt x="705" y="132"/>
                  </a:lnTo>
                  <a:lnTo>
                    <a:pt x="691" y="99"/>
                  </a:lnTo>
                  <a:lnTo>
                    <a:pt x="690" y="23"/>
                  </a:lnTo>
                  <a:lnTo>
                    <a:pt x="676" y="27"/>
                  </a:lnTo>
                  <a:lnTo>
                    <a:pt x="668" y="17"/>
                  </a:lnTo>
                  <a:lnTo>
                    <a:pt x="641" y="2"/>
                  </a:lnTo>
                  <a:lnTo>
                    <a:pt x="537" y="0"/>
                  </a:lnTo>
                  <a:lnTo>
                    <a:pt x="517" y="15"/>
                  </a:lnTo>
                  <a:lnTo>
                    <a:pt x="495" y="31"/>
                  </a:lnTo>
                  <a:lnTo>
                    <a:pt x="473" y="44"/>
                  </a:lnTo>
                  <a:lnTo>
                    <a:pt x="450" y="59"/>
                  </a:lnTo>
                  <a:lnTo>
                    <a:pt x="429" y="74"/>
                  </a:lnTo>
                  <a:lnTo>
                    <a:pt x="407" y="88"/>
                  </a:lnTo>
                  <a:lnTo>
                    <a:pt x="385" y="103"/>
                  </a:lnTo>
                  <a:lnTo>
                    <a:pt x="363" y="116"/>
                  </a:lnTo>
                  <a:lnTo>
                    <a:pt x="336" y="137"/>
                  </a:lnTo>
                  <a:lnTo>
                    <a:pt x="311" y="158"/>
                  </a:lnTo>
                  <a:lnTo>
                    <a:pt x="285" y="176"/>
                  </a:lnTo>
                  <a:lnTo>
                    <a:pt x="260" y="196"/>
                  </a:lnTo>
                  <a:lnTo>
                    <a:pt x="223" y="204"/>
                  </a:lnTo>
                  <a:lnTo>
                    <a:pt x="189" y="213"/>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62" name="Freeform 85">
              <a:extLst>
                <a:ext uri="{FF2B5EF4-FFF2-40B4-BE49-F238E27FC236}">
                  <a16:creationId xmlns:a16="http://schemas.microsoft.com/office/drawing/2014/main" id="{03C48C56-A8A3-E94A-AD91-3168AE07F331}"/>
                </a:ext>
              </a:extLst>
            </p:cNvPr>
            <p:cNvSpPr>
              <a:spLocks noChangeAspect="1"/>
            </p:cNvSpPr>
            <p:nvPr/>
          </p:nvSpPr>
          <p:spPr bwMode="gray">
            <a:xfrm>
              <a:off x="4693658" y="3892251"/>
              <a:ext cx="264739" cy="260976"/>
            </a:xfrm>
            <a:custGeom>
              <a:avLst/>
              <a:gdLst>
                <a:gd name="T0" fmla="*/ 73 w 540"/>
                <a:gd name="T1" fmla="*/ 348 h 447"/>
                <a:gd name="T2" fmla="*/ 107 w 540"/>
                <a:gd name="T3" fmla="*/ 373 h 447"/>
                <a:gd name="T4" fmla="*/ 127 w 540"/>
                <a:gd name="T5" fmla="*/ 393 h 447"/>
                <a:gd name="T6" fmla="*/ 127 w 540"/>
                <a:gd name="T7" fmla="*/ 419 h 447"/>
                <a:gd name="T8" fmla="*/ 155 w 540"/>
                <a:gd name="T9" fmla="*/ 440 h 447"/>
                <a:gd name="T10" fmla="*/ 163 w 540"/>
                <a:gd name="T11" fmla="*/ 447 h 447"/>
                <a:gd name="T12" fmla="*/ 190 w 540"/>
                <a:gd name="T13" fmla="*/ 438 h 447"/>
                <a:gd name="T14" fmla="*/ 223 w 540"/>
                <a:gd name="T15" fmla="*/ 435 h 447"/>
                <a:gd name="T16" fmla="*/ 256 w 540"/>
                <a:gd name="T17" fmla="*/ 416 h 447"/>
                <a:gd name="T18" fmla="*/ 279 w 540"/>
                <a:gd name="T19" fmla="*/ 396 h 447"/>
                <a:gd name="T20" fmla="*/ 297 w 540"/>
                <a:gd name="T21" fmla="*/ 348 h 447"/>
                <a:gd name="T22" fmla="*/ 316 w 540"/>
                <a:gd name="T23" fmla="*/ 325 h 447"/>
                <a:gd name="T24" fmla="*/ 385 w 540"/>
                <a:gd name="T25" fmla="*/ 343 h 447"/>
                <a:gd name="T26" fmla="*/ 430 w 540"/>
                <a:gd name="T27" fmla="*/ 284 h 447"/>
                <a:gd name="T28" fmla="*/ 464 w 540"/>
                <a:gd name="T29" fmla="*/ 232 h 447"/>
                <a:gd name="T30" fmla="*/ 495 w 540"/>
                <a:gd name="T31" fmla="*/ 133 h 447"/>
                <a:gd name="T32" fmla="*/ 540 w 540"/>
                <a:gd name="T33" fmla="*/ 100 h 447"/>
                <a:gd name="T34" fmla="*/ 525 w 540"/>
                <a:gd name="T35" fmla="*/ 60 h 447"/>
                <a:gd name="T36" fmla="*/ 498 w 540"/>
                <a:gd name="T37" fmla="*/ 0 h 447"/>
                <a:gd name="T38" fmla="*/ 475 w 540"/>
                <a:gd name="T39" fmla="*/ 14 h 447"/>
                <a:gd name="T40" fmla="*/ 444 w 540"/>
                <a:gd name="T41" fmla="*/ 31 h 447"/>
                <a:gd name="T42" fmla="*/ 350 w 540"/>
                <a:gd name="T43" fmla="*/ 23 h 447"/>
                <a:gd name="T44" fmla="*/ 305 w 540"/>
                <a:gd name="T45" fmla="*/ 49 h 447"/>
                <a:gd name="T46" fmla="*/ 241 w 540"/>
                <a:gd name="T47" fmla="*/ 23 h 447"/>
                <a:gd name="T48" fmla="*/ 203 w 540"/>
                <a:gd name="T49" fmla="*/ 40 h 447"/>
                <a:gd name="T50" fmla="*/ 169 w 540"/>
                <a:gd name="T51" fmla="*/ 17 h 447"/>
                <a:gd name="T52" fmla="*/ 96 w 540"/>
                <a:gd name="T53" fmla="*/ 3 h 447"/>
                <a:gd name="T54" fmla="*/ 58 w 540"/>
                <a:gd name="T55" fmla="*/ 48 h 447"/>
                <a:gd name="T56" fmla="*/ 41 w 540"/>
                <a:gd name="T57" fmla="*/ 98 h 447"/>
                <a:gd name="T58" fmla="*/ 46 w 540"/>
                <a:gd name="T59" fmla="*/ 128 h 447"/>
                <a:gd name="T60" fmla="*/ 39 w 540"/>
                <a:gd name="T61" fmla="*/ 164 h 447"/>
                <a:gd name="T62" fmla="*/ 41 w 540"/>
                <a:gd name="T63" fmla="*/ 182 h 447"/>
                <a:gd name="T64" fmla="*/ 19 w 540"/>
                <a:gd name="T65" fmla="*/ 221 h 447"/>
                <a:gd name="T66" fmla="*/ 0 w 540"/>
                <a:gd name="T67" fmla="*/ 314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0" h="447">
                  <a:moveTo>
                    <a:pt x="5" y="350"/>
                  </a:moveTo>
                  <a:lnTo>
                    <a:pt x="73" y="348"/>
                  </a:lnTo>
                  <a:lnTo>
                    <a:pt x="99" y="360"/>
                  </a:lnTo>
                  <a:lnTo>
                    <a:pt x="107" y="373"/>
                  </a:lnTo>
                  <a:lnTo>
                    <a:pt x="119" y="390"/>
                  </a:lnTo>
                  <a:lnTo>
                    <a:pt x="127" y="393"/>
                  </a:lnTo>
                  <a:lnTo>
                    <a:pt x="122" y="394"/>
                  </a:lnTo>
                  <a:lnTo>
                    <a:pt x="127" y="419"/>
                  </a:lnTo>
                  <a:lnTo>
                    <a:pt x="141" y="436"/>
                  </a:lnTo>
                  <a:lnTo>
                    <a:pt x="155" y="440"/>
                  </a:lnTo>
                  <a:lnTo>
                    <a:pt x="161" y="438"/>
                  </a:lnTo>
                  <a:lnTo>
                    <a:pt x="163" y="447"/>
                  </a:lnTo>
                  <a:lnTo>
                    <a:pt x="177" y="438"/>
                  </a:lnTo>
                  <a:lnTo>
                    <a:pt x="190" y="438"/>
                  </a:lnTo>
                  <a:lnTo>
                    <a:pt x="203" y="427"/>
                  </a:lnTo>
                  <a:lnTo>
                    <a:pt x="223" y="435"/>
                  </a:lnTo>
                  <a:lnTo>
                    <a:pt x="253" y="433"/>
                  </a:lnTo>
                  <a:lnTo>
                    <a:pt x="256" y="416"/>
                  </a:lnTo>
                  <a:lnTo>
                    <a:pt x="263" y="424"/>
                  </a:lnTo>
                  <a:lnTo>
                    <a:pt x="279" y="396"/>
                  </a:lnTo>
                  <a:lnTo>
                    <a:pt x="283" y="373"/>
                  </a:lnTo>
                  <a:lnTo>
                    <a:pt x="297" y="348"/>
                  </a:lnTo>
                  <a:lnTo>
                    <a:pt x="312" y="339"/>
                  </a:lnTo>
                  <a:lnTo>
                    <a:pt x="316" y="325"/>
                  </a:lnTo>
                  <a:lnTo>
                    <a:pt x="361" y="322"/>
                  </a:lnTo>
                  <a:lnTo>
                    <a:pt x="385" y="343"/>
                  </a:lnTo>
                  <a:lnTo>
                    <a:pt x="402" y="340"/>
                  </a:lnTo>
                  <a:lnTo>
                    <a:pt x="430" y="284"/>
                  </a:lnTo>
                  <a:lnTo>
                    <a:pt x="441" y="250"/>
                  </a:lnTo>
                  <a:lnTo>
                    <a:pt x="464" y="232"/>
                  </a:lnTo>
                  <a:lnTo>
                    <a:pt x="475" y="182"/>
                  </a:lnTo>
                  <a:lnTo>
                    <a:pt x="495" y="133"/>
                  </a:lnTo>
                  <a:lnTo>
                    <a:pt x="505" y="120"/>
                  </a:lnTo>
                  <a:lnTo>
                    <a:pt x="540" y="100"/>
                  </a:lnTo>
                  <a:lnTo>
                    <a:pt x="539" y="74"/>
                  </a:lnTo>
                  <a:lnTo>
                    <a:pt x="525" y="60"/>
                  </a:lnTo>
                  <a:lnTo>
                    <a:pt x="525" y="32"/>
                  </a:lnTo>
                  <a:lnTo>
                    <a:pt x="498" y="0"/>
                  </a:lnTo>
                  <a:lnTo>
                    <a:pt x="483" y="0"/>
                  </a:lnTo>
                  <a:lnTo>
                    <a:pt x="475" y="14"/>
                  </a:lnTo>
                  <a:lnTo>
                    <a:pt x="464" y="14"/>
                  </a:lnTo>
                  <a:lnTo>
                    <a:pt x="444" y="31"/>
                  </a:lnTo>
                  <a:lnTo>
                    <a:pt x="412" y="20"/>
                  </a:lnTo>
                  <a:lnTo>
                    <a:pt x="350" y="23"/>
                  </a:lnTo>
                  <a:lnTo>
                    <a:pt x="316" y="48"/>
                  </a:lnTo>
                  <a:lnTo>
                    <a:pt x="305" y="49"/>
                  </a:lnTo>
                  <a:lnTo>
                    <a:pt x="274" y="42"/>
                  </a:lnTo>
                  <a:lnTo>
                    <a:pt x="241" y="23"/>
                  </a:lnTo>
                  <a:lnTo>
                    <a:pt x="223" y="25"/>
                  </a:lnTo>
                  <a:lnTo>
                    <a:pt x="203" y="40"/>
                  </a:lnTo>
                  <a:lnTo>
                    <a:pt x="197" y="40"/>
                  </a:lnTo>
                  <a:lnTo>
                    <a:pt x="169" y="17"/>
                  </a:lnTo>
                  <a:lnTo>
                    <a:pt x="136" y="0"/>
                  </a:lnTo>
                  <a:lnTo>
                    <a:pt x="96" y="3"/>
                  </a:lnTo>
                  <a:lnTo>
                    <a:pt x="67" y="17"/>
                  </a:lnTo>
                  <a:lnTo>
                    <a:pt x="58" y="48"/>
                  </a:lnTo>
                  <a:lnTo>
                    <a:pt x="41" y="65"/>
                  </a:lnTo>
                  <a:lnTo>
                    <a:pt x="41" y="98"/>
                  </a:lnTo>
                  <a:lnTo>
                    <a:pt x="36" y="113"/>
                  </a:lnTo>
                  <a:lnTo>
                    <a:pt x="46" y="128"/>
                  </a:lnTo>
                  <a:lnTo>
                    <a:pt x="50" y="157"/>
                  </a:lnTo>
                  <a:lnTo>
                    <a:pt x="39" y="164"/>
                  </a:lnTo>
                  <a:lnTo>
                    <a:pt x="45" y="174"/>
                  </a:lnTo>
                  <a:lnTo>
                    <a:pt x="41" y="182"/>
                  </a:lnTo>
                  <a:lnTo>
                    <a:pt x="22" y="199"/>
                  </a:lnTo>
                  <a:lnTo>
                    <a:pt x="19" y="221"/>
                  </a:lnTo>
                  <a:lnTo>
                    <a:pt x="5" y="249"/>
                  </a:lnTo>
                  <a:lnTo>
                    <a:pt x="0" y="314"/>
                  </a:lnTo>
                  <a:lnTo>
                    <a:pt x="5" y="35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63" name="Freeform 86">
              <a:extLst>
                <a:ext uri="{FF2B5EF4-FFF2-40B4-BE49-F238E27FC236}">
                  <a16:creationId xmlns:a16="http://schemas.microsoft.com/office/drawing/2014/main" id="{1E18B624-56E8-4E4B-A229-4419E34548C3}"/>
                </a:ext>
              </a:extLst>
            </p:cNvPr>
            <p:cNvSpPr>
              <a:spLocks noChangeAspect="1"/>
            </p:cNvSpPr>
            <p:nvPr/>
          </p:nvSpPr>
          <p:spPr bwMode="gray">
            <a:xfrm>
              <a:off x="4821243" y="3911444"/>
              <a:ext cx="173834" cy="312787"/>
            </a:xfrm>
            <a:custGeom>
              <a:avLst/>
              <a:gdLst>
                <a:gd name="T0" fmla="*/ 132 w 354"/>
                <a:gd name="T1" fmla="*/ 506 h 533"/>
                <a:gd name="T2" fmla="*/ 172 w 354"/>
                <a:gd name="T3" fmla="*/ 501 h 533"/>
                <a:gd name="T4" fmla="*/ 223 w 354"/>
                <a:gd name="T5" fmla="*/ 508 h 533"/>
                <a:gd name="T6" fmla="*/ 288 w 354"/>
                <a:gd name="T7" fmla="*/ 508 h 533"/>
                <a:gd name="T8" fmla="*/ 328 w 354"/>
                <a:gd name="T9" fmla="*/ 517 h 533"/>
                <a:gd name="T10" fmla="*/ 348 w 354"/>
                <a:gd name="T11" fmla="*/ 533 h 533"/>
                <a:gd name="T12" fmla="*/ 354 w 354"/>
                <a:gd name="T13" fmla="*/ 522 h 533"/>
                <a:gd name="T14" fmla="*/ 354 w 354"/>
                <a:gd name="T15" fmla="*/ 475 h 533"/>
                <a:gd name="T16" fmla="*/ 348 w 354"/>
                <a:gd name="T17" fmla="*/ 477 h 533"/>
                <a:gd name="T18" fmla="*/ 320 w 354"/>
                <a:gd name="T19" fmla="*/ 450 h 533"/>
                <a:gd name="T20" fmla="*/ 283 w 354"/>
                <a:gd name="T21" fmla="*/ 386 h 533"/>
                <a:gd name="T22" fmla="*/ 282 w 354"/>
                <a:gd name="T23" fmla="*/ 335 h 533"/>
                <a:gd name="T24" fmla="*/ 296 w 354"/>
                <a:gd name="T25" fmla="*/ 313 h 533"/>
                <a:gd name="T26" fmla="*/ 320 w 354"/>
                <a:gd name="T27" fmla="*/ 266 h 533"/>
                <a:gd name="T28" fmla="*/ 303 w 354"/>
                <a:gd name="T29" fmla="*/ 208 h 533"/>
                <a:gd name="T30" fmla="*/ 294 w 354"/>
                <a:gd name="T31" fmla="*/ 200 h 533"/>
                <a:gd name="T32" fmla="*/ 271 w 354"/>
                <a:gd name="T33" fmla="*/ 189 h 533"/>
                <a:gd name="T34" fmla="*/ 260 w 354"/>
                <a:gd name="T35" fmla="*/ 167 h 533"/>
                <a:gd name="T36" fmla="*/ 262 w 354"/>
                <a:gd name="T37" fmla="*/ 154 h 533"/>
                <a:gd name="T38" fmla="*/ 269 w 354"/>
                <a:gd name="T39" fmla="*/ 147 h 533"/>
                <a:gd name="T40" fmla="*/ 313 w 354"/>
                <a:gd name="T41" fmla="*/ 150 h 533"/>
                <a:gd name="T42" fmla="*/ 319 w 354"/>
                <a:gd name="T43" fmla="*/ 146 h 533"/>
                <a:gd name="T44" fmla="*/ 314 w 354"/>
                <a:gd name="T45" fmla="*/ 133 h 533"/>
                <a:gd name="T46" fmla="*/ 294 w 354"/>
                <a:gd name="T47" fmla="*/ 100 h 533"/>
                <a:gd name="T48" fmla="*/ 300 w 354"/>
                <a:gd name="T49" fmla="*/ 58 h 533"/>
                <a:gd name="T50" fmla="*/ 286 w 354"/>
                <a:gd name="T51" fmla="*/ 16 h 533"/>
                <a:gd name="T52" fmla="*/ 276 w 354"/>
                <a:gd name="T53" fmla="*/ 10 h 533"/>
                <a:gd name="T54" fmla="*/ 273 w 354"/>
                <a:gd name="T55" fmla="*/ 0 h 533"/>
                <a:gd name="T56" fmla="*/ 262 w 354"/>
                <a:gd name="T57" fmla="*/ 0 h 533"/>
                <a:gd name="T58" fmla="*/ 262 w 354"/>
                <a:gd name="T59" fmla="*/ 28 h 533"/>
                <a:gd name="T60" fmla="*/ 276 w 354"/>
                <a:gd name="T61" fmla="*/ 42 h 533"/>
                <a:gd name="T62" fmla="*/ 277 w 354"/>
                <a:gd name="T63" fmla="*/ 68 h 533"/>
                <a:gd name="T64" fmla="*/ 242 w 354"/>
                <a:gd name="T65" fmla="*/ 88 h 533"/>
                <a:gd name="T66" fmla="*/ 232 w 354"/>
                <a:gd name="T67" fmla="*/ 101 h 533"/>
                <a:gd name="T68" fmla="*/ 212 w 354"/>
                <a:gd name="T69" fmla="*/ 150 h 533"/>
                <a:gd name="T70" fmla="*/ 201 w 354"/>
                <a:gd name="T71" fmla="*/ 200 h 533"/>
                <a:gd name="T72" fmla="*/ 178 w 354"/>
                <a:gd name="T73" fmla="*/ 218 h 533"/>
                <a:gd name="T74" fmla="*/ 167 w 354"/>
                <a:gd name="T75" fmla="*/ 252 h 533"/>
                <a:gd name="T76" fmla="*/ 139 w 354"/>
                <a:gd name="T77" fmla="*/ 308 h 533"/>
                <a:gd name="T78" fmla="*/ 122 w 354"/>
                <a:gd name="T79" fmla="*/ 311 h 533"/>
                <a:gd name="T80" fmla="*/ 98 w 354"/>
                <a:gd name="T81" fmla="*/ 290 h 533"/>
                <a:gd name="T82" fmla="*/ 53 w 354"/>
                <a:gd name="T83" fmla="*/ 293 h 533"/>
                <a:gd name="T84" fmla="*/ 49 w 354"/>
                <a:gd name="T85" fmla="*/ 307 h 533"/>
                <a:gd name="T86" fmla="*/ 34 w 354"/>
                <a:gd name="T87" fmla="*/ 316 h 533"/>
                <a:gd name="T88" fmla="*/ 20 w 354"/>
                <a:gd name="T89" fmla="*/ 341 h 533"/>
                <a:gd name="T90" fmla="*/ 16 w 354"/>
                <a:gd name="T91" fmla="*/ 364 h 533"/>
                <a:gd name="T92" fmla="*/ 0 w 354"/>
                <a:gd name="T93" fmla="*/ 392 h 533"/>
                <a:gd name="T94" fmla="*/ 7 w 354"/>
                <a:gd name="T95" fmla="*/ 401 h 533"/>
                <a:gd name="T96" fmla="*/ 19 w 354"/>
                <a:gd name="T97" fmla="*/ 400 h 533"/>
                <a:gd name="T98" fmla="*/ 27 w 354"/>
                <a:gd name="T99" fmla="*/ 420 h 533"/>
                <a:gd name="T100" fmla="*/ 44 w 354"/>
                <a:gd name="T101" fmla="*/ 426 h 533"/>
                <a:gd name="T102" fmla="*/ 57 w 354"/>
                <a:gd name="T103" fmla="*/ 424 h 533"/>
                <a:gd name="T104" fmla="*/ 53 w 354"/>
                <a:gd name="T105" fmla="*/ 438 h 533"/>
                <a:gd name="T106" fmla="*/ 57 w 354"/>
                <a:gd name="T107" fmla="*/ 443 h 533"/>
                <a:gd name="T108" fmla="*/ 70 w 354"/>
                <a:gd name="T109" fmla="*/ 458 h 533"/>
                <a:gd name="T110" fmla="*/ 59 w 354"/>
                <a:gd name="T111" fmla="*/ 508 h 533"/>
                <a:gd name="T112" fmla="*/ 132 w 354"/>
                <a:gd name="T113" fmla="*/ 506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4" h="533">
                  <a:moveTo>
                    <a:pt x="132" y="506"/>
                  </a:moveTo>
                  <a:lnTo>
                    <a:pt x="172" y="501"/>
                  </a:lnTo>
                  <a:lnTo>
                    <a:pt x="223" y="508"/>
                  </a:lnTo>
                  <a:lnTo>
                    <a:pt x="288" y="508"/>
                  </a:lnTo>
                  <a:lnTo>
                    <a:pt x="328" y="517"/>
                  </a:lnTo>
                  <a:lnTo>
                    <a:pt x="348" y="533"/>
                  </a:lnTo>
                  <a:lnTo>
                    <a:pt x="354" y="522"/>
                  </a:lnTo>
                  <a:lnTo>
                    <a:pt x="354" y="475"/>
                  </a:lnTo>
                  <a:lnTo>
                    <a:pt x="348" y="477"/>
                  </a:lnTo>
                  <a:lnTo>
                    <a:pt x="320" y="450"/>
                  </a:lnTo>
                  <a:lnTo>
                    <a:pt x="283" y="386"/>
                  </a:lnTo>
                  <a:lnTo>
                    <a:pt x="282" y="335"/>
                  </a:lnTo>
                  <a:lnTo>
                    <a:pt x="296" y="313"/>
                  </a:lnTo>
                  <a:lnTo>
                    <a:pt x="320" y="266"/>
                  </a:lnTo>
                  <a:lnTo>
                    <a:pt x="303" y="208"/>
                  </a:lnTo>
                  <a:lnTo>
                    <a:pt x="294" y="200"/>
                  </a:lnTo>
                  <a:lnTo>
                    <a:pt x="271" y="189"/>
                  </a:lnTo>
                  <a:lnTo>
                    <a:pt x="260" y="167"/>
                  </a:lnTo>
                  <a:lnTo>
                    <a:pt x="262" y="154"/>
                  </a:lnTo>
                  <a:lnTo>
                    <a:pt x="269" y="147"/>
                  </a:lnTo>
                  <a:lnTo>
                    <a:pt x="313" y="150"/>
                  </a:lnTo>
                  <a:lnTo>
                    <a:pt x="319" y="146"/>
                  </a:lnTo>
                  <a:lnTo>
                    <a:pt x="314" y="133"/>
                  </a:lnTo>
                  <a:lnTo>
                    <a:pt x="294" y="100"/>
                  </a:lnTo>
                  <a:lnTo>
                    <a:pt x="300" y="58"/>
                  </a:lnTo>
                  <a:lnTo>
                    <a:pt x="286" y="16"/>
                  </a:lnTo>
                  <a:lnTo>
                    <a:pt x="276" y="10"/>
                  </a:lnTo>
                  <a:lnTo>
                    <a:pt x="273" y="0"/>
                  </a:lnTo>
                  <a:lnTo>
                    <a:pt x="262" y="0"/>
                  </a:lnTo>
                  <a:lnTo>
                    <a:pt x="262" y="28"/>
                  </a:lnTo>
                  <a:lnTo>
                    <a:pt x="276" y="42"/>
                  </a:lnTo>
                  <a:lnTo>
                    <a:pt x="277" y="68"/>
                  </a:lnTo>
                  <a:lnTo>
                    <a:pt x="242" y="88"/>
                  </a:lnTo>
                  <a:lnTo>
                    <a:pt x="232" y="101"/>
                  </a:lnTo>
                  <a:lnTo>
                    <a:pt x="212" y="150"/>
                  </a:lnTo>
                  <a:lnTo>
                    <a:pt x="201" y="200"/>
                  </a:lnTo>
                  <a:lnTo>
                    <a:pt x="178" y="218"/>
                  </a:lnTo>
                  <a:lnTo>
                    <a:pt x="167" y="252"/>
                  </a:lnTo>
                  <a:lnTo>
                    <a:pt x="139" y="308"/>
                  </a:lnTo>
                  <a:lnTo>
                    <a:pt x="122" y="311"/>
                  </a:lnTo>
                  <a:lnTo>
                    <a:pt x="98" y="290"/>
                  </a:lnTo>
                  <a:lnTo>
                    <a:pt x="53" y="293"/>
                  </a:lnTo>
                  <a:lnTo>
                    <a:pt x="49" y="307"/>
                  </a:lnTo>
                  <a:lnTo>
                    <a:pt x="34" y="316"/>
                  </a:lnTo>
                  <a:lnTo>
                    <a:pt x="20" y="341"/>
                  </a:lnTo>
                  <a:lnTo>
                    <a:pt x="16" y="364"/>
                  </a:lnTo>
                  <a:lnTo>
                    <a:pt x="0" y="392"/>
                  </a:lnTo>
                  <a:lnTo>
                    <a:pt x="7" y="401"/>
                  </a:lnTo>
                  <a:lnTo>
                    <a:pt x="19" y="400"/>
                  </a:lnTo>
                  <a:lnTo>
                    <a:pt x="27" y="420"/>
                  </a:lnTo>
                  <a:lnTo>
                    <a:pt x="44" y="426"/>
                  </a:lnTo>
                  <a:lnTo>
                    <a:pt x="57" y="424"/>
                  </a:lnTo>
                  <a:lnTo>
                    <a:pt x="53" y="438"/>
                  </a:lnTo>
                  <a:lnTo>
                    <a:pt x="57" y="443"/>
                  </a:lnTo>
                  <a:lnTo>
                    <a:pt x="70" y="458"/>
                  </a:lnTo>
                  <a:lnTo>
                    <a:pt x="59" y="508"/>
                  </a:lnTo>
                  <a:lnTo>
                    <a:pt x="132" y="506"/>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20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364" name="Freeform 87">
              <a:extLst>
                <a:ext uri="{FF2B5EF4-FFF2-40B4-BE49-F238E27FC236}">
                  <a16:creationId xmlns:a16="http://schemas.microsoft.com/office/drawing/2014/main" id="{C39ABC58-B008-3F49-81C7-07D17944C1A3}"/>
                </a:ext>
              </a:extLst>
            </p:cNvPr>
            <p:cNvSpPr>
              <a:spLocks noChangeAspect="1"/>
            </p:cNvSpPr>
            <p:nvPr/>
          </p:nvSpPr>
          <p:spPr bwMode="gray">
            <a:xfrm>
              <a:off x="4959992" y="3967092"/>
              <a:ext cx="295040" cy="224519"/>
            </a:xfrm>
            <a:custGeom>
              <a:avLst/>
              <a:gdLst>
                <a:gd name="T0" fmla="*/ 578 w 602"/>
                <a:gd name="T1" fmla="*/ 271 h 379"/>
                <a:gd name="T2" fmla="*/ 561 w 602"/>
                <a:gd name="T3" fmla="*/ 274 h 379"/>
                <a:gd name="T4" fmla="*/ 544 w 602"/>
                <a:gd name="T5" fmla="*/ 268 h 379"/>
                <a:gd name="T6" fmla="*/ 495 w 602"/>
                <a:gd name="T7" fmla="*/ 269 h 379"/>
                <a:gd name="T8" fmla="*/ 476 w 602"/>
                <a:gd name="T9" fmla="*/ 283 h 379"/>
                <a:gd name="T10" fmla="*/ 408 w 602"/>
                <a:gd name="T11" fmla="*/ 295 h 379"/>
                <a:gd name="T12" fmla="*/ 375 w 602"/>
                <a:gd name="T13" fmla="*/ 295 h 379"/>
                <a:gd name="T14" fmla="*/ 366 w 602"/>
                <a:gd name="T15" fmla="*/ 311 h 379"/>
                <a:gd name="T16" fmla="*/ 294 w 602"/>
                <a:gd name="T17" fmla="*/ 298 h 379"/>
                <a:gd name="T18" fmla="*/ 280 w 602"/>
                <a:gd name="T19" fmla="*/ 303 h 379"/>
                <a:gd name="T20" fmla="*/ 232 w 602"/>
                <a:gd name="T21" fmla="*/ 271 h 379"/>
                <a:gd name="T22" fmla="*/ 201 w 602"/>
                <a:gd name="T23" fmla="*/ 337 h 379"/>
                <a:gd name="T24" fmla="*/ 158 w 602"/>
                <a:gd name="T25" fmla="*/ 352 h 379"/>
                <a:gd name="T26" fmla="*/ 114 w 602"/>
                <a:gd name="T27" fmla="*/ 342 h 379"/>
                <a:gd name="T28" fmla="*/ 72 w 602"/>
                <a:gd name="T29" fmla="*/ 377 h 379"/>
                <a:gd name="T30" fmla="*/ 38 w 602"/>
                <a:gd name="T31" fmla="*/ 352 h 379"/>
                <a:gd name="T32" fmla="*/ 0 w 602"/>
                <a:gd name="T33" fmla="*/ 237 h 379"/>
                <a:gd name="T34" fmla="*/ 38 w 602"/>
                <a:gd name="T35" fmla="*/ 168 h 379"/>
                <a:gd name="T36" fmla="*/ 87 w 602"/>
                <a:gd name="T37" fmla="*/ 156 h 379"/>
                <a:gd name="T38" fmla="*/ 109 w 602"/>
                <a:gd name="T39" fmla="*/ 162 h 379"/>
                <a:gd name="T40" fmla="*/ 190 w 602"/>
                <a:gd name="T41" fmla="*/ 139 h 379"/>
                <a:gd name="T42" fmla="*/ 206 w 602"/>
                <a:gd name="T43" fmla="*/ 105 h 379"/>
                <a:gd name="T44" fmla="*/ 275 w 602"/>
                <a:gd name="T45" fmla="*/ 88 h 379"/>
                <a:gd name="T46" fmla="*/ 297 w 602"/>
                <a:gd name="T47" fmla="*/ 73 h 379"/>
                <a:gd name="T48" fmla="*/ 334 w 602"/>
                <a:gd name="T49" fmla="*/ 35 h 379"/>
                <a:gd name="T50" fmla="*/ 345 w 602"/>
                <a:gd name="T51" fmla="*/ 9 h 379"/>
                <a:gd name="T52" fmla="*/ 416 w 602"/>
                <a:gd name="T53" fmla="*/ 46 h 379"/>
                <a:gd name="T54" fmla="*/ 416 w 602"/>
                <a:gd name="T55" fmla="*/ 100 h 379"/>
                <a:gd name="T56" fmla="*/ 444 w 602"/>
                <a:gd name="T57" fmla="*/ 111 h 379"/>
                <a:gd name="T58" fmla="*/ 476 w 602"/>
                <a:gd name="T59" fmla="*/ 128 h 379"/>
                <a:gd name="T60" fmla="*/ 497 w 602"/>
                <a:gd name="T61" fmla="*/ 161 h 379"/>
                <a:gd name="T62" fmla="*/ 558 w 602"/>
                <a:gd name="T63" fmla="*/ 229 h 379"/>
                <a:gd name="T64" fmla="*/ 602 w 602"/>
                <a:gd name="T65" fmla="*/ 271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2" h="379">
                  <a:moveTo>
                    <a:pt x="602" y="271"/>
                  </a:moveTo>
                  <a:lnTo>
                    <a:pt x="578" y="271"/>
                  </a:lnTo>
                  <a:lnTo>
                    <a:pt x="572" y="281"/>
                  </a:lnTo>
                  <a:lnTo>
                    <a:pt x="561" y="274"/>
                  </a:lnTo>
                  <a:lnTo>
                    <a:pt x="557" y="281"/>
                  </a:lnTo>
                  <a:lnTo>
                    <a:pt x="544" y="268"/>
                  </a:lnTo>
                  <a:lnTo>
                    <a:pt x="512" y="274"/>
                  </a:lnTo>
                  <a:lnTo>
                    <a:pt x="495" y="269"/>
                  </a:lnTo>
                  <a:lnTo>
                    <a:pt x="493" y="281"/>
                  </a:lnTo>
                  <a:lnTo>
                    <a:pt x="476" y="283"/>
                  </a:lnTo>
                  <a:lnTo>
                    <a:pt x="465" y="277"/>
                  </a:lnTo>
                  <a:lnTo>
                    <a:pt x="408" y="295"/>
                  </a:lnTo>
                  <a:lnTo>
                    <a:pt x="387" y="286"/>
                  </a:lnTo>
                  <a:lnTo>
                    <a:pt x="375" y="295"/>
                  </a:lnTo>
                  <a:lnTo>
                    <a:pt x="373" y="308"/>
                  </a:lnTo>
                  <a:lnTo>
                    <a:pt x="366" y="311"/>
                  </a:lnTo>
                  <a:lnTo>
                    <a:pt x="324" y="311"/>
                  </a:lnTo>
                  <a:lnTo>
                    <a:pt x="294" y="298"/>
                  </a:lnTo>
                  <a:lnTo>
                    <a:pt x="287" y="305"/>
                  </a:lnTo>
                  <a:lnTo>
                    <a:pt x="280" y="303"/>
                  </a:lnTo>
                  <a:lnTo>
                    <a:pt x="255" y="272"/>
                  </a:lnTo>
                  <a:lnTo>
                    <a:pt x="232" y="271"/>
                  </a:lnTo>
                  <a:lnTo>
                    <a:pt x="202" y="303"/>
                  </a:lnTo>
                  <a:lnTo>
                    <a:pt x="201" y="337"/>
                  </a:lnTo>
                  <a:lnTo>
                    <a:pt x="190" y="339"/>
                  </a:lnTo>
                  <a:lnTo>
                    <a:pt x="158" y="352"/>
                  </a:lnTo>
                  <a:lnTo>
                    <a:pt x="130" y="339"/>
                  </a:lnTo>
                  <a:lnTo>
                    <a:pt x="114" y="342"/>
                  </a:lnTo>
                  <a:lnTo>
                    <a:pt x="94" y="354"/>
                  </a:lnTo>
                  <a:lnTo>
                    <a:pt x="72" y="377"/>
                  </a:lnTo>
                  <a:lnTo>
                    <a:pt x="66" y="379"/>
                  </a:lnTo>
                  <a:lnTo>
                    <a:pt x="38" y="352"/>
                  </a:lnTo>
                  <a:lnTo>
                    <a:pt x="1" y="288"/>
                  </a:lnTo>
                  <a:lnTo>
                    <a:pt x="0" y="237"/>
                  </a:lnTo>
                  <a:lnTo>
                    <a:pt x="14" y="215"/>
                  </a:lnTo>
                  <a:lnTo>
                    <a:pt x="38" y="168"/>
                  </a:lnTo>
                  <a:lnTo>
                    <a:pt x="66" y="166"/>
                  </a:lnTo>
                  <a:lnTo>
                    <a:pt x="87" y="156"/>
                  </a:lnTo>
                  <a:lnTo>
                    <a:pt x="94" y="150"/>
                  </a:lnTo>
                  <a:lnTo>
                    <a:pt x="109" y="162"/>
                  </a:lnTo>
                  <a:lnTo>
                    <a:pt x="151" y="142"/>
                  </a:lnTo>
                  <a:lnTo>
                    <a:pt x="190" y="139"/>
                  </a:lnTo>
                  <a:lnTo>
                    <a:pt x="212" y="114"/>
                  </a:lnTo>
                  <a:lnTo>
                    <a:pt x="206" y="105"/>
                  </a:lnTo>
                  <a:lnTo>
                    <a:pt x="207" y="99"/>
                  </a:lnTo>
                  <a:lnTo>
                    <a:pt x="275" y="88"/>
                  </a:lnTo>
                  <a:lnTo>
                    <a:pt x="282" y="80"/>
                  </a:lnTo>
                  <a:lnTo>
                    <a:pt x="297" y="73"/>
                  </a:lnTo>
                  <a:lnTo>
                    <a:pt x="302" y="61"/>
                  </a:lnTo>
                  <a:lnTo>
                    <a:pt x="334" y="35"/>
                  </a:lnTo>
                  <a:lnTo>
                    <a:pt x="334" y="22"/>
                  </a:lnTo>
                  <a:lnTo>
                    <a:pt x="345" y="9"/>
                  </a:lnTo>
                  <a:lnTo>
                    <a:pt x="379" y="0"/>
                  </a:lnTo>
                  <a:lnTo>
                    <a:pt x="416" y="46"/>
                  </a:lnTo>
                  <a:lnTo>
                    <a:pt x="419" y="60"/>
                  </a:lnTo>
                  <a:lnTo>
                    <a:pt x="416" y="100"/>
                  </a:lnTo>
                  <a:lnTo>
                    <a:pt x="424" y="107"/>
                  </a:lnTo>
                  <a:lnTo>
                    <a:pt x="444" y="111"/>
                  </a:lnTo>
                  <a:lnTo>
                    <a:pt x="450" y="124"/>
                  </a:lnTo>
                  <a:lnTo>
                    <a:pt x="476" y="128"/>
                  </a:lnTo>
                  <a:lnTo>
                    <a:pt x="492" y="139"/>
                  </a:lnTo>
                  <a:lnTo>
                    <a:pt x="497" y="161"/>
                  </a:lnTo>
                  <a:lnTo>
                    <a:pt x="543" y="195"/>
                  </a:lnTo>
                  <a:lnTo>
                    <a:pt x="558" y="229"/>
                  </a:lnTo>
                  <a:lnTo>
                    <a:pt x="592" y="249"/>
                  </a:lnTo>
                  <a:lnTo>
                    <a:pt x="602" y="271"/>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65" name="Freeform 88">
              <a:extLst>
                <a:ext uri="{FF2B5EF4-FFF2-40B4-BE49-F238E27FC236}">
                  <a16:creationId xmlns:a16="http://schemas.microsoft.com/office/drawing/2014/main" id="{D709CB1D-70A4-1946-ADA3-249170EEED91}"/>
                </a:ext>
              </a:extLst>
            </p:cNvPr>
            <p:cNvSpPr>
              <a:spLocks noChangeAspect="1"/>
            </p:cNvSpPr>
            <p:nvPr/>
          </p:nvSpPr>
          <p:spPr bwMode="gray">
            <a:xfrm>
              <a:off x="4441681" y="3976686"/>
              <a:ext cx="138748" cy="174624"/>
            </a:xfrm>
            <a:custGeom>
              <a:avLst/>
              <a:gdLst>
                <a:gd name="T0" fmla="*/ 18 w 283"/>
                <a:gd name="T1" fmla="*/ 37 h 296"/>
                <a:gd name="T2" fmla="*/ 32 w 283"/>
                <a:gd name="T3" fmla="*/ 62 h 296"/>
                <a:gd name="T4" fmla="*/ 37 w 283"/>
                <a:gd name="T5" fmla="*/ 79 h 296"/>
                <a:gd name="T6" fmla="*/ 35 w 283"/>
                <a:gd name="T7" fmla="*/ 93 h 296"/>
                <a:gd name="T8" fmla="*/ 29 w 283"/>
                <a:gd name="T9" fmla="*/ 105 h 296"/>
                <a:gd name="T10" fmla="*/ 13 w 283"/>
                <a:gd name="T11" fmla="*/ 116 h 296"/>
                <a:gd name="T12" fmla="*/ 27 w 283"/>
                <a:gd name="T13" fmla="*/ 125 h 296"/>
                <a:gd name="T14" fmla="*/ 3 w 283"/>
                <a:gd name="T15" fmla="*/ 148 h 296"/>
                <a:gd name="T16" fmla="*/ 13 w 283"/>
                <a:gd name="T17" fmla="*/ 169 h 296"/>
                <a:gd name="T18" fmla="*/ 0 w 283"/>
                <a:gd name="T19" fmla="*/ 196 h 296"/>
                <a:gd name="T20" fmla="*/ 37 w 283"/>
                <a:gd name="T21" fmla="*/ 223 h 296"/>
                <a:gd name="T22" fmla="*/ 54 w 283"/>
                <a:gd name="T23" fmla="*/ 250 h 296"/>
                <a:gd name="T24" fmla="*/ 47 w 283"/>
                <a:gd name="T25" fmla="*/ 292 h 296"/>
                <a:gd name="T26" fmla="*/ 114 w 283"/>
                <a:gd name="T27" fmla="*/ 272 h 296"/>
                <a:gd name="T28" fmla="*/ 216 w 283"/>
                <a:gd name="T29" fmla="*/ 257 h 296"/>
                <a:gd name="T30" fmla="*/ 258 w 283"/>
                <a:gd name="T31" fmla="*/ 257 h 296"/>
                <a:gd name="T32" fmla="*/ 269 w 283"/>
                <a:gd name="T33" fmla="*/ 237 h 296"/>
                <a:gd name="T34" fmla="*/ 247 w 283"/>
                <a:gd name="T35" fmla="*/ 193 h 296"/>
                <a:gd name="T36" fmla="*/ 261 w 283"/>
                <a:gd name="T37" fmla="*/ 162 h 296"/>
                <a:gd name="T38" fmla="*/ 283 w 283"/>
                <a:gd name="T39" fmla="*/ 114 h 296"/>
                <a:gd name="T40" fmla="*/ 269 w 283"/>
                <a:gd name="T41" fmla="*/ 76 h 296"/>
                <a:gd name="T42" fmla="*/ 272 w 283"/>
                <a:gd name="T43" fmla="*/ 57 h 296"/>
                <a:gd name="T44" fmla="*/ 249 w 283"/>
                <a:gd name="T45" fmla="*/ 35 h 296"/>
                <a:gd name="T46" fmla="*/ 227 w 283"/>
                <a:gd name="T47" fmla="*/ 35 h 296"/>
                <a:gd name="T48" fmla="*/ 193 w 283"/>
                <a:gd name="T49" fmla="*/ 51 h 296"/>
                <a:gd name="T50" fmla="*/ 179 w 283"/>
                <a:gd name="T51" fmla="*/ 47 h 296"/>
                <a:gd name="T52" fmla="*/ 154 w 283"/>
                <a:gd name="T53" fmla="*/ 18 h 296"/>
                <a:gd name="T54" fmla="*/ 137 w 283"/>
                <a:gd name="T55" fmla="*/ 13 h 296"/>
                <a:gd name="T56" fmla="*/ 117 w 283"/>
                <a:gd name="T57" fmla="*/ 21 h 296"/>
                <a:gd name="T58" fmla="*/ 106 w 283"/>
                <a:gd name="T59" fmla="*/ 0 h 296"/>
                <a:gd name="T60" fmla="*/ 97 w 283"/>
                <a:gd name="T61" fmla="*/ 6 h 296"/>
                <a:gd name="T62" fmla="*/ 86 w 283"/>
                <a:gd name="T63" fmla="*/ 17 h 296"/>
                <a:gd name="T64" fmla="*/ 69 w 283"/>
                <a:gd name="T65" fmla="*/ 26 h 296"/>
                <a:gd name="T66" fmla="*/ 54 w 283"/>
                <a:gd name="T67" fmla="*/ 21 h 296"/>
                <a:gd name="T68" fmla="*/ 27 w 283"/>
                <a:gd name="T69" fmla="*/ 25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3" h="296">
                  <a:moveTo>
                    <a:pt x="27" y="25"/>
                  </a:moveTo>
                  <a:lnTo>
                    <a:pt x="18" y="37"/>
                  </a:lnTo>
                  <a:lnTo>
                    <a:pt x="18" y="59"/>
                  </a:lnTo>
                  <a:lnTo>
                    <a:pt x="32" y="62"/>
                  </a:lnTo>
                  <a:lnTo>
                    <a:pt x="30" y="74"/>
                  </a:lnTo>
                  <a:lnTo>
                    <a:pt x="37" y="79"/>
                  </a:lnTo>
                  <a:lnTo>
                    <a:pt x="29" y="91"/>
                  </a:lnTo>
                  <a:lnTo>
                    <a:pt x="35" y="93"/>
                  </a:lnTo>
                  <a:lnTo>
                    <a:pt x="38" y="111"/>
                  </a:lnTo>
                  <a:lnTo>
                    <a:pt x="29" y="105"/>
                  </a:lnTo>
                  <a:lnTo>
                    <a:pt x="13" y="106"/>
                  </a:lnTo>
                  <a:lnTo>
                    <a:pt x="13" y="116"/>
                  </a:lnTo>
                  <a:lnTo>
                    <a:pt x="24" y="119"/>
                  </a:lnTo>
                  <a:lnTo>
                    <a:pt x="27" y="125"/>
                  </a:lnTo>
                  <a:lnTo>
                    <a:pt x="18" y="147"/>
                  </a:lnTo>
                  <a:lnTo>
                    <a:pt x="3" y="148"/>
                  </a:lnTo>
                  <a:lnTo>
                    <a:pt x="4" y="161"/>
                  </a:lnTo>
                  <a:lnTo>
                    <a:pt x="13" y="169"/>
                  </a:lnTo>
                  <a:lnTo>
                    <a:pt x="10" y="182"/>
                  </a:lnTo>
                  <a:lnTo>
                    <a:pt x="0" y="196"/>
                  </a:lnTo>
                  <a:lnTo>
                    <a:pt x="27" y="204"/>
                  </a:lnTo>
                  <a:lnTo>
                    <a:pt x="37" y="223"/>
                  </a:lnTo>
                  <a:lnTo>
                    <a:pt x="51" y="227"/>
                  </a:lnTo>
                  <a:lnTo>
                    <a:pt x="54" y="250"/>
                  </a:lnTo>
                  <a:lnTo>
                    <a:pt x="47" y="263"/>
                  </a:lnTo>
                  <a:lnTo>
                    <a:pt x="47" y="292"/>
                  </a:lnTo>
                  <a:lnTo>
                    <a:pt x="61" y="296"/>
                  </a:lnTo>
                  <a:lnTo>
                    <a:pt x="114" y="272"/>
                  </a:lnTo>
                  <a:lnTo>
                    <a:pt x="174" y="260"/>
                  </a:lnTo>
                  <a:lnTo>
                    <a:pt x="216" y="257"/>
                  </a:lnTo>
                  <a:lnTo>
                    <a:pt x="252" y="264"/>
                  </a:lnTo>
                  <a:lnTo>
                    <a:pt x="258" y="257"/>
                  </a:lnTo>
                  <a:lnTo>
                    <a:pt x="271" y="258"/>
                  </a:lnTo>
                  <a:lnTo>
                    <a:pt x="269" y="237"/>
                  </a:lnTo>
                  <a:lnTo>
                    <a:pt x="258" y="230"/>
                  </a:lnTo>
                  <a:lnTo>
                    <a:pt x="247" y="193"/>
                  </a:lnTo>
                  <a:lnTo>
                    <a:pt x="249" y="178"/>
                  </a:lnTo>
                  <a:lnTo>
                    <a:pt x="261" y="162"/>
                  </a:lnTo>
                  <a:lnTo>
                    <a:pt x="269" y="127"/>
                  </a:lnTo>
                  <a:lnTo>
                    <a:pt x="283" y="114"/>
                  </a:lnTo>
                  <a:lnTo>
                    <a:pt x="275" y="79"/>
                  </a:lnTo>
                  <a:lnTo>
                    <a:pt x="269" y="76"/>
                  </a:lnTo>
                  <a:lnTo>
                    <a:pt x="272" y="69"/>
                  </a:lnTo>
                  <a:lnTo>
                    <a:pt x="272" y="57"/>
                  </a:lnTo>
                  <a:lnTo>
                    <a:pt x="263" y="57"/>
                  </a:lnTo>
                  <a:lnTo>
                    <a:pt x="249" y="35"/>
                  </a:lnTo>
                  <a:lnTo>
                    <a:pt x="244" y="38"/>
                  </a:lnTo>
                  <a:lnTo>
                    <a:pt x="227" y="35"/>
                  </a:lnTo>
                  <a:lnTo>
                    <a:pt x="198" y="43"/>
                  </a:lnTo>
                  <a:lnTo>
                    <a:pt x="193" y="51"/>
                  </a:lnTo>
                  <a:lnTo>
                    <a:pt x="185" y="46"/>
                  </a:lnTo>
                  <a:lnTo>
                    <a:pt x="179" y="47"/>
                  </a:lnTo>
                  <a:lnTo>
                    <a:pt x="165" y="38"/>
                  </a:lnTo>
                  <a:lnTo>
                    <a:pt x="154" y="18"/>
                  </a:lnTo>
                  <a:lnTo>
                    <a:pt x="145" y="20"/>
                  </a:lnTo>
                  <a:lnTo>
                    <a:pt x="137" y="13"/>
                  </a:lnTo>
                  <a:lnTo>
                    <a:pt x="128" y="13"/>
                  </a:lnTo>
                  <a:lnTo>
                    <a:pt x="117" y="21"/>
                  </a:lnTo>
                  <a:lnTo>
                    <a:pt x="110" y="21"/>
                  </a:lnTo>
                  <a:lnTo>
                    <a:pt x="106" y="0"/>
                  </a:lnTo>
                  <a:lnTo>
                    <a:pt x="100" y="1"/>
                  </a:lnTo>
                  <a:lnTo>
                    <a:pt x="97" y="6"/>
                  </a:lnTo>
                  <a:lnTo>
                    <a:pt x="88" y="3"/>
                  </a:lnTo>
                  <a:lnTo>
                    <a:pt x="86" y="17"/>
                  </a:lnTo>
                  <a:lnTo>
                    <a:pt x="71" y="20"/>
                  </a:lnTo>
                  <a:lnTo>
                    <a:pt x="69" y="26"/>
                  </a:lnTo>
                  <a:lnTo>
                    <a:pt x="60" y="20"/>
                  </a:lnTo>
                  <a:lnTo>
                    <a:pt x="54" y="21"/>
                  </a:lnTo>
                  <a:lnTo>
                    <a:pt x="47" y="12"/>
                  </a:lnTo>
                  <a:lnTo>
                    <a:pt x="27" y="25"/>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366" name="Freeform 89">
              <a:extLst>
                <a:ext uri="{FF2B5EF4-FFF2-40B4-BE49-F238E27FC236}">
                  <a16:creationId xmlns:a16="http://schemas.microsoft.com/office/drawing/2014/main" id="{2104371B-4A49-964B-9A6D-A40A9846F53A}"/>
                </a:ext>
              </a:extLst>
            </p:cNvPr>
            <p:cNvSpPr>
              <a:spLocks noChangeAspect="1"/>
            </p:cNvSpPr>
            <p:nvPr/>
          </p:nvSpPr>
          <p:spPr bwMode="gray">
            <a:xfrm>
              <a:off x="4650599" y="3932550"/>
              <a:ext cx="66982" cy="166948"/>
            </a:xfrm>
            <a:custGeom>
              <a:avLst/>
              <a:gdLst>
                <a:gd name="T0" fmla="*/ 55 w 139"/>
                <a:gd name="T1" fmla="*/ 286 h 286"/>
                <a:gd name="T2" fmla="*/ 51 w 139"/>
                <a:gd name="T3" fmla="*/ 284 h 286"/>
                <a:gd name="T4" fmla="*/ 46 w 139"/>
                <a:gd name="T5" fmla="*/ 266 h 286"/>
                <a:gd name="T6" fmla="*/ 49 w 139"/>
                <a:gd name="T7" fmla="*/ 238 h 286"/>
                <a:gd name="T8" fmla="*/ 46 w 139"/>
                <a:gd name="T9" fmla="*/ 170 h 286"/>
                <a:gd name="T10" fmla="*/ 27 w 139"/>
                <a:gd name="T11" fmla="*/ 116 h 286"/>
                <a:gd name="T12" fmla="*/ 17 w 139"/>
                <a:gd name="T13" fmla="*/ 102 h 286"/>
                <a:gd name="T14" fmla="*/ 0 w 139"/>
                <a:gd name="T15" fmla="*/ 94 h 286"/>
                <a:gd name="T16" fmla="*/ 6 w 139"/>
                <a:gd name="T17" fmla="*/ 64 h 286"/>
                <a:gd name="T18" fmla="*/ 30 w 139"/>
                <a:gd name="T19" fmla="*/ 40 h 286"/>
                <a:gd name="T20" fmla="*/ 59 w 139"/>
                <a:gd name="T21" fmla="*/ 42 h 286"/>
                <a:gd name="T22" fmla="*/ 74 w 139"/>
                <a:gd name="T23" fmla="*/ 20 h 286"/>
                <a:gd name="T24" fmla="*/ 81 w 139"/>
                <a:gd name="T25" fmla="*/ 17 h 286"/>
                <a:gd name="T26" fmla="*/ 74 w 139"/>
                <a:gd name="T27" fmla="*/ 5 h 286"/>
                <a:gd name="T28" fmla="*/ 94 w 139"/>
                <a:gd name="T29" fmla="*/ 0 h 286"/>
                <a:gd name="T30" fmla="*/ 130 w 139"/>
                <a:gd name="T31" fmla="*/ 30 h 286"/>
                <a:gd name="T32" fmla="*/ 125 w 139"/>
                <a:gd name="T33" fmla="*/ 45 h 286"/>
                <a:gd name="T34" fmla="*/ 135 w 139"/>
                <a:gd name="T35" fmla="*/ 60 h 286"/>
                <a:gd name="T36" fmla="*/ 139 w 139"/>
                <a:gd name="T37" fmla="*/ 89 h 286"/>
                <a:gd name="T38" fmla="*/ 128 w 139"/>
                <a:gd name="T39" fmla="*/ 96 h 286"/>
                <a:gd name="T40" fmla="*/ 134 w 139"/>
                <a:gd name="T41" fmla="*/ 106 h 286"/>
                <a:gd name="T42" fmla="*/ 130 w 139"/>
                <a:gd name="T43" fmla="*/ 114 h 286"/>
                <a:gd name="T44" fmla="*/ 111 w 139"/>
                <a:gd name="T45" fmla="*/ 131 h 286"/>
                <a:gd name="T46" fmla="*/ 108 w 139"/>
                <a:gd name="T47" fmla="*/ 153 h 286"/>
                <a:gd name="T48" fmla="*/ 94 w 139"/>
                <a:gd name="T49" fmla="*/ 181 h 286"/>
                <a:gd name="T50" fmla="*/ 89 w 139"/>
                <a:gd name="T51" fmla="*/ 246 h 286"/>
                <a:gd name="T52" fmla="*/ 94 w 139"/>
                <a:gd name="T53" fmla="*/ 282 h 286"/>
                <a:gd name="T54" fmla="*/ 55 w 139"/>
                <a:gd name="T55"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9" h="286">
                  <a:moveTo>
                    <a:pt x="55" y="286"/>
                  </a:moveTo>
                  <a:lnTo>
                    <a:pt x="51" y="284"/>
                  </a:lnTo>
                  <a:lnTo>
                    <a:pt x="46" y="266"/>
                  </a:lnTo>
                  <a:lnTo>
                    <a:pt x="49" y="238"/>
                  </a:lnTo>
                  <a:lnTo>
                    <a:pt x="46" y="170"/>
                  </a:lnTo>
                  <a:lnTo>
                    <a:pt x="27" y="116"/>
                  </a:lnTo>
                  <a:lnTo>
                    <a:pt x="17" y="102"/>
                  </a:lnTo>
                  <a:lnTo>
                    <a:pt x="0" y="94"/>
                  </a:lnTo>
                  <a:lnTo>
                    <a:pt x="6" y="64"/>
                  </a:lnTo>
                  <a:lnTo>
                    <a:pt x="30" y="40"/>
                  </a:lnTo>
                  <a:lnTo>
                    <a:pt x="59" y="42"/>
                  </a:lnTo>
                  <a:lnTo>
                    <a:pt x="74" y="20"/>
                  </a:lnTo>
                  <a:lnTo>
                    <a:pt x="81" y="17"/>
                  </a:lnTo>
                  <a:lnTo>
                    <a:pt x="74" y="5"/>
                  </a:lnTo>
                  <a:lnTo>
                    <a:pt x="94" y="0"/>
                  </a:lnTo>
                  <a:lnTo>
                    <a:pt x="130" y="30"/>
                  </a:lnTo>
                  <a:lnTo>
                    <a:pt x="125" y="45"/>
                  </a:lnTo>
                  <a:lnTo>
                    <a:pt x="135" y="60"/>
                  </a:lnTo>
                  <a:lnTo>
                    <a:pt x="139" y="89"/>
                  </a:lnTo>
                  <a:lnTo>
                    <a:pt x="128" y="96"/>
                  </a:lnTo>
                  <a:lnTo>
                    <a:pt x="134" y="106"/>
                  </a:lnTo>
                  <a:lnTo>
                    <a:pt x="130" y="114"/>
                  </a:lnTo>
                  <a:lnTo>
                    <a:pt x="111" y="131"/>
                  </a:lnTo>
                  <a:lnTo>
                    <a:pt x="108" y="153"/>
                  </a:lnTo>
                  <a:lnTo>
                    <a:pt x="94" y="181"/>
                  </a:lnTo>
                  <a:lnTo>
                    <a:pt x="89" y="246"/>
                  </a:lnTo>
                  <a:lnTo>
                    <a:pt x="94" y="282"/>
                  </a:lnTo>
                  <a:lnTo>
                    <a:pt x="55" y="286"/>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367" name="Freeform 90">
              <a:extLst>
                <a:ext uri="{FF2B5EF4-FFF2-40B4-BE49-F238E27FC236}">
                  <a16:creationId xmlns:a16="http://schemas.microsoft.com/office/drawing/2014/main" id="{0E5D4171-0DAA-D84D-B104-542B18BFC6DE}"/>
                </a:ext>
              </a:extLst>
            </p:cNvPr>
            <p:cNvSpPr>
              <a:spLocks noChangeAspect="1"/>
            </p:cNvSpPr>
            <p:nvPr/>
          </p:nvSpPr>
          <p:spPr bwMode="gray">
            <a:xfrm>
              <a:off x="4376293" y="4036174"/>
              <a:ext cx="90904" cy="113219"/>
            </a:xfrm>
            <a:custGeom>
              <a:avLst/>
              <a:gdLst>
                <a:gd name="T0" fmla="*/ 0 w 188"/>
                <a:gd name="T1" fmla="*/ 72 h 190"/>
                <a:gd name="T2" fmla="*/ 8 w 188"/>
                <a:gd name="T3" fmla="*/ 59 h 190"/>
                <a:gd name="T4" fmla="*/ 41 w 188"/>
                <a:gd name="T5" fmla="*/ 37 h 190"/>
                <a:gd name="T6" fmla="*/ 39 w 188"/>
                <a:gd name="T7" fmla="*/ 23 h 190"/>
                <a:gd name="T8" fmla="*/ 55 w 188"/>
                <a:gd name="T9" fmla="*/ 17 h 190"/>
                <a:gd name="T10" fmla="*/ 53 w 188"/>
                <a:gd name="T11" fmla="*/ 8 h 190"/>
                <a:gd name="T12" fmla="*/ 61 w 188"/>
                <a:gd name="T13" fmla="*/ 0 h 190"/>
                <a:gd name="T14" fmla="*/ 70 w 188"/>
                <a:gd name="T15" fmla="*/ 4 h 190"/>
                <a:gd name="T16" fmla="*/ 80 w 188"/>
                <a:gd name="T17" fmla="*/ 1 h 190"/>
                <a:gd name="T18" fmla="*/ 90 w 188"/>
                <a:gd name="T19" fmla="*/ 9 h 190"/>
                <a:gd name="T20" fmla="*/ 97 w 188"/>
                <a:gd name="T21" fmla="*/ 35 h 190"/>
                <a:gd name="T22" fmla="*/ 92 w 188"/>
                <a:gd name="T23" fmla="*/ 55 h 190"/>
                <a:gd name="T24" fmla="*/ 100 w 188"/>
                <a:gd name="T25" fmla="*/ 54 h 190"/>
                <a:gd name="T26" fmla="*/ 112 w 188"/>
                <a:gd name="T27" fmla="*/ 62 h 190"/>
                <a:gd name="T28" fmla="*/ 120 w 188"/>
                <a:gd name="T29" fmla="*/ 59 h 190"/>
                <a:gd name="T30" fmla="*/ 129 w 188"/>
                <a:gd name="T31" fmla="*/ 42 h 190"/>
                <a:gd name="T32" fmla="*/ 137 w 188"/>
                <a:gd name="T33" fmla="*/ 46 h 190"/>
                <a:gd name="T34" fmla="*/ 138 w 188"/>
                <a:gd name="T35" fmla="*/ 59 h 190"/>
                <a:gd name="T36" fmla="*/ 147 w 188"/>
                <a:gd name="T37" fmla="*/ 67 h 190"/>
                <a:gd name="T38" fmla="*/ 144 w 188"/>
                <a:gd name="T39" fmla="*/ 80 h 190"/>
                <a:gd name="T40" fmla="*/ 134 w 188"/>
                <a:gd name="T41" fmla="*/ 94 h 190"/>
                <a:gd name="T42" fmla="*/ 161 w 188"/>
                <a:gd name="T43" fmla="*/ 102 h 190"/>
                <a:gd name="T44" fmla="*/ 171 w 188"/>
                <a:gd name="T45" fmla="*/ 121 h 190"/>
                <a:gd name="T46" fmla="*/ 185 w 188"/>
                <a:gd name="T47" fmla="*/ 125 h 190"/>
                <a:gd name="T48" fmla="*/ 188 w 188"/>
                <a:gd name="T49" fmla="*/ 148 h 190"/>
                <a:gd name="T50" fmla="*/ 181 w 188"/>
                <a:gd name="T51" fmla="*/ 161 h 190"/>
                <a:gd name="T52" fmla="*/ 181 w 188"/>
                <a:gd name="T53" fmla="*/ 190 h 190"/>
                <a:gd name="T54" fmla="*/ 138 w 188"/>
                <a:gd name="T55" fmla="*/ 181 h 190"/>
                <a:gd name="T56" fmla="*/ 98 w 188"/>
                <a:gd name="T57" fmla="*/ 156 h 190"/>
                <a:gd name="T58" fmla="*/ 51 w 188"/>
                <a:gd name="T59" fmla="*/ 113 h 190"/>
                <a:gd name="T60" fmla="*/ 27 w 188"/>
                <a:gd name="T61" fmla="*/ 102 h 190"/>
                <a:gd name="T62" fmla="*/ 0 w 188"/>
                <a:gd name="T63" fmla="*/ 72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8" h="190">
                  <a:moveTo>
                    <a:pt x="0" y="72"/>
                  </a:moveTo>
                  <a:lnTo>
                    <a:pt x="8" y="59"/>
                  </a:lnTo>
                  <a:lnTo>
                    <a:pt x="41" y="37"/>
                  </a:lnTo>
                  <a:lnTo>
                    <a:pt x="39" y="23"/>
                  </a:lnTo>
                  <a:lnTo>
                    <a:pt x="55" y="17"/>
                  </a:lnTo>
                  <a:lnTo>
                    <a:pt x="53" y="8"/>
                  </a:lnTo>
                  <a:lnTo>
                    <a:pt x="61" y="0"/>
                  </a:lnTo>
                  <a:lnTo>
                    <a:pt x="70" y="4"/>
                  </a:lnTo>
                  <a:lnTo>
                    <a:pt x="80" y="1"/>
                  </a:lnTo>
                  <a:lnTo>
                    <a:pt x="90" y="9"/>
                  </a:lnTo>
                  <a:lnTo>
                    <a:pt x="97" y="35"/>
                  </a:lnTo>
                  <a:lnTo>
                    <a:pt x="92" y="55"/>
                  </a:lnTo>
                  <a:lnTo>
                    <a:pt x="100" y="54"/>
                  </a:lnTo>
                  <a:lnTo>
                    <a:pt x="112" y="62"/>
                  </a:lnTo>
                  <a:lnTo>
                    <a:pt x="120" y="59"/>
                  </a:lnTo>
                  <a:lnTo>
                    <a:pt x="129" y="42"/>
                  </a:lnTo>
                  <a:lnTo>
                    <a:pt x="137" y="46"/>
                  </a:lnTo>
                  <a:lnTo>
                    <a:pt x="138" y="59"/>
                  </a:lnTo>
                  <a:lnTo>
                    <a:pt x="147" y="67"/>
                  </a:lnTo>
                  <a:lnTo>
                    <a:pt x="144" y="80"/>
                  </a:lnTo>
                  <a:lnTo>
                    <a:pt x="134" y="94"/>
                  </a:lnTo>
                  <a:lnTo>
                    <a:pt x="161" y="102"/>
                  </a:lnTo>
                  <a:lnTo>
                    <a:pt x="171" y="121"/>
                  </a:lnTo>
                  <a:lnTo>
                    <a:pt x="185" y="125"/>
                  </a:lnTo>
                  <a:lnTo>
                    <a:pt x="188" y="148"/>
                  </a:lnTo>
                  <a:lnTo>
                    <a:pt x="181" y="161"/>
                  </a:lnTo>
                  <a:lnTo>
                    <a:pt x="181" y="190"/>
                  </a:lnTo>
                  <a:lnTo>
                    <a:pt x="138" y="181"/>
                  </a:lnTo>
                  <a:lnTo>
                    <a:pt x="98" y="156"/>
                  </a:lnTo>
                  <a:lnTo>
                    <a:pt x="51" y="113"/>
                  </a:lnTo>
                  <a:lnTo>
                    <a:pt x="27" y="102"/>
                  </a:lnTo>
                  <a:lnTo>
                    <a:pt x="0" y="72"/>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68" name="Freeform 91">
              <a:extLst>
                <a:ext uri="{FF2B5EF4-FFF2-40B4-BE49-F238E27FC236}">
                  <a16:creationId xmlns:a16="http://schemas.microsoft.com/office/drawing/2014/main" id="{43F0B776-E28D-7B4A-812C-850E1F58EBBE}"/>
                </a:ext>
              </a:extLst>
            </p:cNvPr>
            <p:cNvSpPr>
              <a:spLocks noChangeAspect="1"/>
            </p:cNvSpPr>
            <p:nvPr/>
          </p:nvSpPr>
          <p:spPr bwMode="gray">
            <a:xfrm>
              <a:off x="4631461" y="3970931"/>
              <a:ext cx="44655" cy="132408"/>
            </a:xfrm>
            <a:custGeom>
              <a:avLst/>
              <a:gdLst>
                <a:gd name="T0" fmla="*/ 93 w 93"/>
                <a:gd name="T1" fmla="*/ 222 h 230"/>
                <a:gd name="T2" fmla="*/ 61 w 93"/>
                <a:gd name="T3" fmla="*/ 230 h 230"/>
                <a:gd name="T4" fmla="*/ 44 w 93"/>
                <a:gd name="T5" fmla="*/ 213 h 230"/>
                <a:gd name="T6" fmla="*/ 34 w 93"/>
                <a:gd name="T7" fmla="*/ 196 h 230"/>
                <a:gd name="T8" fmla="*/ 28 w 93"/>
                <a:gd name="T9" fmla="*/ 80 h 230"/>
                <a:gd name="T10" fmla="*/ 17 w 93"/>
                <a:gd name="T11" fmla="*/ 38 h 230"/>
                <a:gd name="T12" fmla="*/ 0 w 93"/>
                <a:gd name="T13" fmla="*/ 17 h 230"/>
                <a:gd name="T14" fmla="*/ 5 w 93"/>
                <a:gd name="T15" fmla="*/ 5 h 230"/>
                <a:gd name="T16" fmla="*/ 0 w 93"/>
                <a:gd name="T17" fmla="*/ 4 h 230"/>
                <a:gd name="T18" fmla="*/ 0 w 93"/>
                <a:gd name="T19" fmla="*/ 1 h 230"/>
                <a:gd name="T20" fmla="*/ 14 w 93"/>
                <a:gd name="T21" fmla="*/ 1 h 230"/>
                <a:gd name="T22" fmla="*/ 25 w 93"/>
                <a:gd name="T23" fmla="*/ 4 h 230"/>
                <a:gd name="T24" fmla="*/ 44 w 93"/>
                <a:gd name="T25" fmla="*/ 0 h 230"/>
                <a:gd name="T26" fmla="*/ 38 w 93"/>
                <a:gd name="T27" fmla="*/ 30 h 230"/>
                <a:gd name="T28" fmla="*/ 55 w 93"/>
                <a:gd name="T29" fmla="*/ 38 h 230"/>
                <a:gd name="T30" fmla="*/ 65 w 93"/>
                <a:gd name="T31" fmla="*/ 52 h 230"/>
                <a:gd name="T32" fmla="*/ 84 w 93"/>
                <a:gd name="T33" fmla="*/ 106 h 230"/>
                <a:gd name="T34" fmla="*/ 87 w 93"/>
                <a:gd name="T35" fmla="*/ 174 h 230"/>
                <a:gd name="T36" fmla="*/ 84 w 93"/>
                <a:gd name="T37" fmla="*/ 202 h 230"/>
                <a:gd name="T38" fmla="*/ 89 w 93"/>
                <a:gd name="T39" fmla="*/ 220 h 230"/>
                <a:gd name="T40" fmla="*/ 93 w 93"/>
                <a:gd name="T41" fmla="*/ 22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230">
                  <a:moveTo>
                    <a:pt x="93" y="222"/>
                  </a:moveTo>
                  <a:lnTo>
                    <a:pt x="61" y="230"/>
                  </a:lnTo>
                  <a:lnTo>
                    <a:pt x="44" y="213"/>
                  </a:lnTo>
                  <a:lnTo>
                    <a:pt x="34" y="196"/>
                  </a:lnTo>
                  <a:lnTo>
                    <a:pt x="28" y="80"/>
                  </a:lnTo>
                  <a:lnTo>
                    <a:pt x="17" y="38"/>
                  </a:lnTo>
                  <a:lnTo>
                    <a:pt x="0" y="17"/>
                  </a:lnTo>
                  <a:lnTo>
                    <a:pt x="5" y="5"/>
                  </a:lnTo>
                  <a:lnTo>
                    <a:pt x="0" y="4"/>
                  </a:lnTo>
                  <a:lnTo>
                    <a:pt x="0" y="1"/>
                  </a:lnTo>
                  <a:lnTo>
                    <a:pt x="14" y="1"/>
                  </a:lnTo>
                  <a:lnTo>
                    <a:pt x="25" y="4"/>
                  </a:lnTo>
                  <a:lnTo>
                    <a:pt x="44" y="0"/>
                  </a:lnTo>
                  <a:lnTo>
                    <a:pt x="38" y="30"/>
                  </a:lnTo>
                  <a:lnTo>
                    <a:pt x="55" y="38"/>
                  </a:lnTo>
                  <a:lnTo>
                    <a:pt x="65" y="52"/>
                  </a:lnTo>
                  <a:lnTo>
                    <a:pt x="84" y="106"/>
                  </a:lnTo>
                  <a:lnTo>
                    <a:pt x="87" y="174"/>
                  </a:lnTo>
                  <a:lnTo>
                    <a:pt x="84" y="202"/>
                  </a:lnTo>
                  <a:lnTo>
                    <a:pt x="89" y="220"/>
                  </a:lnTo>
                  <a:lnTo>
                    <a:pt x="93" y="222"/>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69" name="Freeform 92">
              <a:extLst>
                <a:ext uri="{FF2B5EF4-FFF2-40B4-BE49-F238E27FC236}">
                  <a16:creationId xmlns:a16="http://schemas.microsoft.com/office/drawing/2014/main" id="{E9D90024-0C27-DA47-A8FD-16D8932CF15D}"/>
                </a:ext>
              </a:extLst>
            </p:cNvPr>
            <p:cNvSpPr>
              <a:spLocks noChangeAspect="1"/>
            </p:cNvSpPr>
            <p:nvPr/>
          </p:nvSpPr>
          <p:spPr bwMode="gray">
            <a:xfrm>
              <a:off x="4294958" y="3921037"/>
              <a:ext cx="164266" cy="153515"/>
            </a:xfrm>
            <a:custGeom>
              <a:avLst/>
              <a:gdLst>
                <a:gd name="T0" fmla="*/ 92 w 338"/>
                <a:gd name="T1" fmla="*/ 3 h 257"/>
                <a:gd name="T2" fmla="*/ 102 w 338"/>
                <a:gd name="T3" fmla="*/ 8 h 257"/>
                <a:gd name="T4" fmla="*/ 173 w 338"/>
                <a:gd name="T5" fmla="*/ 14 h 257"/>
                <a:gd name="T6" fmla="*/ 171 w 338"/>
                <a:gd name="T7" fmla="*/ 31 h 257"/>
                <a:gd name="T8" fmla="*/ 191 w 338"/>
                <a:gd name="T9" fmla="*/ 23 h 257"/>
                <a:gd name="T10" fmla="*/ 221 w 338"/>
                <a:gd name="T11" fmla="*/ 22 h 257"/>
                <a:gd name="T12" fmla="*/ 249 w 338"/>
                <a:gd name="T13" fmla="*/ 23 h 257"/>
                <a:gd name="T14" fmla="*/ 263 w 338"/>
                <a:gd name="T15" fmla="*/ 9 h 257"/>
                <a:gd name="T16" fmla="*/ 280 w 338"/>
                <a:gd name="T17" fmla="*/ 23 h 257"/>
                <a:gd name="T18" fmla="*/ 289 w 338"/>
                <a:gd name="T19" fmla="*/ 35 h 257"/>
                <a:gd name="T20" fmla="*/ 293 w 338"/>
                <a:gd name="T21" fmla="*/ 49 h 257"/>
                <a:gd name="T22" fmla="*/ 309 w 338"/>
                <a:gd name="T23" fmla="*/ 62 h 257"/>
                <a:gd name="T24" fmla="*/ 295 w 338"/>
                <a:gd name="T25" fmla="*/ 77 h 257"/>
                <a:gd name="T26" fmla="*/ 301 w 338"/>
                <a:gd name="T27" fmla="*/ 77 h 257"/>
                <a:gd name="T28" fmla="*/ 312 w 338"/>
                <a:gd name="T29" fmla="*/ 101 h 257"/>
                <a:gd name="T30" fmla="*/ 318 w 338"/>
                <a:gd name="T31" fmla="*/ 130 h 257"/>
                <a:gd name="T32" fmla="*/ 332 w 338"/>
                <a:gd name="T33" fmla="*/ 155 h 257"/>
                <a:gd name="T34" fmla="*/ 337 w 338"/>
                <a:gd name="T35" fmla="*/ 172 h 257"/>
                <a:gd name="T36" fmla="*/ 335 w 338"/>
                <a:gd name="T37" fmla="*/ 186 h 257"/>
                <a:gd name="T38" fmla="*/ 329 w 338"/>
                <a:gd name="T39" fmla="*/ 198 h 257"/>
                <a:gd name="T40" fmla="*/ 313 w 338"/>
                <a:gd name="T41" fmla="*/ 209 h 257"/>
                <a:gd name="T42" fmla="*/ 327 w 338"/>
                <a:gd name="T43" fmla="*/ 218 h 257"/>
                <a:gd name="T44" fmla="*/ 303 w 338"/>
                <a:gd name="T45" fmla="*/ 241 h 257"/>
                <a:gd name="T46" fmla="*/ 286 w 338"/>
                <a:gd name="T47" fmla="*/ 254 h 257"/>
                <a:gd name="T48" fmla="*/ 266 w 338"/>
                <a:gd name="T49" fmla="*/ 249 h 257"/>
                <a:gd name="T50" fmla="*/ 263 w 338"/>
                <a:gd name="T51" fmla="*/ 230 h 257"/>
                <a:gd name="T52" fmla="*/ 246 w 338"/>
                <a:gd name="T53" fmla="*/ 196 h 257"/>
                <a:gd name="T54" fmla="*/ 227 w 338"/>
                <a:gd name="T55" fmla="*/ 195 h 257"/>
                <a:gd name="T56" fmla="*/ 217 w 338"/>
                <a:gd name="T57" fmla="*/ 198 h 257"/>
                <a:gd name="T58" fmla="*/ 205 w 338"/>
                <a:gd name="T59" fmla="*/ 189 h 257"/>
                <a:gd name="T60" fmla="*/ 208 w 338"/>
                <a:gd name="T61" fmla="*/ 178 h 257"/>
                <a:gd name="T62" fmla="*/ 202 w 338"/>
                <a:gd name="T63" fmla="*/ 157 h 257"/>
                <a:gd name="T64" fmla="*/ 191 w 338"/>
                <a:gd name="T65" fmla="*/ 145 h 257"/>
                <a:gd name="T66" fmla="*/ 122 w 338"/>
                <a:gd name="T67" fmla="*/ 131 h 257"/>
                <a:gd name="T68" fmla="*/ 97 w 338"/>
                <a:gd name="T69" fmla="*/ 169 h 257"/>
                <a:gd name="T70" fmla="*/ 63 w 338"/>
                <a:gd name="T71" fmla="*/ 150 h 257"/>
                <a:gd name="T72" fmla="*/ 32 w 338"/>
                <a:gd name="T73" fmla="*/ 122 h 257"/>
                <a:gd name="T74" fmla="*/ 17 w 338"/>
                <a:gd name="T75" fmla="*/ 96 h 257"/>
                <a:gd name="T76" fmla="*/ 4 w 338"/>
                <a:gd name="T77" fmla="*/ 93 h 257"/>
                <a:gd name="T78" fmla="*/ 9 w 338"/>
                <a:gd name="T79" fmla="*/ 77 h 257"/>
                <a:gd name="T80" fmla="*/ 63 w 338"/>
                <a:gd name="T81" fmla="*/ 47 h 257"/>
                <a:gd name="T82" fmla="*/ 54 w 338"/>
                <a:gd name="T83" fmla="*/ 25 h 257"/>
                <a:gd name="T84" fmla="*/ 63 w 338"/>
                <a:gd name="T85"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8" h="257">
                  <a:moveTo>
                    <a:pt x="63" y="0"/>
                  </a:moveTo>
                  <a:lnTo>
                    <a:pt x="92" y="3"/>
                  </a:lnTo>
                  <a:lnTo>
                    <a:pt x="94" y="11"/>
                  </a:lnTo>
                  <a:lnTo>
                    <a:pt x="102" y="8"/>
                  </a:lnTo>
                  <a:lnTo>
                    <a:pt x="128" y="18"/>
                  </a:lnTo>
                  <a:lnTo>
                    <a:pt x="173" y="14"/>
                  </a:lnTo>
                  <a:lnTo>
                    <a:pt x="166" y="26"/>
                  </a:lnTo>
                  <a:lnTo>
                    <a:pt x="171" y="31"/>
                  </a:lnTo>
                  <a:lnTo>
                    <a:pt x="178" y="32"/>
                  </a:lnTo>
                  <a:lnTo>
                    <a:pt x="191" y="23"/>
                  </a:lnTo>
                  <a:lnTo>
                    <a:pt x="205" y="37"/>
                  </a:lnTo>
                  <a:lnTo>
                    <a:pt x="221" y="22"/>
                  </a:lnTo>
                  <a:lnTo>
                    <a:pt x="247" y="32"/>
                  </a:lnTo>
                  <a:lnTo>
                    <a:pt x="249" y="23"/>
                  </a:lnTo>
                  <a:lnTo>
                    <a:pt x="263" y="18"/>
                  </a:lnTo>
                  <a:lnTo>
                    <a:pt x="263" y="9"/>
                  </a:lnTo>
                  <a:lnTo>
                    <a:pt x="278" y="9"/>
                  </a:lnTo>
                  <a:lnTo>
                    <a:pt x="280" y="23"/>
                  </a:lnTo>
                  <a:lnTo>
                    <a:pt x="284" y="25"/>
                  </a:lnTo>
                  <a:lnTo>
                    <a:pt x="289" y="35"/>
                  </a:lnTo>
                  <a:lnTo>
                    <a:pt x="289" y="49"/>
                  </a:lnTo>
                  <a:lnTo>
                    <a:pt x="293" y="49"/>
                  </a:lnTo>
                  <a:lnTo>
                    <a:pt x="297" y="56"/>
                  </a:lnTo>
                  <a:lnTo>
                    <a:pt x="309" y="62"/>
                  </a:lnTo>
                  <a:lnTo>
                    <a:pt x="309" y="68"/>
                  </a:lnTo>
                  <a:lnTo>
                    <a:pt x="295" y="77"/>
                  </a:lnTo>
                  <a:lnTo>
                    <a:pt x="295" y="82"/>
                  </a:lnTo>
                  <a:lnTo>
                    <a:pt x="301" y="77"/>
                  </a:lnTo>
                  <a:lnTo>
                    <a:pt x="310" y="77"/>
                  </a:lnTo>
                  <a:lnTo>
                    <a:pt x="312" y="101"/>
                  </a:lnTo>
                  <a:lnTo>
                    <a:pt x="327" y="118"/>
                  </a:lnTo>
                  <a:lnTo>
                    <a:pt x="318" y="130"/>
                  </a:lnTo>
                  <a:lnTo>
                    <a:pt x="318" y="152"/>
                  </a:lnTo>
                  <a:lnTo>
                    <a:pt x="332" y="155"/>
                  </a:lnTo>
                  <a:lnTo>
                    <a:pt x="330" y="167"/>
                  </a:lnTo>
                  <a:lnTo>
                    <a:pt x="337" y="172"/>
                  </a:lnTo>
                  <a:lnTo>
                    <a:pt x="329" y="184"/>
                  </a:lnTo>
                  <a:lnTo>
                    <a:pt x="335" y="186"/>
                  </a:lnTo>
                  <a:lnTo>
                    <a:pt x="338" y="204"/>
                  </a:lnTo>
                  <a:lnTo>
                    <a:pt x="329" y="198"/>
                  </a:lnTo>
                  <a:lnTo>
                    <a:pt x="313" y="199"/>
                  </a:lnTo>
                  <a:lnTo>
                    <a:pt x="313" y="209"/>
                  </a:lnTo>
                  <a:lnTo>
                    <a:pt x="324" y="212"/>
                  </a:lnTo>
                  <a:lnTo>
                    <a:pt x="327" y="218"/>
                  </a:lnTo>
                  <a:lnTo>
                    <a:pt x="318" y="240"/>
                  </a:lnTo>
                  <a:lnTo>
                    <a:pt x="303" y="241"/>
                  </a:lnTo>
                  <a:lnTo>
                    <a:pt x="295" y="237"/>
                  </a:lnTo>
                  <a:lnTo>
                    <a:pt x="286" y="254"/>
                  </a:lnTo>
                  <a:lnTo>
                    <a:pt x="278" y="257"/>
                  </a:lnTo>
                  <a:lnTo>
                    <a:pt x="266" y="249"/>
                  </a:lnTo>
                  <a:lnTo>
                    <a:pt x="258" y="250"/>
                  </a:lnTo>
                  <a:lnTo>
                    <a:pt x="263" y="230"/>
                  </a:lnTo>
                  <a:lnTo>
                    <a:pt x="256" y="204"/>
                  </a:lnTo>
                  <a:lnTo>
                    <a:pt x="246" y="196"/>
                  </a:lnTo>
                  <a:lnTo>
                    <a:pt x="236" y="199"/>
                  </a:lnTo>
                  <a:lnTo>
                    <a:pt x="227" y="195"/>
                  </a:lnTo>
                  <a:lnTo>
                    <a:pt x="219" y="203"/>
                  </a:lnTo>
                  <a:lnTo>
                    <a:pt x="217" y="198"/>
                  </a:lnTo>
                  <a:lnTo>
                    <a:pt x="202" y="204"/>
                  </a:lnTo>
                  <a:lnTo>
                    <a:pt x="205" y="189"/>
                  </a:lnTo>
                  <a:lnTo>
                    <a:pt x="210" y="186"/>
                  </a:lnTo>
                  <a:lnTo>
                    <a:pt x="208" y="178"/>
                  </a:lnTo>
                  <a:lnTo>
                    <a:pt x="202" y="170"/>
                  </a:lnTo>
                  <a:lnTo>
                    <a:pt x="202" y="157"/>
                  </a:lnTo>
                  <a:lnTo>
                    <a:pt x="195" y="153"/>
                  </a:lnTo>
                  <a:lnTo>
                    <a:pt x="191" y="145"/>
                  </a:lnTo>
                  <a:lnTo>
                    <a:pt x="178" y="128"/>
                  </a:lnTo>
                  <a:lnTo>
                    <a:pt x="122" y="131"/>
                  </a:lnTo>
                  <a:lnTo>
                    <a:pt x="115" y="147"/>
                  </a:lnTo>
                  <a:lnTo>
                    <a:pt x="97" y="169"/>
                  </a:lnTo>
                  <a:lnTo>
                    <a:pt x="83" y="169"/>
                  </a:lnTo>
                  <a:lnTo>
                    <a:pt x="63" y="150"/>
                  </a:lnTo>
                  <a:lnTo>
                    <a:pt x="56" y="133"/>
                  </a:lnTo>
                  <a:lnTo>
                    <a:pt x="32" y="122"/>
                  </a:lnTo>
                  <a:lnTo>
                    <a:pt x="26" y="98"/>
                  </a:lnTo>
                  <a:lnTo>
                    <a:pt x="17" y="96"/>
                  </a:lnTo>
                  <a:lnTo>
                    <a:pt x="15" y="85"/>
                  </a:lnTo>
                  <a:lnTo>
                    <a:pt x="4" y="93"/>
                  </a:lnTo>
                  <a:lnTo>
                    <a:pt x="0" y="82"/>
                  </a:lnTo>
                  <a:lnTo>
                    <a:pt x="9" y="77"/>
                  </a:lnTo>
                  <a:lnTo>
                    <a:pt x="24" y="57"/>
                  </a:lnTo>
                  <a:lnTo>
                    <a:pt x="63" y="47"/>
                  </a:lnTo>
                  <a:lnTo>
                    <a:pt x="61" y="32"/>
                  </a:lnTo>
                  <a:lnTo>
                    <a:pt x="54" y="25"/>
                  </a:lnTo>
                  <a:lnTo>
                    <a:pt x="68" y="15"/>
                  </a:lnTo>
                  <a:lnTo>
                    <a:pt x="63" y="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370" name="Freeform 93">
              <a:extLst>
                <a:ext uri="{FF2B5EF4-FFF2-40B4-BE49-F238E27FC236}">
                  <a16:creationId xmlns:a16="http://schemas.microsoft.com/office/drawing/2014/main" id="{9B85C4AB-FB88-E341-9FCC-37B1A5E65F28}"/>
                </a:ext>
              </a:extLst>
            </p:cNvPr>
            <p:cNvSpPr>
              <a:spLocks noChangeAspect="1"/>
            </p:cNvSpPr>
            <p:nvPr/>
          </p:nvSpPr>
          <p:spPr bwMode="gray">
            <a:xfrm>
              <a:off x="4562885" y="3970931"/>
              <a:ext cx="97284" cy="170786"/>
            </a:xfrm>
            <a:custGeom>
              <a:avLst/>
              <a:gdLst>
                <a:gd name="T0" fmla="*/ 203 w 203"/>
                <a:gd name="T1" fmla="*/ 230 h 293"/>
                <a:gd name="T2" fmla="*/ 186 w 203"/>
                <a:gd name="T3" fmla="*/ 213 h 293"/>
                <a:gd name="T4" fmla="*/ 176 w 203"/>
                <a:gd name="T5" fmla="*/ 196 h 293"/>
                <a:gd name="T6" fmla="*/ 170 w 203"/>
                <a:gd name="T7" fmla="*/ 80 h 293"/>
                <a:gd name="T8" fmla="*/ 159 w 203"/>
                <a:gd name="T9" fmla="*/ 38 h 293"/>
                <a:gd name="T10" fmla="*/ 142 w 203"/>
                <a:gd name="T11" fmla="*/ 17 h 293"/>
                <a:gd name="T12" fmla="*/ 147 w 203"/>
                <a:gd name="T13" fmla="*/ 5 h 293"/>
                <a:gd name="T14" fmla="*/ 142 w 203"/>
                <a:gd name="T15" fmla="*/ 4 h 293"/>
                <a:gd name="T16" fmla="*/ 142 w 203"/>
                <a:gd name="T17" fmla="*/ 1 h 293"/>
                <a:gd name="T18" fmla="*/ 110 w 203"/>
                <a:gd name="T19" fmla="*/ 4 h 293"/>
                <a:gd name="T20" fmla="*/ 17 w 203"/>
                <a:gd name="T21" fmla="*/ 0 h 293"/>
                <a:gd name="T22" fmla="*/ 14 w 203"/>
                <a:gd name="T23" fmla="*/ 13 h 293"/>
                <a:gd name="T24" fmla="*/ 20 w 203"/>
                <a:gd name="T25" fmla="*/ 30 h 293"/>
                <a:gd name="T26" fmla="*/ 25 w 203"/>
                <a:gd name="T27" fmla="*/ 69 h 293"/>
                <a:gd name="T28" fmla="*/ 25 w 203"/>
                <a:gd name="T29" fmla="*/ 81 h 293"/>
                <a:gd name="T30" fmla="*/ 22 w 203"/>
                <a:gd name="T31" fmla="*/ 88 h 293"/>
                <a:gd name="T32" fmla="*/ 28 w 203"/>
                <a:gd name="T33" fmla="*/ 91 h 293"/>
                <a:gd name="T34" fmla="*/ 36 w 203"/>
                <a:gd name="T35" fmla="*/ 126 h 293"/>
                <a:gd name="T36" fmla="*/ 22 w 203"/>
                <a:gd name="T37" fmla="*/ 139 h 293"/>
                <a:gd name="T38" fmla="*/ 14 w 203"/>
                <a:gd name="T39" fmla="*/ 174 h 293"/>
                <a:gd name="T40" fmla="*/ 2 w 203"/>
                <a:gd name="T41" fmla="*/ 190 h 293"/>
                <a:gd name="T42" fmla="*/ 0 w 203"/>
                <a:gd name="T43" fmla="*/ 205 h 293"/>
                <a:gd name="T44" fmla="*/ 11 w 203"/>
                <a:gd name="T45" fmla="*/ 242 h 293"/>
                <a:gd name="T46" fmla="*/ 22 w 203"/>
                <a:gd name="T47" fmla="*/ 249 h 293"/>
                <a:gd name="T48" fmla="*/ 24 w 203"/>
                <a:gd name="T49" fmla="*/ 270 h 293"/>
                <a:gd name="T50" fmla="*/ 11 w 203"/>
                <a:gd name="T51" fmla="*/ 269 h 293"/>
                <a:gd name="T52" fmla="*/ 5 w 203"/>
                <a:gd name="T53" fmla="*/ 276 h 293"/>
                <a:gd name="T54" fmla="*/ 57 w 203"/>
                <a:gd name="T55" fmla="*/ 293 h 293"/>
                <a:gd name="T56" fmla="*/ 82 w 203"/>
                <a:gd name="T57" fmla="*/ 278 h 293"/>
                <a:gd name="T58" fmla="*/ 117 w 203"/>
                <a:gd name="T59" fmla="*/ 269 h 293"/>
                <a:gd name="T60" fmla="*/ 155 w 203"/>
                <a:gd name="T61" fmla="*/ 247 h 293"/>
                <a:gd name="T62" fmla="*/ 159 w 203"/>
                <a:gd name="T63" fmla="*/ 245 h 293"/>
                <a:gd name="T64" fmla="*/ 192 w 203"/>
                <a:gd name="T65" fmla="*/ 244 h 293"/>
                <a:gd name="T66" fmla="*/ 203 w 203"/>
                <a:gd name="T67" fmla="*/ 23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3" h="293">
                  <a:moveTo>
                    <a:pt x="203" y="230"/>
                  </a:moveTo>
                  <a:lnTo>
                    <a:pt x="186" y="213"/>
                  </a:lnTo>
                  <a:lnTo>
                    <a:pt x="176" y="196"/>
                  </a:lnTo>
                  <a:lnTo>
                    <a:pt x="170" y="80"/>
                  </a:lnTo>
                  <a:lnTo>
                    <a:pt x="159" y="38"/>
                  </a:lnTo>
                  <a:lnTo>
                    <a:pt x="142" y="17"/>
                  </a:lnTo>
                  <a:lnTo>
                    <a:pt x="147" y="5"/>
                  </a:lnTo>
                  <a:lnTo>
                    <a:pt x="142" y="4"/>
                  </a:lnTo>
                  <a:lnTo>
                    <a:pt x="142" y="1"/>
                  </a:lnTo>
                  <a:lnTo>
                    <a:pt x="110" y="4"/>
                  </a:lnTo>
                  <a:lnTo>
                    <a:pt x="17" y="0"/>
                  </a:lnTo>
                  <a:lnTo>
                    <a:pt x="14" y="13"/>
                  </a:lnTo>
                  <a:lnTo>
                    <a:pt x="20" y="30"/>
                  </a:lnTo>
                  <a:lnTo>
                    <a:pt x="25" y="69"/>
                  </a:lnTo>
                  <a:lnTo>
                    <a:pt x="25" y="81"/>
                  </a:lnTo>
                  <a:lnTo>
                    <a:pt x="22" y="88"/>
                  </a:lnTo>
                  <a:lnTo>
                    <a:pt x="28" y="91"/>
                  </a:lnTo>
                  <a:lnTo>
                    <a:pt x="36" y="126"/>
                  </a:lnTo>
                  <a:lnTo>
                    <a:pt x="22" y="139"/>
                  </a:lnTo>
                  <a:lnTo>
                    <a:pt x="14" y="174"/>
                  </a:lnTo>
                  <a:lnTo>
                    <a:pt x="2" y="190"/>
                  </a:lnTo>
                  <a:lnTo>
                    <a:pt x="0" y="205"/>
                  </a:lnTo>
                  <a:lnTo>
                    <a:pt x="11" y="242"/>
                  </a:lnTo>
                  <a:lnTo>
                    <a:pt x="22" y="249"/>
                  </a:lnTo>
                  <a:lnTo>
                    <a:pt x="24" y="270"/>
                  </a:lnTo>
                  <a:lnTo>
                    <a:pt x="11" y="269"/>
                  </a:lnTo>
                  <a:lnTo>
                    <a:pt x="5" y="276"/>
                  </a:lnTo>
                  <a:lnTo>
                    <a:pt x="57" y="293"/>
                  </a:lnTo>
                  <a:lnTo>
                    <a:pt x="82" y="278"/>
                  </a:lnTo>
                  <a:lnTo>
                    <a:pt x="117" y="269"/>
                  </a:lnTo>
                  <a:lnTo>
                    <a:pt x="155" y="247"/>
                  </a:lnTo>
                  <a:lnTo>
                    <a:pt x="159" y="245"/>
                  </a:lnTo>
                  <a:lnTo>
                    <a:pt x="192" y="244"/>
                  </a:lnTo>
                  <a:lnTo>
                    <a:pt x="203" y="23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71" name="Freeform 94">
              <a:extLst>
                <a:ext uri="{FF2B5EF4-FFF2-40B4-BE49-F238E27FC236}">
                  <a16:creationId xmlns:a16="http://schemas.microsoft.com/office/drawing/2014/main" id="{B03576A8-4758-2249-B9E3-5C0290D054F5}"/>
                </a:ext>
              </a:extLst>
            </p:cNvPr>
            <p:cNvSpPr>
              <a:spLocks noChangeAspect="1"/>
            </p:cNvSpPr>
            <p:nvPr/>
          </p:nvSpPr>
          <p:spPr bwMode="gray">
            <a:xfrm>
              <a:off x="4255086" y="3890334"/>
              <a:ext cx="70171" cy="21108"/>
            </a:xfrm>
            <a:custGeom>
              <a:avLst/>
              <a:gdLst>
                <a:gd name="T0" fmla="*/ 12 w 141"/>
                <a:gd name="T1" fmla="*/ 12 h 37"/>
                <a:gd name="T2" fmla="*/ 59 w 141"/>
                <a:gd name="T3" fmla="*/ 12 h 37"/>
                <a:gd name="T4" fmla="*/ 68 w 141"/>
                <a:gd name="T5" fmla="*/ 2 h 37"/>
                <a:gd name="T6" fmla="*/ 81 w 141"/>
                <a:gd name="T7" fmla="*/ 0 h 37"/>
                <a:gd name="T8" fmla="*/ 113 w 141"/>
                <a:gd name="T9" fmla="*/ 17 h 37"/>
                <a:gd name="T10" fmla="*/ 141 w 141"/>
                <a:gd name="T11" fmla="*/ 12 h 37"/>
                <a:gd name="T12" fmla="*/ 141 w 141"/>
                <a:gd name="T13" fmla="*/ 20 h 37"/>
                <a:gd name="T14" fmla="*/ 122 w 141"/>
                <a:gd name="T15" fmla="*/ 28 h 37"/>
                <a:gd name="T16" fmla="*/ 79 w 141"/>
                <a:gd name="T17" fmla="*/ 12 h 37"/>
                <a:gd name="T18" fmla="*/ 66 w 141"/>
                <a:gd name="T19" fmla="*/ 22 h 37"/>
                <a:gd name="T20" fmla="*/ 49 w 141"/>
                <a:gd name="T21" fmla="*/ 22 h 37"/>
                <a:gd name="T22" fmla="*/ 45 w 141"/>
                <a:gd name="T23" fmla="*/ 28 h 37"/>
                <a:gd name="T24" fmla="*/ 6 w 141"/>
                <a:gd name="T25" fmla="*/ 33 h 37"/>
                <a:gd name="T26" fmla="*/ 3 w 141"/>
                <a:gd name="T27" fmla="*/ 37 h 37"/>
                <a:gd name="T28" fmla="*/ 0 w 141"/>
                <a:gd name="T29" fmla="*/ 24 h 37"/>
                <a:gd name="T30" fmla="*/ 12 w 141"/>
                <a:gd name="T31" fmla="*/ 17 h 37"/>
                <a:gd name="T32" fmla="*/ 12 w 141"/>
                <a:gd name="T33" fmla="*/ 1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 h="37">
                  <a:moveTo>
                    <a:pt x="12" y="12"/>
                  </a:moveTo>
                  <a:lnTo>
                    <a:pt x="59" y="12"/>
                  </a:lnTo>
                  <a:lnTo>
                    <a:pt x="68" y="2"/>
                  </a:lnTo>
                  <a:lnTo>
                    <a:pt x="81" y="0"/>
                  </a:lnTo>
                  <a:lnTo>
                    <a:pt x="113" y="17"/>
                  </a:lnTo>
                  <a:lnTo>
                    <a:pt x="141" y="12"/>
                  </a:lnTo>
                  <a:lnTo>
                    <a:pt x="141" y="20"/>
                  </a:lnTo>
                  <a:lnTo>
                    <a:pt x="122" y="28"/>
                  </a:lnTo>
                  <a:lnTo>
                    <a:pt x="79" y="12"/>
                  </a:lnTo>
                  <a:lnTo>
                    <a:pt x="66" y="22"/>
                  </a:lnTo>
                  <a:lnTo>
                    <a:pt x="49" y="22"/>
                  </a:lnTo>
                  <a:lnTo>
                    <a:pt x="45" y="28"/>
                  </a:lnTo>
                  <a:lnTo>
                    <a:pt x="6" y="33"/>
                  </a:lnTo>
                  <a:lnTo>
                    <a:pt x="3" y="37"/>
                  </a:lnTo>
                  <a:lnTo>
                    <a:pt x="0" y="24"/>
                  </a:lnTo>
                  <a:lnTo>
                    <a:pt x="12" y="17"/>
                  </a:lnTo>
                  <a:lnTo>
                    <a:pt x="12" y="12"/>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72" name="Freeform 95">
              <a:extLst>
                <a:ext uri="{FF2B5EF4-FFF2-40B4-BE49-F238E27FC236}">
                  <a16:creationId xmlns:a16="http://schemas.microsoft.com/office/drawing/2014/main" id="{3B9A1248-2F13-E340-9C43-9ECC8EEFD8D2}"/>
                </a:ext>
              </a:extLst>
            </p:cNvPr>
            <p:cNvSpPr>
              <a:spLocks noChangeAspect="1"/>
            </p:cNvSpPr>
            <p:nvPr/>
          </p:nvSpPr>
          <p:spPr bwMode="gray">
            <a:xfrm>
              <a:off x="4256682" y="3921037"/>
              <a:ext cx="71767" cy="49893"/>
            </a:xfrm>
            <a:custGeom>
              <a:avLst/>
              <a:gdLst>
                <a:gd name="T0" fmla="*/ 78 w 146"/>
                <a:gd name="T1" fmla="*/ 82 h 82"/>
                <a:gd name="T2" fmla="*/ 87 w 146"/>
                <a:gd name="T3" fmla="*/ 77 h 82"/>
                <a:gd name="T4" fmla="*/ 102 w 146"/>
                <a:gd name="T5" fmla="*/ 57 h 82"/>
                <a:gd name="T6" fmla="*/ 141 w 146"/>
                <a:gd name="T7" fmla="*/ 47 h 82"/>
                <a:gd name="T8" fmla="*/ 139 w 146"/>
                <a:gd name="T9" fmla="*/ 32 h 82"/>
                <a:gd name="T10" fmla="*/ 132 w 146"/>
                <a:gd name="T11" fmla="*/ 25 h 82"/>
                <a:gd name="T12" fmla="*/ 146 w 146"/>
                <a:gd name="T13" fmla="*/ 15 h 82"/>
                <a:gd name="T14" fmla="*/ 141 w 146"/>
                <a:gd name="T15" fmla="*/ 0 h 82"/>
                <a:gd name="T16" fmla="*/ 76 w 146"/>
                <a:gd name="T17" fmla="*/ 1 h 82"/>
                <a:gd name="T18" fmla="*/ 50 w 146"/>
                <a:gd name="T19" fmla="*/ 11 h 82"/>
                <a:gd name="T20" fmla="*/ 24 w 146"/>
                <a:gd name="T21" fmla="*/ 11 h 82"/>
                <a:gd name="T22" fmla="*/ 11 w 146"/>
                <a:gd name="T23" fmla="*/ 17 h 82"/>
                <a:gd name="T24" fmla="*/ 0 w 146"/>
                <a:gd name="T25" fmla="*/ 15 h 82"/>
                <a:gd name="T26" fmla="*/ 3 w 146"/>
                <a:gd name="T27" fmla="*/ 23 h 82"/>
                <a:gd name="T28" fmla="*/ 20 w 146"/>
                <a:gd name="T29" fmla="*/ 28 h 82"/>
                <a:gd name="T30" fmla="*/ 26 w 146"/>
                <a:gd name="T31" fmla="*/ 40 h 82"/>
                <a:gd name="T32" fmla="*/ 39 w 146"/>
                <a:gd name="T33" fmla="*/ 42 h 82"/>
                <a:gd name="T34" fmla="*/ 42 w 146"/>
                <a:gd name="T35" fmla="*/ 49 h 82"/>
                <a:gd name="T36" fmla="*/ 88 w 146"/>
                <a:gd name="T37" fmla="*/ 39 h 82"/>
                <a:gd name="T38" fmla="*/ 87 w 146"/>
                <a:gd name="T39" fmla="*/ 42 h 82"/>
                <a:gd name="T40" fmla="*/ 59 w 146"/>
                <a:gd name="T41" fmla="*/ 49 h 82"/>
                <a:gd name="T42" fmla="*/ 63 w 146"/>
                <a:gd name="T43" fmla="*/ 73 h 82"/>
                <a:gd name="T44" fmla="*/ 68 w 146"/>
                <a:gd name="T45" fmla="*/ 77 h 82"/>
                <a:gd name="T46" fmla="*/ 78 w 146"/>
                <a:gd name="T47" fmla="*/ 77 h 82"/>
                <a:gd name="T48" fmla="*/ 78 w 146"/>
                <a:gd name="T4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6" h="82">
                  <a:moveTo>
                    <a:pt x="78" y="82"/>
                  </a:moveTo>
                  <a:lnTo>
                    <a:pt x="87" y="77"/>
                  </a:lnTo>
                  <a:lnTo>
                    <a:pt x="102" y="57"/>
                  </a:lnTo>
                  <a:lnTo>
                    <a:pt x="141" y="47"/>
                  </a:lnTo>
                  <a:lnTo>
                    <a:pt x="139" y="32"/>
                  </a:lnTo>
                  <a:lnTo>
                    <a:pt x="132" y="25"/>
                  </a:lnTo>
                  <a:lnTo>
                    <a:pt x="146" y="15"/>
                  </a:lnTo>
                  <a:lnTo>
                    <a:pt x="141" y="0"/>
                  </a:lnTo>
                  <a:lnTo>
                    <a:pt x="76" y="1"/>
                  </a:lnTo>
                  <a:lnTo>
                    <a:pt x="50" y="11"/>
                  </a:lnTo>
                  <a:lnTo>
                    <a:pt x="24" y="11"/>
                  </a:lnTo>
                  <a:lnTo>
                    <a:pt x="11" y="17"/>
                  </a:lnTo>
                  <a:lnTo>
                    <a:pt x="0" y="15"/>
                  </a:lnTo>
                  <a:lnTo>
                    <a:pt x="3" y="23"/>
                  </a:lnTo>
                  <a:lnTo>
                    <a:pt x="20" y="28"/>
                  </a:lnTo>
                  <a:lnTo>
                    <a:pt x="26" y="40"/>
                  </a:lnTo>
                  <a:lnTo>
                    <a:pt x="39" y="42"/>
                  </a:lnTo>
                  <a:lnTo>
                    <a:pt x="42" y="49"/>
                  </a:lnTo>
                  <a:lnTo>
                    <a:pt x="88" y="39"/>
                  </a:lnTo>
                  <a:lnTo>
                    <a:pt x="87" y="42"/>
                  </a:lnTo>
                  <a:lnTo>
                    <a:pt x="59" y="49"/>
                  </a:lnTo>
                  <a:lnTo>
                    <a:pt x="63" y="73"/>
                  </a:lnTo>
                  <a:lnTo>
                    <a:pt x="68" y="77"/>
                  </a:lnTo>
                  <a:lnTo>
                    <a:pt x="78" y="77"/>
                  </a:lnTo>
                  <a:lnTo>
                    <a:pt x="78" y="82"/>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73" name="Freeform 97">
              <a:extLst>
                <a:ext uri="{FF2B5EF4-FFF2-40B4-BE49-F238E27FC236}">
                  <a16:creationId xmlns:a16="http://schemas.microsoft.com/office/drawing/2014/main" id="{8812FD5D-2689-BA4D-83EE-BA231B2EC92F}"/>
                </a:ext>
              </a:extLst>
            </p:cNvPr>
            <p:cNvSpPr>
              <a:spLocks noChangeAspect="1"/>
            </p:cNvSpPr>
            <p:nvPr/>
          </p:nvSpPr>
          <p:spPr bwMode="gray">
            <a:xfrm>
              <a:off x="4239139" y="3813576"/>
              <a:ext cx="140343" cy="118974"/>
            </a:xfrm>
            <a:custGeom>
              <a:avLst/>
              <a:gdLst>
                <a:gd name="T0" fmla="*/ 37 w 288"/>
                <a:gd name="T1" fmla="*/ 202 h 205"/>
                <a:gd name="T2" fmla="*/ 37 w 288"/>
                <a:gd name="T3" fmla="*/ 171 h 205"/>
                <a:gd name="T4" fmla="*/ 40 w 288"/>
                <a:gd name="T5" fmla="*/ 167 h 205"/>
                <a:gd name="T6" fmla="*/ 79 w 288"/>
                <a:gd name="T7" fmla="*/ 162 h 205"/>
                <a:gd name="T8" fmla="*/ 83 w 288"/>
                <a:gd name="T9" fmla="*/ 156 h 205"/>
                <a:gd name="T10" fmla="*/ 100 w 288"/>
                <a:gd name="T11" fmla="*/ 156 h 205"/>
                <a:gd name="T12" fmla="*/ 113 w 288"/>
                <a:gd name="T13" fmla="*/ 146 h 205"/>
                <a:gd name="T14" fmla="*/ 156 w 288"/>
                <a:gd name="T15" fmla="*/ 162 h 205"/>
                <a:gd name="T16" fmla="*/ 175 w 288"/>
                <a:gd name="T17" fmla="*/ 154 h 205"/>
                <a:gd name="T18" fmla="*/ 175 w 288"/>
                <a:gd name="T19" fmla="*/ 146 h 205"/>
                <a:gd name="T20" fmla="*/ 147 w 288"/>
                <a:gd name="T21" fmla="*/ 151 h 205"/>
                <a:gd name="T22" fmla="*/ 115 w 288"/>
                <a:gd name="T23" fmla="*/ 134 h 205"/>
                <a:gd name="T24" fmla="*/ 102 w 288"/>
                <a:gd name="T25" fmla="*/ 136 h 205"/>
                <a:gd name="T26" fmla="*/ 93 w 288"/>
                <a:gd name="T27" fmla="*/ 146 h 205"/>
                <a:gd name="T28" fmla="*/ 46 w 288"/>
                <a:gd name="T29" fmla="*/ 146 h 205"/>
                <a:gd name="T30" fmla="*/ 12 w 288"/>
                <a:gd name="T31" fmla="*/ 92 h 205"/>
                <a:gd name="T32" fmla="*/ 3 w 288"/>
                <a:gd name="T33" fmla="*/ 97 h 205"/>
                <a:gd name="T34" fmla="*/ 0 w 288"/>
                <a:gd name="T35" fmla="*/ 90 h 205"/>
                <a:gd name="T36" fmla="*/ 14 w 288"/>
                <a:gd name="T37" fmla="*/ 85 h 205"/>
                <a:gd name="T38" fmla="*/ 31 w 288"/>
                <a:gd name="T39" fmla="*/ 71 h 205"/>
                <a:gd name="T40" fmla="*/ 46 w 288"/>
                <a:gd name="T41" fmla="*/ 46 h 205"/>
                <a:gd name="T42" fmla="*/ 48 w 288"/>
                <a:gd name="T43" fmla="*/ 26 h 205"/>
                <a:gd name="T44" fmla="*/ 57 w 288"/>
                <a:gd name="T45" fmla="*/ 6 h 205"/>
                <a:gd name="T46" fmla="*/ 87 w 288"/>
                <a:gd name="T47" fmla="*/ 9 h 205"/>
                <a:gd name="T48" fmla="*/ 113 w 288"/>
                <a:gd name="T49" fmla="*/ 0 h 205"/>
                <a:gd name="T50" fmla="*/ 147 w 288"/>
                <a:gd name="T51" fmla="*/ 0 h 205"/>
                <a:gd name="T52" fmla="*/ 171 w 288"/>
                <a:gd name="T53" fmla="*/ 24 h 205"/>
                <a:gd name="T54" fmla="*/ 188 w 288"/>
                <a:gd name="T55" fmla="*/ 24 h 205"/>
                <a:gd name="T56" fmla="*/ 200 w 288"/>
                <a:gd name="T57" fmla="*/ 48 h 205"/>
                <a:gd name="T58" fmla="*/ 213 w 288"/>
                <a:gd name="T59" fmla="*/ 54 h 205"/>
                <a:gd name="T60" fmla="*/ 218 w 288"/>
                <a:gd name="T61" fmla="*/ 65 h 205"/>
                <a:gd name="T62" fmla="*/ 217 w 288"/>
                <a:gd name="T63" fmla="*/ 66 h 205"/>
                <a:gd name="T64" fmla="*/ 249 w 288"/>
                <a:gd name="T65" fmla="*/ 90 h 205"/>
                <a:gd name="T66" fmla="*/ 251 w 288"/>
                <a:gd name="T67" fmla="*/ 107 h 205"/>
                <a:gd name="T68" fmla="*/ 257 w 288"/>
                <a:gd name="T69" fmla="*/ 114 h 205"/>
                <a:gd name="T70" fmla="*/ 261 w 288"/>
                <a:gd name="T71" fmla="*/ 129 h 205"/>
                <a:gd name="T72" fmla="*/ 257 w 288"/>
                <a:gd name="T73" fmla="*/ 141 h 205"/>
                <a:gd name="T74" fmla="*/ 266 w 288"/>
                <a:gd name="T75" fmla="*/ 156 h 205"/>
                <a:gd name="T76" fmla="*/ 276 w 288"/>
                <a:gd name="T77" fmla="*/ 154 h 205"/>
                <a:gd name="T78" fmla="*/ 288 w 288"/>
                <a:gd name="T79" fmla="*/ 173 h 205"/>
                <a:gd name="T80" fmla="*/ 288 w 288"/>
                <a:gd name="T81" fmla="*/ 201 h 205"/>
                <a:gd name="T82" fmla="*/ 243 w 288"/>
                <a:gd name="T83" fmla="*/ 205 h 205"/>
                <a:gd name="T84" fmla="*/ 217 w 288"/>
                <a:gd name="T85" fmla="*/ 195 h 205"/>
                <a:gd name="T86" fmla="*/ 209 w 288"/>
                <a:gd name="T87" fmla="*/ 198 h 205"/>
                <a:gd name="T88" fmla="*/ 207 w 288"/>
                <a:gd name="T89" fmla="*/ 190 h 205"/>
                <a:gd name="T90" fmla="*/ 178 w 288"/>
                <a:gd name="T91" fmla="*/ 187 h 205"/>
                <a:gd name="T92" fmla="*/ 113 w 288"/>
                <a:gd name="T93" fmla="*/ 188 h 205"/>
                <a:gd name="T94" fmla="*/ 87 w 288"/>
                <a:gd name="T95" fmla="*/ 198 h 205"/>
                <a:gd name="T96" fmla="*/ 61 w 288"/>
                <a:gd name="T97" fmla="*/ 198 h 205"/>
                <a:gd name="T98" fmla="*/ 48 w 288"/>
                <a:gd name="T99" fmla="*/ 204 h 205"/>
                <a:gd name="T100" fmla="*/ 37 w 288"/>
                <a:gd name="T101" fmla="*/ 202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8" h="205">
                  <a:moveTo>
                    <a:pt x="37" y="202"/>
                  </a:moveTo>
                  <a:lnTo>
                    <a:pt x="37" y="171"/>
                  </a:lnTo>
                  <a:lnTo>
                    <a:pt x="40" y="167"/>
                  </a:lnTo>
                  <a:lnTo>
                    <a:pt x="79" y="162"/>
                  </a:lnTo>
                  <a:lnTo>
                    <a:pt x="83" y="156"/>
                  </a:lnTo>
                  <a:lnTo>
                    <a:pt x="100" y="156"/>
                  </a:lnTo>
                  <a:lnTo>
                    <a:pt x="113" y="146"/>
                  </a:lnTo>
                  <a:lnTo>
                    <a:pt x="156" y="162"/>
                  </a:lnTo>
                  <a:lnTo>
                    <a:pt x="175" y="154"/>
                  </a:lnTo>
                  <a:lnTo>
                    <a:pt x="175" y="146"/>
                  </a:lnTo>
                  <a:lnTo>
                    <a:pt x="147" y="151"/>
                  </a:lnTo>
                  <a:lnTo>
                    <a:pt x="115" y="134"/>
                  </a:lnTo>
                  <a:lnTo>
                    <a:pt x="102" y="136"/>
                  </a:lnTo>
                  <a:lnTo>
                    <a:pt x="93" y="146"/>
                  </a:lnTo>
                  <a:lnTo>
                    <a:pt x="46" y="146"/>
                  </a:lnTo>
                  <a:lnTo>
                    <a:pt x="12" y="92"/>
                  </a:lnTo>
                  <a:lnTo>
                    <a:pt x="3" y="97"/>
                  </a:lnTo>
                  <a:lnTo>
                    <a:pt x="0" y="90"/>
                  </a:lnTo>
                  <a:lnTo>
                    <a:pt x="14" y="85"/>
                  </a:lnTo>
                  <a:lnTo>
                    <a:pt x="31" y="71"/>
                  </a:lnTo>
                  <a:lnTo>
                    <a:pt x="46" y="46"/>
                  </a:lnTo>
                  <a:lnTo>
                    <a:pt x="48" y="26"/>
                  </a:lnTo>
                  <a:lnTo>
                    <a:pt x="57" y="6"/>
                  </a:lnTo>
                  <a:lnTo>
                    <a:pt x="87" y="9"/>
                  </a:lnTo>
                  <a:lnTo>
                    <a:pt x="113" y="0"/>
                  </a:lnTo>
                  <a:lnTo>
                    <a:pt x="147" y="0"/>
                  </a:lnTo>
                  <a:lnTo>
                    <a:pt x="171" y="24"/>
                  </a:lnTo>
                  <a:lnTo>
                    <a:pt x="188" y="24"/>
                  </a:lnTo>
                  <a:lnTo>
                    <a:pt x="200" y="48"/>
                  </a:lnTo>
                  <a:lnTo>
                    <a:pt x="213" y="54"/>
                  </a:lnTo>
                  <a:lnTo>
                    <a:pt x="218" y="65"/>
                  </a:lnTo>
                  <a:lnTo>
                    <a:pt x="217" y="66"/>
                  </a:lnTo>
                  <a:lnTo>
                    <a:pt x="249" y="90"/>
                  </a:lnTo>
                  <a:lnTo>
                    <a:pt x="251" y="107"/>
                  </a:lnTo>
                  <a:lnTo>
                    <a:pt x="257" y="114"/>
                  </a:lnTo>
                  <a:lnTo>
                    <a:pt x="261" y="129"/>
                  </a:lnTo>
                  <a:lnTo>
                    <a:pt x="257" y="141"/>
                  </a:lnTo>
                  <a:lnTo>
                    <a:pt x="266" y="156"/>
                  </a:lnTo>
                  <a:lnTo>
                    <a:pt x="276" y="154"/>
                  </a:lnTo>
                  <a:lnTo>
                    <a:pt x="288" y="173"/>
                  </a:lnTo>
                  <a:lnTo>
                    <a:pt x="288" y="201"/>
                  </a:lnTo>
                  <a:lnTo>
                    <a:pt x="243" y="205"/>
                  </a:lnTo>
                  <a:lnTo>
                    <a:pt x="217" y="195"/>
                  </a:lnTo>
                  <a:lnTo>
                    <a:pt x="209" y="198"/>
                  </a:lnTo>
                  <a:lnTo>
                    <a:pt x="207" y="190"/>
                  </a:lnTo>
                  <a:lnTo>
                    <a:pt x="178" y="187"/>
                  </a:lnTo>
                  <a:lnTo>
                    <a:pt x="113" y="188"/>
                  </a:lnTo>
                  <a:lnTo>
                    <a:pt x="87" y="198"/>
                  </a:lnTo>
                  <a:lnTo>
                    <a:pt x="61" y="198"/>
                  </a:lnTo>
                  <a:lnTo>
                    <a:pt x="48" y="204"/>
                  </a:lnTo>
                  <a:lnTo>
                    <a:pt x="37" y="202"/>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74" name="Freeform 98">
              <a:extLst>
                <a:ext uri="{FF2B5EF4-FFF2-40B4-BE49-F238E27FC236}">
                  <a16:creationId xmlns:a16="http://schemas.microsoft.com/office/drawing/2014/main" id="{8FB165DF-856A-B947-9E78-41643E16600C}"/>
                </a:ext>
              </a:extLst>
            </p:cNvPr>
            <p:cNvSpPr>
              <a:spLocks noChangeAspect="1"/>
            </p:cNvSpPr>
            <p:nvPr/>
          </p:nvSpPr>
          <p:spPr bwMode="gray">
            <a:xfrm>
              <a:off x="4838787" y="3322326"/>
              <a:ext cx="357238" cy="410655"/>
            </a:xfrm>
            <a:custGeom>
              <a:avLst/>
              <a:gdLst>
                <a:gd name="T0" fmla="*/ 640 w 731"/>
                <a:gd name="T1" fmla="*/ 678 h 701"/>
                <a:gd name="T2" fmla="*/ 548 w 731"/>
                <a:gd name="T3" fmla="*/ 630 h 701"/>
                <a:gd name="T4" fmla="*/ 455 w 731"/>
                <a:gd name="T5" fmla="*/ 582 h 701"/>
                <a:gd name="T6" fmla="*/ 363 w 731"/>
                <a:gd name="T7" fmla="*/ 535 h 701"/>
                <a:gd name="T8" fmla="*/ 269 w 731"/>
                <a:gd name="T9" fmla="*/ 526 h 701"/>
                <a:gd name="T10" fmla="*/ 247 w 731"/>
                <a:gd name="T11" fmla="*/ 520 h 701"/>
                <a:gd name="T12" fmla="*/ 116 w 731"/>
                <a:gd name="T13" fmla="*/ 503 h 701"/>
                <a:gd name="T14" fmla="*/ 72 w 731"/>
                <a:gd name="T15" fmla="*/ 450 h 701"/>
                <a:gd name="T16" fmla="*/ 35 w 731"/>
                <a:gd name="T17" fmla="*/ 437 h 701"/>
                <a:gd name="T18" fmla="*/ 4 w 731"/>
                <a:gd name="T19" fmla="*/ 367 h 701"/>
                <a:gd name="T20" fmla="*/ 21 w 731"/>
                <a:gd name="T21" fmla="*/ 354 h 701"/>
                <a:gd name="T22" fmla="*/ 18 w 731"/>
                <a:gd name="T23" fmla="*/ 205 h 701"/>
                <a:gd name="T24" fmla="*/ 0 w 731"/>
                <a:gd name="T25" fmla="*/ 163 h 701"/>
                <a:gd name="T26" fmla="*/ 29 w 731"/>
                <a:gd name="T27" fmla="*/ 146 h 701"/>
                <a:gd name="T28" fmla="*/ 38 w 731"/>
                <a:gd name="T29" fmla="*/ 98 h 701"/>
                <a:gd name="T30" fmla="*/ 96 w 731"/>
                <a:gd name="T31" fmla="*/ 42 h 701"/>
                <a:gd name="T32" fmla="*/ 99 w 731"/>
                <a:gd name="T33" fmla="*/ 0 h 701"/>
                <a:gd name="T34" fmla="*/ 176 w 731"/>
                <a:gd name="T35" fmla="*/ 15 h 701"/>
                <a:gd name="T36" fmla="*/ 270 w 731"/>
                <a:gd name="T37" fmla="*/ 46 h 701"/>
                <a:gd name="T38" fmla="*/ 278 w 731"/>
                <a:gd name="T39" fmla="*/ 71 h 701"/>
                <a:gd name="T40" fmla="*/ 311 w 731"/>
                <a:gd name="T41" fmla="*/ 104 h 701"/>
                <a:gd name="T42" fmla="*/ 411 w 731"/>
                <a:gd name="T43" fmla="*/ 130 h 701"/>
                <a:gd name="T44" fmla="*/ 445 w 731"/>
                <a:gd name="T45" fmla="*/ 156 h 701"/>
                <a:gd name="T46" fmla="*/ 487 w 731"/>
                <a:gd name="T47" fmla="*/ 136 h 701"/>
                <a:gd name="T48" fmla="*/ 489 w 731"/>
                <a:gd name="T49" fmla="*/ 83 h 701"/>
                <a:gd name="T50" fmla="*/ 538 w 731"/>
                <a:gd name="T51" fmla="*/ 20 h 701"/>
                <a:gd name="T52" fmla="*/ 626 w 731"/>
                <a:gd name="T53" fmla="*/ 25 h 701"/>
                <a:gd name="T54" fmla="*/ 633 w 731"/>
                <a:gd name="T55" fmla="*/ 46 h 701"/>
                <a:gd name="T56" fmla="*/ 670 w 731"/>
                <a:gd name="T57" fmla="*/ 57 h 701"/>
                <a:gd name="T58" fmla="*/ 731 w 731"/>
                <a:gd name="T59" fmla="*/ 83 h 701"/>
                <a:gd name="T60" fmla="*/ 716 w 731"/>
                <a:gd name="T61" fmla="*/ 100 h 701"/>
                <a:gd name="T62" fmla="*/ 710 w 731"/>
                <a:gd name="T63" fmla="*/ 166 h 701"/>
                <a:gd name="T64" fmla="*/ 719 w 731"/>
                <a:gd name="T65" fmla="*/ 195 h 701"/>
                <a:gd name="T66" fmla="*/ 731 w 731"/>
                <a:gd name="T67" fmla="*/ 220 h 701"/>
                <a:gd name="T68" fmla="*/ 731 w 731"/>
                <a:gd name="T69" fmla="*/ 311 h 701"/>
                <a:gd name="T70" fmla="*/ 731 w 731"/>
                <a:gd name="T71" fmla="*/ 401 h 701"/>
                <a:gd name="T72" fmla="*/ 731 w 731"/>
                <a:gd name="T73" fmla="*/ 491 h 701"/>
                <a:gd name="T74" fmla="*/ 731 w 731"/>
                <a:gd name="T75" fmla="*/ 579 h 701"/>
                <a:gd name="T76" fmla="*/ 731 w 731"/>
                <a:gd name="T77" fmla="*/ 672 h 701"/>
                <a:gd name="T78" fmla="*/ 685 w 731"/>
                <a:gd name="T79" fmla="*/ 701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1" h="701">
                  <a:moveTo>
                    <a:pt x="685" y="701"/>
                  </a:moveTo>
                  <a:lnTo>
                    <a:pt x="640" y="678"/>
                  </a:lnTo>
                  <a:lnTo>
                    <a:pt x="594" y="653"/>
                  </a:lnTo>
                  <a:lnTo>
                    <a:pt x="548" y="630"/>
                  </a:lnTo>
                  <a:lnTo>
                    <a:pt x="501" y="606"/>
                  </a:lnTo>
                  <a:lnTo>
                    <a:pt x="455" y="582"/>
                  </a:lnTo>
                  <a:lnTo>
                    <a:pt x="410" y="559"/>
                  </a:lnTo>
                  <a:lnTo>
                    <a:pt x="363" y="535"/>
                  </a:lnTo>
                  <a:lnTo>
                    <a:pt x="317" y="509"/>
                  </a:lnTo>
                  <a:lnTo>
                    <a:pt x="269" y="526"/>
                  </a:lnTo>
                  <a:lnTo>
                    <a:pt x="255" y="530"/>
                  </a:lnTo>
                  <a:lnTo>
                    <a:pt x="247" y="520"/>
                  </a:lnTo>
                  <a:lnTo>
                    <a:pt x="220" y="505"/>
                  </a:lnTo>
                  <a:lnTo>
                    <a:pt x="116" y="503"/>
                  </a:lnTo>
                  <a:lnTo>
                    <a:pt x="97" y="463"/>
                  </a:lnTo>
                  <a:lnTo>
                    <a:pt x="72" y="450"/>
                  </a:lnTo>
                  <a:lnTo>
                    <a:pt x="46" y="450"/>
                  </a:lnTo>
                  <a:lnTo>
                    <a:pt x="35" y="437"/>
                  </a:lnTo>
                  <a:lnTo>
                    <a:pt x="32" y="412"/>
                  </a:lnTo>
                  <a:lnTo>
                    <a:pt x="4" y="367"/>
                  </a:lnTo>
                  <a:lnTo>
                    <a:pt x="4" y="361"/>
                  </a:lnTo>
                  <a:lnTo>
                    <a:pt x="21" y="354"/>
                  </a:lnTo>
                  <a:lnTo>
                    <a:pt x="25" y="288"/>
                  </a:lnTo>
                  <a:lnTo>
                    <a:pt x="18" y="205"/>
                  </a:lnTo>
                  <a:lnTo>
                    <a:pt x="0" y="175"/>
                  </a:lnTo>
                  <a:lnTo>
                    <a:pt x="0" y="163"/>
                  </a:lnTo>
                  <a:lnTo>
                    <a:pt x="9" y="152"/>
                  </a:lnTo>
                  <a:lnTo>
                    <a:pt x="29" y="146"/>
                  </a:lnTo>
                  <a:lnTo>
                    <a:pt x="43" y="130"/>
                  </a:lnTo>
                  <a:lnTo>
                    <a:pt x="38" y="98"/>
                  </a:lnTo>
                  <a:lnTo>
                    <a:pt x="43" y="83"/>
                  </a:lnTo>
                  <a:lnTo>
                    <a:pt x="96" y="42"/>
                  </a:lnTo>
                  <a:lnTo>
                    <a:pt x="99" y="34"/>
                  </a:lnTo>
                  <a:lnTo>
                    <a:pt x="99" y="0"/>
                  </a:lnTo>
                  <a:lnTo>
                    <a:pt x="142" y="19"/>
                  </a:lnTo>
                  <a:lnTo>
                    <a:pt x="176" y="15"/>
                  </a:lnTo>
                  <a:lnTo>
                    <a:pt x="210" y="20"/>
                  </a:lnTo>
                  <a:lnTo>
                    <a:pt x="270" y="46"/>
                  </a:lnTo>
                  <a:lnTo>
                    <a:pt x="275" y="51"/>
                  </a:lnTo>
                  <a:lnTo>
                    <a:pt x="278" y="71"/>
                  </a:lnTo>
                  <a:lnTo>
                    <a:pt x="301" y="98"/>
                  </a:lnTo>
                  <a:lnTo>
                    <a:pt x="311" y="104"/>
                  </a:lnTo>
                  <a:lnTo>
                    <a:pt x="385" y="119"/>
                  </a:lnTo>
                  <a:lnTo>
                    <a:pt x="411" y="130"/>
                  </a:lnTo>
                  <a:lnTo>
                    <a:pt x="431" y="150"/>
                  </a:lnTo>
                  <a:lnTo>
                    <a:pt x="445" y="156"/>
                  </a:lnTo>
                  <a:lnTo>
                    <a:pt x="472" y="149"/>
                  </a:lnTo>
                  <a:lnTo>
                    <a:pt x="487" y="136"/>
                  </a:lnTo>
                  <a:lnTo>
                    <a:pt x="499" y="110"/>
                  </a:lnTo>
                  <a:lnTo>
                    <a:pt x="489" y="83"/>
                  </a:lnTo>
                  <a:lnTo>
                    <a:pt x="492" y="59"/>
                  </a:lnTo>
                  <a:lnTo>
                    <a:pt x="538" y="20"/>
                  </a:lnTo>
                  <a:lnTo>
                    <a:pt x="589" y="15"/>
                  </a:lnTo>
                  <a:lnTo>
                    <a:pt x="626" y="25"/>
                  </a:lnTo>
                  <a:lnTo>
                    <a:pt x="634" y="31"/>
                  </a:lnTo>
                  <a:lnTo>
                    <a:pt x="633" y="46"/>
                  </a:lnTo>
                  <a:lnTo>
                    <a:pt x="642" y="53"/>
                  </a:lnTo>
                  <a:lnTo>
                    <a:pt x="670" y="57"/>
                  </a:lnTo>
                  <a:lnTo>
                    <a:pt x="719" y="66"/>
                  </a:lnTo>
                  <a:lnTo>
                    <a:pt x="731" y="83"/>
                  </a:lnTo>
                  <a:lnTo>
                    <a:pt x="726" y="85"/>
                  </a:lnTo>
                  <a:lnTo>
                    <a:pt x="716" y="100"/>
                  </a:lnTo>
                  <a:lnTo>
                    <a:pt x="721" y="152"/>
                  </a:lnTo>
                  <a:lnTo>
                    <a:pt x="710" y="166"/>
                  </a:lnTo>
                  <a:lnTo>
                    <a:pt x="711" y="183"/>
                  </a:lnTo>
                  <a:lnTo>
                    <a:pt x="719" y="195"/>
                  </a:lnTo>
                  <a:lnTo>
                    <a:pt x="716" y="205"/>
                  </a:lnTo>
                  <a:lnTo>
                    <a:pt x="731" y="220"/>
                  </a:lnTo>
                  <a:lnTo>
                    <a:pt x="731" y="266"/>
                  </a:lnTo>
                  <a:lnTo>
                    <a:pt x="731" y="311"/>
                  </a:lnTo>
                  <a:lnTo>
                    <a:pt x="731" y="357"/>
                  </a:lnTo>
                  <a:lnTo>
                    <a:pt x="731" y="401"/>
                  </a:lnTo>
                  <a:lnTo>
                    <a:pt x="731" y="447"/>
                  </a:lnTo>
                  <a:lnTo>
                    <a:pt x="731" y="491"/>
                  </a:lnTo>
                  <a:lnTo>
                    <a:pt x="731" y="535"/>
                  </a:lnTo>
                  <a:lnTo>
                    <a:pt x="731" y="579"/>
                  </a:lnTo>
                  <a:lnTo>
                    <a:pt x="731" y="625"/>
                  </a:lnTo>
                  <a:lnTo>
                    <a:pt x="731" y="672"/>
                  </a:lnTo>
                  <a:lnTo>
                    <a:pt x="685" y="672"/>
                  </a:lnTo>
                  <a:lnTo>
                    <a:pt x="685" y="701"/>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75" name="Freeform 99">
              <a:extLst>
                <a:ext uri="{FF2B5EF4-FFF2-40B4-BE49-F238E27FC236}">
                  <a16:creationId xmlns:a16="http://schemas.microsoft.com/office/drawing/2014/main" id="{0C2529EA-2F4C-8045-AD2C-A0D906F3E75E}"/>
                </a:ext>
              </a:extLst>
            </p:cNvPr>
            <p:cNvSpPr>
              <a:spLocks noChangeAspect="1"/>
            </p:cNvSpPr>
            <p:nvPr/>
          </p:nvSpPr>
          <p:spPr bwMode="gray">
            <a:xfrm>
              <a:off x="4934475" y="3619763"/>
              <a:ext cx="240815" cy="447117"/>
            </a:xfrm>
            <a:custGeom>
              <a:avLst/>
              <a:gdLst>
                <a:gd name="T0" fmla="*/ 492 w 492"/>
                <a:gd name="T1" fmla="*/ 237 h 761"/>
                <a:gd name="T2" fmla="*/ 492 w 492"/>
                <a:gd name="T3" fmla="*/ 325 h 761"/>
                <a:gd name="T4" fmla="*/ 443 w 492"/>
                <a:gd name="T5" fmla="*/ 376 h 761"/>
                <a:gd name="T6" fmla="*/ 413 w 492"/>
                <a:gd name="T7" fmla="*/ 430 h 761"/>
                <a:gd name="T8" fmla="*/ 404 w 492"/>
                <a:gd name="T9" fmla="*/ 461 h 761"/>
                <a:gd name="T10" fmla="*/ 394 w 492"/>
                <a:gd name="T11" fmla="*/ 502 h 761"/>
                <a:gd name="T12" fmla="*/ 415 w 492"/>
                <a:gd name="T13" fmla="*/ 512 h 761"/>
                <a:gd name="T14" fmla="*/ 440 w 492"/>
                <a:gd name="T15" fmla="*/ 583 h 761"/>
                <a:gd name="T16" fmla="*/ 432 w 492"/>
                <a:gd name="T17" fmla="*/ 593 h 761"/>
                <a:gd name="T18" fmla="*/ 387 w 492"/>
                <a:gd name="T19" fmla="*/ 615 h 761"/>
                <a:gd name="T20" fmla="*/ 355 w 492"/>
                <a:gd name="T21" fmla="*/ 654 h 761"/>
                <a:gd name="T22" fmla="*/ 335 w 492"/>
                <a:gd name="T23" fmla="*/ 673 h 761"/>
                <a:gd name="T24" fmla="*/ 260 w 492"/>
                <a:gd name="T25" fmla="*/ 692 h 761"/>
                <a:gd name="T26" fmla="*/ 265 w 492"/>
                <a:gd name="T27" fmla="*/ 707 h 761"/>
                <a:gd name="T28" fmla="*/ 204 w 492"/>
                <a:gd name="T29" fmla="*/ 735 h 761"/>
                <a:gd name="T30" fmla="*/ 147 w 492"/>
                <a:gd name="T31" fmla="*/ 743 h 761"/>
                <a:gd name="T32" fmla="*/ 119 w 492"/>
                <a:gd name="T33" fmla="*/ 759 h 761"/>
                <a:gd name="T34" fmla="*/ 74 w 492"/>
                <a:gd name="T35" fmla="*/ 703 h 761"/>
                <a:gd name="T36" fmla="*/ 42 w 492"/>
                <a:gd name="T37" fmla="*/ 684 h 761"/>
                <a:gd name="T38" fmla="*/ 33 w 492"/>
                <a:gd name="T39" fmla="*/ 649 h 761"/>
                <a:gd name="T40" fmla="*/ 84 w 492"/>
                <a:gd name="T41" fmla="*/ 645 h 761"/>
                <a:gd name="T42" fmla="*/ 85 w 492"/>
                <a:gd name="T43" fmla="*/ 628 h 761"/>
                <a:gd name="T44" fmla="*/ 71 w 492"/>
                <a:gd name="T45" fmla="*/ 553 h 761"/>
                <a:gd name="T46" fmla="*/ 47 w 492"/>
                <a:gd name="T47" fmla="*/ 505 h 761"/>
                <a:gd name="T48" fmla="*/ 33 w 492"/>
                <a:gd name="T49" fmla="*/ 495 h 761"/>
                <a:gd name="T50" fmla="*/ 2 w 492"/>
                <a:gd name="T51" fmla="*/ 438 h 761"/>
                <a:gd name="T52" fmla="*/ 10 w 492"/>
                <a:gd name="T53" fmla="*/ 422 h 761"/>
                <a:gd name="T54" fmla="*/ 93 w 492"/>
                <a:gd name="T55" fmla="*/ 316 h 761"/>
                <a:gd name="T56" fmla="*/ 110 w 492"/>
                <a:gd name="T57" fmla="*/ 167 h 761"/>
                <a:gd name="T58" fmla="*/ 91 w 492"/>
                <a:gd name="T59" fmla="*/ 126 h 761"/>
                <a:gd name="T60" fmla="*/ 76 w 492"/>
                <a:gd name="T61" fmla="*/ 17 h 761"/>
                <a:gd name="T62" fmla="*/ 170 w 492"/>
                <a:gd name="T63" fmla="*/ 26 h 761"/>
                <a:gd name="T64" fmla="*/ 262 w 492"/>
                <a:gd name="T65" fmla="*/ 73 h 761"/>
                <a:gd name="T66" fmla="*/ 355 w 492"/>
                <a:gd name="T67" fmla="*/ 121 h 761"/>
                <a:gd name="T68" fmla="*/ 447 w 492"/>
                <a:gd name="T69" fmla="*/ 169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2" h="761">
                  <a:moveTo>
                    <a:pt x="492" y="192"/>
                  </a:moveTo>
                  <a:lnTo>
                    <a:pt x="492" y="237"/>
                  </a:lnTo>
                  <a:lnTo>
                    <a:pt x="492" y="282"/>
                  </a:lnTo>
                  <a:lnTo>
                    <a:pt x="492" y="325"/>
                  </a:lnTo>
                  <a:lnTo>
                    <a:pt x="492" y="371"/>
                  </a:lnTo>
                  <a:lnTo>
                    <a:pt x="443" y="376"/>
                  </a:lnTo>
                  <a:lnTo>
                    <a:pt x="436" y="401"/>
                  </a:lnTo>
                  <a:lnTo>
                    <a:pt x="413" y="430"/>
                  </a:lnTo>
                  <a:lnTo>
                    <a:pt x="413" y="452"/>
                  </a:lnTo>
                  <a:lnTo>
                    <a:pt x="404" y="461"/>
                  </a:lnTo>
                  <a:lnTo>
                    <a:pt x="402" y="481"/>
                  </a:lnTo>
                  <a:lnTo>
                    <a:pt x="394" y="502"/>
                  </a:lnTo>
                  <a:lnTo>
                    <a:pt x="394" y="515"/>
                  </a:lnTo>
                  <a:lnTo>
                    <a:pt x="415" y="512"/>
                  </a:lnTo>
                  <a:lnTo>
                    <a:pt x="418" y="537"/>
                  </a:lnTo>
                  <a:lnTo>
                    <a:pt x="440" y="583"/>
                  </a:lnTo>
                  <a:lnTo>
                    <a:pt x="440" y="590"/>
                  </a:lnTo>
                  <a:lnTo>
                    <a:pt x="432" y="593"/>
                  </a:lnTo>
                  <a:lnTo>
                    <a:pt x="398" y="602"/>
                  </a:lnTo>
                  <a:lnTo>
                    <a:pt x="387" y="615"/>
                  </a:lnTo>
                  <a:lnTo>
                    <a:pt x="387" y="628"/>
                  </a:lnTo>
                  <a:lnTo>
                    <a:pt x="355" y="654"/>
                  </a:lnTo>
                  <a:lnTo>
                    <a:pt x="350" y="666"/>
                  </a:lnTo>
                  <a:lnTo>
                    <a:pt x="335" y="673"/>
                  </a:lnTo>
                  <a:lnTo>
                    <a:pt x="328" y="681"/>
                  </a:lnTo>
                  <a:lnTo>
                    <a:pt x="260" y="692"/>
                  </a:lnTo>
                  <a:lnTo>
                    <a:pt x="259" y="698"/>
                  </a:lnTo>
                  <a:lnTo>
                    <a:pt x="265" y="707"/>
                  </a:lnTo>
                  <a:lnTo>
                    <a:pt x="243" y="732"/>
                  </a:lnTo>
                  <a:lnTo>
                    <a:pt x="204" y="735"/>
                  </a:lnTo>
                  <a:lnTo>
                    <a:pt x="162" y="755"/>
                  </a:lnTo>
                  <a:lnTo>
                    <a:pt x="147" y="743"/>
                  </a:lnTo>
                  <a:lnTo>
                    <a:pt x="140" y="749"/>
                  </a:lnTo>
                  <a:lnTo>
                    <a:pt x="119" y="759"/>
                  </a:lnTo>
                  <a:lnTo>
                    <a:pt x="91" y="761"/>
                  </a:lnTo>
                  <a:lnTo>
                    <a:pt x="74" y="703"/>
                  </a:lnTo>
                  <a:lnTo>
                    <a:pt x="65" y="695"/>
                  </a:lnTo>
                  <a:lnTo>
                    <a:pt x="42" y="684"/>
                  </a:lnTo>
                  <a:lnTo>
                    <a:pt x="31" y="662"/>
                  </a:lnTo>
                  <a:lnTo>
                    <a:pt x="33" y="649"/>
                  </a:lnTo>
                  <a:lnTo>
                    <a:pt x="40" y="642"/>
                  </a:lnTo>
                  <a:lnTo>
                    <a:pt x="84" y="645"/>
                  </a:lnTo>
                  <a:lnTo>
                    <a:pt x="90" y="641"/>
                  </a:lnTo>
                  <a:lnTo>
                    <a:pt x="85" y="628"/>
                  </a:lnTo>
                  <a:lnTo>
                    <a:pt x="65" y="595"/>
                  </a:lnTo>
                  <a:lnTo>
                    <a:pt x="71" y="553"/>
                  </a:lnTo>
                  <a:lnTo>
                    <a:pt x="57" y="511"/>
                  </a:lnTo>
                  <a:lnTo>
                    <a:pt x="47" y="505"/>
                  </a:lnTo>
                  <a:lnTo>
                    <a:pt x="44" y="495"/>
                  </a:lnTo>
                  <a:lnTo>
                    <a:pt x="33" y="495"/>
                  </a:lnTo>
                  <a:lnTo>
                    <a:pt x="6" y="463"/>
                  </a:lnTo>
                  <a:lnTo>
                    <a:pt x="2" y="438"/>
                  </a:lnTo>
                  <a:lnTo>
                    <a:pt x="0" y="427"/>
                  </a:lnTo>
                  <a:lnTo>
                    <a:pt x="10" y="422"/>
                  </a:lnTo>
                  <a:lnTo>
                    <a:pt x="14" y="404"/>
                  </a:lnTo>
                  <a:lnTo>
                    <a:pt x="93" y="316"/>
                  </a:lnTo>
                  <a:lnTo>
                    <a:pt x="98" y="232"/>
                  </a:lnTo>
                  <a:lnTo>
                    <a:pt x="110" y="167"/>
                  </a:lnTo>
                  <a:lnTo>
                    <a:pt x="121" y="146"/>
                  </a:lnTo>
                  <a:lnTo>
                    <a:pt x="91" y="126"/>
                  </a:lnTo>
                  <a:lnTo>
                    <a:pt x="77" y="93"/>
                  </a:lnTo>
                  <a:lnTo>
                    <a:pt x="76" y="17"/>
                  </a:lnTo>
                  <a:lnTo>
                    <a:pt x="124" y="0"/>
                  </a:lnTo>
                  <a:lnTo>
                    <a:pt x="170" y="26"/>
                  </a:lnTo>
                  <a:lnTo>
                    <a:pt x="217" y="50"/>
                  </a:lnTo>
                  <a:lnTo>
                    <a:pt x="262" y="73"/>
                  </a:lnTo>
                  <a:lnTo>
                    <a:pt x="308" y="97"/>
                  </a:lnTo>
                  <a:lnTo>
                    <a:pt x="355" y="121"/>
                  </a:lnTo>
                  <a:lnTo>
                    <a:pt x="401" y="144"/>
                  </a:lnTo>
                  <a:lnTo>
                    <a:pt x="447" y="169"/>
                  </a:lnTo>
                  <a:lnTo>
                    <a:pt x="492" y="192"/>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376" name="Freeform 100">
              <a:extLst>
                <a:ext uri="{FF2B5EF4-FFF2-40B4-BE49-F238E27FC236}">
                  <a16:creationId xmlns:a16="http://schemas.microsoft.com/office/drawing/2014/main" id="{677B5B4F-104D-7E4D-8B6D-6F7CA2D9D66A}"/>
                </a:ext>
              </a:extLst>
            </p:cNvPr>
            <p:cNvSpPr>
              <a:spLocks noChangeAspect="1"/>
            </p:cNvSpPr>
            <p:nvPr/>
          </p:nvSpPr>
          <p:spPr bwMode="gray">
            <a:xfrm>
              <a:off x="4342802" y="3232135"/>
              <a:ext cx="269523" cy="259058"/>
            </a:xfrm>
            <a:custGeom>
              <a:avLst/>
              <a:gdLst>
                <a:gd name="T0" fmla="*/ 201 w 552"/>
                <a:gd name="T1" fmla="*/ 440 h 441"/>
                <a:gd name="T2" fmla="*/ 150 w 552"/>
                <a:gd name="T3" fmla="*/ 440 h 441"/>
                <a:gd name="T4" fmla="*/ 102 w 552"/>
                <a:gd name="T5" fmla="*/ 440 h 441"/>
                <a:gd name="T6" fmla="*/ 51 w 552"/>
                <a:gd name="T7" fmla="*/ 441 h 441"/>
                <a:gd name="T8" fmla="*/ 0 w 552"/>
                <a:gd name="T9" fmla="*/ 441 h 441"/>
                <a:gd name="T10" fmla="*/ 3 w 552"/>
                <a:gd name="T11" fmla="*/ 432 h 441"/>
                <a:gd name="T12" fmla="*/ 64 w 552"/>
                <a:gd name="T13" fmla="*/ 415 h 441"/>
                <a:gd name="T14" fmla="*/ 85 w 552"/>
                <a:gd name="T15" fmla="*/ 396 h 441"/>
                <a:gd name="T16" fmla="*/ 125 w 552"/>
                <a:gd name="T17" fmla="*/ 366 h 441"/>
                <a:gd name="T18" fmla="*/ 139 w 552"/>
                <a:gd name="T19" fmla="*/ 344 h 441"/>
                <a:gd name="T20" fmla="*/ 153 w 552"/>
                <a:gd name="T21" fmla="*/ 318 h 441"/>
                <a:gd name="T22" fmla="*/ 152 w 552"/>
                <a:gd name="T23" fmla="*/ 302 h 441"/>
                <a:gd name="T24" fmla="*/ 144 w 552"/>
                <a:gd name="T25" fmla="*/ 288 h 441"/>
                <a:gd name="T26" fmla="*/ 149 w 552"/>
                <a:gd name="T27" fmla="*/ 248 h 441"/>
                <a:gd name="T28" fmla="*/ 164 w 552"/>
                <a:gd name="T29" fmla="*/ 220 h 441"/>
                <a:gd name="T30" fmla="*/ 175 w 552"/>
                <a:gd name="T31" fmla="*/ 215 h 441"/>
                <a:gd name="T32" fmla="*/ 178 w 552"/>
                <a:gd name="T33" fmla="*/ 186 h 441"/>
                <a:gd name="T34" fmla="*/ 213 w 552"/>
                <a:gd name="T35" fmla="*/ 146 h 441"/>
                <a:gd name="T36" fmla="*/ 264 w 552"/>
                <a:gd name="T37" fmla="*/ 123 h 441"/>
                <a:gd name="T38" fmla="*/ 291 w 552"/>
                <a:gd name="T39" fmla="*/ 100 h 441"/>
                <a:gd name="T40" fmla="*/ 308 w 552"/>
                <a:gd name="T41" fmla="*/ 73 h 441"/>
                <a:gd name="T42" fmla="*/ 330 w 552"/>
                <a:gd name="T43" fmla="*/ 8 h 441"/>
                <a:gd name="T44" fmla="*/ 352 w 552"/>
                <a:gd name="T45" fmla="*/ 0 h 441"/>
                <a:gd name="T46" fmla="*/ 373 w 552"/>
                <a:gd name="T47" fmla="*/ 27 h 441"/>
                <a:gd name="T48" fmla="*/ 399 w 552"/>
                <a:gd name="T49" fmla="*/ 41 h 441"/>
                <a:gd name="T50" fmla="*/ 461 w 552"/>
                <a:gd name="T51" fmla="*/ 32 h 441"/>
                <a:gd name="T52" fmla="*/ 482 w 552"/>
                <a:gd name="T53" fmla="*/ 44 h 441"/>
                <a:gd name="T54" fmla="*/ 489 w 552"/>
                <a:gd name="T55" fmla="*/ 44 h 441"/>
                <a:gd name="T56" fmla="*/ 507 w 552"/>
                <a:gd name="T57" fmla="*/ 45 h 441"/>
                <a:gd name="T58" fmla="*/ 503 w 552"/>
                <a:gd name="T59" fmla="*/ 49 h 441"/>
                <a:gd name="T60" fmla="*/ 503 w 552"/>
                <a:gd name="T61" fmla="*/ 54 h 441"/>
                <a:gd name="T62" fmla="*/ 516 w 552"/>
                <a:gd name="T63" fmla="*/ 62 h 441"/>
                <a:gd name="T64" fmla="*/ 515 w 552"/>
                <a:gd name="T65" fmla="*/ 66 h 441"/>
                <a:gd name="T66" fmla="*/ 520 w 552"/>
                <a:gd name="T67" fmla="*/ 75 h 441"/>
                <a:gd name="T68" fmla="*/ 516 w 552"/>
                <a:gd name="T69" fmla="*/ 81 h 441"/>
                <a:gd name="T70" fmla="*/ 521 w 552"/>
                <a:gd name="T71" fmla="*/ 98 h 441"/>
                <a:gd name="T72" fmla="*/ 518 w 552"/>
                <a:gd name="T73" fmla="*/ 117 h 441"/>
                <a:gd name="T74" fmla="*/ 524 w 552"/>
                <a:gd name="T75" fmla="*/ 127 h 441"/>
                <a:gd name="T76" fmla="*/ 523 w 552"/>
                <a:gd name="T77" fmla="*/ 140 h 441"/>
                <a:gd name="T78" fmla="*/ 528 w 552"/>
                <a:gd name="T79" fmla="*/ 158 h 441"/>
                <a:gd name="T80" fmla="*/ 535 w 552"/>
                <a:gd name="T81" fmla="*/ 171 h 441"/>
                <a:gd name="T82" fmla="*/ 552 w 552"/>
                <a:gd name="T83" fmla="*/ 184 h 441"/>
                <a:gd name="T84" fmla="*/ 541 w 552"/>
                <a:gd name="T85" fmla="*/ 192 h 441"/>
                <a:gd name="T86" fmla="*/ 545 w 552"/>
                <a:gd name="T87" fmla="*/ 205 h 441"/>
                <a:gd name="T88" fmla="*/ 466 w 552"/>
                <a:gd name="T89" fmla="*/ 206 h 441"/>
                <a:gd name="T90" fmla="*/ 461 w 552"/>
                <a:gd name="T91" fmla="*/ 222 h 441"/>
                <a:gd name="T92" fmla="*/ 424 w 552"/>
                <a:gd name="T93" fmla="*/ 231 h 441"/>
                <a:gd name="T94" fmla="*/ 421 w 552"/>
                <a:gd name="T95" fmla="*/ 242 h 441"/>
                <a:gd name="T96" fmla="*/ 428 w 552"/>
                <a:gd name="T97" fmla="*/ 245 h 441"/>
                <a:gd name="T98" fmla="*/ 421 w 552"/>
                <a:gd name="T99" fmla="*/ 257 h 441"/>
                <a:gd name="T100" fmla="*/ 433 w 552"/>
                <a:gd name="T101" fmla="*/ 262 h 441"/>
                <a:gd name="T102" fmla="*/ 432 w 552"/>
                <a:gd name="T103" fmla="*/ 268 h 441"/>
                <a:gd name="T104" fmla="*/ 376 w 552"/>
                <a:gd name="T105" fmla="*/ 291 h 441"/>
                <a:gd name="T106" fmla="*/ 357 w 552"/>
                <a:gd name="T107" fmla="*/ 315 h 441"/>
                <a:gd name="T108" fmla="*/ 342 w 552"/>
                <a:gd name="T109" fmla="*/ 325 h 441"/>
                <a:gd name="T110" fmla="*/ 298 w 552"/>
                <a:gd name="T111" fmla="*/ 328 h 441"/>
                <a:gd name="T112" fmla="*/ 294 w 552"/>
                <a:gd name="T113" fmla="*/ 340 h 441"/>
                <a:gd name="T114" fmla="*/ 271 w 552"/>
                <a:gd name="T115" fmla="*/ 338 h 441"/>
                <a:gd name="T116" fmla="*/ 250 w 552"/>
                <a:gd name="T117" fmla="*/ 353 h 441"/>
                <a:gd name="T118" fmla="*/ 240 w 552"/>
                <a:gd name="T119" fmla="*/ 355 h 441"/>
                <a:gd name="T120" fmla="*/ 223 w 552"/>
                <a:gd name="T121" fmla="*/ 366 h 441"/>
                <a:gd name="T122" fmla="*/ 201 w 552"/>
                <a:gd name="T123" fmla="*/ 383 h 441"/>
                <a:gd name="T124" fmla="*/ 201 w 552"/>
                <a:gd name="T125" fmla="*/ 440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2" h="441">
                  <a:moveTo>
                    <a:pt x="201" y="440"/>
                  </a:moveTo>
                  <a:lnTo>
                    <a:pt x="150" y="440"/>
                  </a:lnTo>
                  <a:lnTo>
                    <a:pt x="102" y="440"/>
                  </a:lnTo>
                  <a:lnTo>
                    <a:pt x="51" y="441"/>
                  </a:lnTo>
                  <a:lnTo>
                    <a:pt x="0" y="441"/>
                  </a:lnTo>
                  <a:lnTo>
                    <a:pt x="3" y="432"/>
                  </a:lnTo>
                  <a:lnTo>
                    <a:pt x="64" y="415"/>
                  </a:lnTo>
                  <a:lnTo>
                    <a:pt x="85" y="396"/>
                  </a:lnTo>
                  <a:lnTo>
                    <a:pt x="125" y="366"/>
                  </a:lnTo>
                  <a:lnTo>
                    <a:pt x="139" y="344"/>
                  </a:lnTo>
                  <a:lnTo>
                    <a:pt x="153" y="318"/>
                  </a:lnTo>
                  <a:lnTo>
                    <a:pt x="152" y="302"/>
                  </a:lnTo>
                  <a:lnTo>
                    <a:pt x="144" y="288"/>
                  </a:lnTo>
                  <a:lnTo>
                    <a:pt x="149" y="248"/>
                  </a:lnTo>
                  <a:lnTo>
                    <a:pt x="164" y="220"/>
                  </a:lnTo>
                  <a:lnTo>
                    <a:pt x="175" y="215"/>
                  </a:lnTo>
                  <a:lnTo>
                    <a:pt x="178" y="186"/>
                  </a:lnTo>
                  <a:lnTo>
                    <a:pt x="213" y="146"/>
                  </a:lnTo>
                  <a:lnTo>
                    <a:pt x="264" y="123"/>
                  </a:lnTo>
                  <a:lnTo>
                    <a:pt x="291" y="100"/>
                  </a:lnTo>
                  <a:lnTo>
                    <a:pt x="308" y="73"/>
                  </a:lnTo>
                  <a:lnTo>
                    <a:pt x="330" y="8"/>
                  </a:lnTo>
                  <a:lnTo>
                    <a:pt x="352" y="0"/>
                  </a:lnTo>
                  <a:lnTo>
                    <a:pt x="373" y="27"/>
                  </a:lnTo>
                  <a:lnTo>
                    <a:pt x="399" y="41"/>
                  </a:lnTo>
                  <a:lnTo>
                    <a:pt x="461" y="32"/>
                  </a:lnTo>
                  <a:lnTo>
                    <a:pt x="482" y="44"/>
                  </a:lnTo>
                  <a:lnTo>
                    <a:pt x="489" y="44"/>
                  </a:lnTo>
                  <a:lnTo>
                    <a:pt x="507" y="45"/>
                  </a:lnTo>
                  <a:lnTo>
                    <a:pt x="503" y="49"/>
                  </a:lnTo>
                  <a:lnTo>
                    <a:pt x="503" y="54"/>
                  </a:lnTo>
                  <a:lnTo>
                    <a:pt x="516" y="62"/>
                  </a:lnTo>
                  <a:lnTo>
                    <a:pt x="515" y="66"/>
                  </a:lnTo>
                  <a:lnTo>
                    <a:pt x="520" y="75"/>
                  </a:lnTo>
                  <a:lnTo>
                    <a:pt x="516" y="81"/>
                  </a:lnTo>
                  <a:lnTo>
                    <a:pt x="521" y="98"/>
                  </a:lnTo>
                  <a:lnTo>
                    <a:pt x="518" y="117"/>
                  </a:lnTo>
                  <a:lnTo>
                    <a:pt x="524" y="127"/>
                  </a:lnTo>
                  <a:lnTo>
                    <a:pt x="523" y="140"/>
                  </a:lnTo>
                  <a:lnTo>
                    <a:pt x="528" y="158"/>
                  </a:lnTo>
                  <a:lnTo>
                    <a:pt x="535" y="171"/>
                  </a:lnTo>
                  <a:lnTo>
                    <a:pt x="552" y="184"/>
                  </a:lnTo>
                  <a:lnTo>
                    <a:pt x="541" y="192"/>
                  </a:lnTo>
                  <a:lnTo>
                    <a:pt x="545" y="205"/>
                  </a:lnTo>
                  <a:lnTo>
                    <a:pt x="466" y="206"/>
                  </a:lnTo>
                  <a:lnTo>
                    <a:pt x="461" y="222"/>
                  </a:lnTo>
                  <a:lnTo>
                    <a:pt x="424" y="231"/>
                  </a:lnTo>
                  <a:lnTo>
                    <a:pt x="421" y="242"/>
                  </a:lnTo>
                  <a:lnTo>
                    <a:pt x="428" y="245"/>
                  </a:lnTo>
                  <a:lnTo>
                    <a:pt x="421" y="257"/>
                  </a:lnTo>
                  <a:lnTo>
                    <a:pt x="433" y="262"/>
                  </a:lnTo>
                  <a:lnTo>
                    <a:pt x="432" y="268"/>
                  </a:lnTo>
                  <a:lnTo>
                    <a:pt x="376" y="291"/>
                  </a:lnTo>
                  <a:lnTo>
                    <a:pt x="357" y="315"/>
                  </a:lnTo>
                  <a:lnTo>
                    <a:pt x="342" y="325"/>
                  </a:lnTo>
                  <a:lnTo>
                    <a:pt x="298" y="328"/>
                  </a:lnTo>
                  <a:lnTo>
                    <a:pt x="294" y="340"/>
                  </a:lnTo>
                  <a:lnTo>
                    <a:pt x="271" y="338"/>
                  </a:lnTo>
                  <a:lnTo>
                    <a:pt x="250" y="353"/>
                  </a:lnTo>
                  <a:lnTo>
                    <a:pt x="240" y="355"/>
                  </a:lnTo>
                  <a:lnTo>
                    <a:pt x="223" y="366"/>
                  </a:lnTo>
                  <a:lnTo>
                    <a:pt x="201" y="383"/>
                  </a:lnTo>
                  <a:lnTo>
                    <a:pt x="201" y="44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77" name="Freeform 101">
              <a:extLst>
                <a:ext uri="{FF2B5EF4-FFF2-40B4-BE49-F238E27FC236}">
                  <a16:creationId xmlns:a16="http://schemas.microsoft.com/office/drawing/2014/main" id="{45A3FA5B-211F-D545-A046-48A6C7722DEE}"/>
                </a:ext>
              </a:extLst>
            </p:cNvPr>
            <p:cNvSpPr>
              <a:spLocks noChangeAspect="1"/>
            </p:cNvSpPr>
            <p:nvPr/>
          </p:nvSpPr>
          <p:spPr bwMode="gray">
            <a:xfrm>
              <a:off x="4251898" y="3504627"/>
              <a:ext cx="272713" cy="360762"/>
            </a:xfrm>
            <a:custGeom>
              <a:avLst/>
              <a:gdLst>
                <a:gd name="T0" fmla="*/ 368 w 557"/>
                <a:gd name="T1" fmla="*/ 577 h 613"/>
                <a:gd name="T2" fmla="*/ 473 w 557"/>
                <a:gd name="T3" fmla="*/ 580 h 613"/>
                <a:gd name="T4" fmla="*/ 536 w 557"/>
                <a:gd name="T5" fmla="*/ 540 h 613"/>
                <a:gd name="T6" fmla="*/ 512 w 557"/>
                <a:gd name="T7" fmla="*/ 484 h 613"/>
                <a:gd name="T8" fmla="*/ 502 w 557"/>
                <a:gd name="T9" fmla="*/ 379 h 613"/>
                <a:gd name="T10" fmla="*/ 490 w 557"/>
                <a:gd name="T11" fmla="*/ 276 h 613"/>
                <a:gd name="T12" fmla="*/ 480 w 557"/>
                <a:gd name="T13" fmla="*/ 170 h 613"/>
                <a:gd name="T14" fmla="*/ 515 w 557"/>
                <a:gd name="T15" fmla="*/ 116 h 613"/>
                <a:gd name="T16" fmla="*/ 514 w 557"/>
                <a:gd name="T17" fmla="*/ 86 h 613"/>
                <a:gd name="T18" fmla="*/ 430 w 557"/>
                <a:gd name="T19" fmla="*/ 29 h 613"/>
                <a:gd name="T20" fmla="*/ 384 w 557"/>
                <a:gd name="T21" fmla="*/ 63 h 613"/>
                <a:gd name="T22" fmla="*/ 311 w 557"/>
                <a:gd name="T23" fmla="*/ 61 h 613"/>
                <a:gd name="T24" fmla="*/ 238 w 557"/>
                <a:gd name="T25" fmla="*/ 61 h 613"/>
                <a:gd name="T26" fmla="*/ 236 w 557"/>
                <a:gd name="T27" fmla="*/ 145 h 613"/>
                <a:gd name="T28" fmla="*/ 192 w 557"/>
                <a:gd name="T29" fmla="*/ 201 h 613"/>
                <a:gd name="T30" fmla="*/ 184 w 557"/>
                <a:gd name="T31" fmla="*/ 250 h 613"/>
                <a:gd name="T32" fmla="*/ 143 w 557"/>
                <a:gd name="T33" fmla="*/ 293 h 613"/>
                <a:gd name="T34" fmla="*/ 57 w 557"/>
                <a:gd name="T35" fmla="*/ 293 h 613"/>
                <a:gd name="T36" fmla="*/ 0 w 557"/>
                <a:gd name="T37" fmla="*/ 312 h 613"/>
                <a:gd name="T38" fmla="*/ 18 w 557"/>
                <a:gd name="T39" fmla="*/ 331 h 613"/>
                <a:gd name="T40" fmla="*/ 33 w 557"/>
                <a:gd name="T41" fmla="*/ 346 h 613"/>
                <a:gd name="T42" fmla="*/ 35 w 557"/>
                <a:gd name="T43" fmla="*/ 371 h 613"/>
                <a:gd name="T44" fmla="*/ 38 w 557"/>
                <a:gd name="T45" fmla="*/ 413 h 613"/>
                <a:gd name="T46" fmla="*/ 43 w 557"/>
                <a:gd name="T47" fmla="*/ 476 h 613"/>
                <a:gd name="T48" fmla="*/ 29 w 557"/>
                <a:gd name="T49" fmla="*/ 529 h 613"/>
                <a:gd name="T50" fmla="*/ 85 w 557"/>
                <a:gd name="T51" fmla="*/ 523 h 613"/>
                <a:gd name="T52" fmla="*/ 143 w 557"/>
                <a:gd name="T53" fmla="*/ 547 h 613"/>
                <a:gd name="T54" fmla="*/ 172 w 557"/>
                <a:gd name="T55" fmla="*/ 571 h 613"/>
                <a:gd name="T56" fmla="*/ 190 w 557"/>
                <a:gd name="T57" fmla="*/ 588 h 613"/>
                <a:gd name="T58" fmla="*/ 221 w 557"/>
                <a:gd name="T59" fmla="*/ 613 h 613"/>
                <a:gd name="T60" fmla="*/ 257 w 557"/>
                <a:gd name="T61" fmla="*/ 561 h 613"/>
                <a:gd name="T62" fmla="*/ 278 w 557"/>
                <a:gd name="T63" fmla="*/ 592 h 613"/>
                <a:gd name="T64" fmla="*/ 316 w 557"/>
                <a:gd name="T65" fmla="*/ 575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7" h="613">
                  <a:moveTo>
                    <a:pt x="316" y="575"/>
                  </a:moveTo>
                  <a:lnTo>
                    <a:pt x="368" y="577"/>
                  </a:lnTo>
                  <a:lnTo>
                    <a:pt x="421" y="580"/>
                  </a:lnTo>
                  <a:lnTo>
                    <a:pt x="473" y="580"/>
                  </a:lnTo>
                  <a:lnTo>
                    <a:pt x="526" y="581"/>
                  </a:lnTo>
                  <a:lnTo>
                    <a:pt x="536" y="540"/>
                  </a:lnTo>
                  <a:lnTo>
                    <a:pt x="518" y="535"/>
                  </a:lnTo>
                  <a:lnTo>
                    <a:pt x="512" y="484"/>
                  </a:lnTo>
                  <a:lnTo>
                    <a:pt x="507" y="432"/>
                  </a:lnTo>
                  <a:lnTo>
                    <a:pt x="502" y="379"/>
                  </a:lnTo>
                  <a:lnTo>
                    <a:pt x="497" y="329"/>
                  </a:lnTo>
                  <a:lnTo>
                    <a:pt x="490" y="276"/>
                  </a:lnTo>
                  <a:lnTo>
                    <a:pt x="485" y="222"/>
                  </a:lnTo>
                  <a:lnTo>
                    <a:pt x="480" y="170"/>
                  </a:lnTo>
                  <a:lnTo>
                    <a:pt x="475" y="116"/>
                  </a:lnTo>
                  <a:lnTo>
                    <a:pt x="515" y="116"/>
                  </a:lnTo>
                  <a:lnTo>
                    <a:pt x="557" y="116"/>
                  </a:lnTo>
                  <a:lnTo>
                    <a:pt x="514" y="86"/>
                  </a:lnTo>
                  <a:lnTo>
                    <a:pt x="472" y="58"/>
                  </a:lnTo>
                  <a:lnTo>
                    <a:pt x="430" y="29"/>
                  </a:lnTo>
                  <a:lnTo>
                    <a:pt x="387" y="0"/>
                  </a:lnTo>
                  <a:lnTo>
                    <a:pt x="384" y="63"/>
                  </a:lnTo>
                  <a:lnTo>
                    <a:pt x="348" y="63"/>
                  </a:lnTo>
                  <a:lnTo>
                    <a:pt x="311" y="61"/>
                  </a:lnTo>
                  <a:lnTo>
                    <a:pt x="274" y="61"/>
                  </a:lnTo>
                  <a:lnTo>
                    <a:pt x="238" y="61"/>
                  </a:lnTo>
                  <a:lnTo>
                    <a:pt x="238" y="100"/>
                  </a:lnTo>
                  <a:lnTo>
                    <a:pt x="236" y="145"/>
                  </a:lnTo>
                  <a:lnTo>
                    <a:pt x="236" y="190"/>
                  </a:lnTo>
                  <a:lnTo>
                    <a:pt x="192" y="201"/>
                  </a:lnTo>
                  <a:lnTo>
                    <a:pt x="181" y="217"/>
                  </a:lnTo>
                  <a:lnTo>
                    <a:pt x="184" y="250"/>
                  </a:lnTo>
                  <a:lnTo>
                    <a:pt x="187" y="293"/>
                  </a:lnTo>
                  <a:lnTo>
                    <a:pt x="143" y="293"/>
                  </a:lnTo>
                  <a:lnTo>
                    <a:pt x="101" y="293"/>
                  </a:lnTo>
                  <a:lnTo>
                    <a:pt x="57" y="293"/>
                  </a:lnTo>
                  <a:lnTo>
                    <a:pt x="14" y="293"/>
                  </a:lnTo>
                  <a:lnTo>
                    <a:pt x="0" y="312"/>
                  </a:lnTo>
                  <a:lnTo>
                    <a:pt x="9" y="310"/>
                  </a:lnTo>
                  <a:lnTo>
                    <a:pt x="18" y="331"/>
                  </a:lnTo>
                  <a:lnTo>
                    <a:pt x="26" y="331"/>
                  </a:lnTo>
                  <a:lnTo>
                    <a:pt x="33" y="346"/>
                  </a:lnTo>
                  <a:lnTo>
                    <a:pt x="37" y="365"/>
                  </a:lnTo>
                  <a:lnTo>
                    <a:pt x="35" y="371"/>
                  </a:lnTo>
                  <a:lnTo>
                    <a:pt x="23" y="391"/>
                  </a:lnTo>
                  <a:lnTo>
                    <a:pt x="38" y="413"/>
                  </a:lnTo>
                  <a:lnTo>
                    <a:pt x="43" y="436"/>
                  </a:lnTo>
                  <a:lnTo>
                    <a:pt x="43" y="476"/>
                  </a:lnTo>
                  <a:lnTo>
                    <a:pt x="20" y="549"/>
                  </a:lnTo>
                  <a:lnTo>
                    <a:pt x="29" y="529"/>
                  </a:lnTo>
                  <a:lnTo>
                    <a:pt x="59" y="532"/>
                  </a:lnTo>
                  <a:lnTo>
                    <a:pt x="85" y="523"/>
                  </a:lnTo>
                  <a:lnTo>
                    <a:pt x="119" y="523"/>
                  </a:lnTo>
                  <a:lnTo>
                    <a:pt x="143" y="547"/>
                  </a:lnTo>
                  <a:lnTo>
                    <a:pt x="160" y="547"/>
                  </a:lnTo>
                  <a:lnTo>
                    <a:pt x="172" y="571"/>
                  </a:lnTo>
                  <a:lnTo>
                    <a:pt x="185" y="577"/>
                  </a:lnTo>
                  <a:lnTo>
                    <a:pt x="190" y="588"/>
                  </a:lnTo>
                  <a:lnTo>
                    <a:pt x="189" y="589"/>
                  </a:lnTo>
                  <a:lnTo>
                    <a:pt x="221" y="613"/>
                  </a:lnTo>
                  <a:lnTo>
                    <a:pt x="241" y="594"/>
                  </a:lnTo>
                  <a:lnTo>
                    <a:pt x="257" y="561"/>
                  </a:lnTo>
                  <a:lnTo>
                    <a:pt x="269" y="566"/>
                  </a:lnTo>
                  <a:lnTo>
                    <a:pt x="278" y="592"/>
                  </a:lnTo>
                  <a:lnTo>
                    <a:pt x="292" y="594"/>
                  </a:lnTo>
                  <a:lnTo>
                    <a:pt x="316" y="575"/>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78" name="Freeform 102">
              <a:extLst>
                <a:ext uri="{FF2B5EF4-FFF2-40B4-BE49-F238E27FC236}">
                  <a16:creationId xmlns:a16="http://schemas.microsoft.com/office/drawing/2014/main" id="{EDC0E169-7275-6F43-AB4C-DF51509128A5}"/>
                </a:ext>
              </a:extLst>
            </p:cNvPr>
            <p:cNvSpPr>
              <a:spLocks noChangeAspect="1"/>
            </p:cNvSpPr>
            <p:nvPr/>
          </p:nvSpPr>
          <p:spPr bwMode="gray">
            <a:xfrm>
              <a:off x="4251898" y="3491193"/>
              <a:ext cx="189782" cy="197651"/>
            </a:xfrm>
            <a:custGeom>
              <a:avLst/>
              <a:gdLst>
                <a:gd name="T0" fmla="*/ 384 w 387"/>
                <a:gd name="T1" fmla="*/ 88 h 337"/>
                <a:gd name="T2" fmla="*/ 348 w 387"/>
                <a:gd name="T3" fmla="*/ 88 h 337"/>
                <a:gd name="T4" fmla="*/ 311 w 387"/>
                <a:gd name="T5" fmla="*/ 86 h 337"/>
                <a:gd name="T6" fmla="*/ 274 w 387"/>
                <a:gd name="T7" fmla="*/ 86 h 337"/>
                <a:gd name="T8" fmla="*/ 238 w 387"/>
                <a:gd name="T9" fmla="*/ 86 h 337"/>
                <a:gd name="T10" fmla="*/ 238 w 387"/>
                <a:gd name="T11" fmla="*/ 125 h 337"/>
                <a:gd name="T12" fmla="*/ 236 w 387"/>
                <a:gd name="T13" fmla="*/ 170 h 337"/>
                <a:gd name="T14" fmla="*/ 236 w 387"/>
                <a:gd name="T15" fmla="*/ 215 h 337"/>
                <a:gd name="T16" fmla="*/ 192 w 387"/>
                <a:gd name="T17" fmla="*/ 226 h 337"/>
                <a:gd name="T18" fmla="*/ 181 w 387"/>
                <a:gd name="T19" fmla="*/ 242 h 337"/>
                <a:gd name="T20" fmla="*/ 184 w 387"/>
                <a:gd name="T21" fmla="*/ 275 h 337"/>
                <a:gd name="T22" fmla="*/ 187 w 387"/>
                <a:gd name="T23" fmla="*/ 318 h 337"/>
                <a:gd name="T24" fmla="*/ 143 w 387"/>
                <a:gd name="T25" fmla="*/ 318 h 337"/>
                <a:gd name="T26" fmla="*/ 101 w 387"/>
                <a:gd name="T27" fmla="*/ 318 h 337"/>
                <a:gd name="T28" fmla="*/ 57 w 387"/>
                <a:gd name="T29" fmla="*/ 318 h 337"/>
                <a:gd name="T30" fmla="*/ 14 w 387"/>
                <a:gd name="T31" fmla="*/ 318 h 337"/>
                <a:gd name="T32" fmla="*/ 0 w 387"/>
                <a:gd name="T33" fmla="*/ 337 h 337"/>
                <a:gd name="T34" fmla="*/ 4 w 387"/>
                <a:gd name="T35" fmla="*/ 300 h 337"/>
                <a:gd name="T36" fmla="*/ 12 w 387"/>
                <a:gd name="T37" fmla="*/ 277 h 337"/>
                <a:gd name="T38" fmla="*/ 23 w 387"/>
                <a:gd name="T39" fmla="*/ 272 h 337"/>
                <a:gd name="T40" fmla="*/ 40 w 387"/>
                <a:gd name="T41" fmla="*/ 238 h 337"/>
                <a:gd name="T42" fmla="*/ 38 w 387"/>
                <a:gd name="T43" fmla="*/ 232 h 337"/>
                <a:gd name="T44" fmla="*/ 60 w 387"/>
                <a:gd name="T45" fmla="*/ 193 h 337"/>
                <a:gd name="T46" fmla="*/ 102 w 387"/>
                <a:gd name="T47" fmla="*/ 137 h 337"/>
                <a:gd name="T48" fmla="*/ 116 w 387"/>
                <a:gd name="T49" fmla="*/ 85 h 337"/>
                <a:gd name="T50" fmla="*/ 130 w 387"/>
                <a:gd name="T51" fmla="*/ 68 h 337"/>
                <a:gd name="T52" fmla="*/ 160 w 387"/>
                <a:gd name="T53" fmla="*/ 49 h 337"/>
                <a:gd name="T54" fmla="*/ 168 w 387"/>
                <a:gd name="T55" fmla="*/ 29 h 337"/>
                <a:gd name="T56" fmla="*/ 184 w 387"/>
                <a:gd name="T57" fmla="*/ 1 h 337"/>
                <a:gd name="T58" fmla="*/ 235 w 387"/>
                <a:gd name="T59" fmla="*/ 1 h 337"/>
                <a:gd name="T60" fmla="*/ 286 w 387"/>
                <a:gd name="T61" fmla="*/ 0 h 337"/>
                <a:gd name="T62" fmla="*/ 334 w 387"/>
                <a:gd name="T63" fmla="*/ 0 h 337"/>
                <a:gd name="T64" fmla="*/ 385 w 387"/>
                <a:gd name="T65" fmla="*/ 0 h 337"/>
                <a:gd name="T66" fmla="*/ 387 w 387"/>
                <a:gd name="T67" fmla="*/ 25 h 337"/>
                <a:gd name="T68" fmla="*/ 384 w 387"/>
                <a:gd name="T69" fmla="*/ 8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7" h="337">
                  <a:moveTo>
                    <a:pt x="384" y="88"/>
                  </a:moveTo>
                  <a:lnTo>
                    <a:pt x="348" y="88"/>
                  </a:lnTo>
                  <a:lnTo>
                    <a:pt x="311" y="86"/>
                  </a:lnTo>
                  <a:lnTo>
                    <a:pt x="274" y="86"/>
                  </a:lnTo>
                  <a:lnTo>
                    <a:pt x="238" y="86"/>
                  </a:lnTo>
                  <a:lnTo>
                    <a:pt x="238" y="125"/>
                  </a:lnTo>
                  <a:lnTo>
                    <a:pt x="236" y="170"/>
                  </a:lnTo>
                  <a:lnTo>
                    <a:pt x="236" y="215"/>
                  </a:lnTo>
                  <a:lnTo>
                    <a:pt x="192" y="226"/>
                  </a:lnTo>
                  <a:lnTo>
                    <a:pt x="181" y="242"/>
                  </a:lnTo>
                  <a:lnTo>
                    <a:pt x="184" y="275"/>
                  </a:lnTo>
                  <a:lnTo>
                    <a:pt x="187" y="318"/>
                  </a:lnTo>
                  <a:lnTo>
                    <a:pt x="143" y="318"/>
                  </a:lnTo>
                  <a:lnTo>
                    <a:pt x="101" y="318"/>
                  </a:lnTo>
                  <a:lnTo>
                    <a:pt x="57" y="318"/>
                  </a:lnTo>
                  <a:lnTo>
                    <a:pt x="14" y="318"/>
                  </a:lnTo>
                  <a:lnTo>
                    <a:pt x="0" y="337"/>
                  </a:lnTo>
                  <a:lnTo>
                    <a:pt x="4" y="300"/>
                  </a:lnTo>
                  <a:lnTo>
                    <a:pt x="12" y="277"/>
                  </a:lnTo>
                  <a:lnTo>
                    <a:pt x="23" y="272"/>
                  </a:lnTo>
                  <a:lnTo>
                    <a:pt x="40" y="238"/>
                  </a:lnTo>
                  <a:lnTo>
                    <a:pt x="38" y="232"/>
                  </a:lnTo>
                  <a:lnTo>
                    <a:pt x="60" y="193"/>
                  </a:lnTo>
                  <a:lnTo>
                    <a:pt x="102" y="137"/>
                  </a:lnTo>
                  <a:lnTo>
                    <a:pt x="116" y="85"/>
                  </a:lnTo>
                  <a:lnTo>
                    <a:pt x="130" y="68"/>
                  </a:lnTo>
                  <a:lnTo>
                    <a:pt x="160" y="49"/>
                  </a:lnTo>
                  <a:lnTo>
                    <a:pt x="168" y="29"/>
                  </a:lnTo>
                  <a:lnTo>
                    <a:pt x="184" y="1"/>
                  </a:lnTo>
                  <a:lnTo>
                    <a:pt x="235" y="1"/>
                  </a:lnTo>
                  <a:lnTo>
                    <a:pt x="286" y="0"/>
                  </a:lnTo>
                  <a:lnTo>
                    <a:pt x="334" y="0"/>
                  </a:lnTo>
                  <a:lnTo>
                    <a:pt x="385" y="0"/>
                  </a:lnTo>
                  <a:lnTo>
                    <a:pt x="387" y="25"/>
                  </a:lnTo>
                  <a:lnTo>
                    <a:pt x="384" y="88"/>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79" name="Freeform 103">
              <a:extLst>
                <a:ext uri="{FF2B5EF4-FFF2-40B4-BE49-F238E27FC236}">
                  <a16:creationId xmlns:a16="http://schemas.microsoft.com/office/drawing/2014/main" id="{55CF307C-13C2-164A-9618-0AB48AF6414E}"/>
                </a:ext>
              </a:extLst>
            </p:cNvPr>
            <p:cNvSpPr>
              <a:spLocks noChangeAspect="1"/>
            </p:cNvSpPr>
            <p:nvPr/>
          </p:nvSpPr>
          <p:spPr bwMode="gray">
            <a:xfrm>
              <a:off x="4440084" y="3189918"/>
              <a:ext cx="457710" cy="556495"/>
            </a:xfrm>
            <a:custGeom>
              <a:avLst/>
              <a:gdLst>
                <a:gd name="T0" fmla="*/ 45 w 933"/>
                <a:gd name="T1" fmla="*/ 563 h 945"/>
                <a:gd name="T2" fmla="*/ 129 w 933"/>
                <a:gd name="T3" fmla="*/ 620 h 945"/>
                <a:gd name="T4" fmla="*/ 206 w 933"/>
                <a:gd name="T5" fmla="*/ 673 h 945"/>
                <a:gd name="T6" fmla="*/ 274 w 933"/>
                <a:gd name="T7" fmla="*/ 721 h 945"/>
                <a:gd name="T8" fmla="*/ 342 w 933"/>
                <a:gd name="T9" fmla="*/ 768 h 945"/>
                <a:gd name="T10" fmla="*/ 408 w 933"/>
                <a:gd name="T11" fmla="*/ 815 h 945"/>
                <a:gd name="T12" fmla="*/ 447 w 933"/>
                <a:gd name="T13" fmla="*/ 856 h 945"/>
                <a:gd name="T14" fmla="*/ 478 w 933"/>
                <a:gd name="T15" fmla="*/ 880 h 945"/>
                <a:gd name="T16" fmla="*/ 506 w 933"/>
                <a:gd name="T17" fmla="*/ 893 h 945"/>
                <a:gd name="T18" fmla="*/ 544 w 933"/>
                <a:gd name="T19" fmla="*/ 922 h 945"/>
                <a:gd name="T20" fmla="*/ 546 w 933"/>
                <a:gd name="T21" fmla="*/ 945 h 945"/>
                <a:gd name="T22" fmla="*/ 619 w 933"/>
                <a:gd name="T23" fmla="*/ 928 h 945"/>
                <a:gd name="T24" fmla="*/ 681 w 933"/>
                <a:gd name="T25" fmla="*/ 900 h 945"/>
                <a:gd name="T26" fmla="*/ 732 w 933"/>
                <a:gd name="T27" fmla="*/ 861 h 945"/>
                <a:gd name="T28" fmla="*/ 781 w 933"/>
                <a:gd name="T29" fmla="*/ 827 h 945"/>
                <a:gd name="T30" fmla="*/ 825 w 933"/>
                <a:gd name="T31" fmla="*/ 798 h 945"/>
                <a:gd name="T32" fmla="*/ 869 w 933"/>
                <a:gd name="T33" fmla="*/ 768 h 945"/>
                <a:gd name="T34" fmla="*/ 913 w 933"/>
                <a:gd name="T35" fmla="*/ 739 h 945"/>
                <a:gd name="T36" fmla="*/ 914 w 933"/>
                <a:gd name="T37" fmla="*/ 684 h 945"/>
                <a:gd name="T38" fmla="*/ 863 w 933"/>
                <a:gd name="T39" fmla="*/ 671 h 945"/>
                <a:gd name="T40" fmla="*/ 849 w 933"/>
                <a:gd name="T41" fmla="*/ 633 h 945"/>
                <a:gd name="T42" fmla="*/ 821 w 933"/>
                <a:gd name="T43" fmla="*/ 582 h 945"/>
                <a:gd name="T44" fmla="*/ 842 w 933"/>
                <a:gd name="T45" fmla="*/ 509 h 945"/>
                <a:gd name="T46" fmla="*/ 817 w 933"/>
                <a:gd name="T47" fmla="*/ 396 h 945"/>
                <a:gd name="T48" fmla="*/ 826 w 933"/>
                <a:gd name="T49" fmla="*/ 373 h 945"/>
                <a:gd name="T50" fmla="*/ 771 w 933"/>
                <a:gd name="T51" fmla="*/ 258 h 945"/>
                <a:gd name="T52" fmla="*/ 764 w 933"/>
                <a:gd name="T53" fmla="*/ 226 h 945"/>
                <a:gd name="T54" fmla="*/ 733 w 933"/>
                <a:gd name="T55" fmla="*/ 178 h 945"/>
                <a:gd name="T56" fmla="*/ 783 w 933"/>
                <a:gd name="T57" fmla="*/ 110 h 945"/>
                <a:gd name="T58" fmla="*/ 783 w 933"/>
                <a:gd name="T59" fmla="*/ 37 h 945"/>
                <a:gd name="T60" fmla="*/ 797 w 933"/>
                <a:gd name="T61" fmla="*/ 8 h 945"/>
                <a:gd name="T62" fmla="*/ 732 w 933"/>
                <a:gd name="T63" fmla="*/ 0 h 945"/>
                <a:gd name="T64" fmla="*/ 688 w 933"/>
                <a:gd name="T65" fmla="*/ 0 h 945"/>
                <a:gd name="T66" fmla="*/ 642 w 933"/>
                <a:gd name="T67" fmla="*/ 21 h 945"/>
                <a:gd name="T68" fmla="*/ 577 w 933"/>
                <a:gd name="T69" fmla="*/ 9 h 945"/>
                <a:gd name="T70" fmla="*/ 537 w 933"/>
                <a:gd name="T71" fmla="*/ 17 h 945"/>
                <a:gd name="T72" fmla="*/ 456 w 933"/>
                <a:gd name="T73" fmla="*/ 34 h 945"/>
                <a:gd name="T74" fmla="*/ 407 w 933"/>
                <a:gd name="T75" fmla="*/ 60 h 945"/>
                <a:gd name="T76" fmla="*/ 361 w 933"/>
                <a:gd name="T77" fmla="*/ 76 h 945"/>
                <a:gd name="T78" fmla="*/ 306 w 933"/>
                <a:gd name="T79" fmla="*/ 114 h 945"/>
                <a:gd name="T80" fmla="*/ 302 w 933"/>
                <a:gd name="T81" fmla="*/ 123 h 945"/>
                <a:gd name="T82" fmla="*/ 314 w 933"/>
                <a:gd name="T83" fmla="*/ 135 h 945"/>
                <a:gd name="T84" fmla="*/ 315 w 933"/>
                <a:gd name="T85" fmla="*/ 150 h 945"/>
                <a:gd name="T86" fmla="*/ 317 w 933"/>
                <a:gd name="T87" fmla="*/ 186 h 945"/>
                <a:gd name="T88" fmla="*/ 322 w 933"/>
                <a:gd name="T89" fmla="*/ 209 h 945"/>
                <a:gd name="T90" fmla="*/ 334 w 933"/>
                <a:gd name="T91" fmla="*/ 240 h 945"/>
                <a:gd name="T92" fmla="*/ 340 w 933"/>
                <a:gd name="T93" fmla="*/ 261 h 945"/>
                <a:gd name="T94" fmla="*/ 265 w 933"/>
                <a:gd name="T95" fmla="*/ 275 h 945"/>
                <a:gd name="T96" fmla="*/ 223 w 933"/>
                <a:gd name="T97" fmla="*/ 300 h 945"/>
                <a:gd name="T98" fmla="*/ 227 w 933"/>
                <a:gd name="T99" fmla="*/ 314 h 945"/>
                <a:gd name="T100" fmla="*/ 232 w 933"/>
                <a:gd name="T101" fmla="*/ 331 h 945"/>
                <a:gd name="T102" fmla="*/ 175 w 933"/>
                <a:gd name="T103" fmla="*/ 360 h 945"/>
                <a:gd name="T104" fmla="*/ 141 w 933"/>
                <a:gd name="T105" fmla="*/ 394 h 945"/>
                <a:gd name="T106" fmla="*/ 93 w 933"/>
                <a:gd name="T107" fmla="*/ 409 h 945"/>
                <a:gd name="T108" fmla="*/ 49 w 933"/>
                <a:gd name="T109" fmla="*/ 422 h 945"/>
                <a:gd name="T110" fmla="*/ 22 w 933"/>
                <a:gd name="T111" fmla="*/ 435 h 945"/>
                <a:gd name="T112" fmla="*/ 0 w 933"/>
                <a:gd name="T113" fmla="*/ 509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33" h="945">
                  <a:moveTo>
                    <a:pt x="2" y="534"/>
                  </a:moveTo>
                  <a:lnTo>
                    <a:pt x="45" y="563"/>
                  </a:lnTo>
                  <a:lnTo>
                    <a:pt x="87" y="592"/>
                  </a:lnTo>
                  <a:lnTo>
                    <a:pt x="129" y="620"/>
                  </a:lnTo>
                  <a:lnTo>
                    <a:pt x="172" y="650"/>
                  </a:lnTo>
                  <a:lnTo>
                    <a:pt x="206" y="673"/>
                  </a:lnTo>
                  <a:lnTo>
                    <a:pt x="241" y="696"/>
                  </a:lnTo>
                  <a:lnTo>
                    <a:pt x="274" y="721"/>
                  </a:lnTo>
                  <a:lnTo>
                    <a:pt x="308" y="744"/>
                  </a:lnTo>
                  <a:lnTo>
                    <a:pt x="342" y="768"/>
                  </a:lnTo>
                  <a:lnTo>
                    <a:pt x="376" y="792"/>
                  </a:lnTo>
                  <a:lnTo>
                    <a:pt x="408" y="815"/>
                  </a:lnTo>
                  <a:lnTo>
                    <a:pt x="444" y="837"/>
                  </a:lnTo>
                  <a:lnTo>
                    <a:pt x="447" y="856"/>
                  </a:lnTo>
                  <a:lnTo>
                    <a:pt x="467" y="865"/>
                  </a:lnTo>
                  <a:lnTo>
                    <a:pt x="478" y="880"/>
                  </a:lnTo>
                  <a:lnTo>
                    <a:pt x="498" y="883"/>
                  </a:lnTo>
                  <a:lnTo>
                    <a:pt x="506" y="893"/>
                  </a:lnTo>
                  <a:lnTo>
                    <a:pt x="540" y="903"/>
                  </a:lnTo>
                  <a:lnTo>
                    <a:pt x="544" y="922"/>
                  </a:lnTo>
                  <a:lnTo>
                    <a:pt x="539" y="939"/>
                  </a:lnTo>
                  <a:lnTo>
                    <a:pt x="546" y="945"/>
                  </a:lnTo>
                  <a:lnTo>
                    <a:pt x="585" y="937"/>
                  </a:lnTo>
                  <a:lnTo>
                    <a:pt x="619" y="928"/>
                  </a:lnTo>
                  <a:lnTo>
                    <a:pt x="656" y="920"/>
                  </a:lnTo>
                  <a:lnTo>
                    <a:pt x="681" y="900"/>
                  </a:lnTo>
                  <a:lnTo>
                    <a:pt x="707" y="882"/>
                  </a:lnTo>
                  <a:lnTo>
                    <a:pt x="732" y="861"/>
                  </a:lnTo>
                  <a:lnTo>
                    <a:pt x="759" y="840"/>
                  </a:lnTo>
                  <a:lnTo>
                    <a:pt x="781" y="827"/>
                  </a:lnTo>
                  <a:lnTo>
                    <a:pt x="803" y="812"/>
                  </a:lnTo>
                  <a:lnTo>
                    <a:pt x="825" y="798"/>
                  </a:lnTo>
                  <a:lnTo>
                    <a:pt x="846" y="783"/>
                  </a:lnTo>
                  <a:lnTo>
                    <a:pt x="869" y="768"/>
                  </a:lnTo>
                  <a:lnTo>
                    <a:pt x="891" y="755"/>
                  </a:lnTo>
                  <a:lnTo>
                    <a:pt x="913" y="739"/>
                  </a:lnTo>
                  <a:lnTo>
                    <a:pt x="933" y="724"/>
                  </a:lnTo>
                  <a:lnTo>
                    <a:pt x="914" y="684"/>
                  </a:lnTo>
                  <a:lnTo>
                    <a:pt x="889" y="671"/>
                  </a:lnTo>
                  <a:lnTo>
                    <a:pt x="863" y="671"/>
                  </a:lnTo>
                  <a:lnTo>
                    <a:pt x="852" y="658"/>
                  </a:lnTo>
                  <a:lnTo>
                    <a:pt x="849" y="633"/>
                  </a:lnTo>
                  <a:lnTo>
                    <a:pt x="821" y="588"/>
                  </a:lnTo>
                  <a:lnTo>
                    <a:pt x="821" y="582"/>
                  </a:lnTo>
                  <a:lnTo>
                    <a:pt x="838" y="575"/>
                  </a:lnTo>
                  <a:lnTo>
                    <a:pt x="842" y="509"/>
                  </a:lnTo>
                  <a:lnTo>
                    <a:pt x="835" y="426"/>
                  </a:lnTo>
                  <a:lnTo>
                    <a:pt x="817" y="396"/>
                  </a:lnTo>
                  <a:lnTo>
                    <a:pt x="817" y="384"/>
                  </a:lnTo>
                  <a:lnTo>
                    <a:pt x="826" y="373"/>
                  </a:lnTo>
                  <a:lnTo>
                    <a:pt x="809" y="280"/>
                  </a:lnTo>
                  <a:lnTo>
                    <a:pt x="771" y="258"/>
                  </a:lnTo>
                  <a:lnTo>
                    <a:pt x="771" y="243"/>
                  </a:lnTo>
                  <a:lnTo>
                    <a:pt x="764" y="226"/>
                  </a:lnTo>
                  <a:lnTo>
                    <a:pt x="744" y="215"/>
                  </a:lnTo>
                  <a:lnTo>
                    <a:pt x="733" y="178"/>
                  </a:lnTo>
                  <a:lnTo>
                    <a:pt x="774" y="142"/>
                  </a:lnTo>
                  <a:lnTo>
                    <a:pt x="783" y="110"/>
                  </a:lnTo>
                  <a:lnTo>
                    <a:pt x="778" y="72"/>
                  </a:lnTo>
                  <a:lnTo>
                    <a:pt x="783" y="37"/>
                  </a:lnTo>
                  <a:lnTo>
                    <a:pt x="774" y="32"/>
                  </a:lnTo>
                  <a:lnTo>
                    <a:pt x="797" y="8"/>
                  </a:lnTo>
                  <a:lnTo>
                    <a:pt x="755" y="11"/>
                  </a:lnTo>
                  <a:lnTo>
                    <a:pt x="732" y="0"/>
                  </a:lnTo>
                  <a:lnTo>
                    <a:pt x="718" y="9"/>
                  </a:lnTo>
                  <a:lnTo>
                    <a:pt x="688" y="0"/>
                  </a:lnTo>
                  <a:lnTo>
                    <a:pt x="681" y="9"/>
                  </a:lnTo>
                  <a:lnTo>
                    <a:pt x="642" y="21"/>
                  </a:lnTo>
                  <a:lnTo>
                    <a:pt x="625" y="11"/>
                  </a:lnTo>
                  <a:lnTo>
                    <a:pt x="577" y="9"/>
                  </a:lnTo>
                  <a:lnTo>
                    <a:pt x="557" y="18"/>
                  </a:lnTo>
                  <a:lnTo>
                    <a:pt x="537" y="17"/>
                  </a:lnTo>
                  <a:lnTo>
                    <a:pt x="520" y="26"/>
                  </a:lnTo>
                  <a:lnTo>
                    <a:pt x="456" y="34"/>
                  </a:lnTo>
                  <a:lnTo>
                    <a:pt x="412" y="54"/>
                  </a:lnTo>
                  <a:lnTo>
                    <a:pt x="407" y="60"/>
                  </a:lnTo>
                  <a:lnTo>
                    <a:pt x="399" y="69"/>
                  </a:lnTo>
                  <a:lnTo>
                    <a:pt x="361" y="76"/>
                  </a:lnTo>
                  <a:lnTo>
                    <a:pt x="337" y="102"/>
                  </a:lnTo>
                  <a:lnTo>
                    <a:pt x="306" y="114"/>
                  </a:lnTo>
                  <a:lnTo>
                    <a:pt x="302" y="118"/>
                  </a:lnTo>
                  <a:lnTo>
                    <a:pt x="302" y="123"/>
                  </a:lnTo>
                  <a:lnTo>
                    <a:pt x="315" y="131"/>
                  </a:lnTo>
                  <a:lnTo>
                    <a:pt x="314" y="135"/>
                  </a:lnTo>
                  <a:lnTo>
                    <a:pt x="319" y="144"/>
                  </a:lnTo>
                  <a:lnTo>
                    <a:pt x="315" y="150"/>
                  </a:lnTo>
                  <a:lnTo>
                    <a:pt x="320" y="167"/>
                  </a:lnTo>
                  <a:lnTo>
                    <a:pt x="317" y="186"/>
                  </a:lnTo>
                  <a:lnTo>
                    <a:pt x="323" y="196"/>
                  </a:lnTo>
                  <a:lnTo>
                    <a:pt x="322" y="209"/>
                  </a:lnTo>
                  <a:lnTo>
                    <a:pt x="327" y="227"/>
                  </a:lnTo>
                  <a:lnTo>
                    <a:pt x="334" y="240"/>
                  </a:lnTo>
                  <a:lnTo>
                    <a:pt x="351" y="253"/>
                  </a:lnTo>
                  <a:lnTo>
                    <a:pt x="340" y="261"/>
                  </a:lnTo>
                  <a:lnTo>
                    <a:pt x="344" y="274"/>
                  </a:lnTo>
                  <a:lnTo>
                    <a:pt x="265" y="275"/>
                  </a:lnTo>
                  <a:lnTo>
                    <a:pt x="260" y="291"/>
                  </a:lnTo>
                  <a:lnTo>
                    <a:pt x="223" y="300"/>
                  </a:lnTo>
                  <a:lnTo>
                    <a:pt x="220" y="311"/>
                  </a:lnTo>
                  <a:lnTo>
                    <a:pt x="227" y="314"/>
                  </a:lnTo>
                  <a:lnTo>
                    <a:pt x="220" y="326"/>
                  </a:lnTo>
                  <a:lnTo>
                    <a:pt x="232" y="331"/>
                  </a:lnTo>
                  <a:lnTo>
                    <a:pt x="231" y="337"/>
                  </a:lnTo>
                  <a:lnTo>
                    <a:pt x="175" y="360"/>
                  </a:lnTo>
                  <a:lnTo>
                    <a:pt x="156" y="384"/>
                  </a:lnTo>
                  <a:lnTo>
                    <a:pt x="141" y="394"/>
                  </a:lnTo>
                  <a:lnTo>
                    <a:pt x="97" y="397"/>
                  </a:lnTo>
                  <a:lnTo>
                    <a:pt x="93" y="409"/>
                  </a:lnTo>
                  <a:lnTo>
                    <a:pt x="70" y="407"/>
                  </a:lnTo>
                  <a:lnTo>
                    <a:pt x="49" y="422"/>
                  </a:lnTo>
                  <a:lnTo>
                    <a:pt x="39" y="424"/>
                  </a:lnTo>
                  <a:lnTo>
                    <a:pt x="22" y="435"/>
                  </a:lnTo>
                  <a:lnTo>
                    <a:pt x="0" y="452"/>
                  </a:lnTo>
                  <a:lnTo>
                    <a:pt x="0" y="509"/>
                  </a:lnTo>
                  <a:lnTo>
                    <a:pt x="2" y="534"/>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80" name="Freeform 104">
              <a:extLst>
                <a:ext uri="{FF2B5EF4-FFF2-40B4-BE49-F238E27FC236}">
                  <a16:creationId xmlns:a16="http://schemas.microsoft.com/office/drawing/2014/main" id="{83CB564D-1822-3747-B458-C85D753992AC}"/>
                </a:ext>
              </a:extLst>
            </p:cNvPr>
            <p:cNvSpPr>
              <a:spLocks noChangeAspect="1"/>
            </p:cNvSpPr>
            <p:nvPr/>
          </p:nvSpPr>
          <p:spPr bwMode="gray">
            <a:xfrm>
              <a:off x="4360344" y="3573709"/>
              <a:ext cx="366805" cy="418331"/>
            </a:xfrm>
            <a:custGeom>
              <a:avLst/>
              <a:gdLst>
                <a:gd name="T0" fmla="*/ 147 w 750"/>
                <a:gd name="T1" fmla="*/ 461 h 713"/>
                <a:gd name="T2" fmla="*/ 252 w 750"/>
                <a:gd name="T3" fmla="*/ 464 h 713"/>
                <a:gd name="T4" fmla="*/ 315 w 750"/>
                <a:gd name="T5" fmla="*/ 424 h 713"/>
                <a:gd name="T6" fmla="*/ 291 w 750"/>
                <a:gd name="T7" fmla="*/ 368 h 713"/>
                <a:gd name="T8" fmla="*/ 281 w 750"/>
                <a:gd name="T9" fmla="*/ 263 h 713"/>
                <a:gd name="T10" fmla="*/ 269 w 750"/>
                <a:gd name="T11" fmla="*/ 160 h 713"/>
                <a:gd name="T12" fmla="*/ 259 w 750"/>
                <a:gd name="T13" fmla="*/ 54 h 713"/>
                <a:gd name="T14" fmla="*/ 293 w 750"/>
                <a:gd name="T15" fmla="*/ 0 h 713"/>
                <a:gd name="T16" fmla="*/ 370 w 750"/>
                <a:gd name="T17" fmla="*/ 23 h 713"/>
                <a:gd name="T18" fmla="*/ 438 w 750"/>
                <a:gd name="T19" fmla="*/ 71 h 713"/>
                <a:gd name="T20" fmla="*/ 506 w 750"/>
                <a:gd name="T21" fmla="*/ 118 h 713"/>
                <a:gd name="T22" fmla="*/ 572 w 750"/>
                <a:gd name="T23" fmla="*/ 165 h 713"/>
                <a:gd name="T24" fmla="*/ 611 w 750"/>
                <a:gd name="T25" fmla="*/ 206 h 713"/>
                <a:gd name="T26" fmla="*/ 642 w 750"/>
                <a:gd name="T27" fmla="*/ 230 h 713"/>
                <a:gd name="T28" fmla="*/ 670 w 750"/>
                <a:gd name="T29" fmla="*/ 243 h 713"/>
                <a:gd name="T30" fmla="*/ 708 w 750"/>
                <a:gd name="T31" fmla="*/ 272 h 713"/>
                <a:gd name="T32" fmla="*/ 710 w 750"/>
                <a:gd name="T33" fmla="*/ 295 h 713"/>
                <a:gd name="T34" fmla="*/ 749 w 750"/>
                <a:gd name="T35" fmla="*/ 325 h 713"/>
                <a:gd name="T36" fmla="*/ 749 w 750"/>
                <a:gd name="T37" fmla="*/ 401 h 713"/>
                <a:gd name="T38" fmla="*/ 736 w 750"/>
                <a:gd name="T39" fmla="*/ 442 h 713"/>
                <a:gd name="T40" fmla="*/ 669 w 750"/>
                <a:gd name="T41" fmla="*/ 470 h 713"/>
                <a:gd name="T42" fmla="*/ 596 w 750"/>
                <a:gd name="T43" fmla="*/ 487 h 713"/>
                <a:gd name="T44" fmla="*/ 523 w 750"/>
                <a:gd name="T45" fmla="*/ 493 h 713"/>
                <a:gd name="T46" fmla="*/ 381 w 750"/>
                <a:gd name="T47" fmla="*/ 574 h 713"/>
                <a:gd name="T48" fmla="*/ 328 w 750"/>
                <a:gd name="T49" fmla="*/ 653 h 713"/>
                <a:gd name="T50" fmla="*/ 320 w 750"/>
                <a:gd name="T51" fmla="*/ 705 h 713"/>
                <a:gd name="T52" fmla="*/ 303 w 750"/>
                <a:gd name="T53" fmla="*/ 700 h 713"/>
                <a:gd name="T54" fmla="*/ 283 w 750"/>
                <a:gd name="T55" fmla="*/ 708 h 713"/>
                <a:gd name="T56" fmla="*/ 272 w 750"/>
                <a:gd name="T57" fmla="*/ 687 h 713"/>
                <a:gd name="T58" fmla="*/ 263 w 750"/>
                <a:gd name="T59" fmla="*/ 693 h 713"/>
                <a:gd name="T60" fmla="*/ 252 w 750"/>
                <a:gd name="T61" fmla="*/ 704 h 713"/>
                <a:gd name="T62" fmla="*/ 235 w 750"/>
                <a:gd name="T63" fmla="*/ 713 h 713"/>
                <a:gd name="T64" fmla="*/ 220 w 750"/>
                <a:gd name="T65" fmla="*/ 708 h 713"/>
                <a:gd name="T66" fmla="*/ 193 w 750"/>
                <a:gd name="T67" fmla="*/ 712 h 713"/>
                <a:gd name="T68" fmla="*/ 176 w 750"/>
                <a:gd name="T69" fmla="*/ 671 h 713"/>
                <a:gd name="T70" fmla="*/ 161 w 750"/>
                <a:gd name="T71" fmla="*/ 676 h 713"/>
                <a:gd name="T72" fmla="*/ 175 w 750"/>
                <a:gd name="T73" fmla="*/ 662 h 713"/>
                <a:gd name="T74" fmla="*/ 163 w 750"/>
                <a:gd name="T75" fmla="*/ 650 h 713"/>
                <a:gd name="T76" fmla="*/ 155 w 750"/>
                <a:gd name="T77" fmla="*/ 643 h 713"/>
                <a:gd name="T78" fmla="*/ 150 w 750"/>
                <a:gd name="T79" fmla="*/ 619 h 713"/>
                <a:gd name="T80" fmla="*/ 144 w 750"/>
                <a:gd name="T81" fmla="*/ 603 h 713"/>
                <a:gd name="T82" fmla="*/ 129 w 750"/>
                <a:gd name="T83" fmla="*/ 612 h 713"/>
                <a:gd name="T84" fmla="*/ 113 w 750"/>
                <a:gd name="T85" fmla="*/ 626 h 713"/>
                <a:gd name="T86" fmla="*/ 71 w 750"/>
                <a:gd name="T87" fmla="*/ 631 h 713"/>
                <a:gd name="T88" fmla="*/ 44 w 750"/>
                <a:gd name="T89" fmla="*/ 626 h 713"/>
                <a:gd name="T90" fmla="*/ 32 w 750"/>
                <a:gd name="T91" fmla="*/ 620 h 713"/>
                <a:gd name="T92" fmla="*/ 39 w 750"/>
                <a:gd name="T93" fmla="*/ 580 h 713"/>
                <a:gd name="T94" fmla="*/ 17 w 750"/>
                <a:gd name="T95" fmla="*/ 563 h 713"/>
                <a:gd name="T96" fmla="*/ 12 w 750"/>
                <a:gd name="T97" fmla="*/ 536 h 713"/>
                <a:gd name="T98" fmla="*/ 2 w 750"/>
                <a:gd name="T99" fmla="*/ 514 h 713"/>
                <a:gd name="T100" fmla="*/ 20 w 750"/>
                <a:gd name="T101" fmla="*/ 478 h 713"/>
                <a:gd name="T102" fmla="*/ 48 w 750"/>
                <a:gd name="T103" fmla="*/ 450 h 713"/>
                <a:gd name="T104" fmla="*/ 71 w 750"/>
                <a:gd name="T105" fmla="*/ 478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0" h="713">
                  <a:moveTo>
                    <a:pt x="95" y="459"/>
                  </a:moveTo>
                  <a:lnTo>
                    <a:pt x="147" y="461"/>
                  </a:lnTo>
                  <a:lnTo>
                    <a:pt x="200" y="464"/>
                  </a:lnTo>
                  <a:lnTo>
                    <a:pt x="252" y="464"/>
                  </a:lnTo>
                  <a:lnTo>
                    <a:pt x="305" y="465"/>
                  </a:lnTo>
                  <a:lnTo>
                    <a:pt x="315" y="424"/>
                  </a:lnTo>
                  <a:lnTo>
                    <a:pt x="297" y="419"/>
                  </a:lnTo>
                  <a:lnTo>
                    <a:pt x="291" y="368"/>
                  </a:lnTo>
                  <a:lnTo>
                    <a:pt x="286" y="316"/>
                  </a:lnTo>
                  <a:lnTo>
                    <a:pt x="281" y="263"/>
                  </a:lnTo>
                  <a:lnTo>
                    <a:pt x="276" y="213"/>
                  </a:lnTo>
                  <a:lnTo>
                    <a:pt x="269" y="160"/>
                  </a:lnTo>
                  <a:lnTo>
                    <a:pt x="264" y="106"/>
                  </a:lnTo>
                  <a:lnTo>
                    <a:pt x="259" y="54"/>
                  </a:lnTo>
                  <a:lnTo>
                    <a:pt x="254" y="0"/>
                  </a:lnTo>
                  <a:lnTo>
                    <a:pt x="293" y="0"/>
                  </a:lnTo>
                  <a:lnTo>
                    <a:pt x="336" y="0"/>
                  </a:lnTo>
                  <a:lnTo>
                    <a:pt x="370" y="23"/>
                  </a:lnTo>
                  <a:lnTo>
                    <a:pt x="405" y="46"/>
                  </a:lnTo>
                  <a:lnTo>
                    <a:pt x="438" y="71"/>
                  </a:lnTo>
                  <a:lnTo>
                    <a:pt x="472" y="94"/>
                  </a:lnTo>
                  <a:lnTo>
                    <a:pt x="506" y="118"/>
                  </a:lnTo>
                  <a:lnTo>
                    <a:pt x="540" y="142"/>
                  </a:lnTo>
                  <a:lnTo>
                    <a:pt x="572" y="165"/>
                  </a:lnTo>
                  <a:lnTo>
                    <a:pt x="608" y="187"/>
                  </a:lnTo>
                  <a:lnTo>
                    <a:pt x="611" y="206"/>
                  </a:lnTo>
                  <a:lnTo>
                    <a:pt x="631" y="215"/>
                  </a:lnTo>
                  <a:lnTo>
                    <a:pt x="642" y="230"/>
                  </a:lnTo>
                  <a:lnTo>
                    <a:pt x="662" y="233"/>
                  </a:lnTo>
                  <a:lnTo>
                    <a:pt x="670" y="243"/>
                  </a:lnTo>
                  <a:lnTo>
                    <a:pt x="704" y="253"/>
                  </a:lnTo>
                  <a:lnTo>
                    <a:pt x="708" y="272"/>
                  </a:lnTo>
                  <a:lnTo>
                    <a:pt x="703" y="289"/>
                  </a:lnTo>
                  <a:lnTo>
                    <a:pt x="710" y="295"/>
                  </a:lnTo>
                  <a:lnTo>
                    <a:pt x="749" y="287"/>
                  </a:lnTo>
                  <a:lnTo>
                    <a:pt x="749" y="325"/>
                  </a:lnTo>
                  <a:lnTo>
                    <a:pt x="749" y="363"/>
                  </a:lnTo>
                  <a:lnTo>
                    <a:pt x="749" y="401"/>
                  </a:lnTo>
                  <a:lnTo>
                    <a:pt x="750" y="438"/>
                  </a:lnTo>
                  <a:lnTo>
                    <a:pt x="736" y="442"/>
                  </a:lnTo>
                  <a:lnTo>
                    <a:pt x="716" y="470"/>
                  </a:lnTo>
                  <a:lnTo>
                    <a:pt x="669" y="470"/>
                  </a:lnTo>
                  <a:lnTo>
                    <a:pt x="619" y="470"/>
                  </a:lnTo>
                  <a:lnTo>
                    <a:pt x="596" y="487"/>
                  </a:lnTo>
                  <a:lnTo>
                    <a:pt x="566" y="487"/>
                  </a:lnTo>
                  <a:lnTo>
                    <a:pt x="523" y="493"/>
                  </a:lnTo>
                  <a:lnTo>
                    <a:pt x="445" y="553"/>
                  </a:lnTo>
                  <a:lnTo>
                    <a:pt x="381" y="574"/>
                  </a:lnTo>
                  <a:lnTo>
                    <a:pt x="364" y="616"/>
                  </a:lnTo>
                  <a:lnTo>
                    <a:pt x="328" y="653"/>
                  </a:lnTo>
                  <a:lnTo>
                    <a:pt x="320" y="675"/>
                  </a:lnTo>
                  <a:lnTo>
                    <a:pt x="320" y="705"/>
                  </a:lnTo>
                  <a:lnTo>
                    <a:pt x="311" y="707"/>
                  </a:lnTo>
                  <a:lnTo>
                    <a:pt x="303" y="700"/>
                  </a:lnTo>
                  <a:lnTo>
                    <a:pt x="294" y="700"/>
                  </a:lnTo>
                  <a:lnTo>
                    <a:pt x="283" y="708"/>
                  </a:lnTo>
                  <a:lnTo>
                    <a:pt x="276" y="708"/>
                  </a:lnTo>
                  <a:lnTo>
                    <a:pt x="272" y="687"/>
                  </a:lnTo>
                  <a:lnTo>
                    <a:pt x="266" y="688"/>
                  </a:lnTo>
                  <a:lnTo>
                    <a:pt x="263" y="693"/>
                  </a:lnTo>
                  <a:lnTo>
                    <a:pt x="254" y="690"/>
                  </a:lnTo>
                  <a:lnTo>
                    <a:pt x="252" y="704"/>
                  </a:lnTo>
                  <a:lnTo>
                    <a:pt x="237" y="707"/>
                  </a:lnTo>
                  <a:lnTo>
                    <a:pt x="235" y="713"/>
                  </a:lnTo>
                  <a:lnTo>
                    <a:pt x="226" y="707"/>
                  </a:lnTo>
                  <a:lnTo>
                    <a:pt x="220" y="708"/>
                  </a:lnTo>
                  <a:lnTo>
                    <a:pt x="213" y="699"/>
                  </a:lnTo>
                  <a:lnTo>
                    <a:pt x="193" y="712"/>
                  </a:lnTo>
                  <a:lnTo>
                    <a:pt x="178" y="695"/>
                  </a:lnTo>
                  <a:lnTo>
                    <a:pt x="176" y="671"/>
                  </a:lnTo>
                  <a:lnTo>
                    <a:pt x="167" y="671"/>
                  </a:lnTo>
                  <a:lnTo>
                    <a:pt x="161" y="676"/>
                  </a:lnTo>
                  <a:lnTo>
                    <a:pt x="161" y="671"/>
                  </a:lnTo>
                  <a:lnTo>
                    <a:pt x="175" y="662"/>
                  </a:lnTo>
                  <a:lnTo>
                    <a:pt x="175" y="656"/>
                  </a:lnTo>
                  <a:lnTo>
                    <a:pt x="163" y="650"/>
                  </a:lnTo>
                  <a:lnTo>
                    <a:pt x="159" y="643"/>
                  </a:lnTo>
                  <a:lnTo>
                    <a:pt x="155" y="643"/>
                  </a:lnTo>
                  <a:lnTo>
                    <a:pt x="155" y="629"/>
                  </a:lnTo>
                  <a:lnTo>
                    <a:pt x="150" y="619"/>
                  </a:lnTo>
                  <a:lnTo>
                    <a:pt x="146" y="617"/>
                  </a:lnTo>
                  <a:lnTo>
                    <a:pt x="144" y="603"/>
                  </a:lnTo>
                  <a:lnTo>
                    <a:pt x="129" y="603"/>
                  </a:lnTo>
                  <a:lnTo>
                    <a:pt x="129" y="612"/>
                  </a:lnTo>
                  <a:lnTo>
                    <a:pt x="115" y="617"/>
                  </a:lnTo>
                  <a:lnTo>
                    <a:pt x="113" y="626"/>
                  </a:lnTo>
                  <a:lnTo>
                    <a:pt x="87" y="616"/>
                  </a:lnTo>
                  <a:lnTo>
                    <a:pt x="71" y="631"/>
                  </a:lnTo>
                  <a:lnTo>
                    <a:pt x="57" y="617"/>
                  </a:lnTo>
                  <a:lnTo>
                    <a:pt x="44" y="626"/>
                  </a:lnTo>
                  <a:lnTo>
                    <a:pt x="37" y="625"/>
                  </a:lnTo>
                  <a:lnTo>
                    <a:pt x="32" y="620"/>
                  </a:lnTo>
                  <a:lnTo>
                    <a:pt x="39" y="608"/>
                  </a:lnTo>
                  <a:lnTo>
                    <a:pt x="39" y="580"/>
                  </a:lnTo>
                  <a:lnTo>
                    <a:pt x="27" y="561"/>
                  </a:lnTo>
                  <a:lnTo>
                    <a:pt x="17" y="563"/>
                  </a:lnTo>
                  <a:lnTo>
                    <a:pt x="8" y="548"/>
                  </a:lnTo>
                  <a:lnTo>
                    <a:pt x="12" y="536"/>
                  </a:lnTo>
                  <a:lnTo>
                    <a:pt x="8" y="521"/>
                  </a:lnTo>
                  <a:lnTo>
                    <a:pt x="2" y="514"/>
                  </a:lnTo>
                  <a:lnTo>
                    <a:pt x="0" y="497"/>
                  </a:lnTo>
                  <a:lnTo>
                    <a:pt x="20" y="478"/>
                  </a:lnTo>
                  <a:lnTo>
                    <a:pt x="36" y="445"/>
                  </a:lnTo>
                  <a:lnTo>
                    <a:pt x="48" y="450"/>
                  </a:lnTo>
                  <a:lnTo>
                    <a:pt x="57" y="476"/>
                  </a:lnTo>
                  <a:lnTo>
                    <a:pt x="71" y="478"/>
                  </a:lnTo>
                  <a:lnTo>
                    <a:pt x="95" y="459"/>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381" name="Freeform 105">
              <a:extLst>
                <a:ext uri="{FF2B5EF4-FFF2-40B4-BE49-F238E27FC236}">
                  <a16:creationId xmlns:a16="http://schemas.microsoft.com/office/drawing/2014/main" id="{116DE562-FB6F-894C-AB10-615A0D7E2B3F}"/>
                </a:ext>
              </a:extLst>
            </p:cNvPr>
            <p:cNvSpPr>
              <a:spLocks noChangeAspect="1"/>
            </p:cNvSpPr>
            <p:nvPr/>
          </p:nvSpPr>
          <p:spPr bwMode="gray">
            <a:xfrm>
              <a:off x="4516635" y="3859632"/>
              <a:ext cx="169049" cy="149678"/>
            </a:xfrm>
            <a:custGeom>
              <a:avLst/>
              <a:gdLst>
                <a:gd name="T0" fmla="*/ 118 w 347"/>
                <a:gd name="T1" fmla="*/ 257 h 257"/>
                <a:gd name="T2" fmla="*/ 113 w 347"/>
                <a:gd name="T3" fmla="*/ 218 h 257"/>
                <a:gd name="T4" fmla="*/ 107 w 347"/>
                <a:gd name="T5" fmla="*/ 201 h 257"/>
                <a:gd name="T6" fmla="*/ 110 w 347"/>
                <a:gd name="T7" fmla="*/ 188 h 257"/>
                <a:gd name="T8" fmla="*/ 203 w 347"/>
                <a:gd name="T9" fmla="*/ 192 h 257"/>
                <a:gd name="T10" fmla="*/ 235 w 347"/>
                <a:gd name="T11" fmla="*/ 189 h 257"/>
                <a:gd name="T12" fmla="*/ 249 w 347"/>
                <a:gd name="T13" fmla="*/ 189 h 257"/>
                <a:gd name="T14" fmla="*/ 260 w 347"/>
                <a:gd name="T15" fmla="*/ 192 h 257"/>
                <a:gd name="T16" fmla="*/ 279 w 347"/>
                <a:gd name="T17" fmla="*/ 188 h 257"/>
                <a:gd name="T18" fmla="*/ 303 w 347"/>
                <a:gd name="T19" fmla="*/ 164 h 257"/>
                <a:gd name="T20" fmla="*/ 332 w 347"/>
                <a:gd name="T21" fmla="*/ 166 h 257"/>
                <a:gd name="T22" fmla="*/ 347 w 347"/>
                <a:gd name="T23" fmla="*/ 144 h 257"/>
                <a:gd name="T24" fmla="*/ 333 w 347"/>
                <a:gd name="T25" fmla="*/ 129 h 257"/>
                <a:gd name="T26" fmla="*/ 333 w 347"/>
                <a:gd name="T27" fmla="*/ 124 h 257"/>
                <a:gd name="T28" fmla="*/ 342 w 347"/>
                <a:gd name="T29" fmla="*/ 121 h 257"/>
                <a:gd name="T30" fmla="*/ 336 w 347"/>
                <a:gd name="T31" fmla="*/ 110 h 257"/>
                <a:gd name="T32" fmla="*/ 327 w 347"/>
                <a:gd name="T33" fmla="*/ 107 h 257"/>
                <a:gd name="T34" fmla="*/ 315 w 347"/>
                <a:gd name="T35" fmla="*/ 113 h 257"/>
                <a:gd name="T36" fmla="*/ 302 w 347"/>
                <a:gd name="T37" fmla="*/ 107 h 257"/>
                <a:gd name="T38" fmla="*/ 277 w 347"/>
                <a:gd name="T39" fmla="*/ 71 h 257"/>
                <a:gd name="T40" fmla="*/ 254 w 347"/>
                <a:gd name="T41" fmla="*/ 48 h 257"/>
                <a:gd name="T42" fmla="*/ 251 w 347"/>
                <a:gd name="T43" fmla="*/ 31 h 257"/>
                <a:gd name="T44" fmla="*/ 240 w 347"/>
                <a:gd name="T45" fmla="*/ 22 h 257"/>
                <a:gd name="T46" fmla="*/ 246 w 347"/>
                <a:gd name="T47" fmla="*/ 0 h 257"/>
                <a:gd name="T48" fmla="*/ 203 w 347"/>
                <a:gd name="T49" fmla="*/ 6 h 257"/>
                <a:gd name="T50" fmla="*/ 125 w 347"/>
                <a:gd name="T51" fmla="*/ 66 h 257"/>
                <a:gd name="T52" fmla="*/ 61 w 347"/>
                <a:gd name="T53" fmla="*/ 87 h 257"/>
                <a:gd name="T54" fmla="*/ 44 w 347"/>
                <a:gd name="T55" fmla="*/ 129 h 257"/>
                <a:gd name="T56" fmla="*/ 8 w 347"/>
                <a:gd name="T57" fmla="*/ 166 h 257"/>
                <a:gd name="T58" fmla="*/ 0 w 347"/>
                <a:gd name="T59" fmla="*/ 188 h 257"/>
                <a:gd name="T60" fmla="*/ 0 w 347"/>
                <a:gd name="T61" fmla="*/ 218 h 257"/>
                <a:gd name="T62" fmla="*/ 11 w 347"/>
                <a:gd name="T63" fmla="*/ 238 h 257"/>
                <a:gd name="T64" fmla="*/ 25 w 347"/>
                <a:gd name="T65" fmla="*/ 247 h 257"/>
                <a:gd name="T66" fmla="*/ 31 w 347"/>
                <a:gd name="T67" fmla="*/ 246 h 257"/>
                <a:gd name="T68" fmla="*/ 39 w 347"/>
                <a:gd name="T69" fmla="*/ 251 h 257"/>
                <a:gd name="T70" fmla="*/ 44 w 347"/>
                <a:gd name="T71" fmla="*/ 243 h 257"/>
                <a:gd name="T72" fmla="*/ 73 w 347"/>
                <a:gd name="T73" fmla="*/ 235 h 257"/>
                <a:gd name="T74" fmla="*/ 90 w 347"/>
                <a:gd name="T75" fmla="*/ 238 h 257"/>
                <a:gd name="T76" fmla="*/ 95 w 347"/>
                <a:gd name="T77" fmla="*/ 235 h 257"/>
                <a:gd name="T78" fmla="*/ 109 w 347"/>
                <a:gd name="T79" fmla="*/ 257 h 257"/>
                <a:gd name="T80" fmla="*/ 118 w 347"/>
                <a:gd name="T81"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7" h="257">
                  <a:moveTo>
                    <a:pt x="118" y="257"/>
                  </a:moveTo>
                  <a:lnTo>
                    <a:pt x="113" y="218"/>
                  </a:lnTo>
                  <a:lnTo>
                    <a:pt x="107" y="201"/>
                  </a:lnTo>
                  <a:lnTo>
                    <a:pt x="110" y="188"/>
                  </a:lnTo>
                  <a:lnTo>
                    <a:pt x="203" y="192"/>
                  </a:lnTo>
                  <a:lnTo>
                    <a:pt x="235" y="189"/>
                  </a:lnTo>
                  <a:lnTo>
                    <a:pt x="249" y="189"/>
                  </a:lnTo>
                  <a:lnTo>
                    <a:pt x="260" y="192"/>
                  </a:lnTo>
                  <a:lnTo>
                    <a:pt x="279" y="188"/>
                  </a:lnTo>
                  <a:lnTo>
                    <a:pt x="303" y="164"/>
                  </a:lnTo>
                  <a:lnTo>
                    <a:pt x="332" y="166"/>
                  </a:lnTo>
                  <a:lnTo>
                    <a:pt x="347" y="144"/>
                  </a:lnTo>
                  <a:lnTo>
                    <a:pt x="333" y="129"/>
                  </a:lnTo>
                  <a:lnTo>
                    <a:pt x="333" y="124"/>
                  </a:lnTo>
                  <a:lnTo>
                    <a:pt x="342" y="121"/>
                  </a:lnTo>
                  <a:lnTo>
                    <a:pt x="336" y="110"/>
                  </a:lnTo>
                  <a:lnTo>
                    <a:pt x="327" y="107"/>
                  </a:lnTo>
                  <a:lnTo>
                    <a:pt x="315" y="113"/>
                  </a:lnTo>
                  <a:lnTo>
                    <a:pt x="302" y="107"/>
                  </a:lnTo>
                  <a:lnTo>
                    <a:pt x="277" y="71"/>
                  </a:lnTo>
                  <a:lnTo>
                    <a:pt x="254" y="48"/>
                  </a:lnTo>
                  <a:lnTo>
                    <a:pt x="251" y="31"/>
                  </a:lnTo>
                  <a:lnTo>
                    <a:pt x="240" y="22"/>
                  </a:lnTo>
                  <a:lnTo>
                    <a:pt x="246" y="0"/>
                  </a:lnTo>
                  <a:lnTo>
                    <a:pt x="203" y="6"/>
                  </a:lnTo>
                  <a:lnTo>
                    <a:pt x="125" y="66"/>
                  </a:lnTo>
                  <a:lnTo>
                    <a:pt x="61" y="87"/>
                  </a:lnTo>
                  <a:lnTo>
                    <a:pt x="44" y="129"/>
                  </a:lnTo>
                  <a:lnTo>
                    <a:pt x="8" y="166"/>
                  </a:lnTo>
                  <a:lnTo>
                    <a:pt x="0" y="188"/>
                  </a:lnTo>
                  <a:lnTo>
                    <a:pt x="0" y="218"/>
                  </a:lnTo>
                  <a:lnTo>
                    <a:pt x="11" y="238"/>
                  </a:lnTo>
                  <a:lnTo>
                    <a:pt x="25" y="247"/>
                  </a:lnTo>
                  <a:lnTo>
                    <a:pt x="31" y="246"/>
                  </a:lnTo>
                  <a:lnTo>
                    <a:pt x="39" y="251"/>
                  </a:lnTo>
                  <a:lnTo>
                    <a:pt x="44" y="243"/>
                  </a:lnTo>
                  <a:lnTo>
                    <a:pt x="73" y="235"/>
                  </a:lnTo>
                  <a:lnTo>
                    <a:pt x="90" y="238"/>
                  </a:lnTo>
                  <a:lnTo>
                    <a:pt x="95" y="235"/>
                  </a:lnTo>
                  <a:lnTo>
                    <a:pt x="109" y="257"/>
                  </a:lnTo>
                  <a:lnTo>
                    <a:pt x="118" y="257"/>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82" name="Freeform 106">
              <a:extLst>
                <a:ext uri="{FF2B5EF4-FFF2-40B4-BE49-F238E27FC236}">
                  <a16:creationId xmlns:a16="http://schemas.microsoft.com/office/drawing/2014/main" id="{079ACAD5-8349-A74C-A448-ADC89B55F3FF}"/>
                </a:ext>
              </a:extLst>
            </p:cNvPr>
            <p:cNvSpPr>
              <a:spLocks noChangeAspect="1"/>
            </p:cNvSpPr>
            <p:nvPr/>
          </p:nvSpPr>
          <p:spPr bwMode="gray">
            <a:xfrm>
              <a:off x="5126022" y="3630155"/>
              <a:ext cx="373185" cy="541144"/>
            </a:xfrm>
            <a:custGeom>
              <a:avLst/>
              <a:gdLst>
                <a:gd name="T0" fmla="*/ 98 w 764"/>
                <a:gd name="T1" fmla="*/ 221 h 920"/>
                <a:gd name="T2" fmla="*/ 98 w 764"/>
                <a:gd name="T3" fmla="*/ 309 h 920"/>
                <a:gd name="T4" fmla="*/ 49 w 764"/>
                <a:gd name="T5" fmla="*/ 360 h 920"/>
                <a:gd name="T6" fmla="*/ 19 w 764"/>
                <a:gd name="T7" fmla="*/ 414 h 920"/>
                <a:gd name="T8" fmla="*/ 10 w 764"/>
                <a:gd name="T9" fmla="*/ 445 h 920"/>
                <a:gd name="T10" fmla="*/ 0 w 764"/>
                <a:gd name="T11" fmla="*/ 486 h 920"/>
                <a:gd name="T12" fmla="*/ 21 w 764"/>
                <a:gd name="T13" fmla="*/ 496 h 920"/>
                <a:gd name="T14" fmla="*/ 46 w 764"/>
                <a:gd name="T15" fmla="*/ 567 h 920"/>
                <a:gd name="T16" fmla="*/ 38 w 764"/>
                <a:gd name="T17" fmla="*/ 577 h 920"/>
                <a:gd name="T18" fmla="*/ 78 w 764"/>
                <a:gd name="T19" fmla="*/ 637 h 920"/>
                <a:gd name="T20" fmla="*/ 83 w 764"/>
                <a:gd name="T21" fmla="*/ 684 h 920"/>
                <a:gd name="T22" fmla="*/ 109 w 764"/>
                <a:gd name="T23" fmla="*/ 701 h 920"/>
                <a:gd name="T24" fmla="*/ 151 w 764"/>
                <a:gd name="T25" fmla="*/ 716 h 920"/>
                <a:gd name="T26" fmla="*/ 202 w 764"/>
                <a:gd name="T27" fmla="*/ 772 h 920"/>
                <a:gd name="T28" fmla="*/ 251 w 764"/>
                <a:gd name="T29" fmla="*/ 826 h 920"/>
                <a:gd name="T30" fmla="*/ 287 w 764"/>
                <a:gd name="T31" fmla="*/ 880 h 920"/>
                <a:gd name="T32" fmla="*/ 316 w 764"/>
                <a:gd name="T33" fmla="*/ 879 h 920"/>
                <a:gd name="T34" fmla="*/ 359 w 764"/>
                <a:gd name="T35" fmla="*/ 874 h 920"/>
                <a:gd name="T36" fmla="*/ 418 w 764"/>
                <a:gd name="T37" fmla="*/ 919 h 920"/>
                <a:gd name="T38" fmla="*/ 465 w 764"/>
                <a:gd name="T39" fmla="*/ 914 h 920"/>
                <a:gd name="T40" fmla="*/ 505 w 764"/>
                <a:gd name="T41" fmla="*/ 912 h 920"/>
                <a:gd name="T42" fmla="*/ 557 w 764"/>
                <a:gd name="T43" fmla="*/ 899 h 920"/>
                <a:gd name="T44" fmla="*/ 644 w 764"/>
                <a:gd name="T45" fmla="*/ 875 h 920"/>
                <a:gd name="T46" fmla="*/ 612 w 764"/>
                <a:gd name="T47" fmla="*/ 829 h 920"/>
                <a:gd name="T48" fmla="*/ 565 w 764"/>
                <a:gd name="T49" fmla="*/ 764 h 920"/>
                <a:gd name="T50" fmla="*/ 513 w 764"/>
                <a:gd name="T51" fmla="*/ 724 h 920"/>
                <a:gd name="T52" fmla="*/ 522 w 764"/>
                <a:gd name="T53" fmla="*/ 701 h 920"/>
                <a:gd name="T54" fmla="*/ 564 w 764"/>
                <a:gd name="T55" fmla="*/ 691 h 920"/>
                <a:gd name="T56" fmla="*/ 573 w 764"/>
                <a:gd name="T57" fmla="*/ 604 h 920"/>
                <a:gd name="T58" fmla="*/ 599 w 764"/>
                <a:gd name="T59" fmla="*/ 580 h 920"/>
                <a:gd name="T60" fmla="*/ 638 w 764"/>
                <a:gd name="T61" fmla="*/ 504 h 920"/>
                <a:gd name="T62" fmla="*/ 674 w 764"/>
                <a:gd name="T63" fmla="*/ 440 h 920"/>
                <a:gd name="T64" fmla="*/ 671 w 764"/>
                <a:gd name="T65" fmla="*/ 396 h 920"/>
                <a:gd name="T66" fmla="*/ 709 w 764"/>
                <a:gd name="T67" fmla="*/ 291 h 920"/>
                <a:gd name="T68" fmla="*/ 756 w 764"/>
                <a:gd name="T69" fmla="*/ 266 h 920"/>
                <a:gd name="T70" fmla="*/ 760 w 764"/>
                <a:gd name="T71" fmla="*/ 237 h 920"/>
                <a:gd name="T72" fmla="*/ 740 w 764"/>
                <a:gd name="T73" fmla="*/ 221 h 920"/>
                <a:gd name="T74" fmla="*/ 714 w 764"/>
                <a:gd name="T75" fmla="*/ 203 h 920"/>
                <a:gd name="T76" fmla="*/ 706 w 764"/>
                <a:gd name="T77" fmla="*/ 98 h 920"/>
                <a:gd name="T78" fmla="*/ 689 w 764"/>
                <a:gd name="T79" fmla="*/ 54 h 920"/>
                <a:gd name="T80" fmla="*/ 640 w 764"/>
                <a:gd name="T81" fmla="*/ 15 h 920"/>
                <a:gd name="T82" fmla="*/ 612 w 764"/>
                <a:gd name="T83" fmla="*/ 15 h 920"/>
                <a:gd name="T84" fmla="*/ 590 w 764"/>
                <a:gd name="T85" fmla="*/ 37 h 920"/>
                <a:gd name="T86" fmla="*/ 559 w 764"/>
                <a:gd name="T87" fmla="*/ 64 h 920"/>
                <a:gd name="T88" fmla="*/ 520 w 764"/>
                <a:gd name="T89" fmla="*/ 54 h 920"/>
                <a:gd name="T90" fmla="*/ 439 w 764"/>
                <a:gd name="T91" fmla="*/ 54 h 920"/>
                <a:gd name="T92" fmla="*/ 437 w 764"/>
                <a:gd name="T93" fmla="*/ 44 h 920"/>
                <a:gd name="T94" fmla="*/ 395 w 764"/>
                <a:gd name="T95" fmla="*/ 54 h 920"/>
                <a:gd name="T96" fmla="*/ 324 w 764"/>
                <a:gd name="T97" fmla="*/ 54 h 920"/>
                <a:gd name="T98" fmla="*/ 251 w 764"/>
                <a:gd name="T99" fmla="*/ 54 h 920"/>
                <a:gd name="T100" fmla="*/ 180 w 764"/>
                <a:gd name="T101" fmla="*/ 54 h 920"/>
                <a:gd name="T102" fmla="*/ 144 w 764"/>
                <a:gd name="T103" fmla="*/ 100 h 920"/>
                <a:gd name="T104" fmla="*/ 98 w 764"/>
                <a:gd name="T105" fmla="*/ 14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4" h="920">
                  <a:moveTo>
                    <a:pt x="98" y="176"/>
                  </a:moveTo>
                  <a:lnTo>
                    <a:pt x="98" y="221"/>
                  </a:lnTo>
                  <a:lnTo>
                    <a:pt x="98" y="266"/>
                  </a:lnTo>
                  <a:lnTo>
                    <a:pt x="98" y="309"/>
                  </a:lnTo>
                  <a:lnTo>
                    <a:pt x="98" y="355"/>
                  </a:lnTo>
                  <a:lnTo>
                    <a:pt x="49" y="360"/>
                  </a:lnTo>
                  <a:lnTo>
                    <a:pt x="42" y="385"/>
                  </a:lnTo>
                  <a:lnTo>
                    <a:pt x="19" y="414"/>
                  </a:lnTo>
                  <a:lnTo>
                    <a:pt x="19" y="436"/>
                  </a:lnTo>
                  <a:lnTo>
                    <a:pt x="10" y="445"/>
                  </a:lnTo>
                  <a:lnTo>
                    <a:pt x="8" y="465"/>
                  </a:lnTo>
                  <a:lnTo>
                    <a:pt x="0" y="486"/>
                  </a:lnTo>
                  <a:lnTo>
                    <a:pt x="0" y="499"/>
                  </a:lnTo>
                  <a:lnTo>
                    <a:pt x="21" y="496"/>
                  </a:lnTo>
                  <a:lnTo>
                    <a:pt x="24" y="521"/>
                  </a:lnTo>
                  <a:lnTo>
                    <a:pt x="46" y="567"/>
                  </a:lnTo>
                  <a:lnTo>
                    <a:pt x="46" y="574"/>
                  </a:lnTo>
                  <a:lnTo>
                    <a:pt x="38" y="577"/>
                  </a:lnTo>
                  <a:lnTo>
                    <a:pt x="75" y="623"/>
                  </a:lnTo>
                  <a:lnTo>
                    <a:pt x="78" y="637"/>
                  </a:lnTo>
                  <a:lnTo>
                    <a:pt x="75" y="677"/>
                  </a:lnTo>
                  <a:lnTo>
                    <a:pt x="83" y="684"/>
                  </a:lnTo>
                  <a:lnTo>
                    <a:pt x="103" y="688"/>
                  </a:lnTo>
                  <a:lnTo>
                    <a:pt x="109" y="701"/>
                  </a:lnTo>
                  <a:lnTo>
                    <a:pt x="135" y="705"/>
                  </a:lnTo>
                  <a:lnTo>
                    <a:pt x="151" y="716"/>
                  </a:lnTo>
                  <a:lnTo>
                    <a:pt x="156" y="738"/>
                  </a:lnTo>
                  <a:lnTo>
                    <a:pt x="202" y="772"/>
                  </a:lnTo>
                  <a:lnTo>
                    <a:pt x="217" y="806"/>
                  </a:lnTo>
                  <a:lnTo>
                    <a:pt x="251" y="826"/>
                  </a:lnTo>
                  <a:lnTo>
                    <a:pt x="261" y="848"/>
                  </a:lnTo>
                  <a:lnTo>
                    <a:pt x="287" y="880"/>
                  </a:lnTo>
                  <a:lnTo>
                    <a:pt x="305" y="888"/>
                  </a:lnTo>
                  <a:lnTo>
                    <a:pt x="316" y="879"/>
                  </a:lnTo>
                  <a:lnTo>
                    <a:pt x="347" y="882"/>
                  </a:lnTo>
                  <a:lnTo>
                    <a:pt x="359" y="874"/>
                  </a:lnTo>
                  <a:lnTo>
                    <a:pt x="414" y="920"/>
                  </a:lnTo>
                  <a:lnTo>
                    <a:pt x="418" y="919"/>
                  </a:lnTo>
                  <a:lnTo>
                    <a:pt x="423" y="916"/>
                  </a:lnTo>
                  <a:lnTo>
                    <a:pt x="465" y="914"/>
                  </a:lnTo>
                  <a:lnTo>
                    <a:pt x="469" y="920"/>
                  </a:lnTo>
                  <a:lnTo>
                    <a:pt x="505" y="912"/>
                  </a:lnTo>
                  <a:lnTo>
                    <a:pt x="536" y="912"/>
                  </a:lnTo>
                  <a:lnTo>
                    <a:pt x="557" y="899"/>
                  </a:lnTo>
                  <a:lnTo>
                    <a:pt x="581" y="877"/>
                  </a:lnTo>
                  <a:lnTo>
                    <a:pt x="644" y="875"/>
                  </a:lnTo>
                  <a:lnTo>
                    <a:pt x="646" y="843"/>
                  </a:lnTo>
                  <a:lnTo>
                    <a:pt x="612" y="829"/>
                  </a:lnTo>
                  <a:lnTo>
                    <a:pt x="591" y="781"/>
                  </a:lnTo>
                  <a:lnTo>
                    <a:pt x="565" y="764"/>
                  </a:lnTo>
                  <a:lnTo>
                    <a:pt x="553" y="739"/>
                  </a:lnTo>
                  <a:lnTo>
                    <a:pt x="513" y="724"/>
                  </a:lnTo>
                  <a:lnTo>
                    <a:pt x="522" y="714"/>
                  </a:lnTo>
                  <a:lnTo>
                    <a:pt x="522" y="701"/>
                  </a:lnTo>
                  <a:lnTo>
                    <a:pt x="548" y="699"/>
                  </a:lnTo>
                  <a:lnTo>
                    <a:pt x="564" y="691"/>
                  </a:lnTo>
                  <a:lnTo>
                    <a:pt x="570" y="603"/>
                  </a:lnTo>
                  <a:lnTo>
                    <a:pt x="573" y="604"/>
                  </a:lnTo>
                  <a:lnTo>
                    <a:pt x="581" y="589"/>
                  </a:lnTo>
                  <a:lnTo>
                    <a:pt x="599" y="580"/>
                  </a:lnTo>
                  <a:lnTo>
                    <a:pt x="608" y="547"/>
                  </a:lnTo>
                  <a:lnTo>
                    <a:pt x="638" y="504"/>
                  </a:lnTo>
                  <a:lnTo>
                    <a:pt x="658" y="489"/>
                  </a:lnTo>
                  <a:lnTo>
                    <a:pt x="674" y="440"/>
                  </a:lnTo>
                  <a:lnTo>
                    <a:pt x="674" y="427"/>
                  </a:lnTo>
                  <a:lnTo>
                    <a:pt x="671" y="396"/>
                  </a:lnTo>
                  <a:lnTo>
                    <a:pt x="698" y="292"/>
                  </a:lnTo>
                  <a:lnTo>
                    <a:pt x="709" y="291"/>
                  </a:lnTo>
                  <a:lnTo>
                    <a:pt x="720" y="281"/>
                  </a:lnTo>
                  <a:lnTo>
                    <a:pt x="756" y="266"/>
                  </a:lnTo>
                  <a:lnTo>
                    <a:pt x="764" y="244"/>
                  </a:lnTo>
                  <a:lnTo>
                    <a:pt x="760" y="237"/>
                  </a:lnTo>
                  <a:lnTo>
                    <a:pt x="751" y="235"/>
                  </a:lnTo>
                  <a:lnTo>
                    <a:pt x="740" y="221"/>
                  </a:lnTo>
                  <a:lnTo>
                    <a:pt x="723" y="215"/>
                  </a:lnTo>
                  <a:lnTo>
                    <a:pt x="714" y="203"/>
                  </a:lnTo>
                  <a:lnTo>
                    <a:pt x="705" y="159"/>
                  </a:lnTo>
                  <a:lnTo>
                    <a:pt x="706" y="98"/>
                  </a:lnTo>
                  <a:lnTo>
                    <a:pt x="691" y="77"/>
                  </a:lnTo>
                  <a:lnTo>
                    <a:pt x="689" y="54"/>
                  </a:lnTo>
                  <a:lnTo>
                    <a:pt x="663" y="26"/>
                  </a:lnTo>
                  <a:lnTo>
                    <a:pt x="640" y="15"/>
                  </a:lnTo>
                  <a:lnTo>
                    <a:pt x="630" y="0"/>
                  </a:lnTo>
                  <a:lnTo>
                    <a:pt x="612" y="15"/>
                  </a:lnTo>
                  <a:lnTo>
                    <a:pt x="601" y="12"/>
                  </a:lnTo>
                  <a:lnTo>
                    <a:pt x="590" y="37"/>
                  </a:lnTo>
                  <a:lnTo>
                    <a:pt x="564" y="44"/>
                  </a:lnTo>
                  <a:lnTo>
                    <a:pt x="559" y="64"/>
                  </a:lnTo>
                  <a:lnTo>
                    <a:pt x="537" y="66"/>
                  </a:lnTo>
                  <a:lnTo>
                    <a:pt x="520" y="54"/>
                  </a:lnTo>
                  <a:lnTo>
                    <a:pt x="479" y="54"/>
                  </a:lnTo>
                  <a:lnTo>
                    <a:pt x="439" y="54"/>
                  </a:lnTo>
                  <a:lnTo>
                    <a:pt x="442" y="44"/>
                  </a:lnTo>
                  <a:lnTo>
                    <a:pt x="437" y="44"/>
                  </a:lnTo>
                  <a:lnTo>
                    <a:pt x="431" y="54"/>
                  </a:lnTo>
                  <a:lnTo>
                    <a:pt x="395" y="54"/>
                  </a:lnTo>
                  <a:lnTo>
                    <a:pt x="359" y="54"/>
                  </a:lnTo>
                  <a:lnTo>
                    <a:pt x="324" y="54"/>
                  </a:lnTo>
                  <a:lnTo>
                    <a:pt x="288" y="54"/>
                  </a:lnTo>
                  <a:lnTo>
                    <a:pt x="251" y="54"/>
                  </a:lnTo>
                  <a:lnTo>
                    <a:pt x="216" y="54"/>
                  </a:lnTo>
                  <a:lnTo>
                    <a:pt x="180" y="54"/>
                  </a:lnTo>
                  <a:lnTo>
                    <a:pt x="144" y="54"/>
                  </a:lnTo>
                  <a:lnTo>
                    <a:pt x="144" y="100"/>
                  </a:lnTo>
                  <a:lnTo>
                    <a:pt x="144" y="147"/>
                  </a:lnTo>
                  <a:lnTo>
                    <a:pt x="98" y="147"/>
                  </a:lnTo>
                  <a:lnTo>
                    <a:pt x="98" y="176"/>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83" name="Freeform 107">
              <a:extLst>
                <a:ext uri="{FF2B5EF4-FFF2-40B4-BE49-F238E27FC236}">
                  <a16:creationId xmlns:a16="http://schemas.microsoft.com/office/drawing/2014/main" id="{DCC2BE3E-F09A-BC4C-A0E6-3B33D2398536}"/>
                </a:ext>
              </a:extLst>
            </p:cNvPr>
            <p:cNvSpPr>
              <a:spLocks noChangeAspect="1"/>
            </p:cNvSpPr>
            <p:nvPr/>
          </p:nvSpPr>
          <p:spPr bwMode="gray">
            <a:xfrm>
              <a:off x="4908959" y="4126367"/>
              <a:ext cx="430597" cy="502766"/>
            </a:xfrm>
            <a:custGeom>
              <a:avLst/>
              <a:gdLst>
                <a:gd name="T0" fmla="*/ 841 w 878"/>
                <a:gd name="T1" fmla="*/ 173 h 855"/>
                <a:gd name="T2" fmla="*/ 861 w 878"/>
                <a:gd name="T3" fmla="*/ 130 h 855"/>
                <a:gd name="T4" fmla="*/ 861 w 878"/>
                <a:gd name="T5" fmla="*/ 74 h 855"/>
                <a:gd name="T6" fmla="*/ 802 w 878"/>
                <a:gd name="T7" fmla="*/ 29 h 855"/>
                <a:gd name="T8" fmla="*/ 759 w 878"/>
                <a:gd name="T9" fmla="*/ 34 h 855"/>
                <a:gd name="T10" fmla="*/ 730 w 878"/>
                <a:gd name="T11" fmla="*/ 35 h 855"/>
                <a:gd name="T12" fmla="*/ 680 w 878"/>
                <a:gd name="T13" fmla="*/ 3 h 855"/>
                <a:gd name="T14" fmla="*/ 663 w 878"/>
                <a:gd name="T15" fmla="*/ 6 h 855"/>
                <a:gd name="T16" fmla="*/ 646 w 878"/>
                <a:gd name="T17" fmla="*/ 0 h 855"/>
                <a:gd name="T18" fmla="*/ 597 w 878"/>
                <a:gd name="T19" fmla="*/ 1 h 855"/>
                <a:gd name="T20" fmla="*/ 578 w 878"/>
                <a:gd name="T21" fmla="*/ 15 h 855"/>
                <a:gd name="T22" fmla="*/ 510 w 878"/>
                <a:gd name="T23" fmla="*/ 27 h 855"/>
                <a:gd name="T24" fmla="*/ 477 w 878"/>
                <a:gd name="T25" fmla="*/ 27 h 855"/>
                <a:gd name="T26" fmla="*/ 468 w 878"/>
                <a:gd name="T27" fmla="*/ 43 h 855"/>
                <a:gd name="T28" fmla="*/ 396 w 878"/>
                <a:gd name="T29" fmla="*/ 30 h 855"/>
                <a:gd name="T30" fmla="*/ 382 w 878"/>
                <a:gd name="T31" fmla="*/ 35 h 855"/>
                <a:gd name="T32" fmla="*/ 334 w 878"/>
                <a:gd name="T33" fmla="*/ 3 h 855"/>
                <a:gd name="T34" fmla="*/ 303 w 878"/>
                <a:gd name="T35" fmla="*/ 69 h 855"/>
                <a:gd name="T36" fmla="*/ 289 w 878"/>
                <a:gd name="T37" fmla="*/ 101 h 855"/>
                <a:gd name="T38" fmla="*/ 250 w 878"/>
                <a:gd name="T39" fmla="*/ 272 h 855"/>
                <a:gd name="T40" fmla="*/ 185 w 878"/>
                <a:gd name="T41" fmla="*/ 337 h 855"/>
                <a:gd name="T42" fmla="*/ 177 w 878"/>
                <a:gd name="T43" fmla="*/ 389 h 855"/>
                <a:gd name="T44" fmla="*/ 120 w 878"/>
                <a:gd name="T45" fmla="*/ 456 h 855"/>
                <a:gd name="T46" fmla="*/ 93 w 878"/>
                <a:gd name="T47" fmla="*/ 460 h 855"/>
                <a:gd name="T48" fmla="*/ 68 w 878"/>
                <a:gd name="T49" fmla="*/ 447 h 855"/>
                <a:gd name="T50" fmla="*/ 45 w 878"/>
                <a:gd name="T51" fmla="*/ 464 h 855"/>
                <a:gd name="T52" fmla="*/ 13 w 878"/>
                <a:gd name="T53" fmla="*/ 470 h 855"/>
                <a:gd name="T54" fmla="*/ 0 w 878"/>
                <a:gd name="T55" fmla="*/ 509 h 855"/>
                <a:gd name="T56" fmla="*/ 45 w 878"/>
                <a:gd name="T57" fmla="*/ 509 h 855"/>
                <a:gd name="T58" fmla="*/ 113 w 878"/>
                <a:gd name="T59" fmla="*/ 507 h 855"/>
                <a:gd name="T60" fmla="*/ 182 w 878"/>
                <a:gd name="T61" fmla="*/ 507 h 855"/>
                <a:gd name="T62" fmla="*/ 213 w 878"/>
                <a:gd name="T63" fmla="*/ 577 h 855"/>
                <a:gd name="T64" fmla="*/ 252 w 878"/>
                <a:gd name="T65" fmla="*/ 614 h 855"/>
                <a:gd name="T66" fmla="*/ 323 w 878"/>
                <a:gd name="T67" fmla="*/ 608 h 855"/>
                <a:gd name="T68" fmla="*/ 391 w 878"/>
                <a:gd name="T69" fmla="*/ 557 h 855"/>
                <a:gd name="T70" fmla="*/ 431 w 878"/>
                <a:gd name="T71" fmla="*/ 575 h 855"/>
                <a:gd name="T72" fmla="*/ 442 w 878"/>
                <a:gd name="T73" fmla="*/ 649 h 855"/>
                <a:gd name="T74" fmla="*/ 451 w 878"/>
                <a:gd name="T75" fmla="*/ 727 h 855"/>
                <a:gd name="T76" fmla="*/ 460 w 878"/>
                <a:gd name="T77" fmla="*/ 761 h 855"/>
                <a:gd name="T78" fmla="*/ 499 w 878"/>
                <a:gd name="T79" fmla="*/ 747 h 855"/>
                <a:gd name="T80" fmla="*/ 541 w 878"/>
                <a:gd name="T81" fmla="*/ 741 h 855"/>
                <a:gd name="T82" fmla="*/ 563 w 878"/>
                <a:gd name="T83" fmla="*/ 761 h 855"/>
                <a:gd name="T84" fmla="*/ 606 w 878"/>
                <a:gd name="T85" fmla="*/ 772 h 855"/>
                <a:gd name="T86" fmla="*/ 682 w 878"/>
                <a:gd name="T87" fmla="*/ 781 h 855"/>
                <a:gd name="T88" fmla="*/ 730 w 878"/>
                <a:gd name="T89" fmla="*/ 807 h 855"/>
                <a:gd name="T90" fmla="*/ 765 w 878"/>
                <a:gd name="T91" fmla="*/ 844 h 855"/>
                <a:gd name="T92" fmla="*/ 792 w 878"/>
                <a:gd name="T93" fmla="*/ 846 h 855"/>
                <a:gd name="T94" fmla="*/ 802 w 878"/>
                <a:gd name="T95" fmla="*/ 806 h 855"/>
                <a:gd name="T96" fmla="*/ 750 w 878"/>
                <a:gd name="T97" fmla="*/ 784 h 855"/>
                <a:gd name="T98" fmla="*/ 767 w 878"/>
                <a:gd name="T99" fmla="*/ 700 h 855"/>
                <a:gd name="T100" fmla="*/ 765 w 878"/>
                <a:gd name="T101" fmla="*/ 657 h 855"/>
                <a:gd name="T102" fmla="*/ 773 w 878"/>
                <a:gd name="T103" fmla="*/ 636 h 855"/>
                <a:gd name="T104" fmla="*/ 843 w 878"/>
                <a:gd name="T105" fmla="*/ 616 h 855"/>
                <a:gd name="T106" fmla="*/ 806 w 878"/>
                <a:gd name="T107" fmla="*/ 563 h 855"/>
                <a:gd name="T108" fmla="*/ 789 w 878"/>
                <a:gd name="T109" fmla="*/ 501 h 855"/>
                <a:gd name="T110" fmla="*/ 778 w 878"/>
                <a:gd name="T111" fmla="*/ 475 h 855"/>
                <a:gd name="T112" fmla="*/ 782 w 878"/>
                <a:gd name="T113" fmla="*/ 434 h 855"/>
                <a:gd name="T114" fmla="*/ 778 w 878"/>
                <a:gd name="T115" fmla="*/ 421 h 855"/>
                <a:gd name="T116" fmla="*/ 785 w 878"/>
                <a:gd name="T117" fmla="*/ 374 h 855"/>
                <a:gd name="T118" fmla="*/ 773 w 878"/>
                <a:gd name="T119" fmla="*/ 349 h 855"/>
                <a:gd name="T120" fmla="*/ 806 w 878"/>
                <a:gd name="T121" fmla="*/ 300 h 855"/>
                <a:gd name="T122" fmla="*/ 807 w 878"/>
                <a:gd name="T123" fmla="*/ 247 h 855"/>
                <a:gd name="T124" fmla="*/ 843 w 878"/>
                <a:gd name="T125" fmla="*/ 184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8" h="855">
                  <a:moveTo>
                    <a:pt x="843" y="184"/>
                  </a:moveTo>
                  <a:lnTo>
                    <a:pt x="841" y="173"/>
                  </a:lnTo>
                  <a:lnTo>
                    <a:pt x="878" y="140"/>
                  </a:lnTo>
                  <a:lnTo>
                    <a:pt x="861" y="130"/>
                  </a:lnTo>
                  <a:lnTo>
                    <a:pt x="857" y="118"/>
                  </a:lnTo>
                  <a:lnTo>
                    <a:pt x="861" y="74"/>
                  </a:lnTo>
                  <a:lnTo>
                    <a:pt x="857" y="75"/>
                  </a:lnTo>
                  <a:lnTo>
                    <a:pt x="802" y="29"/>
                  </a:lnTo>
                  <a:lnTo>
                    <a:pt x="790" y="37"/>
                  </a:lnTo>
                  <a:lnTo>
                    <a:pt x="759" y="34"/>
                  </a:lnTo>
                  <a:lnTo>
                    <a:pt x="748" y="43"/>
                  </a:lnTo>
                  <a:lnTo>
                    <a:pt x="730" y="35"/>
                  </a:lnTo>
                  <a:lnTo>
                    <a:pt x="704" y="3"/>
                  </a:lnTo>
                  <a:lnTo>
                    <a:pt x="680" y="3"/>
                  </a:lnTo>
                  <a:lnTo>
                    <a:pt x="674" y="13"/>
                  </a:lnTo>
                  <a:lnTo>
                    <a:pt x="663" y="6"/>
                  </a:lnTo>
                  <a:lnTo>
                    <a:pt x="659" y="13"/>
                  </a:lnTo>
                  <a:lnTo>
                    <a:pt x="646" y="0"/>
                  </a:lnTo>
                  <a:lnTo>
                    <a:pt x="614" y="6"/>
                  </a:lnTo>
                  <a:lnTo>
                    <a:pt x="597" y="1"/>
                  </a:lnTo>
                  <a:lnTo>
                    <a:pt x="595" y="13"/>
                  </a:lnTo>
                  <a:lnTo>
                    <a:pt x="578" y="15"/>
                  </a:lnTo>
                  <a:lnTo>
                    <a:pt x="567" y="9"/>
                  </a:lnTo>
                  <a:lnTo>
                    <a:pt x="510" y="27"/>
                  </a:lnTo>
                  <a:lnTo>
                    <a:pt x="489" y="18"/>
                  </a:lnTo>
                  <a:lnTo>
                    <a:pt x="477" y="27"/>
                  </a:lnTo>
                  <a:lnTo>
                    <a:pt x="475" y="40"/>
                  </a:lnTo>
                  <a:lnTo>
                    <a:pt x="468" y="43"/>
                  </a:lnTo>
                  <a:lnTo>
                    <a:pt x="426" y="43"/>
                  </a:lnTo>
                  <a:lnTo>
                    <a:pt x="396" y="30"/>
                  </a:lnTo>
                  <a:lnTo>
                    <a:pt x="389" y="37"/>
                  </a:lnTo>
                  <a:lnTo>
                    <a:pt x="382" y="35"/>
                  </a:lnTo>
                  <a:lnTo>
                    <a:pt x="357" y="4"/>
                  </a:lnTo>
                  <a:lnTo>
                    <a:pt x="334" y="3"/>
                  </a:lnTo>
                  <a:lnTo>
                    <a:pt x="304" y="35"/>
                  </a:lnTo>
                  <a:lnTo>
                    <a:pt x="303" y="69"/>
                  </a:lnTo>
                  <a:lnTo>
                    <a:pt x="292" y="71"/>
                  </a:lnTo>
                  <a:lnTo>
                    <a:pt x="289" y="101"/>
                  </a:lnTo>
                  <a:lnTo>
                    <a:pt x="264" y="151"/>
                  </a:lnTo>
                  <a:lnTo>
                    <a:pt x="250" y="272"/>
                  </a:lnTo>
                  <a:lnTo>
                    <a:pt x="206" y="306"/>
                  </a:lnTo>
                  <a:lnTo>
                    <a:pt x="185" y="337"/>
                  </a:lnTo>
                  <a:lnTo>
                    <a:pt x="181" y="355"/>
                  </a:lnTo>
                  <a:lnTo>
                    <a:pt x="177" y="389"/>
                  </a:lnTo>
                  <a:lnTo>
                    <a:pt x="164" y="421"/>
                  </a:lnTo>
                  <a:lnTo>
                    <a:pt x="120" y="456"/>
                  </a:lnTo>
                  <a:lnTo>
                    <a:pt x="103" y="462"/>
                  </a:lnTo>
                  <a:lnTo>
                    <a:pt x="93" y="460"/>
                  </a:lnTo>
                  <a:lnTo>
                    <a:pt x="91" y="442"/>
                  </a:lnTo>
                  <a:lnTo>
                    <a:pt x="68" y="447"/>
                  </a:lnTo>
                  <a:lnTo>
                    <a:pt x="55" y="462"/>
                  </a:lnTo>
                  <a:lnTo>
                    <a:pt x="45" y="464"/>
                  </a:lnTo>
                  <a:lnTo>
                    <a:pt x="32" y="456"/>
                  </a:lnTo>
                  <a:lnTo>
                    <a:pt x="13" y="470"/>
                  </a:lnTo>
                  <a:lnTo>
                    <a:pt x="8" y="506"/>
                  </a:lnTo>
                  <a:lnTo>
                    <a:pt x="0" y="509"/>
                  </a:lnTo>
                  <a:lnTo>
                    <a:pt x="0" y="527"/>
                  </a:lnTo>
                  <a:lnTo>
                    <a:pt x="45" y="509"/>
                  </a:lnTo>
                  <a:lnTo>
                    <a:pt x="79" y="509"/>
                  </a:lnTo>
                  <a:lnTo>
                    <a:pt x="113" y="507"/>
                  </a:lnTo>
                  <a:lnTo>
                    <a:pt x="147" y="507"/>
                  </a:lnTo>
                  <a:lnTo>
                    <a:pt x="182" y="507"/>
                  </a:lnTo>
                  <a:lnTo>
                    <a:pt x="198" y="521"/>
                  </a:lnTo>
                  <a:lnTo>
                    <a:pt x="213" y="577"/>
                  </a:lnTo>
                  <a:lnTo>
                    <a:pt x="241" y="611"/>
                  </a:lnTo>
                  <a:lnTo>
                    <a:pt x="252" y="614"/>
                  </a:lnTo>
                  <a:lnTo>
                    <a:pt x="292" y="606"/>
                  </a:lnTo>
                  <a:lnTo>
                    <a:pt x="323" y="608"/>
                  </a:lnTo>
                  <a:lnTo>
                    <a:pt x="334" y="561"/>
                  </a:lnTo>
                  <a:lnTo>
                    <a:pt x="391" y="557"/>
                  </a:lnTo>
                  <a:lnTo>
                    <a:pt x="391" y="575"/>
                  </a:lnTo>
                  <a:lnTo>
                    <a:pt x="431" y="575"/>
                  </a:lnTo>
                  <a:lnTo>
                    <a:pt x="436" y="586"/>
                  </a:lnTo>
                  <a:lnTo>
                    <a:pt x="442" y="649"/>
                  </a:lnTo>
                  <a:lnTo>
                    <a:pt x="438" y="675"/>
                  </a:lnTo>
                  <a:lnTo>
                    <a:pt x="451" y="727"/>
                  </a:lnTo>
                  <a:lnTo>
                    <a:pt x="447" y="753"/>
                  </a:lnTo>
                  <a:lnTo>
                    <a:pt x="460" y="761"/>
                  </a:lnTo>
                  <a:lnTo>
                    <a:pt x="470" y="748"/>
                  </a:lnTo>
                  <a:lnTo>
                    <a:pt x="499" y="747"/>
                  </a:lnTo>
                  <a:lnTo>
                    <a:pt x="532" y="747"/>
                  </a:lnTo>
                  <a:lnTo>
                    <a:pt x="541" y="741"/>
                  </a:lnTo>
                  <a:lnTo>
                    <a:pt x="555" y="738"/>
                  </a:lnTo>
                  <a:lnTo>
                    <a:pt x="563" y="761"/>
                  </a:lnTo>
                  <a:lnTo>
                    <a:pt x="594" y="751"/>
                  </a:lnTo>
                  <a:lnTo>
                    <a:pt x="606" y="772"/>
                  </a:lnTo>
                  <a:lnTo>
                    <a:pt x="643" y="789"/>
                  </a:lnTo>
                  <a:lnTo>
                    <a:pt x="682" y="781"/>
                  </a:lnTo>
                  <a:lnTo>
                    <a:pt x="699" y="797"/>
                  </a:lnTo>
                  <a:lnTo>
                    <a:pt x="730" y="807"/>
                  </a:lnTo>
                  <a:lnTo>
                    <a:pt x="742" y="827"/>
                  </a:lnTo>
                  <a:lnTo>
                    <a:pt x="765" y="844"/>
                  </a:lnTo>
                  <a:lnTo>
                    <a:pt x="782" y="849"/>
                  </a:lnTo>
                  <a:lnTo>
                    <a:pt x="792" y="846"/>
                  </a:lnTo>
                  <a:lnTo>
                    <a:pt x="804" y="855"/>
                  </a:lnTo>
                  <a:lnTo>
                    <a:pt x="802" y="806"/>
                  </a:lnTo>
                  <a:lnTo>
                    <a:pt x="770" y="806"/>
                  </a:lnTo>
                  <a:lnTo>
                    <a:pt x="750" y="784"/>
                  </a:lnTo>
                  <a:lnTo>
                    <a:pt x="767" y="721"/>
                  </a:lnTo>
                  <a:lnTo>
                    <a:pt x="767" y="700"/>
                  </a:lnTo>
                  <a:lnTo>
                    <a:pt x="765" y="668"/>
                  </a:lnTo>
                  <a:lnTo>
                    <a:pt x="765" y="657"/>
                  </a:lnTo>
                  <a:lnTo>
                    <a:pt x="772" y="648"/>
                  </a:lnTo>
                  <a:lnTo>
                    <a:pt x="773" y="636"/>
                  </a:lnTo>
                  <a:lnTo>
                    <a:pt x="781" y="631"/>
                  </a:lnTo>
                  <a:lnTo>
                    <a:pt x="843" y="616"/>
                  </a:lnTo>
                  <a:lnTo>
                    <a:pt x="836" y="587"/>
                  </a:lnTo>
                  <a:lnTo>
                    <a:pt x="806" y="563"/>
                  </a:lnTo>
                  <a:lnTo>
                    <a:pt x="789" y="536"/>
                  </a:lnTo>
                  <a:lnTo>
                    <a:pt x="789" y="501"/>
                  </a:lnTo>
                  <a:lnTo>
                    <a:pt x="784" y="489"/>
                  </a:lnTo>
                  <a:lnTo>
                    <a:pt x="778" y="475"/>
                  </a:lnTo>
                  <a:lnTo>
                    <a:pt x="784" y="443"/>
                  </a:lnTo>
                  <a:lnTo>
                    <a:pt x="782" y="434"/>
                  </a:lnTo>
                  <a:lnTo>
                    <a:pt x="778" y="436"/>
                  </a:lnTo>
                  <a:lnTo>
                    <a:pt x="778" y="421"/>
                  </a:lnTo>
                  <a:lnTo>
                    <a:pt x="787" y="394"/>
                  </a:lnTo>
                  <a:lnTo>
                    <a:pt x="785" y="374"/>
                  </a:lnTo>
                  <a:lnTo>
                    <a:pt x="778" y="363"/>
                  </a:lnTo>
                  <a:lnTo>
                    <a:pt x="773" y="349"/>
                  </a:lnTo>
                  <a:lnTo>
                    <a:pt x="785" y="329"/>
                  </a:lnTo>
                  <a:lnTo>
                    <a:pt x="806" y="300"/>
                  </a:lnTo>
                  <a:lnTo>
                    <a:pt x="807" y="258"/>
                  </a:lnTo>
                  <a:lnTo>
                    <a:pt x="807" y="247"/>
                  </a:lnTo>
                  <a:lnTo>
                    <a:pt x="814" y="221"/>
                  </a:lnTo>
                  <a:lnTo>
                    <a:pt x="843" y="184"/>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84" name="Freeform 108">
              <a:extLst>
                <a:ext uri="{FF2B5EF4-FFF2-40B4-BE49-F238E27FC236}">
                  <a16:creationId xmlns:a16="http://schemas.microsoft.com/office/drawing/2014/main" id="{73B23C74-0D51-D94F-A8FC-8DBBD5CC2340}"/>
                </a:ext>
              </a:extLst>
            </p:cNvPr>
            <p:cNvSpPr>
              <a:spLocks noChangeAspect="1"/>
            </p:cNvSpPr>
            <p:nvPr/>
          </p:nvSpPr>
          <p:spPr bwMode="gray">
            <a:xfrm>
              <a:off x="4830813" y="4205042"/>
              <a:ext cx="124394" cy="168868"/>
            </a:xfrm>
            <a:custGeom>
              <a:avLst/>
              <a:gdLst>
                <a:gd name="T0" fmla="*/ 115 w 256"/>
                <a:gd name="T1" fmla="*/ 5 h 288"/>
                <a:gd name="T2" fmla="*/ 110 w 256"/>
                <a:gd name="T3" fmla="*/ 16 h 288"/>
                <a:gd name="T4" fmla="*/ 115 w 256"/>
                <a:gd name="T5" fmla="*/ 56 h 288"/>
                <a:gd name="T6" fmla="*/ 56 w 256"/>
                <a:gd name="T7" fmla="*/ 56 h 288"/>
                <a:gd name="T8" fmla="*/ 36 w 256"/>
                <a:gd name="T9" fmla="*/ 61 h 288"/>
                <a:gd name="T10" fmla="*/ 36 w 256"/>
                <a:gd name="T11" fmla="*/ 75 h 288"/>
                <a:gd name="T12" fmla="*/ 25 w 256"/>
                <a:gd name="T13" fmla="*/ 83 h 288"/>
                <a:gd name="T14" fmla="*/ 48 w 256"/>
                <a:gd name="T15" fmla="*/ 100 h 288"/>
                <a:gd name="T16" fmla="*/ 37 w 256"/>
                <a:gd name="T17" fmla="*/ 101 h 288"/>
                <a:gd name="T18" fmla="*/ 23 w 256"/>
                <a:gd name="T19" fmla="*/ 95 h 288"/>
                <a:gd name="T20" fmla="*/ 20 w 256"/>
                <a:gd name="T21" fmla="*/ 126 h 288"/>
                <a:gd name="T22" fmla="*/ 8 w 256"/>
                <a:gd name="T23" fmla="*/ 139 h 288"/>
                <a:gd name="T24" fmla="*/ 0 w 256"/>
                <a:gd name="T25" fmla="*/ 142 h 288"/>
                <a:gd name="T26" fmla="*/ 5 w 256"/>
                <a:gd name="T27" fmla="*/ 149 h 288"/>
                <a:gd name="T28" fmla="*/ 22 w 256"/>
                <a:gd name="T29" fmla="*/ 194 h 288"/>
                <a:gd name="T30" fmla="*/ 51 w 256"/>
                <a:gd name="T31" fmla="*/ 230 h 288"/>
                <a:gd name="T32" fmla="*/ 101 w 256"/>
                <a:gd name="T33" fmla="*/ 276 h 288"/>
                <a:gd name="T34" fmla="*/ 107 w 256"/>
                <a:gd name="T35" fmla="*/ 288 h 288"/>
                <a:gd name="T36" fmla="*/ 113 w 256"/>
                <a:gd name="T37" fmla="*/ 270 h 288"/>
                <a:gd name="T38" fmla="*/ 132 w 256"/>
                <a:gd name="T39" fmla="*/ 267 h 288"/>
                <a:gd name="T40" fmla="*/ 135 w 256"/>
                <a:gd name="T41" fmla="*/ 262 h 288"/>
                <a:gd name="T42" fmla="*/ 129 w 256"/>
                <a:gd name="T43" fmla="*/ 240 h 288"/>
                <a:gd name="T44" fmla="*/ 133 w 256"/>
                <a:gd name="T45" fmla="*/ 223 h 288"/>
                <a:gd name="T46" fmla="*/ 163 w 256"/>
                <a:gd name="T47" fmla="*/ 208 h 288"/>
                <a:gd name="T48" fmla="*/ 178 w 256"/>
                <a:gd name="T49" fmla="*/ 193 h 288"/>
                <a:gd name="T50" fmla="*/ 193 w 256"/>
                <a:gd name="T51" fmla="*/ 205 h 288"/>
                <a:gd name="T52" fmla="*/ 214 w 256"/>
                <a:gd name="T53" fmla="*/ 203 h 288"/>
                <a:gd name="T54" fmla="*/ 229 w 256"/>
                <a:gd name="T55" fmla="*/ 217 h 288"/>
                <a:gd name="T56" fmla="*/ 242 w 256"/>
                <a:gd name="T57" fmla="*/ 211 h 288"/>
                <a:gd name="T58" fmla="*/ 252 w 256"/>
                <a:gd name="T59" fmla="*/ 142 h 288"/>
                <a:gd name="T60" fmla="*/ 240 w 256"/>
                <a:gd name="T61" fmla="*/ 106 h 288"/>
                <a:gd name="T62" fmla="*/ 240 w 256"/>
                <a:gd name="T63" fmla="*/ 93 h 288"/>
                <a:gd name="T64" fmla="*/ 256 w 256"/>
                <a:gd name="T65" fmla="*/ 69 h 288"/>
                <a:gd name="T66" fmla="*/ 254 w 256"/>
                <a:gd name="T67" fmla="*/ 50 h 288"/>
                <a:gd name="T68" fmla="*/ 245 w 256"/>
                <a:gd name="T69" fmla="*/ 41 h 288"/>
                <a:gd name="T70" fmla="*/ 222 w 256"/>
                <a:gd name="T71" fmla="*/ 33 h 288"/>
                <a:gd name="T72" fmla="*/ 208 w 256"/>
                <a:gd name="T73" fmla="*/ 55 h 288"/>
                <a:gd name="T74" fmla="*/ 201 w 256"/>
                <a:gd name="T75" fmla="*/ 50 h 288"/>
                <a:gd name="T76" fmla="*/ 201 w 256"/>
                <a:gd name="T77" fmla="*/ 19 h 288"/>
                <a:gd name="T78" fmla="*/ 206 w 256"/>
                <a:gd name="T79" fmla="*/ 7 h 288"/>
                <a:gd name="T80" fmla="*/ 155 w 256"/>
                <a:gd name="T81" fmla="*/ 0 h 288"/>
                <a:gd name="T82" fmla="*/ 115 w 256"/>
                <a:gd name="T83" fmla="*/ 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88">
                  <a:moveTo>
                    <a:pt x="115" y="5"/>
                  </a:moveTo>
                  <a:lnTo>
                    <a:pt x="110" y="16"/>
                  </a:lnTo>
                  <a:lnTo>
                    <a:pt x="115" y="56"/>
                  </a:lnTo>
                  <a:lnTo>
                    <a:pt x="56" y="56"/>
                  </a:lnTo>
                  <a:lnTo>
                    <a:pt x="36" y="61"/>
                  </a:lnTo>
                  <a:lnTo>
                    <a:pt x="36" y="75"/>
                  </a:lnTo>
                  <a:lnTo>
                    <a:pt x="25" y="83"/>
                  </a:lnTo>
                  <a:lnTo>
                    <a:pt x="48" y="100"/>
                  </a:lnTo>
                  <a:lnTo>
                    <a:pt x="37" y="101"/>
                  </a:lnTo>
                  <a:lnTo>
                    <a:pt x="23" y="95"/>
                  </a:lnTo>
                  <a:lnTo>
                    <a:pt x="20" y="126"/>
                  </a:lnTo>
                  <a:lnTo>
                    <a:pt x="8" y="139"/>
                  </a:lnTo>
                  <a:lnTo>
                    <a:pt x="0" y="142"/>
                  </a:lnTo>
                  <a:lnTo>
                    <a:pt x="5" y="149"/>
                  </a:lnTo>
                  <a:lnTo>
                    <a:pt x="22" y="194"/>
                  </a:lnTo>
                  <a:lnTo>
                    <a:pt x="51" y="230"/>
                  </a:lnTo>
                  <a:lnTo>
                    <a:pt x="101" y="276"/>
                  </a:lnTo>
                  <a:lnTo>
                    <a:pt x="107" y="288"/>
                  </a:lnTo>
                  <a:lnTo>
                    <a:pt x="113" y="270"/>
                  </a:lnTo>
                  <a:lnTo>
                    <a:pt x="132" y="267"/>
                  </a:lnTo>
                  <a:lnTo>
                    <a:pt x="135" y="262"/>
                  </a:lnTo>
                  <a:lnTo>
                    <a:pt x="129" y="240"/>
                  </a:lnTo>
                  <a:lnTo>
                    <a:pt x="133" y="223"/>
                  </a:lnTo>
                  <a:lnTo>
                    <a:pt x="163" y="208"/>
                  </a:lnTo>
                  <a:lnTo>
                    <a:pt x="178" y="193"/>
                  </a:lnTo>
                  <a:lnTo>
                    <a:pt x="193" y="205"/>
                  </a:lnTo>
                  <a:lnTo>
                    <a:pt x="214" y="203"/>
                  </a:lnTo>
                  <a:lnTo>
                    <a:pt x="229" y="217"/>
                  </a:lnTo>
                  <a:lnTo>
                    <a:pt x="242" y="211"/>
                  </a:lnTo>
                  <a:lnTo>
                    <a:pt x="252" y="142"/>
                  </a:lnTo>
                  <a:lnTo>
                    <a:pt x="240" y="106"/>
                  </a:lnTo>
                  <a:lnTo>
                    <a:pt x="240" y="93"/>
                  </a:lnTo>
                  <a:lnTo>
                    <a:pt x="256" y="69"/>
                  </a:lnTo>
                  <a:lnTo>
                    <a:pt x="254" y="50"/>
                  </a:lnTo>
                  <a:lnTo>
                    <a:pt x="245" y="41"/>
                  </a:lnTo>
                  <a:lnTo>
                    <a:pt x="222" y="33"/>
                  </a:lnTo>
                  <a:lnTo>
                    <a:pt x="208" y="55"/>
                  </a:lnTo>
                  <a:lnTo>
                    <a:pt x="201" y="50"/>
                  </a:lnTo>
                  <a:lnTo>
                    <a:pt x="201" y="19"/>
                  </a:lnTo>
                  <a:lnTo>
                    <a:pt x="206" y="7"/>
                  </a:lnTo>
                  <a:lnTo>
                    <a:pt x="155" y="0"/>
                  </a:lnTo>
                  <a:lnTo>
                    <a:pt x="115" y="5"/>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85" name="Freeform 109">
              <a:extLst>
                <a:ext uri="{FF2B5EF4-FFF2-40B4-BE49-F238E27FC236}">
                  <a16:creationId xmlns:a16="http://schemas.microsoft.com/office/drawing/2014/main" id="{B77E5572-7E25-ED40-8F33-F3E2C8B8D115}"/>
                </a:ext>
              </a:extLst>
            </p:cNvPr>
            <p:cNvSpPr>
              <a:spLocks noChangeAspect="1"/>
            </p:cNvSpPr>
            <p:nvPr/>
          </p:nvSpPr>
          <p:spPr bwMode="gray">
            <a:xfrm>
              <a:off x="4881846" y="4168582"/>
              <a:ext cx="172239" cy="236033"/>
            </a:xfrm>
            <a:custGeom>
              <a:avLst/>
              <a:gdLst>
                <a:gd name="T0" fmla="*/ 348 w 348"/>
                <a:gd name="T1" fmla="*/ 0 h 402"/>
                <a:gd name="T2" fmla="*/ 316 w 348"/>
                <a:gd name="T3" fmla="*/ 13 h 402"/>
                <a:gd name="T4" fmla="*/ 288 w 348"/>
                <a:gd name="T5" fmla="*/ 0 h 402"/>
                <a:gd name="T6" fmla="*/ 272 w 348"/>
                <a:gd name="T7" fmla="*/ 3 h 402"/>
                <a:gd name="T8" fmla="*/ 252 w 348"/>
                <a:gd name="T9" fmla="*/ 15 h 402"/>
                <a:gd name="T10" fmla="*/ 230 w 348"/>
                <a:gd name="T11" fmla="*/ 38 h 402"/>
                <a:gd name="T12" fmla="*/ 230 w 348"/>
                <a:gd name="T13" fmla="*/ 85 h 402"/>
                <a:gd name="T14" fmla="*/ 224 w 348"/>
                <a:gd name="T15" fmla="*/ 96 h 402"/>
                <a:gd name="T16" fmla="*/ 204 w 348"/>
                <a:gd name="T17" fmla="*/ 80 h 402"/>
                <a:gd name="T18" fmla="*/ 164 w 348"/>
                <a:gd name="T19" fmla="*/ 71 h 402"/>
                <a:gd name="T20" fmla="*/ 99 w 348"/>
                <a:gd name="T21" fmla="*/ 71 h 402"/>
                <a:gd name="T22" fmla="*/ 94 w 348"/>
                <a:gd name="T23" fmla="*/ 83 h 402"/>
                <a:gd name="T24" fmla="*/ 94 w 348"/>
                <a:gd name="T25" fmla="*/ 114 h 402"/>
                <a:gd name="T26" fmla="*/ 101 w 348"/>
                <a:gd name="T27" fmla="*/ 119 h 402"/>
                <a:gd name="T28" fmla="*/ 115 w 348"/>
                <a:gd name="T29" fmla="*/ 97 h 402"/>
                <a:gd name="T30" fmla="*/ 138 w 348"/>
                <a:gd name="T31" fmla="*/ 105 h 402"/>
                <a:gd name="T32" fmla="*/ 147 w 348"/>
                <a:gd name="T33" fmla="*/ 114 h 402"/>
                <a:gd name="T34" fmla="*/ 149 w 348"/>
                <a:gd name="T35" fmla="*/ 133 h 402"/>
                <a:gd name="T36" fmla="*/ 133 w 348"/>
                <a:gd name="T37" fmla="*/ 157 h 402"/>
                <a:gd name="T38" fmla="*/ 133 w 348"/>
                <a:gd name="T39" fmla="*/ 170 h 402"/>
                <a:gd name="T40" fmla="*/ 145 w 348"/>
                <a:gd name="T41" fmla="*/ 206 h 402"/>
                <a:gd name="T42" fmla="*/ 135 w 348"/>
                <a:gd name="T43" fmla="*/ 275 h 402"/>
                <a:gd name="T44" fmla="*/ 122 w 348"/>
                <a:gd name="T45" fmla="*/ 281 h 402"/>
                <a:gd name="T46" fmla="*/ 107 w 348"/>
                <a:gd name="T47" fmla="*/ 267 h 402"/>
                <a:gd name="T48" fmla="*/ 86 w 348"/>
                <a:gd name="T49" fmla="*/ 269 h 402"/>
                <a:gd name="T50" fmla="*/ 71 w 348"/>
                <a:gd name="T51" fmla="*/ 257 h 402"/>
                <a:gd name="T52" fmla="*/ 56 w 348"/>
                <a:gd name="T53" fmla="*/ 272 h 402"/>
                <a:gd name="T54" fmla="*/ 26 w 348"/>
                <a:gd name="T55" fmla="*/ 287 h 402"/>
                <a:gd name="T56" fmla="*/ 22 w 348"/>
                <a:gd name="T57" fmla="*/ 304 h 402"/>
                <a:gd name="T58" fmla="*/ 28 w 348"/>
                <a:gd name="T59" fmla="*/ 326 h 402"/>
                <a:gd name="T60" fmla="*/ 25 w 348"/>
                <a:gd name="T61" fmla="*/ 331 h 402"/>
                <a:gd name="T62" fmla="*/ 6 w 348"/>
                <a:gd name="T63" fmla="*/ 334 h 402"/>
                <a:gd name="T64" fmla="*/ 0 w 348"/>
                <a:gd name="T65" fmla="*/ 352 h 402"/>
                <a:gd name="T66" fmla="*/ 9 w 348"/>
                <a:gd name="T67" fmla="*/ 357 h 402"/>
                <a:gd name="T68" fmla="*/ 28 w 348"/>
                <a:gd name="T69" fmla="*/ 377 h 402"/>
                <a:gd name="T70" fmla="*/ 40 w 348"/>
                <a:gd name="T71" fmla="*/ 402 h 402"/>
                <a:gd name="T72" fmla="*/ 60 w 348"/>
                <a:gd name="T73" fmla="*/ 389 h 402"/>
                <a:gd name="T74" fmla="*/ 68 w 348"/>
                <a:gd name="T75" fmla="*/ 377 h 402"/>
                <a:gd name="T76" fmla="*/ 76 w 348"/>
                <a:gd name="T77" fmla="*/ 372 h 402"/>
                <a:gd name="T78" fmla="*/ 82 w 348"/>
                <a:gd name="T79" fmla="*/ 376 h 402"/>
                <a:gd name="T80" fmla="*/ 88 w 348"/>
                <a:gd name="T81" fmla="*/ 385 h 402"/>
                <a:gd name="T82" fmla="*/ 101 w 348"/>
                <a:gd name="T83" fmla="*/ 393 h 402"/>
                <a:gd name="T84" fmla="*/ 111 w 348"/>
                <a:gd name="T85" fmla="*/ 391 h 402"/>
                <a:gd name="T86" fmla="*/ 124 w 348"/>
                <a:gd name="T87" fmla="*/ 376 h 402"/>
                <a:gd name="T88" fmla="*/ 147 w 348"/>
                <a:gd name="T89" fmla="*/ 371 h 402"/>
                <a:gd name="T90" fmla="*/ 149 w 348"/>
                <a:gd name="T91" fmla="*/ 389 h 402"/>
                <a:gd name="T92" fmla="*/ 159 w 348"/>
                <a:gd name="T93" fmla="*/ 391 h 402"/>
                <a:gd name="T94" fmla="*/ 176 w 348"/>
                <a:gd name="T95" fmla="*/ 385 h 402"/>
                <a:gd name="T96" fmla="*/ 220 w 348"/>
                <a:gd name="T97" fmla="*/ 350 h 402"/>
                <a:gd name="T98" fmla="*/ 233 w 348"/>
                <a:gd name="T99" fmla="*/ 318 h 402"/>
                <a:gd name="T100" fmla="*/ 237 w 348"/>
                <a:gd name="T101" fmla="*/ 284 h 402"/>
                <a:gd name="T102" fmla="*/ 241 w 348"/>
                <a:gd name="T103" fmla="*/ 266 h 402"/>
                <a:gd name="T104" fmla="*/ 262 w 348"/>
                <a:gd name="T105" fmla="*/ 235 h 402"/>
                <a:gd name="T106" fmla="*/ 306 w 348"/>
                <a:gd name="T107" fmla="*/ 201 h 402"/>
                <a:gd name="T108" fmla="*/ 320 w 348"/>
                <a:gd name="T109" fmla="*/ 80 h 402"/>
                <a:gd name="T110" fmla="*/ 345 w 348"/>
                <a:gd name="T111" fmla="*/ 30 h 402"/>
                <a:gd name="T112" fmla="*/ 348 w 348"/>
                <a:gd name="T113"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8" h="402">
                  <a:moveTo>
                    <a:pt x="348" y="0"/>
                  </a:moveTo>
                  <a:lnTo>
                    <a:pt x="316" y="13"/>
                  </a:lnTo>
                  <a:lnTo>
                    <a:pt x="288" y="0"/>
                  </a:lnTo>
                  <a:lnTo>
                    <a:pt x="272" y="3"/>
                  </a:lnTo>
                  <a:lnTo>
                    <a:pt x="252" y="15"/>
                  </a:lnTo>
                  <a:lnTo>
                    <a:pt x="230" y="38"/>
                  </a:lnTo>
                  <a:lnTo>
                    <a:pt x="230" y="85"/>
                  </a:lnTo>
                  <a:lnTo>
                    <a:pt x="224" y="96"/>
                  </a:lnTo>
                  <a:lnTo>
                    <a:pt x="204" y="80"/>
                  </a:lnTo>
                  <a:lnTo>
                    <a:pt x="164" y="71"/>
                  </a:lnTo>
                  <a:lnTo>
                    <a:pt x="99" y="71"/>
                  </a:lnTo>
                  <a:lnTo>
                    <a:pt x="94" y="83"/>
                  </a:lnTo>
                  <a:lnTo>
                    <a:pt x="94" y="114"/>
                  </a:lnTo>
                  <a:lnTo>
                    <a:pt x="101" y="119"/>
                  </a:lnTo>
                  <a:lnTo>
                    <a:pt x="115" y="97"/>
                  </a:lnTo>
                  <a:lnTo>
                    <a:pt x="138" y="105"/>
                  </a:lnTo>
                  <a:lnTo>
                    <a:pt x="147" y="114"/>
                  </a:lnTo>
                  <a:lnTo>
                    <a:pt x="149" y="133"/>
                  </a:lnTo>
                  <a:lnTo>
                    <a:pt x="133" y="157"/>
                  </a:lnTo>
                  <a:lnTo>
                    <a:pt x="133" y="170"/>
                  </a:lnTo>
                  <a:lnTo>
                    <a:pt x="145" y="206"/>
                  </a:lnTo>
                  <a:lnTo>
                    <a:pt x="135" y="275"/>
                  </a:lnTo>
                  <a:lnTo>
                    <a:pt x="122" y="281"/>
                  </a:lnTo>
                  <a:lnTo>
                    <a:pt x="107" y="267"/>
                  </a:lnTo>
                  <a:lnTo>
                    <a:pt x="86" y="269"/>
                  </a:lnTo>
                  <a:lnTo>
                    <a:pt x="71" y="257"/>
                  </a:lnTo>
                  <a:lnTo>
                    <a:pt x="56" y="272"/>
                  </a:lnTo>
                  <a:lnTo>
                    <a:pt x="26" y="287"/>
                  </a:lnTo>
                  <a:lnTo>
                    <a:pt x="22" y="304"/>
                  </a:lnTo>
                  <a:lnTo>
                    <a:pt x="28" y="326"/>
                  </a:lnTo>
                  <a:lnTo>
                    <a:pt x="25" y="331"/>
                  </a:lnTo>
                  <a:lnTo>
                    <a:pt x="6" y="334"/>
                  </a:lnTo>
                  <a:lnTo>
                    <a:pt x="0" y="352"/>
                  </a:lnTo>
                  <a:lnTo>
                    <a:pt x="9" y="357"/>
                  </a:lnTo>
                  <a:lnTo>
                    <a:pt x="28" y="377"/>
                  </a:lnTo>
                  <a:lnTo>
                    <a:pt x="40" y="402"/>
                  </a:lnTo>
                  <a:lnTo>
                    <a:pt x="60" y="389"/>
                  </a:lnTo>
                  <a:lnTo>
                    <a:pt x="68" y="377"/>
                  </a:lnTo>
                  <a:lnTo>
                    <a:pt x="76" y="372"/>
                  </a:lnTo>
                  <a:lnTo>
                    <a:pt x="82" y="376"/>
                  </a:lnTo>
                  <a:lnTo>
                    <a:pt x="88" y="385"/>
                  </a:lnTo>
                  <a:lnTo>
                    <a:pt x="101" y="393"/>
                  </a:lnTo>
                  <a:lnTo>
                    <a:pt x="111" y="391"/>
                  </a:lnTo>
                  <a:lnTo>
                    <a:pt x="124" y="376"/>
                  </a:lnTo>
                  <a:lnTo>
                    <a:pt x="147" y="371"/>
                  </a:lnTo>
                  <a:lnTo>
                    <a:pt x="149" y="389"/>
                  </a:lnTo>
                  <a:lnTo>
                    <a:pt x="159" y="391"/>
                  </a:lnTo>
                  <a:lnTo>
                    <a:pt x="176" y="385"/>
                  </a:lnTo>
                  <a:lnTo>
                    <a:pt x="220" y="350"/>
                  </a:lnTo>
                  <a:lnTo>
                    <a:pt x="233" y="318"/>
                  </a:lnTo>
                  <a:lnTo>
                    <a:pt x="237" y="284"/>
                  </a:lnTo>
                  <a:lnTo>
                    <a:pt x="241" y="266"/>
                  </a:lnTo>
                  <a:lnTo>
                    <a:pt x="262" y="235"/>
                  </a:lnTo>
                  <a:lnTo>
                    <a:pt x="306" y="201"/>
                  </a:lnTo>
                  <a:lnTo>
                    <a:pt x="320" y="80"/>
                  </a:lnTo>
                  <a:lnTo>
                    <a:pt x="345" y="30"/>
                  </a:lnTo>
                  <a:lnTo>
                    <a:pt x="348" y="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86" name="Freeform 110">
              <a:extLst>
                <a:ext uri="{FF2B5EF4-FFF2-40B4-BE49-F238E27FC236}">
                  <a16:creationId xmlns:a16="http://schemas.microsoft.com/office/drawing/2014/main" id="{3CE010BA-941C-794C-9ADC-870A0B649830}"/>
                </a:ext>
              </a:extLst>
            </p:cNvPr>
            <p:cNvSpPr>
              <a:spLocks noChangeAspect="1"/>
            </p:cNvSpPr>
            <p:nvPr/>
          </p:nvSpPr>
          <p:spPr bwMode="gray">
            <a:xfrm>
              <a:off x="4841975" y="4206960"/>
              <a:ext cx="46248" cy="34540"/>
            </a:xfrm>
            <a:custGeom>
              <a:avLst/>
              <a:gdLst>
                <a:gd name="T0" fmla="*/ 90 w 90"/>
                <a:gd name="T1" fmla="*/ 0 h 56"/>
                <a:gd name="T2" fmla="*/ 17 w 90"/>
                <a:gd name="T3" fmla="*/ 2 h 56"/>
                <a:gd name="T4" fmla="*/ 11 w 90"/>
                <a:gd name="T5" fmla="*/ 31 h 56"/>
                <a:gd name="T6" fmla="*/ 0 w 90"/>
                <a:gd name="T7" fmla="*/ 45 h 56"/>
                <a:gd name="T8" fmla="*/ 12 w 90"/>
                <a:gd name="T9" fmla="*/ 53 h 56"/>
                <a:gd name="T10" fmla="*/ 11 w 90"/>
                <a:gd name="T11" fmla="*/ 56 h 56"/>
                <a:gd name="T12" fmla="*/ 31 w 90"/>
                <a:gd name="T13" fmla="*/ 51 h 56"/>
                <a:gd name="T14" fmla="*/ 90 w 90"/>
                <a:gd name="T15" fmla="*/ 51 h 56"/>
                <a:gd name="T16" fmla="*/ 85 w 90"/>
                <a:gd name="T17" fmla="*/ 11 h 56"/>
                <a:gd name="T18" fmla="*/ 90 w 90"/>
                <a:gd name="T1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56">
                  <a:moveTo>
                    <a:pt x="90" y="0"/>
                  </a:moveTo>
                  <a:lnTo>
                    <a:pt x="17" y="2"/>
                  </a:lnTo>
                  <a:lnTo>
                    <a:pt x="11" y="31"/>
                  </a:lnTo>
                  <a:lnTo>
                    <a:pt x="0" y="45"/>
                  </a:lnTo>
                  <a:lnTo>
                    <a:pt x="12" y="53"/>
                  </a:lnTo>
                  <a:lnTo>
                    <a:pt x="11" y="56"/>
                  </a:lnTo>
                  <a:lnTo>
                    <a:pt x="31" y="51"/>
                  </a:lnTo>
                  <a:lnTo>
                    <a:pt x="90" y="51"/>
                  </a:lnTo>
                  <a:lnTo>
                    <a:pt x="85" y="11"/>
                  </a:lnTo>
                  <a:lnTo>
                    <a:pt x="90" y="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87" name="Freeform 111">
              <a:extLst>
                <a:ext uri="{FF2B5EF4-FFF2-40B4-BE49-F238E27FC236}">
                  <a16:creationId xmlns:a16="http://schemas.microsoft.com/office/drawing/2014/main" id="{AD732E07-D8D1-4140-9333-A9FF7FA5DD27}"/>
                </a:ext>
              </a:extLst>
            </p:cNvPr>
            <p:cNvSpPr>
              <a:spLocks noChangeAspect="1"/>
            </p:cNvSpPr>
            <p:nvPr/>
          </p:nvSpPr>
          <p:spPr bwMode="gray">
            <a:xfrm>
              <a:off x="4822838" y="4164743"/>
              <a:ext cx="11163" cy="15352"/>
            </a:xfrm>
            <a:custGeom>
              <a:avLst/>
              <a:gdLst>
                <a:gd name="T0" fmla="*/ 21 w 21"/>
                <a:gd name="T1" fmla="*/ 6 h 23"/>
                <a:gd name="T2" fmla="*/ 14 w 21"/>
                <a:gd name="T3" fmla="*/ 23 h 23"/>
                <a:gd name="T4" fmla="*/ 0 w 21"/>
                <a:gd name="T5" fmla="*/ 23 h 23"/>
                <a:gd name="T6" fmla="*/ 7 w 21"/>
                <a:gd name="T7" fmla="*/ 0 h 23"/>
                <a:gd name="T8" fmla="*/ 21 w 21"/>
                <a:gd name="T9" fmla="*/ 6 h 23"/>
              </a:gdLst>
              <a:ahLst/>
              <a:cxnLst>
                <a:cxn ang="0">
                  <a:pos x="T0" y="T1"/>
                </a:cxn>
                <a:cxn ang="0">
                  <a:pos x="T2" y="T3"/>
                </a:cxn>
                <a:cxn ang="0">
                  <a:pos x="T4" y="T5"/>
                </a:cxn>
                <a:cxn ang="0">
                  <a:pos x="T6" y="T7"/>
                </a:cxn>
                <a:cxn ang="0">
                  <a:pos x="T8" y="T9"/>
                </a:cxn>
              </a:cxnLst>
              <a:rect l="0" t="0" r="r" b="b"/>
              <a:pathLst>
                <a:path w="21" h="23">
                  <a:moveTo>
                    <a:pt x="21" y="6"/>
                  </a:moveTo>
                  <a:lnTo>
                    <a:pt x="14" y="23"/>
                  </a:lnTo>
                  <a:lnTo>
                    <a:pt x="0" y="23"/>
                  </a:lnTo>
                  <a:lnTo>
                    <a:pt x="7" y="0"/>
                  </a:lnTo>
                  <a:lnTo>
                    <a:pt x="21" y="6"/>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88" name="Freeform 112">
              <a:extLst>
                <a:ext uri="{FF2B5EF4-FFF2-40B4-BE49-F238E27FC236}">
                  <a16:creationId xmlns:a16="http://schemas.microsoft.com/office/drawing/2014/main" id="{7C0BCDE7-DB1A-AD4A-A34A-6311A3CCB245}"/>
                </a:ext>
              </a:extLst>
            </p:cNvPr>
            <p:cNvSpPr>
              <a:spLocks noChangeAspect="1"/>
            </p:cNvSpPr>
            <p:nvPr/>
          </p:nvSpPr>
          <p:spPr bwMode="gray">
            <a:xfrm>
              <a:off x="4795727" y="4220395"/>
              <a:ext cx="3190" cy="5759"/>
            </a:xfrm>
            <a:custGeom>
              <a:avLst/>
              <a:gdLst>
                <a:gd name="T0" fmla="*/ 3 w 4"/>
                <a:gd name="T1" fmla="*/ 0 h 11"/>
                <a:gd name="T2" fmla="*/ 4 w 4"/>
                <a:gd name="T3" fmla="*/ 5 h 11"/>
                <a:gd name="T4" fmla="*/ 0 w 4"/>
                <a:gd name="T5" fmla="*/ 11 h 11"/>
                <a:gd name="T6" fmla="*/ 3 w 4"/>
                <a:gd name="T7" fmla="*/ 0 h 11"/>
              </a:gdLst>
              <a:ahLst/>
              <a:cxnLst>
                <a:cxn ang="0">
                  <a:pos x="T0" y="T1"/>
                </a:cxn>
                <a:cxn ang="0">
                  <a:pos x="T2" y="T3"/>
                </a:cxn>
                <a:cxn ang="0">
                  <a:pos x="T4" y="T5"/>
                </a:cxn>
                <a:cxn ang="0">
                  <a:pos x="T6" y="T7"/>
                </a:cxn>
              </a:cxnLst>
              <a:rect l="0" t="0" r="r" b="b"/>
              <a:pathLst>
                <a:path w="4" h="11">
                  <a:moveTo>
                    <a:pt x="3" y="0"/>
                  </a:moveTo>
                  <a:lnTo>
                    <a:pt x="4" y="5"/>
                  </a:lnTo>
                  <a:lnTo>
                    <a:pt x="0" y="11"/>
                  </a:lnTo>
                  <a:lnTo>
                    <a:pt x="3" y="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89" name="Freeform 113">
              <a:extLst>
                <a:ext uri="{FF2B5EF4-FFF2-40B4-BE49-F238E27FC236}">
                  <a16:creationId xmlns:a16="http://schemas.microsoft.com/office/drawing/2014/main" id="{22C983DC-3711-B746-A813-A3FF914E531B}"/>
                </a:ext>
              </a:extLst>
            </p:cNvPr>
            <p:cNvSpPr>
              <a:spLocks noChangeAspect="1"/>
            </p:cNvSpPr>
            <p:nvPr/>
          </p:nvSpPr>
          <p:spPr bwMode="gray">
            <a:xfrm>
              <a:off x="5575587" y="3921037"/>
              <a:ext cx="33490" cy="51812"/>
            </a:xfrm>
            <a:custGeom>
              <a:avLst/>
              <a:gdLst>
                <a:gd name="T0" fmla="*/ 55 w 69"/>
                <a:gd name="T1" fmla="*/ 0 h 88"/>
                <a:gd name="T2" fmla="*/ 23 w 69"/>
                <a:gd name="T3" fmla="*/ 20 h 88"/>
                <a:gd name="T4" fmla="*/ 18 w 69"/>
                <a:gd name="T5" fmla="*/ 25 h 88"/>
                <a:gd name="T6" fmla="*/ 12 w 69"/>
                <a:gd name="T7" fmla="*/ 53 h 88"/>
                <a:gd name="T8" fmla="*/ 0 w 69"/>
                <a:gd name="T9" fmla="*/ 73 h 88"/>
                <a:gd name="T10" fmla="*/ 6 w 69"/>
                <a:gd name="T11" fmla="*/ 87 h 88"/>
                <a:gd name="T12" fmla="*/ 26 w 69"/>
                <a:gd name="T13" fmla="*/ 88 h 88"/>
                <a:gd name="T14" fmla="*/ 38 w 69"/>
                <a:gd name="T15" fmla="*/ 81 h 88"/>
                <a:gd name="T16" fmla="*/ 49 w 69"/>
                <a:gd name="T17" fmla="*/ 88 h 88"/>
                <a:gd name="T18" fmla="*/ 66 w 69"/>
                <a:gd name="T19" fmla="*/ 62 h 88"/>
                <a:gd name="T20" fmla="*/ 60 w 69"/>
                <a:gd name="T21" fmla="*/ 58 h 88"/>
                <a:gd name="T22" fmla="*/ 37 w 69"/>
                <a:gd name="T23" fmla="*/ 64 h 88"/>
                <a:gd name="T24" fmla="*/ 32 w 69"/>
                <a:gd name="T25" fmla="*/ 59 h 88"/>
                <a:gd name="T26" fmla="*/ 38 w 69"/>
                <a:gd name="T27" fmla="*/ 59 h 88"/>
                <a:gd name="T28" fmla="*/ 44 w 69"/>
                <a:gd name="T29" fmla="*/ 49 h 88"/>
                <a:gd name="T30" fmla="*/ 69 w 69"/>
                <a:gd name="T31" fmla="*/ 37 h 88"/>
                <a:gd name="T32" fmla="*/ 68 w 69"/>
                <a:gd name="T33" fmla="*/ 20 h 88"/>
                <a:gd name="T34" fmla="*/ 55 w 69"/>
                <a:gd name="T3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88">
                  <a:moveTo>
                    <a:pt x="55" y="0"/>
                  </a:moveTo>
                  <a:lnTo>
                    <a:pt x="23" y="20"/>
                  </a:lnTo>
                  <a:lnTo>
                    <a:pt x="18" y="25"/>
                  </a:lnTo>
                  <a:lnTo>
                    <a:pt x="12" y="53"/>
                  </a:lnTo>
                  <a:lnTo>
                    <a:pt x="0" y="73"/>
                  </a:lnTo>
                  <a:lnTo>
                    <a:pt x="6" y="87"/>
                  </a:lnTo>
                  <a:lnTo>
                    <a:pt x="26" y="88"/>
                  </a:lnTo>
                  <a:lnTo>
                    <a:pt x="38" y="81"/>
                  </a:lnTo>
                  <a:lnTo>
                    <a:pt x="49" y="88"/>
                  </a:lnTo>
                  <a:lnTo>
                    <a:pt x="66" y="62"/>
                  </a:lnTo>
                  <a:lnTo>
                    <a:pt x="60" y="58"/>
                  </a:lnTo>
                  <a:lnTo>
                    <a:pt x="37" y="64"/>
                  </a:lnTo>
                  <a:lnTo>
                    <a:pt x="32" y="59"/>
                  </a:lnTo>
                  <a:lnTo>
                    <a:pt x="38" y="59"/>
                  </a:lnTo>
                  <a:lnTo>
                    <a:pt x="44" y="49"/>
                  </a:lnTo>
                  <a:lnTo>
                    <a:pt x="69" y="37"/>
                  </a:lnTo>
                  <a:lnTo>
                    <a:pt x="68" y="20"/>
                  </a:lnTo>
                  <a:lnTo>
                    <a:pt x="55" y="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90" name="Freeform 114">
              <a:extLst>
                <a:ext uri="{FF2B5EF4-FFF2-40B4-BE49-F238E27FC236}">
                  <a16:creationId xmlns:a16="http://schemas.microsoft.com/office/drawing/2014/main" id="{1D6D8A99-8D85-6C4B-AF12-BF890C7FEF61}"/>
                </a:ext>
              </a:extLst>
            </p:cNvPr>
            <p:cNvSpPr>
              <a:spLocks noChangeAspect="1"/>
            </p:cNvSpPr>
            <p:nvPr/>
          </p:nvSpPr>
          <p:spPr bwMode="gray">
            <a:xfrm>
              <a:off x="5558045" y="3945984"/>
              <a:ext cx="229652" cy="364599"/>
            </a:xfrm>
            <a:custGeom>
              <a:avLst/>
              <a:gdLst>
                <a:gd name="T0" fmla="*/ 283 w 472"/>
                <a:gd name="T1" fmla="*/ 223 h 624"/>
                <a:gd name="T2" fmla="*/ 219 w 472"/>
                <a:gd name="T3" fmla="*/ 288 h 624"/>
                <a:gd name="T4" fmla="*/ 132 w 472"/>
                <a:gd name="T5" fmla="*/ 320 h 624"/>
                <a:gd name="T6" fmla="*/ 85 w 472"/>
                <a:gd name="T7" fmla="*/ 349 h 624"/>
                <a:gd name="T8" fmla="*/ 55 w 472"/>
                <a:gd name="T9" fmla="*/ 359 h 624"/>
                <a:gd name="T10" fmla="*/ 22 w 472"/>
                <a:gd name="T11" fmla="*/ 399 h 624"/>
                <a:gd name="T12" fmla="*/ 0 w 472"/>
                <a:gd name="T13" fmla="*/ 463 h 624"/>
                <a:gd name="T14" fmla="*/ 0 w 472"/>
                <a:gd name="T15" fmla="*/ 547 h 624"/>
                <a:gd name="T16" fmla="*/ 25 w 472"/>
                <a:gd name="T17" fmla="*/ 624 h 624"/>
                <a:gd name="T18" fmla="*/ 73 w 472"/>
                <a:gd name="T19" fmla="*/ 556 h 624"/>
                <a:gd name="T20" fmla="*/ 118 w 472"/>
                <a:gd name="T21" fmla="*/ 522 h 624"/>
                <a:gd name="T22" fmla="*/ 222 w 472"/>
                <a:gd name="T23" fmla="*/ 447 h 624"/>
                <a:gd name="T24" fmla="*/ 305 w 472"/>
                <a:gd name="T25" fmla="*/ 364 h 624"/>
                <a:gd name="T26" fmla="*/ 363 w 472"/>
                <a:gd name="T27" fmla="*/ 290 h 624"/>
                <a:gd name="T28" fmla="*/ 404 w 472"/>
                <a:gd name="T29" fmla="*/ 200 h 624"/>
                <a:gd name="T30" fmla="*/ 418 w 472"/>
                <a:gd name="T31" fmla="*/ 173 h 624"/>
                <a:gd name="T32" fmla="*/ 454 w 472"/>
                <a:gd name="T33" fmla="*/ 78 h 624"/>
                <a:gd name="T34" fmla="*/ 466 w 472"/>
                <a:gd name="T35" fmla="*/ 70 h 624"/>
                <a:gd name="T36" fmla="*/ 464 w 472"/>
                <a:gd name="T37" fmla="*/ 65 h 624"/>
                <a:gd name="T38" fmla="*/ 461 w 472"/>
                <a:gd name="T39" fmla="*/ 29 h 624"/>
                <a:gd name="T40" fmla="*/ 444 w 472"/>
                <a:gd name="T41" fmla="*/ 0 h 624"/>
                <a:gd name="T42" fmla="*/ 376 w 472"/>
                <a:gd name="T43" fmla="*/ 25 h 624"/>
                <a:gd name="T44" fmla="*/ 346 w 472"/>
                <a:gd name="T45" fmla="*/ 29 h 624"/>
                <a:gd name="T46" fmla="*/ 288 w 472"/>
                <a:gd name="T47" fmla="*/ 39 h 624"/>
                <a:gd name="T48" fmla="*/ 217 w 472"/>
                <a:gd name="T49" fmla="*/ 50 h 624"/>
                <a:gd name="T50" fmla="*/ 158 w 472"/>
                <a:gd name="T51" fmla="*/ 71 h 624"/>
                <a:gd name="T52" fmla="*/ 104 w 472"/>
                <a:gd name="T53" fmla="*/ 20 h 624"/>
                <a:gd name="T54" fmla="*/ 84 w 472"/>
                <a:gd name="T55" fmla="*/ 56 h 624"/>
                <a:gd name="T56" fmla="*/ 118 w 472"/>
                <a:gd name="T57" fmla="*/ 112 h 624"/>
                <a:gd name="T58" fmla="*/ 175 w 472"/>
                <a:gd name="T59" fmla="*/ 144 h 624"/>
                <a:gd name="T60" fmla="*/ 245 w 472"/>
                <a:gd name="T61" fmla="*/ 167 h 624"/>
                <a:gd name="T62" fmla="*/ 324 w 472"/>
                <a:gd name="T63" fmla="*/ 18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2" h="624">
                  <a:moveTo>
                    <a:pt x="316" y="192"/>
                  </a:moveTo>
                  <a:lnTo>
                    <a:pt x="283" y="223"/>
                  </a:lnTo>
                  <a:lnTo>
                    <a:pt x="251" y="256"/>
                  </a:lnTo>
                  <a:lnTo>
                    <a:pt x="219" y="288"/>
                  </a:lnTo>
                  <a:lnTo>
                    <a:pt x="186" y="320"/>
                  </a:lnTo>
                  <a:lnTo>
                    <a:pt x="132" y="320"/>
                  </a:lnTo>
                  <a:lnTo>
                    <a:pt x="107" y="333"/>
                  </a:lnTo>
                  <a:lnTo>
                    <a:pt x="85" y="349"/>
                  </a:lnTo>
                  <a:lnTo>
                    <a:pt x="58" y="357"/>
                  </a:lnTo>
                  <a:lnTo>
                    <a:pt x="55" y="359"/>
                  </a:lnTo>
                  <a:lnTo>
                    <a:pt x="41" y="370"/>
                  </a:lnTo>
                  <a:lnTo>
                    <a:pt x="22" y="399"/>
                  </a:lnTo>
                  <a:lnTo>
                    <a:pt x="0" y="420"/>
                  </a:lnTo>
                  <a:lnTo>
                    <a:pt x="0" y="463"/>
                  </a:lnTo>
                  <a:lnTo>
                    <a:pt x="0" y="505"/>
                  </a:lnTo>
                  <a:lnTo>
                    <a:pt x="0" y="547"/>
                  </a:lnTo>
                  <a:lnTo>
                    <a:pt x="0" y="590"/>
                  </a:lnTo>
                  <a:lnTo>
                    <a:pt x="25" y="624"/>
                  </a:lnTo>
                  <a:lnTo>
                    <a:pt x="68" y="574"/>
                  </a:lnTo>
                  <a:lnTo>
                    <a:pt x="73" y="556"/>
                  </a:lnTo>
                  <a:lnTo>
                    <a:pt x="87" y="556"/>
                  </a:lnTo>
                  <a:lnTo>
                    <a:pt x="118" y="522"/>
                  </a:lnTo>
                  <a:lnTo>
                    <a:pt x="181" y="466"/>
                  </a:lnTo>
                  <a:lnTo>
                    <a:pt x="222" y="447"/>
                  </a:lnTo>
                  <a:lnTo>
                    <a:pt x="249" y="415"/>
                  </a:lnTo>
                  <a:lnTo>
                    <a:pt x="305" y="364"/>
                  </a:lnTo>
                  <a:lnTo>
                    <a:pt x="333" y="319"/>
                  </a:lnTo>
                  <a:lnTo>
                    <a:pt x="363" y="290"/>
                  </a:lnTo>
                  <a:lnTo>
                    <a:pt x="376" y="249"/>
                  </a:lnTo>
                  <a:lnTo>
                    <a:pt x="404" y="200"/>
                  </a:lnTo>
                  <a:lnTo>
                    <a:pt x="407" y="184"/>
                  </a:lnTo>
                  <a:lnTo>
                    <a:pt x="418" y="173"/>
                  </a:lnTo>
                  <a:lnTo>
                    <a:pt x="446" y="132"/>
                  </a:lnTo>
                  <a:lnTo>
                    <a:pt x="454" y="78"/>
                  </a:lnTo>
                  <a:lnTo>
                    <a:pt x="472" y="76"/>
                  </a:lnTo>
                  <a:lnTo>
                    <a:pt x="466" y="70"/>
                  </a:lnTo>
                  <a:lnTo>
                    <a:pt x="460" y="71"/>
                  </a:lnTo>
                  <a:lnTo>
                    <a:pt x="464" y="65"/>
                  </a:lnTo>
                  <a:lnTo>
                    <a:pt x="466" y="41"/>
                  </a:lnTo>
                  <a:lnTo>
                    <a:pt x="461" y="29"/>
                  </a:lnTo>
                  <a:lnTo>
                    <a:pt x="469" y="7"/>
                  </a:lnTo>
                  <a:lnTo>
                    <a:pt x="444" y="0"/>
                  </a:lnTo>
                  <a:lnTo>
                    <a:pt x="417" y="17"/>
                  </a:lnTo>
                  <a:lnTo>
                    <a:pt x="376" y="25"/>
                  </a:lnTo>
                  <a:lnTo>
                    <a:pt x="363" y="31"/>
                  </a:lnTo>
                  <a:lnTo>
                    <a:pt x="346" y="29"/>
                  </a:lnTo>
                  <a:lnTo>
                    <a:pt x="330" y="37"/>
                  </a:lnTo>
                  <a:lnTo>
                    <a:pt x="288" y="39"/>
                  </a:lnTo>
                  <a:lnTo>
                    <a:pt x="254" y="58"/>
                  </a:lnTo>
                  <a:lnTo>
                    <a:pt x="217" y="50"/>
                  </a:lnTo>
                  <a:lnTo>
                    <a:pt x="181" y="71"/>
                  </a:lnTo>
                  <a:lnTo>
                    <a:pt x="158" y="71"/>
                  </a:lnTo>
                  <a:lnTo>
                    <a:pt x="141" y="63"/>
                  </a:lnTo>
                  <a:lnTo>
                    <a:pt x="104" y="20"/>
                  </a:lnTo>
                  <a:lnTo>
                    <a:pt x="87" y="46"/>
                  </a:lnTo>
                  <a:lnTo>
                    <a:pt x="84" y="56"/>
                  </a:lnTo>
                  <a:lnTo>
                    <a:pt x="87" y="74"/>
                  </a:lnTo>
                  <a:lnTo>
                    <a:pt x="118" y="112"/>
                  </a:lnTo>
                  <a:lnTo>
                    <a:pt x="140" y="130"/>
                  </a:lnTo>
                  <a:lnTo>
                    <a:pt x="175" y="144"/>
                  </a:lnTo>
                  <a:lnTo>
                    <a:pt x="211" y="156"/>
                  </a:lnTo>
                  <a:lnTo>
                    <a:pt x="245" y="167"/>
                  </a:lnTo>
                  <a:lnTo>
                    <a:pt x="280" y="180"/>
                  </a:lnTo>
                  <a:lnTo>
                    <a:pt x="324" y="180"/>
                  </a:lnTo>
                  <a:lnTo>
                    <a:pt x="316" y="192"/>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91" name="Freeform 115">
              <a:extLst>
                <a:ext uri="{FF2B5EF4-FFF2-40B4-BE49-F238E27FC236}">
                  <a16:creationId xmlns:a16="http://schemas.microsoft.com/office/drawing/2014/main" id="{5B8DA7C1-ED5F-6A45-82B1-F84AD394264F}"/>
                </a:ext>
              </a:extLst>
            </p:cNvPr>
            <p:cNvSpPr>
              <a:spLocks noChangeAspect="1"/>
            </p:cNvSpPr>
            <p:nvPr/>
          </p:nvSpPr>
          <p:spPr bwMode="gray">
            <a:xfrm>
              <a:off x="5377832" y="3865388"/>
              <a:ext cx="338097" cy="307032"/>
            </a:xfrm>
            <a:custGeom>
              <a:avLst/>
              <a:gdLst>
                <a:gd name="T0" fmla="*/ 652 w 693"/>
                <a:gd name="T1" fmla="*/ 362 h 527"/>
                <a:gd name="T2" fmla="*/ 588 w 693"/>
                <a:gd name="T3" fmla="*/ 427 h 527"/>
                <a:gd name="T4" fmla="*/ 501 w 693"/>
                <a:gd name="T5" fmla="*/ 459 h 527"/>
                <a:gd name="T6" fmla="*/ 454 w 693"/>
                <a:gd name="T7" fmla="*/ 488 h 527"/>
                <a:gd name="T8" fmla="*/ 424 w 693"/>
                <a:gd name="T9" fmla="*/ 498 h 527"/>
                <a:gd name="T10" fmla="*/ 386 w 693"/>
                <a:gd name="T11" fmla="*/ 509 h 527"/>
                <a:gd name="T12" fmla="*/ 327 w 693"/>
                <a:gd name="T13" fmla="*/ 503 h 527"/>
                <a:gd name="T14" fmla="*/ 293 w 693"/>
                <a:gd name="T15" fmla="*/ 527 h 527"/>
                <a:gd name="T16" fmla="*/ 224 w 693"/>
                <a:gd name="T17" fmla="*/ 515 h 527"/>
                <a:gd name="T18" fmla="*/ 131 w 693"/>
                <a:gd name="T19" fmla="*/ 476 h 527"/>
                <a:gd name="T20" fmla="*/ 99 w 693"/>
                <a:gd name="T21" fmla="*/ 430 h 527"/>
                <a:gd name="T22" fmla="*/ 52 w 693"/>
                <a:gd name="T23" fmla="*/ 365 h 527"/>
                <a:gd name="T24" fmla="*/ 0 w 693"/>
                <a:gd name="T25" fmla="*/ 325 h 527"/>
                <a:gd name="T26" fmla="*/ 9 w 693"/>
                <a:gd name="T27" fmla="*/ 302 h 527"/>
                <a:gd name="T28" fmla="*/ 51 w 693"/>
                <a:gd name="T29" fmla="*/ 292 h 527"/>
                <a:gd name="T30" fmla="*/ 60 w 693"/>
                <a:gd name="T31" fmla="*/ 205 h 527"/>
                <a:gd name="T32" fmla="*/ 86 w 693"/>
                <a:gd name="T33" fmla="*/ 181 h 527"/>
                <a:gd name="T34" fmla="*/ 125 w 693"/>
                <a:gd name="T35" fmla="*/ 105 h 527"/>
                <a:gd name="T36" fmla="*/ 161 w 693"/>
                <a:gd name="T37" fmla="*/ 41 h 527"/>
                <a:gd name="T38" fmla="*/ 181 w 693"/>
                <a:gd name="T39" fmla="*/ 29 h 527"/>
                <a:gd name="T40" fmla="*/ 193 w 693"/>
                <a:gd name="T41" fmla="*/ 20 h 527"/>
                <a:gd name="T42" fmla="*/ 221 w 693"/>
                <a:gd name="T43" fmla="*/ 0 h 527"/>
                <a:gd name="T44" fmla="*/ 246 w 693"/>
                <a:gd name="T45" fmla="*/ 23 h 527"/>
                <a:gd name="T46" fmla="*/ 272 w 693"/>
                <a:gd name="T47" fmla="*/ 12 h 527"/>
                <a:gd name="T48" fmla="*/ 297 w 693"/>
                <a:gd name="T49" fmla="*/ 15 h 527"/>
                <a:gd name="T50" fmla="*/ 327 w 693"/>
                <a:gd name="T51" fmla="*/ 20 h 527"/>
                <a:gd name="T52" fmla="*/ 374 w 693"/>
                <a:gd name="T53" fmla="*/ 60 h 527"/>
                <a:gd name="T54" fmla="*/ 408 w 693"/>
                <a:gd name="T55" fmla="*/ 97 h 527"/>
                <a:gd name="T56" fmla="*/ 425 w 693"/>
                <a:gd name="T57" fmla="*/ 122 h 527"/>
                <a:gd name="T58" fmla="*/ 407 w 693"/>
                <a:gd name="T59" fmla="*/ 170 h 527"/>
                <a:gd name="T60" fmla="*/ 433 w 693"/>
                <a:gd name="T61" fmla="*/ 185 h 527"/>
                <a:gd name="T62" fmla="*/ 456 w 693"/>
                <a:gd name="T63" fmla="*/ 185 h 527"/>
                <a:gd name="T64" fmla="*/ 456 w 693"/>
                <a:gd name="T65" fmla="*/ 213 h 527"/>
                <a:gd name="T66" fmla="*/ 509 w 693"/>
                <a:gd name="T67" fmla="*/ 269 h 527"/>
                <a:gd name="T68" fmla="*/ 580 w 693"/>
                <a:gd name="T69" fmla="*/ 295 h 527"/>
                <a:gd name="T70" fmla="*/ 649 w 693"/>
                <a:gd name="T71" fmla="*/ 319 h 527"/>
                <a:gd name="T72" fmla="*/ 685 w 693"/>
                <a:gd name="T73" fmla="*/ 33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3" h="527">
                  <a:moveTo>
                    <a:pt x="685" y="331"/>
                  </a:moveTo>
                  <a:lnTo>
                    <a:pt x="652" y="362"/>
                  </a:lnTo>
                  <a:lnTo>
                    <a:pt x="620" y="395"/>
                  </a:lnTo>
                  <a:lnTo>
                    <a:pt x="588" y="427"/>
                  </a:lnTo>
                  <a:lnTo>
                    <a:pt x="555" y="459"/>
                  </a:lnTo>
                  <a:lnTo>
                    <a:pt x="501" y="459"/>
                  </a:lnTo>
                  <a:lnTo>
                    <a:pt x="476" y="472"/>
                  </a:lnTo>
                  <a:lnTo>
                    <a:pt x="454" y="488"/>
                  </a:lnTo>
                  <a:lnTo>
                    <a:pt x="427" y="496"/>
                  </a:lnTo>
                  <a:lnTo>
                    <a:pt x="424" y="498"/>
                  </a:lnTo>
                  <a:lnTo>
                    <a:pt x="410" y="509"/>
                  </a:lnTo>
                  <a:lnTo>
                    <a:pt x="386" y="509"/>
                  </a:lnTo>
                  <a:lnTo>
                    <a:pt x="359" y="495"/>
                  </a:lnTo>
                  <a:lnTo>
                    <a:pt x="327" y="503"/>
                  </a:lnTo>
                  <a:lnTo>
                    <a:pt x="314" y="517"/>
                  </a:lnTo>
                  <a:lnTo>
                    <a:pt x="293" y="527"/>
                  </a:lnTo>
                  <a:lnTo>
                    <a:pt x="273" y="527"/>
                  </a:lnTo>
                  <a:lnTo>
                    <a:pt x="224" y="515"/>
                  </a:lnTo>
                  <a:lnTo>
                    <a:pt x="168" y="480"/>
                  </a:lnTo>
                  <a:lnTo>
                    <a:pt x="131" y="476"/>
                  </a:lnTo>
                  <a:lnTo>
                    <a:pt x="133" y="444"/>
                  </a:lnTo>
                  <a:lnTo>
                    <a:pt x="99" y="430"/>
                  </a:lnTo>
                  <a:lnTo>
                    <a:pt x="78" y="382"/>
                  </a:lnTo>
                  <a:lnTo>
                    <a:pt x="52" y="365"/>
                  </a:lnTo>
                  <a:lnTo>
                    <a:pt x="40" y="340"/>
                  </a:lnTo>
                  <a:lnTo>
                    <a:pt x="0" y="325"/>
                  </a:lnTo>
                  <a:lnTo>
                    <a:pt x="9" y="315"/>
                  </a:lnTo>
                  <a:lnTo>
                    <a:pt x="9" y="302"/>
                  </a:lnTo>
                  <a:lnTo>
                    <a:pt x="35" y="300"/>
                  </a:lnTo>
                  <a:lnTo>
                    <a:pt x="51" y="292"/>
                  </a:lnTo>
                  <a:lnTo>
                    <a:pt x="57" y="204"/>
                  </a:lnTo>
                  <a:lnTo>
                    <a:pt x="60" y="205"/>
                  </a:lnTo>
                  <a:lnTo>
                    <a:pt x="68" y="190"/>
                  </a:lnTo>
                  <a:lnTo>
                    <a:pt x="86" y="181"/>
                  </a:lnTo>
                  <a:lnTo>
                    <a:pt x="95" y="148"/>
                  </a:lnTo>
                  <a:lnTo>
                    <a:pt x="125" y="105"/>
                  </a:lnTo>
                  <a:lnTo>
                    <a:pt x="145" y="90"/>
                  </a:lnTo>
                  <a:lnTo>
                    <a:pt x="161" y="41"/>
                  </a:lnTo>
                  <a:lnTo>
                    <a:pt x="161" y="28"/>
                  </a:lnTo>
                  <a:lnTo>
                    <a:pt x="181" y="29"/>
                  </a:lnTo>
                  <a:lnTo>
                    <a:pt x="187" y="20"/>
                  </a:lnTo>
                  <a:lnTo>
                    <a:pt x="193" y="20"/>
                  </a:lnTo>
                  <a:lnTo>
                    <a:pt x="205" y="37"/>
                  </a:lnTo>
                  <a:lnTo>
                    <a:pt x="221" y="0"/>
                  </a:lnTo>
                  <a:lnTo>
                    <a:pt x="238" y="11"/>
                  </a:lnTo>
                  <a:lnTo>
                    <a:pt x="246" y="23"/>
                  </a:lnTo>
                  <a:lnTo>
                    <a:pt x="267" y="19"/>
                  </a:lnTo>
                  <a:lnTo>
                    <a:pt x="272" y="12"/>
                  </a:lnTo>
                  <a:lnTo>
                    <a:pt x="283" y="20"/>
                  </a:lnTo>
                  <a:lnTo>
                    <a:pt x="297" y="15"/>
                  </a:lnTo>
                  <a:lnTo>
                    <a:pt x="314" y="23"/>
                  </a:lnTo>
                  <a:lnTo>
                    <a:pt x="327" y="20"/>
                  </a:lnTo>
                  <a:lnTo>
                    <a:pt x="352" y="34"/>
                  </a:lnTo>
                  <a:lnTo>
                    <a:pt x="374" y="60"/>
                  </a:lnTo>
                  <a:lnTo>
                    <a:pt x="399" y="79"/>
                  </a:lnTo>
                  <a:lnTo>
                    <a:pt x="408" y="97"/>
                  </a:lnTo>
                  <a:lnTo>
                    <a:pt x="430" y="117"/>
                  </a:lnTo>
                  <a:lnTo>
                    <a:pt x="425" y="122"/>
                  </a:lnTo>
                  <a:lnTo>
                    <a:pt x="419" y="150"/>
                  </a:lnTo>
                  <a:lnTo>
                    <a:pt x="407" y="170"/>
                  </a:lnTo>
                  <a:lnTo>
                    <a:pt x="413" y="184"/>
                  </a:lnTo>
                  <a:lnTo>
                    <a:pt x="433" y="185"/>
                  </a:lnTo>
                  <a:lnTo>
                    <a:pt x="445" y="178"/>
                  </a:lnTo>
                  <a:lnTo>
                    <a:pt x="456" y="185"/>
                  </a:lnTo>
                  <a:lnTo>
                    <a:pt x="453" y="195"/>
                  </a:lnTo>
                  <a:lnTo>
                    <a:pt x="456" y="213"/>
                  </a:lnTo>
                  <a:lnTo>
                    <a:pt x="487" y="251"/>
                  </a:lnTo>
                  <a:lnTo>
                    <a:pt x="509" y="269"/>
                  </a:lnTo>
                  <a:lnTo>
                    <a:pt x="544" y="283"/>
                  </a:lnTo>
                  <a:lnTo>
                    <a:pt x="580" y="295"/>
                  </a:lnTo>
                  <a:lnTo>
                    <a:pt x="614" y="306"/>
                  </a:lnTo>
                  <a:lnTo>
                    <a:pt x="649" y="319"/>
                  </a:lnTo>
                  <a:lnTo>
                    <a:pt x="693" y="319"/>
                  </a:lnTo>
                  <a:lnTo>
                    <a:pt x="685" y="331"/>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92" name="Freeform 116">
              <a:extLst>
                <a:ext uri="{FF2B5EF4-FFF2-40B4-BE49-F238E27FC236}">
                  <a16:creationId xmlns:a16="http://schemas.microsoft.com/office/drawing/2014/main" id="{1991A941-6907-F543-A5DB-D4E815653C0D}"/>
                </a:ext>
              </a:extLst>
            </p:cNvPr>
            <p:cNvSpPr>
              <a:spLocks noChangeAspect="1" noEditPoints="1"/>
            </p:cNvSpPr>
            <p:nvPr/>
          </p:nvSpPr>
          <p:spPr bwMode="gray">
            <a:xfrm>
              <a:off x="5454382" y="3773278"/>
              <a:ext cx="148316" cy="159272"/>
            </a:xfrm>
            <a:custGeom>
              <a:avLst/>
              <a:gdLst>
                <a:gd name="T0" fmla="*/ 93 w 304"/>
                <a:gd name="T1" fmla="*/ 0 h 272"/>
                <a:gd name="T2" fmla="*/ 85 w 304"/>
                <a:gd name="T3" fmla="*/ 22 h 272"/>
                <a:gd name="T4" fmla="*/ 49 w 304"/>
                <a:gd name="T5" fmla="*/ 37 h 272"/>
                <a:gd name="T6" fmla="*/ 38 w 304"/>
                <a:gd name="T7" fmla="*/ 47 h 272"/>
                <a:gd name="T8" fmla="*/ 27 w 304"/>
                <a:gd name="T9" fmla="*/ 48 h 272"/>
                <a:gd name="T10" fmla="*/ 0 w 304"/>
                <a:gd name="T11" fmla="*/ 152 h 272"/>
                <a:gd name="T12" fmla="*/ 3 w 304"/>
                <a:gd name="T13" fmla="*/ 183 h 272"/>
                <a:gd name="T14" fmla="*/ 23 w 304"/>
                <a:gd name="T15" fmla="*/ 184 h 272"/>
                <a:gd name="T16" fmla="*/ 29 w 304"/>
                <a:gd name="T17" fmla="*/ 175 h 272"/>
                <a:gd name="T18" fmla="*/ 35 w 304"/>
                <a:gd name="T19" fmla="*/ 175 h 272"/>
                <a:gd name="T20" fmla="*/ 47 w 304"/>
                <a:gd name="T21" fmla="*/ 192 h 272"/>
                <a:gd name="T22" fmla="*/ 63 w 304"/>
                <a:gd name="T23" fmla="*/ 155 h 272"/>
                <a:gd name="T24" fmla="*/ 80 w 304"/>
                <a:gd name="T25" fmla="*/ 166 h 272"/>
                <a:gd name="T26" fmla="*/ 88 w 304"/>
                <a:gd name="T27" fmla="*/ 178 h 272"/>
                <a:gd name="T28" fmla="*/ 109 w 304"/>
                <a:gd name="T29" fmla="*/ 174 h 272"/>
                <a:gd name="T30" fmla="*/ 114 w 304"/>
                <a:gd name="T31" fmla="*/ 167 h 272"/>
                <a:gd name="T32" fmla="*/ 125 w 304"/>
                <a:gd name="T33" fmla="*/ 175 h 272"/>
                <a:gd name="T34" fmla="*/ 139 w 304"/>
                <a:gd name="T35" fmla="*/ 170 h 272"/>
                <a:gd name="T36" fmla="*/ 156 w 304"/>
                <a:gd name="T37" fmla="*/ 178 h 272"/>
                <a:gd name="T38" fmla="*/ 169 w 304"/>
                <a:gd name="T39" fmla="*/ 175 h 272"/>
                <a:gd name="T40" fmla="*/ 194 w 304"/>
                <a:gd name="T41" fmla="*/ 189 h 272"/>
                <a:gd name="T42" fmla="*/ 216 w 304"/>
                <a:gd name="T43" fmla="*/ 215 h 272"/>
                <a:gd name="T44" fmla="*/ 241 w 304"/>
                <a:gd name="T45" fmla="*/ 234 h 272"/>
                <a:gd name="T46" fmla="*/ 250 w 304"/>
                <a:gd name="T47" fmla="*/ 252 h 272"/>
                <a:gd name="T48" fmla="*/ 272 w 304"/>
                <a:gd name="T49" fmla="*/ 272 h 272"/>
                <a:gd name="T50" fmla="*/ 304 w 304"/>
                <a:gd name="T51" fmla="*/ 252 h 272"/>
                <a:gd name="T52" fmla="*/ 276 w 304"/>
                <a:gd name="T53" fmla="*/ 234 h 272"/>
                <a:gd name="T54" fmla="*/ 267 w 304"/>
                <a:gd name="T55" fmla="*/ 217 h 272"/>
                <a:gd name="T56" fmla="*/ 259 w 304"/>
                <a:gd name="T57" fmla="*/ 213 h 272"/>
                <a:gd name="T58" fmla="*/ 253 w 304"/>
                <a:gd name="T59" fmla="*/ 203 h 272"/>
                <a:gd name="T60" fmla="*/ 242 w 304"/>
                <a:gd name="T61" fmla="*/ 200 h 272"/>
                <a:gd name="T62" fmla="*/ 222 w 304"/>
                <a:gd name="T63" fmla="*/ 169 h 272"/>
                <a:gd name="T64" fmla="*/ 199 w 304"/>
                <a:gd name="T65" fmla="*/ 162 h 272"/>
                <a:gd name="T66" fmla="*/ 186 w 304"/>
                <a:gd name="T67" fmla="*/ 150 h 272"/>
                <a:gd name="T68" fmla="*/ 173 w 304"/>
                <a:gd name="T69" fmla="*/ 152 h 272"/>
                <a:gd name="T70" fmla="*/ 164 w 304"/>
                <a:gd name="T71" fmla="*/ 141 h 272"/>
                <a:gd name="T72" fmla="*/ 165 w 304"/>
                <a:gd name="T73" fmla="*/ 130 h 272"/>
                <a:gd name="T74" fmla="*/ 159 w 304"/>
                <a:gd name="T75" fmla="*/ 127 h 272"/>
                <a:gd name="T76" fmla="*/ 154 w 304"/>
                <a:gd name="T77" fmla="*/ 130 h 272"/>
                <a:gd name="T78" fmla="*/ 156 w 304"/>
                <a:gd name="T79" fmla="*/ 142 h 272"/>
                <a:gd name="T80" fmla="*/ 148 w 304"/>
                <a:gd name="T81" fmla="*/ 141 h 272"/>
                <a:gd name="T82" fmla="*/ 143 w 304"/>
                <a:gd name="T83" fmla="*/ 124 h 272"/>
                <a:gd name="T84" fmla="*/ 137 w 304"/>
                <a:gd name="T85" fmla="*/ 119 h 272"/>
                <a:gd name="T86" fmla="*/ 126 w 304"/>
                <a:gd name="T87" fmla="*/ 101 h 272"/>
                <a:gd name="T88" fmla="*/ 109 w 304"/>
                <a:gd name="T89" fmla="*/ 27 h 272"/>
                <a:gd name="T90" fmla="*/ 93 w 304"/>
                <a:gd name="T91" fmla="*/ 0 h 272"/>
                <a:gd name="T92" fmla="*/ 173 w 304"/>
                <a:gd name="T93" fmla="*/ 115 h 272"/>
                <a:gd name="T94" fmla="*/ 164 w 304"/>
                <a:gd name="T95" fmla="*/ 108 h 272"/>
                <a:gd name="T96" fmla="*/ 157 w 304"/>
                <a:gd name="T97" fmla="*/ 111 h 272"/>
                <a:gd name="T98" fmla="*/ 162 w 304"/>
                <a:gd name="T99" fmla="*/ 113 h 272"/>
                <a:gd name="T100" fmla="*/ 164 w 304"/>
                <a:gd name="T101" fmla="*/ 116 h 272"/>
                <a:gd name="T102" fmla="*/ 159 w 304"/>
                <a:gd name="T103" fmla="*/ 116 h 272"/>
                <a:gd name="T104" fmla="*/ 162 w 304"/>
                <a:gd name="T105" fmla="*/ 119 h 272"/>
                <a:gd name="T106" fmla="*/ 179 w 304"/>
                <a:gd name="T107" fmla="*/ 121 h 272"/>
                <a:gd name="T108" fmla="*/ 173 w 304"/>
                <a:gd name="T109" fmla="*/ 115 h 272"/>
                <a:gd name="T110" fmla="*/ 164 w 304"/>
                <a:gd name="T111" fmla="*/ 96 h 272"/>
                <a:gd name="T112" fmla="*/ 160 w 304"/>
                <a:gd name="T113" fmla="*/ 99 h 272"/>
                <a:gd name="T114" fmla="*/ 165 w 304"/>
                <a:gd name="T115" fmla="*/ 102 h 272"/>
                <a:gd name="T116" fmla="*/ 164 w 304"/>
                <a:gd name="T117" fmla="*/ 96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4" h="272">
                  <a:moveTo>
                    <a:pt x="93" y="0"/>
                  </a:moveTo>
                  <a:lnTo>
                    <a:pt x="85" y="22"/>
                  </a:lnTo>
                  <a:lnTo>
                    <a:pt x="49" y="37"/>
                  </a:lnTo>
                  <a:lnTo>
                    <a:pt x="38" y="47"/>
                  </a:lnTo>
                  <a:lnTo>
                    <a:pt x="27" y="48"/>
                  </a:lnTo>
                  <a:lnTo>
                    <a:pt x="0" y="152"/>
                  </a:lnTo>
                  <a:lnTo>
                    <a:pt x="3" y="183"/>
                  </a:lnTo>
                  <a:lnTo>
                    <a:pt x="23" y="184"/>
                  </a:lnTo>
                  <a:lnTo>
                    <a:pt x="29" y="175"/>
                  </a:lnTo>
                  <a:lnTo>
                    <a:pt x="35" y="175"/>
                  </a:lnTo>
                  <a:lnTo>
                    <a:pt x="47" y="192"/>
                  </a:lnTo>
                  <a:lnTo>
                    <a:pt x="63" y="155"/>
                  </a:lnTo>
                  <a:lnTo>
                    <a:pt x="80" y="166"/>
                  </a:lnTo>
                  <a:lnTo>
                    <a:pt x="88" y="178"/>
                  </a:lnTo>
                  <a:lnTo>
                    <a:pt x="109" y="174"/>
                  </a:lnTo>
                  <a:lnTo>
                    <a:pt x="114" y="167"/>
                  </a:lnTo>
                  <a:lnTo>
                    <a:pt x="125" y="175"/>
                  </a:lnTo>
                  <a:lnTo>
                    <a:pt x="139" y="170"/>
                  </a:lnTo>
                  <a:lnTo>
                    <a:pt x="156" y="178"/>
                  </a:lnTo>
                  <a:lnTo>
                    <a:pt x="169" y="175"/>
                  </a:lnTo>
                  <a:lnTo>
                    <a:pt x="194" y="189"/>
                  </a:lnTo>
                  <a:lnTo>
                    <a:pt x="216" y="215"/>
                  </a:lnTo>
                  <a:lnTo>
                    <a:pt x="241" y="234"/>
                  </a:lnTo>
                  <a:lnTo>
                    <a:pt x="250" y="252"/>
                  </a:lnTo>
                  <a:lnTo>
                    <a:pt x="272" y="272"/>
                  </a:lnTo>
                  <a:lnTo>
                    <a:pt x="304" y="252"/>
                  </a:lnTo>
                  <a:lnTo>
                    <a:pt x="276" y="234"/>
                  </a:lnTo>
                  <a:lnTo>
                    <a:pt x="267" y="217"/>
                  </a:lnTo>
                  <a:lnTo>
                    <a:pt x="259" y="213"/>
                  </a:lnTo>
                  <a:lnTo>
                    <a:pt x="253" y="203"/>
                  </a:lnTo>
                  <a:lnTo>
                    <a:pt x="242" y="200"/>
                  </a:lnTo>
                  <a:lnTo>
                    <a:pt x="222" y="169"/>
                  </a:lnTo>
                  <a:lnTo>
                    <a:pt x="199" y="162"/>
                  </a:lnTo>
                  <a:lnTo>
                    <a:pt x="186" y="150"/>
                  </a:lnTo>
                  <a:lnTo>
                    <a:pt x="173" y="152"/>
                  </a:lnTo>
                  <a:lnTo>
                    <a:pt x="164" y="141"/>
                  </a:lnTo>
                  <a:lnTo>
                    <a:pt x="165" y="130"/>
                  </a:lnTo>
                  <a:lnTo>
                    <a:pt x="159" y="127"/>
                  </a:lnTo>
                  <a:lnTo>
                    <a:pt x="154" y="130"/>
                  </a:lnTo>
                  <a:lnTo>
                    <a:pt x="156" y="142"/>
                  </a:lnTo>
                  <a:lnTo>
                    <a:pt x="148" y="141"/>
                  </a:lnTo>
                  <a:lnTo>
                    <a:pt x="143" y="124"/>
                  </a:lnTo>
                  <a:lnTo>
                    <a:pt x="137" y="119"/>
                  </a:lnTo>
                  <a:lnTo>
                    <a:pt x="126" y="101"/>
                  </a:lnTo>
                  <a:lnTo>
                    <a:pt x="109" y="27"/>
                  </a:lnTo>
                  <a:lnTo>
                    <a:pt x="93" y="0"/>
                  </a:lnTo>
                  <a:close/>
                  <a:moveTo>
                    <a:pt x="173" y="115"/>
                  </a:moveTo>
                  <a:lnTo>
                    <a:pt x="164" y="108"/>
                  </a:lnTo>
                  <a:lnTo>
                    <a:pt x="157" y="111"/>
                  </a:lnTo>
                  <a:lnTo>
                    <a:pt x="162" y="113"/>
                  </a:lnTo>
                  <a:lnTo>
                    <a:pt x="164" y="116"/>
                  </a:lnTo>
                  <a:lnTo>
                    <a:pt x="159" y="116"/>
                  </a:lnTo>
                  <a:lnTo>
                    <a:pt x="162" y="119"/>
                  </a:lnTo>
                  <a:lnTo>
                    <a:pt x="179" y="121"/>
                  </a:lnTo>
                  <a:lnTo>
                    <a:pt x="173" y="115"/>
                  </a:lnTo>
                  <a:close/>
                  <a:moveTo>
                    <a:pt x="164" y="96"/>
                  </a:moveTo>
                  <a:lnTo>
                    <a:pt x="160" y="99"/>
                  </a:lnTo>
                  <a:lnTo>
                    <a:pt x="165" y="102"/>
                  </a:lnTo>
                  <a:lnTo>
                    <a:pt x="164" y="96"/>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93" name="Freeform 117">
              <a:extLst>
                <a:ext uri="{FF2B5EF4-FFF2-40B4-BE49-F238E27FC236}">
                  <a16:creationId xmlns:a16="http://schemas.microsoft.com/office/drawing/2014/main" id="{9377A9F9-D72A-F24C-B2A5-A6D2B1AC2448}"/>
                </a:ext>
              </a:extLst>
            </p:cNvPr>
            <p:cNvSpPr>
              <a:spLocks noChangeAspect="1" noEditPoints="1"/>
            </p:cNvSpPr>
            <p:nvPr/>
          </p:nvSpPr>
          <p:spPr bwMode="gray">
            <a:xfrm>
              <a:off x="4065305" y="3798225"/>
              <a:ext cx="59008" cy="69082"/>
            </a:xfrm>
            <a:custGeom>
              <a:avLst/>
              <a:gdLst>
                <a:gd name="T0" fmla="*/ 13 w 122"/>
                <a:gd name="T1" fmla="*/ 0 h 114"/>
                <a:gd name="T2" fmla="*/ 0 w 122"/>
                <a:gd name="T3" fmla="*/ 2 h 114"/>
                <a:gd name="T4" fmla="*/ 1 w 122"/>
                <a:gd name="T5" fmla="*/ 12 h 114"/>
                <a:gd name="T6" fmla="*/ 15 w 122"/>
                <a:gd name="T7" fmla="*/ 6 h 114"/>
                <a:gd name="T8" fmla="*/ 13 w 122"/>
                <a:gd name="T9" fmla="*/ 0 h 114"/>
                <a:gd name="T10" fmla="*/ 43 w 122"/>
                <a:gd name="T11" fmla="*/ 107 h 114"/>
                <a:gd name="T12" fmla="*/ 38 w 122"/>
                <a:gd name="T13" fmla="*/ 107 h 114"/>
                <a:gd name="T14" fmla="*/ 38 w 122"/>
                <a:gd name="T15" fmla="*/ 114 h 114"/>
                <a:gd name="T16" fmla="*/ 46 w 122"/>
                <a:gd name="T17" fmla="*/ 110 h 114"/>
                <a:gd name="T18" fmla="*/ 43 w 122"/>
                <a:gd name="T19" fmla="*/ 107 h 114"/>
                <a:gd name="T20" fmla="*/ 72 w 122"/>
                <a:gd name="T21" fmla="*/ 91 h 114"/>
                <a:gd name="T22" fmla="*/ 72 w 122"/>
                <a:gd name="T23" fmla="*/ 108 h 114"/>
                <a:gd name="T24" fmla="*/ 85 w 122"/>
                <a:gd name="T25" fmla="*/ 107 h 114"/>
                <a:gd name="T26" fmla="*/ 85 w 122"/>
                <a:gd name="T27" fmla="*/ 100 h 114"/>
                <a:gd name="T28" fmla="*/ 72 w 122"/>
                <a:gd name="T29" fmla="*/ 91 h 114"/>
                <a:gd name="T30" fmla="*/ 111 w 122"/>
                <a:gd name="T31" fmla="*/ 49 h 114"/>
                <a:gd name="T32" fmla="*/ 120 w 122"/>
                <a:gd name="T33" fmla="*/ 51 h 114"/>
                <a:gd name="T34" fmla="*/ 122 w 122"/>
                <a:gd name="T35" fmla="*/ 56 h 114"/>
                <a:gd name="T36" fmla="*/ 113 w 122"/>
                <a:gd name="T37" fmla="*/ 60 h 114"/>
                <a:gd name="T38" fmla="*/ 111 w 122"/>
                <a:gd name="T39" fmla="*/ 49 h 114"/>
                <a:gd name="T40" fmla="*/ 110 w 122"/>
                <a:gd name="T41" fmla="*/ 14 h 114"/>
                <a:gd name="T42" fmla="*/ 108 w 122"/>
                <a:gd name="T43" fmla="*/ 26 h 114"/>
                <a:gd name="T44" fmla="*/ 111 w 122"/>
                <a:gd name="T45" fmla="*/ 26 h 114"/>
                <a:gd name="T46" fmla="*/ 110 w 122"/>
                <a:gd name="T47" fmla="*/ 14 h 114"/>
                <a:gd name="T48" fmla="*/ 63 w 122"/>
                <a:gd name="T49" fmla="*/ 29 h 114"/>
                <a:gd name="T50" fmla="*/ 43 w 122"/>
                <a:gd name="T51" fmla="*/ 26 h 114"/>
                <a:gd name="T52" fmla="*/ 43 w 122"/>
                <a:gd name="T53" fmla="*/ 31 h 114"/>
                <a:gd name="T54" fmla="*/ 63 w 122"/>
                <a:gd name="T55" fmla="*/ 2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2" h="114">
                  <a:moveTo>
                    <a:pt x="13" y="0"/>
                  </a:moveTo>
                  <a:lnTo>
                    <a:pt x="0" y="2"/>
                  </a:lnTo>
                  <a:lnTo>
                    <a:pt x="1" y="12"/>
                  </a:lnTo>
                  <a:lnTo>
                    <a:pt x="15" y="6"/>
                  </a:lnTo>
                  <a:lnTo>
                    <a:pt x="13" y="0"/>
                  </a:lnTo>
                  <a:close/>
                  <a:moveTo>
                    <a:pt x="43" y="107"/>
                  </a:moveTo>
                  <a:lnTo>
                    <a:pt x="38" y="107"/>
                  </a:lnTo>
                  <a:lnTo>
                    <a:pt x="38" y="114"/>
                  </a:lnTo>
                  <a:lnTo>
                    <a:pt x="46" y="110"/>
                  </a:lnTo>
                  <a:lnTo>
                    <a:pt x="43" y="107"/>
                  </a:lnTo>
                  <a:close/>
                  <a:moveTo>
                    <a:pt x="72" y="91"/>
                  </a:moveTo>
                  <a:lnTo>
                    <a:pt x="72" y="108"/>
                  </a:lnTo>
                  <a:lnTo>
                    <a:pt x="85" y="107"/>
                  </a:lnTo>
                  <a:lnTo>
                    <a:pt x="85" y="100"/>
                  </a:lnTo>
                  <a:lnTo>
                    <a:pt x="72" y="91"/>
                  </a:lnTo>
                  <a:close/>
                  <a:moveTo>
                    <a:pt x="111" y="49"/>
                  </a:moveTo>
                  <a:lnTo>
                    <a:pt x="120" y="51"/>
                  </a:lnTo>
                  <a:lnTo>
                    <a:pt x="122" y="56"/>
                  </a:lnTo>
                  <a:lnTo>
                    <a:pt x="113" y="60"/>
                  </a:lnTo>
                  <a:lnTo>
                    <a:pt x="111" y="49"/>
                  </a:lnTo>
                  <a:close/>
                  <a:moveTo>
                    <a:pt x="110" y="14"/>
                  </a:moveTo>
                  <a:lnTo>
                    <a:pt x="108" y="26"/>
                  </a:lnTo>
                  <a:lnTo>
                    <a:pt x="111" y="26"/>
                  </a:lnTo>
                  <a:lnTo>
                    <a:pt x="110" y="14"/>
                  </a:lnTo>
                  <a:close/>
                  <a:moveTo>
                    <a:pt x="63" y="29"/>
                  </a:moveTo>
                  <a:lnTo>
                    <a:pt x="43" y="26"/>
                  </a:lnTo>
                  <a:lnTo>
                    <a:pt x="43" y="31"/>
                  </a:lnTo>
                  <a:lnTo>
                    <a:pt x="63" y="29"/>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94" name="Freeform 118">
              <a:extLst>
                <a:ext uri="{FF2B5EF4-FFF2-40B4-BE49-F238E27FC236}">
                  <a16:creationId xmlns:a16="http://schemas.microsoft.com/office/drawing/2014/main" id="{B97204F8-8B40-3F42-B3E7-74AB92300ACC}"/>
                </a:ext>
              </a:extLst>
            </p:cNvPr>
            <p:cNvSpPr>
              <a:spLocks noChangeAspect="1" noEditPoints="1"/>
            </p:cNvSpPr>
            <p:nvPr/>
          </p:nvSpPr>
          <p:spPr bwMode="gray">
            <a:xfrm>
              <a:off x="4250302" y="3333840"/>
              <a:ext cx="82930" cy="157354"/>
            </a:xfrm>
            <a:custGeom>
              <a:avLst/>
              <a:gdLst>
                <a:gd name="T0" fmla="*/ 41 w 170"/>
                <a:gd name="T1" fmla="*/ 228 h 269"/>
                <a:gd name="T2" fmla="*/ 12 w 170"/>
                <a:gd name="T3" fmla="*/ 239 h 269"/>
                <a:gd name="T4" fmla="*/ 14 w 170"/>
                <a:gd name="T5" fmla="*/ 248 h 269"/>
                <a:gd name="T6" fmla="*/ 20 w 170"/>
                <a:gd name="T7" fmla="*/ 254 h 269"/>
                <a:gd name="T8" fmla="*/ 31 w 170"/>
                <a:gd name="T9" fmla="*/ 251 h 269"/>
                <a:gd name="T10" fmla="*/ 32 w 170"/>
                <a:gd name="T11" fmla="*/ 239 h 269"/>
                <a:gd name="T12" fmla="*/ 44 w 170"/>
                <a:gd name="T13" fmla="*/ 229 h 269"/>
                <a:gd name="T14" fmla="*/ 41 w 170"/>
                <a:gd name="T15" fmla="*/ 228 h 269"/>
                <a:gd name="T16" fmla="*/ 14 w 170"/>
                <a:gd name="T17" fmla="*/ 0 h 269"/>
                <a:gd name="T18" fmla="*/ 0 w 170"/>
                <a:gd name="T19" fmla="*/ 2 h 269"/>
                <a:gd name="T20" fmla="*/ 14 w 170"/>
                <a:gd name="T21" fmla="*/ 11 h 269"/>
                <a:gd name="T22" fmla="*/ 20 w 170"/>
                <a:gd name="T23" fmla="*/ 9 h 269"/>
                <a:gd name="T24" fmla="*/ 20 w 170"/>
                <a:gd name="T25" fmla="*/ 2 h 269"/>
                <a:gd name="T26" fmla="*/ 14 w 170"/>
                <a:gd name="T27" fmla="*/ 0 h 269"/>
                <a:gd name="T28" fmla="*/ 170 w 170"/>
                <a:gd name="T29" fmla="*/ 194 h 269"/>
                <a:gd name="T30" fmla="*/ 156 w 170"/>
                <a:gd name="T31" fmla="*/ 202 h 269"/>
                <a:gd name="T32" fmla="*/ 151 w 170"/>
                <a:gd name="T33" fmla="*/ 211 h 269"/>
                <a:gd name="T34" fmla="*/ 164 w 170"/>
                <a:gd name="T35" fmla="*/ 206 h 269"/>
                <a:gd name="T36" fmla="*/ 170 w 170"/>
                <a:gd name="T37" fmla="*/ 194 h 269"/>
                <a:gd name="T38" fmla="*/ 149 w 170"/>
                <a:gd name="T39" fmla="*/ 219 h 269"/>
                <a:gd name="T40" fmla="*/ 145 w 170"/>
                <a:gd name="T41" fmla="*/ 219 h 269"/>
                <a:gd name="T42" fmla="*/ 132 w 170"/>
                <a:gd name="T43" fmla="*/ 248 h 269"/>
                <a:gd name="T44" fmla="*/ 127 w 170"/>
                <a:gd name="T45" fmla="*/ 251 h 269"/>
                <a:gd name="T46" fmla="*/ 147 w 170"/>
                <a:gd name="T47" fmla="*/ 239 h 269"/>
                <a:gd name="T48" fmla="*/ 149 w 170"/>
                <a:gd name="T49" fmla="*/ 219 h 269"/>
                <a:gd name="T50" fmla="*/ 66 w 170"/>
                <a:gd name="T51" fmla="*/ 248 h 269"/>
                <a:gd name="T52" fmla="*/ 61 w 170"/>
                <a:gd name="T53" fmla="*/ 268 h 269"/>
                <a:gd name="T54" fmla="*/ 71 w 170"/>
                <a:gd name="T55" fmla="*/ 269 h 269"/>
                <a:gd name="T56" fmla="*/ 80 w 170"/>
                <a:gd name="T57" fmla="*/ 265 h 269"/>
                <a:gd name="T58" fmla="*/ 80 w 170"/>
                <a:gd name="T59" fmla="*/ 252 h 269"/>
                <a:gd name="T60" fmla="*/ 66 w 170"/>
                <a:gd name="T61" fmla="*/ 248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0" h="269">
                  <a:moveTo>
                    <a:pt x="41" y="228"/>
                  </a:moveTo>
                  <a:lnTo>
                    <a:pt x="12" y="239"/>
                  </a:lnTo>
                  <a:lnTo>
                    <a:pt x="14" y="248"/>
                  </a:lnTo>
                  <a:lnTo>
                    <a:pt x="20" y="254"/>
                  </a:lnTo>
                  <a:lnTo>
                    <a:pt x="31" y="251"/>
                  </a:lnTo>
                  <a:lnTo>
                    <a:pt x="32" y="239"/>
                  </a:lnTo>
                  <a:lnTo>
                    <a:pt x="44" y="229"/>
                  </a:lnTo>
                  <a:lnTo>
                    <a:pt x="41" y="228"/>
                  </a:lnTo>
                  <a:close/>
                  <a:moveTo>
                    <a:pt x="14" y="0"/>
                  </a:moveTo>
                  <a:lnTo>
                    <a:pt x="0" y="2"/>
                  </a:lnTo>
                  <a:lnTo>
                    <a:pt x="14" y="11"/>
                  </a:lnTo>
                  <a:lnTo>
                    <a:pt x="20" y="9"/>
                  </a:lnTo>
                  <a:lnTo>
                    <a:pt x="20" y="2"/>
                  </a:lnTo>
                  <a:lnTo>
                    <a:pt x="14" y="0"/>
                  </a:lnTo>
                  <a:close/>
                  <a:moveTo>
                    <a:pt x="170" y="194"/>
                  </a:moveTo>
                  <a:lnTo>
                    <a:pt x="156" y="202"/>
                  </a:lnTo>
                  <a:lnTo>
                    <a:pt x="151" y="211"/>
                  </a:lnTo>
                  <a:lnTo>
                    <a:pt x="164" y="206"/>
                  </a:lnTo>
                  <a:lnTo>
                    <a:pt x="170" y="194"/>
                  </a:lnTo>
                  <a:close/>
                  <a:moveTo>
                    <a:pt x="149" y="219"/>
                  </a:moveTo>
                  <a:lnTo>
                    <a:pt x="145" y="219"/>
                  </a:lnTo>
                  <a:lnTo>
                    <a:pt x="132" y="248"/>
                  </a:lnTo>
                  <a:lnTo>
                    <a:pt x="127" y="251"/>
                  </a:lnTo>
                  <a:lnTo>
                    <a:pt x="147" y="239"/>
                  </a:lnTo>
                  <a:lnTo>
                    <a:pt x="149" y="219"/>
                  </a:lnTo>
                  <a:close/>
                  <a:moveTo>
                    <a:pt x="66" y="248"/>
                  </a:moveTo>
                  <a:lnTo>
                    <a:pt x="61" y="268"/>
                  </a:lnTo>
                  <a:lnTo>
                    <a:pt x="71" y="269"/>
                  </a:lnTo>
                  <a:lnTo>
                    <a:pt x="80" y="265"/>
                  </a:lnTo>
                  <a:lnTo>
                    <a:pt x="80" y="252"/>
                  </a:lnTo>
                  <a:lnTo>
                    <a:pt x="66" y="248"/>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95" name="Freeform 119">
              <a:extLst>
                <a:ext uri="{FF2B5EF4-FFF2-40B4-BE49-F238E27FC236}">
                  <a16:creationId xmlns:a16="http://schemas.microsoft.com/office/drawing/2014/main" id="{B1B8FEB2-EECA-1049-8882-927883D4EF3C}"/>
                </a:ext>
              </a:extLst>
            </p:cNvPr>
            <p:cNvSpPr>
              <a:spLocks noChangeAspect="1" noEditPoints="1"/>
            </p:cNvSpPr>
            <p:nvPr/>
          </p:nvSpPr>
          <p:spPr bwMode="gray">
            <a:xfrm>
              <a:off x="5605888" y="4573480"/>
              <a:ext cx="46248" cy="47973"/>
            </a:xfrm>
            <a:custGeom>
              <a:avLst/>
              <a:gdLst>
                <a:gd name="T0" fmla="*/ 5 w 93"/>
                <a:gd name="T1" fmla="*/ 0 h 80"/>
                <a:gd name="T2" fmla="*/ 8 w 93"/>
                <a:gd name="T3" fmla="*/ 27 h 80"/>
                <a:gd name="T4" fmla="*/ 0 w 93"/>
                <a:gd name="T5" fmla="*/ 17 h 80"/>
                <a:gd name="T6" fmla="*/ 0 w 93"/>
                <a:gd name="T7" fmla="*/ 4 h 80"/>
                <a:gd name="T8" fmla="*/ 5 w 93"/>
                <a:gd name="T9" fmla="*/ 0 h 80"/>
                <a:gd name="T10" fmla="*/ 93 w 93"/>
                <a:gd name="T11" fmla="*/ 69 h 80"/>
                <a:gd name="T12" fmla="*/ 92 w 93"/>
                <a:gd name="T13" fmla="*/ 80 h 80"/>
                <a:gd name="T14" fmla="*/ 87 w 93"/>
                <a:gd name="T15" fmla="*/ 78 h 80"/>
                <a:gd name="T16" fmla="*/ 84 w 93"/>
                <a:gd name="T17" fmla="*/ 66 h 80"/>
                <a:gd name="T18" fmla="*/ 93 w 93"/>
                <a:gd name="T19" fmla="*/ 69 h 80"/>
                <a:gd name="T20" fmla="*/ 58 w 93"/>
                <a:gd name="T21" fmla="*/ 38 h 80"/>
                <a:gd name="T22" fmla="*/ 58 w 93"/>
                <a:gd name="T23" fmla="*/ 51 h 80"/>
                <a:gd name="T24" fmla="*/ 47 w 93"/>
                <a:gd name="T25" fmla="*/ 41 h 80"/>
                <a:gd name="T26" fmla="*/ 58 w 93"/>
                <a:gd name="T27" fmla="*/ 38 h 80"/>
                <a:gd name="T28" fmla="*/ 30 w 93"/>
                <a:gd name="T29" fmla="*/ 49 h 80"/>
                <a:gd name="T30" fmla="*/ 19 w 93"/>
                <a:gd name="T31" fmla="*/ 44 h 80"/>
                <a:gd name="T32" fmla="*/ 30 w 93"/>
                <a:gd name="T33"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80">
                  <a:moveTo>
                    <a:pt x="5" y="0"/>
                  </a:moveTo>
                  <a:lnTo>
                    <a:pt x="8" y="27"/>
                  </a:lnTo>
                  <a:lnTo>
                    <a:pt x="0" y="17"/>
                  </a:lnTo>
                  <a:lnTo>
                    <a:pt x="0" y="4"/>
                  </a:lnTo>
                  <a:lnTo>
                    <a:pt x="5" y="0"/>
                  </a:lnTo>
                  <a:close/>
                  <a:moveTo>
                    <a:pt x="93" y="69"/>
                  </a:moveTo>
                  <a:lnTo>
                    <a:pt x="92" y="80"/>
                  </a:lnTo>
                  <a:lnTo>
                    <a:pt x="87" y="78"/>
                  </a:lnTo>
                  <a:lnTo>
                    <a:pt x="84" y="66"/>
                  </a:lnTo>
                  <a:lnTo>
                    <a:pt x="93" y="69"/>
                  </a:lnTo>
                  <a:close/>
                  <a:moveTo>
                    <a:pt x="58" y="38"/>
                  </a:moveTo>
                  <a:lnTo>
                    <a:pt x="58" y="51"/>
                  </a:lnTo>
                  <a:lnTo>
                    <a:pt x="47" y="41"/>
                  </a:lnTo>
                  <a:lnTo>
                    <a:pt x="58" y="38"/>
                  </a:lnTo>
                  <a:close/>
                  <a:moveTo>
                    <a:pt x="30" y="49"/>
                  </a:moveTo>
                  <a:lnTo>
                    <a:pt x="19" y="44"/>
                  </a:lnTo>
                  <a:lnTo>
                    <a:pt x="30" y="49"/>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96" name="Freeform 121">
              <a:extLst>
                <a:ext uri="{FF2B5EF4-FFF2-40B4-BE49-F238E27FC236}">
                  <a16:creationId xmlns:a16="http://schemas.microsoft.com/office/drawing/2014/main" id="{AA3D9FFF-028A-E84F-9A9E-0FDFEC7E181E}"/>
                </a:ext>
              </a:extLst>
            </p:cNvPr>
            <p:cNvSpPr>
              <a:spLocks noChangeAspect="1" noEditPoints="1"/>
            </p:cNvSpPr>
            <p:nvPr/>
          </p:nvSpPr>
          <p:spPr bwMode="gray">
            <a:xfrm>
              <a:off x="4798916" y="3182244"/>
              <a:ext cx="89309" cy="228356"/>
            </a:xfrm>
            <a:custGeom>
              <a:avLst/>
              <a:gdLst>
                <a:gd name="T0" fmla="*/ 64 w 183"/>
                <a:gd name="T1" fmla="*/ 22 h 387"/>
                <a:gd name="T2" fmla="*/ 41 w 183"/>
                <a:gd name="T3" fmla="*/ 46 h 387"/>
                <a:gd name="T4" fmla="*/ 50 w 183"/>
                <a:gd name="T5" fmla="*/ 51 h 387"/>
                <a:gd name="T6" fmla="*/ 45 w 183"/>
                <a:gd name="T7" fmla="*/ 86 h 387"/>
                <a:gd name="T8" fmla="*/ 50 w 183"/>
                <a:gd name="T9" fmla="*/ 124 h 387"/>
                <a:gd name="T10" fmla="*/ 41 w 183"/>
                <a:gd name="T11" fmla="*/ 156 h 387"/>
                <a:gd name="T12" fmla="*/ 0 w 183"/>
                <a:gd name="T13" fmla="*/ 192 h 387"/>
                <a:gd name="T14" fmla="*/ 11 w 183"/>
                <a:gd name="T15" fmla="*/ 229 h 387"/>
                <a:gd name="T16" fmla="*/ 31 w 183"/>
                <a:gd name="T17" fmla="*/ 240 h 387"/>
                <a:gd name="T18" fmla="*/ 38 w 183"/>
                <a:gd name="T19" fmla="*/ 257 h 387"/>
                <a:gd name="T20" fmla="*/ 38 w 183"/>
                <a:gd name="T21" fmla="*/ 272 h 387"/>
                <a:gd name="T22" fmla="*/ 76 w 183"/>
                <a:gd name="T23" fmla="*/ 294 h 387"/>
                <a:gd name="T24" fmla="*/ 93 w 183"/>
                <a:gd name="T25" fmla="*/ 387 h 387"/>
                <a:gd name="T26" fmla="*/ 113 w 183"/>
                <a:gd name="T27" fmla="*/ 381 h 387"/>
                <a:gd name="T28" fmla="*/ 127 w 183"/>
                <a:gd name="T29" fmla="*/ 365 h 387"/>
                <a:gd name="T30" fmla="*/ 122 w 183"/>
                <a:gd name="T31" fmla="*/ 333 h 387"/>
                <a:gd name="T32" fmla="*/ 127 w 183"/>
                <a:gd name="T33" fmla="*/ 318 h 387"/>
                <a:gd name="T34" fmla="*/ 180 w 183"/>
                <a:gd name="T35" fmla="*/ 277 h 387"/>
                <a:gd name="T36" fmla="*/ 183 w 183"/>
                <a:gd name="T37" fmla="*/ 269 h 387"/>
                <a:gd name="T38" fmla="*/ 183 w 183"/>
                <a:gd name="T39" fmla="*/ 235 h 387"/>
                <a:gd name="T40" fmla="*/ 170 w 183"/>
                <a:gd name="T41" fmla="*/ 233 h 387"/>
                <a:gd name="T42" fmla="*/ 160 w 183"/>
                <a:gd name="T43" fmla="*/ 212 h 387"/>
                <a:gd name="T44" fmla="*/ 149 w 183"/>
                <a:gd name="T45" fmla="*/ 217 h 387"/>
                <a:gd name="T46" fmla="*/ 143 w 183"/>
                <a:gd name="T47" fmla="*/ 206 h 387"/>
                <a:gd name="T48" fmla="*/ 127 w 183"/>
                <a:gd name="T49" fmla="*/ 206 h 387"/>
                <a:gd name="T50" fmla="*/ 119 w 183"/>
                <a:gd name="T51" fmla="*/ 201 h 387"/>
                <a:gd name="T52" fmla="*/ 116 w 183"/>
                <a:gd name="T53" fmla="*/ 192 h 387"/>
                <a:gd name="T54" fmla="*/ 116 w 183"/>
                <a:gd name="T55" fmla="*/ 181 h 387"/>
                <a:gd name="T56" fmla="*/ 126 w 183"/>
                <a:gd name="T57" fmla="*/ 184 h 387"/>
                <a:gd name="T58" fmla="*/ 127 w 183"/>
                <a:gd name="T59" fmla="*/ 170 h 387"/>
                <a:gd name="T60" fmla="*/ 161 w 183"/>
                <a:gd name="T61" fmla="*/ 145 h 387"/>
                <a:gd name="T62" fmla="*/ 175 w 183"/>
                <a:gd name="T63" fmla="*/ 119 h 387"/>
                <a:gd name="T64" fmla="*/ 170 w 183"/>
                <a:gd name="T65" fmla="*/ 98 h 387"/>
                <a:gd name="T66" fmla="*/ 152 w 183"/>
                <a:gd name="T67" fmla="*/ 86 h 387"/>
                <a:gd name="T68" fmla="*/ 144 w 183"/>
                <a:gd name="T69" fmla="*/ 68 h 387"/>
                <a:gd name="T70" fmla="*/ 147 w 183"/>
                <a:gd name="T71" fmla="*/ 56 h 387"/>
                <a:gd name="T72" fmla="*/ 164 w 183"/>
                <a:gd name="T73" fmla="*/ 46 h 387"/>
                <a:gd name="T74" fmla="*/ 173 w 183"/>
                <a:gd name="T75" fmla="*/ 26 h 387"/>
                <a:gd name="T76" fmla="*/ 170 w 183"/>
                <a:gd name="T77" fmla="*/ 17 h 387"/>
                <a:gd name="T78" fmla="*/ 144 w 183"/>
                <a:gd name="T79" fmla="*/ 34 h 387"/>
                <a:gd name="T80" fmla="*/ 135 w 183"/>
                <a:gd name="T81" fmla="*/ 31 h 387"/>
                <a:gd name="T82" fmla="*/ 133 w 183"/>
                <a:gd name="T83" fmla="*/ 14 h 387"/>
                <a:gd name="T84" fmla="*/ 130 w 183"/>
                <a:gd name="T85" fmla="*/ 6 h 387"/>
                <a:gd name="T86" fmla="*/ 107 w 183"/>
                <a:gd name="T87" fmla="*/ 0 h 387"/>
                <a:gd name="T88" fmla="*/ 87 w 183"/>
                <a:gd name="T89" fmla="*/ 5 h 387"/>
                <a:gd name="T90" fmla="*/ 64 w 183"/>
                <a:gd name="T91" fmla="*/ 22 h 387"/>
                <a:gd name="T92" fmla="*/ 158 w 183"/>
                <a:gd name="T93" fmla="*/ 196 h 387"/>
                <a:gd name="T94" fmla="*/ 160 w 183"/>
                <a:gd name="T95" fmla="*/ 206 h 387"/>
                <a:gd name="T96" fmla="*/ 152 w 183"/>
                <a:gd name="T97" fmla="*/ 206 h 387"/>
                <a:gd name="T98" fmla="*/ 149 w 183"/>
                <a:gd name="T99" fmla="*/ 198 h 387"/>
                <a:gd name="T100" fmla="*/ 158 w 183"/>
                <a:gd name="T101" fmla="*/ 19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3" h="387">
                  <a:moveTo>
                    <a:pt x="64" y="22"/>
                  </a:moveTo>
                  <a:lnTo>
                    <a:pt x="41" y="46"/>
                  </a:lnTo>
                  <a:lnTo>
                    <a:pt x="50" y="51"/>
                  </a:lnTo>
                  <a:lnTo>
                    <a:pt x="45" y="86"/>
                  </a:lnTo>
                  <a:lnTo>
                    <a:pt x="50" y="124"/>
                  </a:lnTo>
                  <a:lnTo>
                    <a:pt x="41" y="156"/>
                  </a:lnTo>
                  <a:lnTo>
                    <a:pt x="0" y="192"/>
                  </a:lnTo>
                  <a:lnTo>
                    <a:pt x="11" y="229"/>
                  </a:lnTo>
                  <a:lnTo>
                    <a:pt x="31" y="240"/>
                  </a:lnTo>
                  <a:lnTo>
                    <a:pt x="38" y="257"/>
                  </a:lnTo>
                  <a:lnTo>
                    <a:pt x="38" y="272"/>
                  </a:lnTo>
                  <a:lnTo>
                    <a:pt x="76" y="294"/>
                  </a:lnTo>
                  <a:lnTo>
                    <a:pt x="93" y="387"/>
                  </a:lnTo>
                  <a:lnTo>
                    <a:pt x="113" y="381"/>
                  </a:lnTo>
                  <a:lnTo>
                    <a:pt x="127" y="365"/>
                  </a:lnTo>
                  <a:lnTo>
                    <a:pt x="122" y="333"/>
                  </a:lnTo>
                  <a:lnTo>
                    <a:pt x="127" y="318"/>
                  </a:lnTo>
                  <a:lnTo>
                    <a:pt x="180" y="277"/>
                  </a:lnTo>
                  <a:lnTo>
                    <a:pt x="183" y="269"/>
                  </a:lnTo>
                  <a:lnTo>
                    <a:pt x="183" y="235"/>
                  </a:lnTo>
                  <a:lnTo>
                    <a:pt x="170" y="233"/>
                  </a:lnTo>
                  <a:lnTo>
                    <a:pt x="160" y="212"/>
                  </a:lnTo>
                  <a:lnTo>
                    <a:pt x="149" y="217"/>
                  </a:lnTo>
                  <a:lnTo>
                    <a:pt x="143" y="206"/>
                  </a:lnTo>
                  <a:lnTo>
                    <a:pt x="127" y="206"/>
                  </a:lnTo>
                  <a:lnTo>
                    <a:pt x="119" y="201"/>
                  </a:lnTo>
                  <a:lnTo>
                    <a:pt x="116" y="192"/>
                  </a:lnTo>
                  <a:lnTo>
                    <a:pt x="116" y="181"/>
                  </a:lnTo>
                  <a:lnTo>
                    <a:pt x="126" y="184"/>
                  </a:lnTo>
                  <a:lnTo>
                    <a:pt x="127" y="170"/>
                  </a:lnTo>
                  <a:lnTo>
                    <a:pt x="161" y="145"/>
                  </a:lnTo>
                  <a:lnTo>
                    <a:pt x="175" y="119"/>
                  </a:lnTo>
                  <a:lnTo>
                    <a:pt x="170" y="98"/>
                  </a:lnTo>
                  <a:lnTo>
                    <a:pt x="152" y="86"/>
                  </a:lnTo>
                  <a:lnTo>
                    <a:pt x="144" y="68"/>
                  </a:lnTo>
                  <a:lnTo>
                    <a:pt x="147" y="56"/>
                  </a:lnTo>
                  <a:lnTo>
                    <a:pt x="164" y="46"/>
                  </a:lnTo>
                  <a:lnTo>
                    <a:pt x="173" y="26"/>
                  </a:lnTo>
                  <a:lnTo>
                    <a:pt x="170" y="17"/>
                  </a:lnTo>
                  <a:lnTo>
                    <a:pt x="144" y="34"/>
                  </a:lnTo>
                  <a:lnTo>
                    <a:pt x="135" y="31"/>
                  </a:lnTo>
                  <a:lnTo>
                    <a:pt x="133" y="14"/>
                  </a:lnTo>
                  <a:lnTo>
                    <a:pt x="130" y="6"/>
                  </a:lnTo>
                  <a:lnTo>
                    <a:pt x="107" y="0"/>
                  </a:lnTo>
                  <a:lnTo>
                    <a:pt x="87" y="5"/>
                  </a:lnTo>
                  <a:lnTo>
                    <a:pt x="64" y="22"/>
                  </a:lnTo>
                  <a:close/>
                  <a:moveTo>
                    <a:pt x="158" y="196"/>
                  </a:moveTo>
                  <a:lnTo>
                    <a:pt x="160" y="206"/>
                  </a:lnTo>
                  <a:lnTo>
                    <a:pt x="152" y="206"/>
                  </a:lnTo>
                  <a:lnTo>
                    <a:pt x="149" y="198"/>
                  </a:lnTo>
                  <a:lnTo>
                    <a:pt x="158" y="196"/>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97" name="Freeform 123">
              <a:extLst>
                <a:ext uri="{FF2B5EF4-FFF2-40B4-BE49-F238E27FC236}">
                  <a16:creationId xmlns:a16="http://schemas.microsoft.com/office/drawing/2014/main" id="{5297A69F-68AE-9340-9A50-3DC8BB65481D}"/>
                </a:ext>
              </a:extLst>
            </p:cNvPr>
            <p:cNvSpPr>
              <a:spLocks noChangeAspect="1"/>
            </p:cNvSpPr>
            <p:nvPr/>
          </p:nvSpPr>
          <p:spPr bwMode="gray">
            <a:xfrm>
              <a:off x="5097764" y="3002460"/>
              <a:ext cx="54046" cy="55625"/>
            </a:xfrm>
            <a:custGeom>
              <a:avLst/>
              <a:gdLst>
                <a:gd name="T0" fmla="*/ 9 w 112"/>
                <a:gd name="T1" fmla="*/ 16 h 90"/>
                <a:gd name="T2" fmla="*/ 13 w 112"/>
                <a:gd name="T3" fmla="*/ 6 h 90"/>
                <a:gd name="T4" fmla="*/ 26 w 112"/>
                <a:gd name="T5" fmla="*/ 3 h 90"/>
                <a:gd name="T6" fmla="*/ 34 w 112"/>
                <a:gd name="T7" fmla="*/ 8 h 90"/>
                <a:gd name="T8" fmla="*/ 43 w 112"/>
                <a:gd name="T9" fmla="*/ 0 h 90"/>
                <a:gd name="T10" fmla="*/ 87 w 112"/>
                <a:gd name="T11" fmla="*/ 3 h 90"/>
                <a:gd name="T12" fmla="*/ 105 w 112"/>
                <a:gd name="T13" fmla="*/ 19 h 90"/>
                <a:gd name="T14" fmla="*/ 112 w 112"/>
                <a:gd name="T15" fmla="*/ 59 h 90"/>
                <a:gd name="T16" fmla="*/ 93 w 112"/>
                <a:gd name="T17" fmla="*/ 72 h 90"/>
                <a:gd name="T18" fmla="*/ 76 w 112"/>
                <a:gd name="T19" fmla="*/ 72 h 90"/>
                <a:gd name="T20" fmla="*/ 51 w 112"/>
                <a:gd name="T21" fmla="*/ 85 h 90"/>
                <a:gd name="T22" fmla="*/ 22 w 112"/>
                <a:gd name="T23" fmla="*/ 90 h 90"/>
                <a:gd name="T24" fmla="*/ 8 w 112"/>
                <a:gd name="T25" fmla="*/ 76 h 90"/>
                <a:gd name="T26" fmla="*/ 0 w 112"/>
                <a:gd name="T27" fmla="*/ 59 h 90"/>
                <a:gd name="T28" fmla="*/ 4 w 112"/>
                <a:gd name="T29" fmla="*/ 14 h 90"/>
                <a:gd name="T30" fmla="*/ 9 w 112"/>
                <a:gd name="T31" fmla="*/ 1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90">
                  <a:moveTo>
                    <a:pt x="9" y="16"/>
                  </a:moveTo>
                  <a:lnTo>
                    <a:pt x="13" y="6"/>
                  </a:lnTo>
                  <a:lnTo>
                    <a:pt x="26" y="3"/>
                  </a:lnTo>
                  <a:lnTo>
                    <a:pt x="34" y="8"/>
                  </a:lnTo>
                  <a:lnTo>
                    <a:pt x="43" y="0"/>
                  </a:lnTo>
                  <a:lnTo>
                    <a:pt x="87" y="3"/>
                  </a:lnTo>
                  <a:lnTo>
                    <a:pt x="105" y="19"/>
                  </a:lnTo>
                  <a:lnTo>
                    <a:pt x="112" y="59"/>
                  </a:lnTo>
                  <a:lnTo>
                    <a:pt x="93" y="72"/>
                  </a:lnTo>
                  <a:lnTo>
                    <a:pt x="76" y="72"/>
                  </a:lnTo>
                  <a:lnTo>
                    <a:pt x="51" y="85"/>
                  </a:lnTo>
                  <a:lnTo>
                    <a:pt x="22" y="90"/>
                  </a:lnTo>
                  <a:lnTo>
                    <a:pt x="8" y="76"/>
                  </a:lnTo>
                  <a:lnTo>
                    <a:pt x="0" y="59"/>
                  </a:lnTo>
                  <a:lnTo>
                    <a:pt x="4" y="14"/>
                  </a:lnTo>
                  <a:lnTo>
                    <a:pt x="9" y="16"/>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98" name="Freeform 124">
              <a:extLst>
                <a:ext uri="{FF2B5EF4-FFF2-40B4-BE49-F238E27FC236}">
                  <a16:creationId xmlns:a16="http://schemas.microsoft.com/office/drawing/2014/main" id="{13FD4B97-9E9C-F845-A0B2-958394F640AA}"/>
                </a:ext>
              </a:extLst>
            </p:cNvPr>
            <p:cNvSpPr>
              <a:spLocks noChangeAspect="1"/>
            </p:cNvSpPr>
            <p:nvPr/>
          </p:nvSpPr>
          <p:spPr bwMode="gray">
            <a:xfrm>
              <a:off x="5067561" y="2990953"/>
              <a:ext cx="41330" cy="109333"/>
            </a:xfrm>
            <a:custGeom>
              <a:avLst/>
              <a:gdLst>
                <a:gd name="T0" fmla="*/ 42 w 83"/>
                <a:gd name="T1" fmla="*/ 181 h 181"/>
                <a:gd name="T2" fmla="*/ 83 w 83"/>
                <a:gd name="T3" fmla="*/ 131 h 181"/>
                <a:gd name="T4" fmla="*/ 81 w 83"/>
                <a:gd name="T5" fmla="*/ 110 h 181"/>
                <a:gd name="T6" fmla="*/ 67 w 83"/>
                <a:gd name="T7" fmla="*/ 96 h 181"/>
                <a:gd name="T8" fmla="*/ 59 w 83"/>
                <a:gd name="T9" fmla="*/ 79 h 181"/>
                <a:gd name="T10" fmla="*/ 63 w 83"/>
                <a:gd name="T11" fmla="*/ 34 h 181"/>
                <a:gd name="T12" fmla="*/ 39 w 83"/>
                <a:gd name="T13" fmla="*/ 8 h 181"/>
                <a:gd name="T14" fmla="*/ 21 w 83"/>
                <a:gd name="T15" fmla="*/ 0 h 181"/>
                <a:gd name="T16" fmla="*/ 8 w 83"/>
                <a:gd name="T17" fmla="*/ 14 h 181"/>
                <a:gd name="T18" fmla="*/ 2 w 83"/>
                <a:gd name="T19" fmla="*/ 48 h 181"/>
                <a:gd name="T20" fmla="*/ 14 w 83"/>
                <a:gd name="T21" fmla="*/ 54 h 181"/>
                <a:gd name="T22" fmla="*/ 7 w 83"/>
                <a:gd name="T23" fmla="*/ 80 h 181"/>
                <a:gd name="T24" fmla="*/ 10 w 83"/>
                <a:gd name="T25" fmla="*/ 88 h 181"/>
                <a:gd name="T26" fmla="*/ 4 w 83"/>
                <a:gd name="T27" fmla="*/ 118 h 181"/>
                <a:gd name="T28" fmla="*/ 7 w 83"/>
                <a:gd name="T29" fmla="*/ 136 h 181"/>
                <a:gd name="T30" fmla="*/ 0 w 83"/>
                <a:gd name="T31" fmla="*/ 135 h 181"/>
                <a:gd name="T32" fmla="*/ 13 w 83"/>
                <a:gd name="T33" fmla="*/ 155 h 181"/>
                <a:gd name="T34" fmla="*/ 27 w 83"/>
                <a:gd name="T35" fmla="*/ 160 h 181"/>
                <a:gd name="T36" fmla="*/ 34 w 83"/>
                <a:gd name="T37" fmla="*/ 178 h 181"/>
                <a:gd name="T38" fmla="*/ 42 w 83"/>
                <a:gd name="T39"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 h="181">
                  <a:moveTo>
                    <a:pt x="42" y="181"/>
                  </a:moveTo>
                  <a:lnTo>
                    <a:pt x="83" y="131"/>
                  </a:lnTo>
                  <a:lnTo>
                    <a:pt x="81" y="110"/>
                  </a:lnTo>
                  <a:lnTo>
                    <a:pt x="67" y="96"/>
                  </a:lnTo>
                  <a:lnTo>
                    <a:pt x="59" y="79"/>
                  </a:lnTo>
                  <a:lnTo>
                    <a:pt x="63" y="34"/>
                  </a:lnTo>
                  <a:lnTo>
                    <a:pt x="39" y="8"/>
                  </a:lnTo>
                  <a:lnTo>
                    <a:pt x="21" y="0"/>
                  </a:lnTo>
                  <a:lnTo>
                    <a:pt x="8" y="14"/>
                  </a:lnTo>
                  <a:lnTo>
                    <a:pt x="2" y="48"/>
                  </a:lnTo>
                  <a:lnTo>
                    <a:pt x="14" y="54"/>
                  </a:lnTo>
                  <a:lnTo>
                    <a:pt x="7" y="80"/>
                  </a:lnTo>
                  <a:lnTo>
                    <a:pt x="10" y="88"/>
                  </a:lnTo>
                  <a:lnTo>
                    <a:pt x="4" y="118"/>
                  </a:lnTo>
                  <a:lnTo>
                    <a:pt x="7" y="136"/>
                  </a:lnTo>
                  <a:lnTo>
                    <a:pt x="0" y="135"/>
                  </a:lnTo>
                  <a:lnTo>
                    <a:pt x="13" y="155"/>
                  </a:lnTo>
                  <a:lnTo>
                    <a:pt x="27" y="160"/>
                  </a:lnTo>
                  <a:lnTo>
                    <a:pt x="34" y="178"/>
                  </a:lnTo>
                  <a:lnTo>
                    <a:pt x="42" y="181"/>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399" name="Freeform 125">
              <a:extLst>
                <a:ext uri="{FF2B5EF4-FFF2-40B4-BE49-F238E27FC236}">
                  <a16:creationId xmlns:a16="http://schemas.microsoft.com/office/drawing/2014/main" id="{1419A030-C4C4-9342-977A-E18F9F0DCDDC}"/>
                </a:ext>
              </a:extLst>
            </p:cNvPr>
            <p:cNvSpPr>
              <a:spLocks noChangeAspect="1"/>
            </p:cNvSpPr>
            <p:nvPr/>
          </p:nvSpPr>
          <p:spPr bwMode="gray">
            <a:xfrm>
              <a:off x="5048486" y="2856685"/>
              <a:ext cx="100145" cy="163036"/>
            </a:xfrm>
            <a:custGeom>
              <a:avLst/>
              <a:gdLst>
                <a:gd name="T0" fmla="*/ 184 w 204"/>
                <a:gd name="T1" fmla="*/ 230 h 276"/>
                <a:gd name="T2" fmla="*/ 184 w 204"/>
                <a:gd name="T3" fmla="*/ 174 h 276"/>
                <a:gd name="T4" fmla="*/ 184 w 204"/>
                <a:gd name="T5" fmla="*/ 140 h 276"/>
                <a:gd name="T6" fmla="*/ 190 w 204"/>
                <a:gd name="T7" fmla="*/ 132 h 276"/>
                <a:gd name="T8" fmla="*/ 192 w 204"/>
                <a:gd name="T9" fmla="*/ 109 h 276"/>
                <a:gd name="T10" fmla="*/ 177 w 204"/>
                <a:gd name="T11" fmla="*/ 107 h 276"/>
                <a:gd name="T12" fmla="*/ 136 w 204"/>
                <a:gd name="T13" fmla="*/ 67 h 276"/>
                <a:gd name="T14" fmla="*/ 105 w 204"/>
                <a:gd name="T15" fmla="*/ 24 h 276"/>
                <a:gd name="T16" fmla="*/ 76 w 204"/>
                <a:gd name="T17" fmla="*/ 0 h 276"/>
                <a:gd name="T18" fmla="*/ 12 w 204"/>
                <a:gd name="T19" fmla="*/ 19 h 276"/>
                <a:gd name="T20" fmla="*/ 18 w 204"/>
                <a:gd name="T21" fmla="*/ 39 h 276"/>
                <a:gd name="T22" fmla="*/ 23 w 204"/>
                <a:gd name="T23" fmla="*/ 50 h 276"/>
                <a:gd name="T24" fmla="*/ 34 w 204"/>
                <a:gd name="T25" fmla="*/ 61 h 276"/>
                <a:gd name="T26" fmla="*/ 42 w 204"/>
                <a:gd name="T27" fmla="*/ 80 h 276"/>
                <a:gd name="T28" fmla="*/ 31 w 204"/>
                <a:gd name="T29" fmla="*/ 115 h 276"/>
                <a:gd name="T30" fmla="*/ 55 w 204"/>
                <a:gd name="T31" fmla="*/ 135 h 276"/>
                <a:gd name="T32" fmla="*/ 40 w 204"/>
                <a:gd name="T33" fmla="*/ 139 h 276"/>
                <a:gd name="T34" fmla="*/ 52 w 204"/>
                <a:gd name="T35" fmla="*/ 154 h 276"/>
                <a:gd name="T36" fmla="*/ 29 w 204"/>
                <a:gd name="T37" fmla="*/ 169 h 276"/>
                <a:gd name="T38" fmla="*/ 29 w 204"/>
                <a:gd name="T39" fmla="*/ 182 h 276"/>
                <a:gd name="T40" fmla="*/ 26 w 204"/>
                <a:gd name="T41" fmla="*/ 186 h 276"/>
                <a:gd name="T42" fmla="*/ 18 w 204"/>
                <a:gd name="T43" fmla="*/ 180 h 276"/>
                <a:gd name="T44" fmla="*/ 8 w 204"/>
                <a:gd name="T45" fmla="*/ 200 h 276"/>
                <a:gd name="T46" fmla="*/ 0 w 204"/>
                <a:gd name="T47" fmla="*/ 211 h 276"/>
                <a:gd name="T48" fmla="*/ 4 w 204"/>
                <a:gd name="T49" fmla="*/ 223 h 276"/>
                <a:gd name="T50" fmla="*/ 1 w 204"/>
                <a:gd name="T51" fmla="*/ 237 h 276"/>
                <a:gd name="T52" fmla="*/ 25 w 204"/>
                <a:gd name="T53" fmla="*/ 256 h 276"/>
                <a:gd name="T54" fmla="*/ 37 w 204"/>
                <a:gd name="T55" fmla="*/ 273 h 276"/>
                <a:gd name="T56" fmla="*/ 46 w 204"/>
                <a:gd name="T57" fmla="*/ 242 h 276"/>
                <a:gd name="T58" fmla="*/ 77 w 204"/>
                <a:gd name="T59" fmla="*/ 236 h 276"/>
                <a:gd name="T60" fmla="*/ 106 w 204"/>
                <a:gd name="T61" fmla="*/ 264 h 276"/>
                <a:gd name="T62" fmla="*/ 123 w 204"/>
                <a:gd name="T63" fmla="*/ 251 h 276"/>
                <a:gd name="T64" fmla="*/ 140 w 204"/>
                <a:gd name="T65" fmla="*/ 248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4" h="276">
                  <a:moveTo>
                    <a:pt x="184" y="251"/>
                  </a:moveTo>
                  <a:lnTo>
                    <a:pt x="184" y="230"/>
                  </a:lnTo>
                  <a:lnTo>
                    <a:pt x="204" y="200"/>
                  </a:lnTo>
                  <a:lnTo>
                    <a:pt x="184" y="174"/>
                  </a:lnTo>
                  <a:lnTo>
                    <a:pt x="182" y="156"/>
                  </a:lnTo>
                  <a:lnTo>
                    <a:pt x="184" y="140"/>
                  </a:lnTo>
                  <a:lnTo>
                    <a:pt x="198" y="134"/>
                  </a:lnTo>
                  <a:lnTo>
                    <a:pt x="190" y="132"/>
                  </a:lnTo>
                  <a:lnTo>
                    <a:pt x="184" y="118"/>
                  </a:lnTo>
                  <a:lnTo>
                    <a:pt x="192" y="109"/>
                  </a:lnTo>
                  <a:lnTo>
                    <a:pt x="185" y="100"/>
                  </a:lnTo>
                  <a:lnTo>
                    <a:pt x="177" y="107"/>
                  </a:lnTo>
                  <a:lnTo>
                    <a:pt x="140" y="89"/>
                  </a:lnTo>
                  <a:lnTo>
                    <a:pt x="136" y="67"/>
                  </a:lnTo>
                  <a:lnTo>
                    <a:pt x="121" y="61"/>
                  </a:lnTo>
                  <a:lnTo>
                    <a:pt x="105" y="24"/>
                  </a:lnTo>
                  <a:lnTo>
                    <a:pt x="82" y="5"/>
                  </a:lnTo>
                  <a:lnTo>
                    <a:pt x="76" y="0"/>
                  </a:lnTo>
                  <a:lnTo>
                    <a:pt x="55" y="4"/>
                  </a:lnTo>
                  <a:lnTo>
                    <a:pt x="12" y="19"/>
                  </a:lnTo>
                  <a:lnTo>
                    <a:pt x="20" y="24"/>
                  </a:lnTo>
                  <a:lnTo>
                    <a:pt x="18" y="39"/>
                  </a:lnTo>
                  <a:lnTo>
                    <a:pt x="28" y="41"/>
                  </a:lnTo>
                  <a:lnTo>
                    <a:pt x="23" y="50"/>
                  </a:lnTo>
                  <a:lnTo>
                    <a:pt x="45" y="59"/>
                  </a:lnTo>
                  <a:lnTo>
                    <a:pt x="34" y="61"/>
                  </a:lnTo>
                  <a:lnTo>
                    <a:pt x="31" y="80"/>
                  </a:lnTo>
                  <a:lnTo>
                    <a:pt x="42" y="80"/>
                  </a:lnTo>
                  <a:lnTo>
                    <a:pt x="43" y="83"/>
                  </a:lnTo>
                  <a:lnTo>
                    <a:pt x="31" y="115"/>
                  </a:lnTo>
                  <a:lnTo>
                    <a:pt x="34" y="118"/>
                  </a:lnTo>
                  <a:lnTo>
                    <a:pt x="55" y="135"/>
                  </a:lnTo>
                  <a:lnTo>
                    <a:pt x="52" y="140"/>
                  </a:lnTo>
                  <a:lnTo>
                    <a:pt x="40" y="139"/>
                  </a:lnTo>
                  <a:lnTo>
                    <a:pt x="38" y="140"/>
                  </a:lnTo>
                  <a:lnTo>
                    <a:pt x="52" y="154"/>
                  </a:lnTo>
                  <a:lnTo>
                    <a:pt x="51" y="163"/>
                  </a:lnTo>
                  <a:lnTo>
                    <a:pt x="29" y="169"/>
                  </a:lnTo>
                  <a:lnTo>
                    <a:pt x="23" y="171"/>
                  </a:lnTo>
                  <a:lnTo>
                    <a:pt x="29" y="182"/>
                  </a:lnTo>
                  <a:lnTo>
                    <a:pt x="29" y="186"/>
                  </a:lnTo>
                  <a:lnTo>
                    <a:pt x="26" y="186"/>
                  </a:lnTo>
                  <a:lnTo>
                    <a:pt x="23" y="180"/>
                  </a:lnTo>
                  <a:lnTo>
                    <a:pt x="18" y="180"/>
                  </a:lnTo>
                  <a:lnTo>
                    <a:pt x="9" y="191"/>
                  </a:lnTo>
                  <a:lnTo>
                    <a:pt x="8" y="200"/>
                  </a:lnTo>
                  <a:lnTo>
                    <a:pt x="4" y="200"/>
                  </a:lnTo>
                  <a:lnTo>
                    <a:pt x="0" y="211"/>
                  </a:lnTo>
                  <a:lnTo>
                    <a:pt x="4" y="220"/>
                  </a:lnTo>
                  <a:lnTo>
                    <a:pt x="4" y="223"/>
                  </a:lnTo>
                  <a:lnTo>
                    <a:pt x="1" y="230"/>
                  </a:lnTo>
                  <a:lnTo>
                    <a:pt x="1" y="237"/>
                  </a:lnTo>
                  <a:lnTo>
                    <a:pt x="15" y="247"/>
                  </a:lnTo>
                  <a:lnTo>
                    <a:pt x="25" y="256"/>
                  </a:lnTo>
                  <a:lnTo>
                    <a:pt x="31" y="261"/>
                  </a:lnTo>
                  <a:lnTo>
                    <a:pt x="37" y="273"/>
                  </a:lnTo>
                  <a:lnTo>
                    <a:pt x="40" y="276"/>
                  </a:lnTo>
                  <a:lnTo>
                    <a:pt x="46" y="242"/>
                  </a:lnTo>
                  <a:lnTo>
                    <a:pt x="59" y="228"/>
                  </a:lnTo>
                  <a:lnTo>
                    <a:pt x="77" y="236"/>
                  </a:lnTo>
                  <a:lnTo>
                    <a:pt x="101" y="262"/>
                  </a:lnTo>
                  <a:lnTo>
                    <a:pt x="106" y="264"/>
                  </a:lnTo>
                  <a:lnTo>
                    <a:pt x="110" y="254"/>
                  </a:lnTo>
                  <a:lnTo>
                    <a:pt x="123" y="251"/>
                  </a:lnTo>
                  <a:lnTo>
                    <a:pt x="131" y="256"/>
                  </a:lnTo>
                  <a:lnTo>
                    <a:pt x="140" y="248"/>
                  </a:lnTo>
                  <a:lnTo>
                    <a:pt x="184" y="251"/>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400" name="Freeform 126">
              <a:extLst>
                <a:ext uri="{FF2B5EF4-FFF2-40B4-BE49-F238E27FC236}">
                  <a16:creationId xmlns:a16="http://schemas.microsoft.com/office/drawing/2014/main" id="{726F784B-EC0A-F14A-B5B7-8592FD419335}"/>
                </a:ext>
              </a:extLst>
            </p:cNvPr>
            <p:cNvSpPr>
              <a:spLocks noChangeAspect="1"/>
            </p:cNvSpPr>
            <p:nvPr/>
          </p:nvSpPr>
          <p:spPr bwMode="gray">
            <a:xfrm>
              <a:off x="5154987" y="2425117"/>
              <a:ext cx="216182" cy="222498"/>
            </a:xfrm>
            <a:custGeom>
              <a:avLst/>
              <a:gdLst>
                <a:gd name="T0" fmla="*/ 14 w 444"/>
                <a:gd name="T1" fmla="*/ 359 h 381"/>
                <a:gd name="T2" fmla="*/ 17 w 444"/>
                <a:gd name="T3" fmla="*/ 329 h 381"/>
                <a:gd name="T4" fmla="*/ 0 w 444"/>
                <a:gd name="T5" fmla="*/ 308 h 381"/>
                <a:gd name="T6" fmla="*/ 31 w 444"/>
                <a:gd name="T7" fmla="*/ 276 h 381"/>
                <a:gd name="T8" fmla="*/ 31 w 444"/>
                <a:gd name="T9" fmla="*/ 248 h 381"/>
                <a:gd name="T10" fmla="*/ 15 w 444"/>
                <a:gd name="T11" fmla="*/ 178 h 381"/>
                <a:gd name="T12" fmla="*/ 76 w 444"/>
                <a:gd name="T13" fmla="*/ 174 h 381"/>
                <a:gd name="T14" fmla="*/ 73 w 444"/>
                <a:gd name="T15" fmla="*/ 163 h 381"/>
                <a:gd name="T16" fmla="*/ 96 w 444"/>
                <a:gd name="T17" fmla="*/ 151 h 381"/>
                <a:gd name="T18" fmla="*/ 119 w 444"/>
                <a:gd name="T19" fmla="*/ 160 h 381"/>
                <a:gd name="T20" fmla="*/ 110 w 444"/>
                <a:gd name="T21" fmla="*/ 143 h 381"/>
                <a:gd name="T22" fmla="*/ 119 w 444"/>
                <a:gd name="T23" fmla="*/ 124 h 381"/>
                <a:gd name="T24" fmla="*/ 122 w 444"/>
                <a:gd name="T25" fmla="*/ 96 h 381"/>
                <a:gd name="T26" fmla="*/ 158 w 444"/>
                <a:gd name="T27" fmla="*/ 83 h 381"/>
                <a:gd name="T28" fmla="*/ 164 w 444"/>
                <a:gd name="T29" fmla="*/ 67 h 381"/>
                <a:gd name="T30" fmla="*/ 150 w 444"/>
                <a:gd name="T31" fmla="*/ 64 h 381"/>
                <a:gd name="T32" fmla="*/ 150 w 444"/>
                <a:gd name="T33" fmla="*/ 50 h 381"/>
                <a:gd name="T34" fmla="*/ 162 w 444"/>
                <a:gd name="T35" fmla="*/ 42 h 381"/>
                <a:gd name="T36" fmla="*/ 162 w 444"/>
                <a:gd name="T37" fmla="*/ 41 h 381"/>
                <a:gd name="T38" fmla="*/ 181 w 444"/>
                <a:gd name="T39" fmla="*/ 29 h 381"/>
                <a:gd name="T40" fmla="*/ 201 w 444"/>
                <a:gd name="T41" fmla="*/ 32 h 381"/>
                <a:gd name="T42" fmla="*/ 220 w 444"/>
                <a:gd name="T43" fmla="*/ 5 h 381"/>
                <a:gd name="T44" fmla="*/ 235 w 444"/>
                <a:gd name="T45" fmla="*/ 0 h 381"/>
                <a:gd name="T46" fmla="*/ 281 w 444"/>
                <a:gd name="T47" fmla="*/ 12 h 381"/>
                <a:gd name="T48" fmla="*/ 291 w 444"/>
                <a:gd name="T49" fmla="*/ 21 h 381"/>
                <a:gd name="T50" fmla="*/ 289 w 444"/>
                <a:gd name="T51" fmla="*/ 36 h 381"/>
                <a:gd name="T52" fmla="*/ 334 w 444"/>
                <a:gd name="T53" fmla="*/ 24 h 381"/>
                <a:gd name="T54" fmla="*/ 359 w 444"/>
                <a:gd name="T55" fmla="*/ 46 h 381"/>
                <a:gd name="T56" fmla="*/ 364 w 444"/>
                <a:gd name="T57" fmla="*/ 79 h 381"/>
                <a:gd name="T58" fmla="*/ 356 w 444"/>
                <a:gd name="T59" fmla="*/ 110 h 381"/>
                <a:gd name="T60" fmla="*/ 398 w 444"/>
                <a:gd name="T61" fmla="*/ 169 h 381"/>
                <a:gd name="T62" fmla="*/ 401 w 444"/>
                <a:gd name="T63" fmla="*/ 189 h 381"/>
                <a:gd name="T64" fmla="*/ 421 w 444"/>
                <a:gd name="T65" fmla="*/ 186 h 381"/>
                <a:gd name="T66" fmla="*/ 444 w 444"/>
                <a:gd name="T67" fmla="*/ 205 h 381"/>
                <a:gd name="T68" fmla="*/ 444 w 444"/>
                <a:gd name="T69" fmla="*/ 217 h 381"/>
                <a:gd name="T70" fmla="*/ 418 w 444"/>
                <a:gd name="T71" fmla="*/ 239 h 381"/>
                <a:gd name="T72" fmla="*/ 388 w 444"/>
                <a:gd name="T73" fmla="*/ 228 h 381"/>
                <a:gd name="T74" fmla="*/ 374 w 444"/>
                <a:gd name="T75" fmla="*/ 240 h 381"/>
                <a:gd name="T76" fmla="*/ 399 w 444"/>
                <a:gd name="T77" fmla="*/ 316 h 381"/>
                <a:gd name="T78" fmla="*/ 362 w 444"/>
                <a:gd name="T79" fmla="*/ 321 h 381"/>
                <a:gd name="T80" fmla="*/ 347 w 444"/>
                <a:gd name="T81" fmla="*/ 338 h 381"/>
                <a:gd name="T82" fmla="*/ 345 w 444"/>
                <a:gd name="T83" fmla="*/ 372 h 381"/>
                <a:gd name="T84" fmla="*/ 335 w 444"/>
                <a:gd name="T85" fmla="*/ 381 h 381"/>
                <a:gd name="T86" fmla="*/ 323 w 444"/>
                <a:gd name="T87" fmla="*/ 372 h 381"/>
                <a:gd name="T88" fmla="*/ 291 w 444"/>
                <a:gd name="T89" fmla="*/ 379 h 381"/>
                <a:gd name="T90" fmla="*/ 271 w 444"/>
                <a:gd name="T91" fmla="*/ 359 h 381"/>
                <a:gd name="T92" fmla="*/ 257 w 444"/>
                <a:gd name="T93" fmla="*/ 374 h 381"/>
                <a:gd name="T94" fmla="*/ 229 w 444"/>
                <a:gd name="T95" fmla="*/ 359 h 381"/>
                <a:gd name="T96" fmla="*/ 204 w 444"/>
                <a:gd name="T97" fmla="*/ 372 h 381"/>
                <a:gd name="T98" fmla="*/ 198 w 444"/>
                <a:gd name="T99" fmla="*/ 361 h 381"/>
                <a:gd name="T100" fmla="*/ 184 w 444"/>
                <a:gd name="T101" fmla="*/ 362 h 381"/>
                <a:gd name="T102" fmla="*/ 170 w 444"/>
                <a:gd name="T103" fmla="*/ 347 h 381"/>
                <a:gd name="T104" fmla="*/ 120 w 444"/>
                <a:gd name="T105" fmla="*/ 330 h 381"/>
                <a:gd name="T106" fmla="*/ 96 w 444"/>
                <a:gd name="T107" fmla="*/ 332 h 381"/>
                <a:gd name="T108" fmla="*/ 57 w 444"/>
                <a:gd name="T109" fmla="*/ 335 h 381"/>
                <a:gd name="T110" fmla="*/ 43 w 444"/>
                <a:gd name="T111" fmla="*/ 349 h 381"/>
                <a:gd name="T112" fmla="*/ 14 w 444"/>
                <a:gd name="T113" fmla="*/ 359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4" h="381">
                  <a:moveTo>
                    <a:pt x="14" y="359"/>
                  </a:moveTo>
                  <a:lnTo>
                    <a:pt x="17" y="329"/>
                  </a:lnTo>
                  <a:lnTo>
                    <a:pt x="0" y="308"/>
                  </a:lnTo>
                  <a:lnTo>
                    <a:pt x="31" y="276"/>
                  </a:lnTo>
                  <a:lnTo>
                    <a:pt x="31" y="248"/>
                  </a:lnTo>
                  <a:lnTo>
                    <a:pt x="15" y="178"/>
                  </a:lnTo>
                  <a:lnTo>
                    <a:pt x="76" y="174"/>
                  </a:lnTo>
                  <a:lnTo>
                    <a:pt x="73" y="163"/>
                  </a:lnTo>
                  <a:lnTo>
                    <a:pt x="96" y="151"/>
                  </a:lnTo>
                  <a:lnTo>
                    <a:pt x="119" y="160"/>
                  </a:lnTo>
                  <a:lnTo>
                    <a:pt x="110" y="143"/>
                  </a:lnTo>
                  <a:lnTo>
                    <a:pt x="119" y="124"/>
                  </a:lnTo>
                  <a:lnTo>
                    <a:pt x="122" y="96"/>
                  </a:lnTo>
                  <a:lnTo>
                    <a:pt x="158" y="83"/>
                  </a:lnTo>
                  <a:lnTo>
                    <a:pt x="164" y="67"/>
                  </a:lnTo>
                  <a:lnTo>
                    <a:pt x="150" y="64"/>
                  </a:lnTo>
                  <a:lnTo>
                    <a:pt x="150" y="50"/>
                  </a:lnTo>
                  <a:lnTo>
                    <a:pt x="162" y="42"/>
                  </a:lnTo>
                  <a:lnTo>
                    <a:pt x="162" y="41"/>
                  </a:lnTo>
                  <a:lnTo>
                    <a:pt x="181" y="29"/>
                  </a:lnTo>
                  <a:lnTo>
                    <a:pt x="201" y="32"/>
                  </a:lnTo>
                  <a:lnTo>
                    <a:pt x="220" y="5"/>
                  </a:lnTo>
                  <a:lnTo>
                    <a:pt x="235" y="0"/>
                  </a:lnTo>
                  <a:lnTo>
                    <a:pt x="281" y="12"/>
                  </a:lnTo>
                  <a:lnTo>
                    <a:pt x="291" y="21"/>
                  </a:lnTo>
                  <a:lnTo>
                    <a:pt x="289" y="36"/>
                  </a:lnTo>
                  <a:lnTo>
                    <a:pt x="334" y="24"/>
                  </a:lnTo>
                  <a:lnTo>
                    <a:pt x="359" y="46"/>
                  </a:lnTo>
                  <a:lnTo>
                    <a:pt x="364" y="79"/>
                  </a:lnTo>
                  <a:lnTo>
                    <a:pt x="356" y="110"/>
                  </a:lnTo>
                  <a:lnTo>
                    <a:pt x="398" y="169"/>
                  </a:lnTo>
                  <a:lnTo>
                    <a:pt x="401" y="189"/>
                  </a:lnTo>
                  <a:lnTo>
                    <a:pt x="421" y="186"/>
                  </a:lnTo>
                  <a:lnTo>
                    <a:pt x="444" y="205"/>
                  </a:lnTo>
                  <a:lnTo>
                    <a:pt x="444" y="217"/>
                  </a:lnTo>
                  <a:lnTo>
                    <a:pt x="418" y="239"/>
                  </a:lnTo>
                  <a:lnTo>
                    <a:pt x="388" y="228"/>
                  </a:lnTo>
                  <a:lnTo>
                    <a:pt x="374" y="240"/>
                  </a:lnTo>
                  <a:lnTo>
                    <a:pt x="399" y="316"/>
                  </a:lnTo>
                  <a:lnTo>
                    <a:pt x="362" y="321"/>
                  </a:lnTo>
                  <a:lnTo>
                    <a:pt x="347" y="338"/>
                  </a:lnTo>
                  <a:lnTo>
                    <a:pt x="345" y="372"/>
                  </a:lnTo>
                  <a:lnTo>
                    <a:pt x="335" y="381"/>
                  </a:lnTo>
                  <a:lnTo>
                    <a:pt x="323" y="372"/>
                  </a:lnTo>
                  <a:lnTo>
                    <a:pt x="291" y="379"/>
                  </a:lnTo>
                  <a:lnTo>
                    <a:pt x="271" y="359"/>
                  </a:lnTo>
                  <a:lnTo>
                    <a:pt x="257" y="374"/>
                  </a:lnTo>
                  <a:lnTo>
                    <a:pt x="229" y="359"/>
                  </a:lnTo>
                  <a:lnTo>
                    <a:pt x="204" y="372"/>
                  </a:lnTo>
                  <a:lnTo>
                    <a:pt x="198" y="361"/>
                  </a:lnTo>
                  <a:lnTo>
                    <a:pt x="184" y="362"/>
                  </a:lnTo>
                  <a:lnTo>
                    <a:pt x="170" y="347"/>
                  </a:lnTo>
                  <a:lnTo>
                    <a:pt x="120" y="330"/>
                  </a:lnTo>
                  <a:lnTo>
                    <a:pt x="96" y="332"/>
                  </a:lnTo>
                  <a:lnTo>
                    <a:pt x="57" y="335"/>
                  </a:lnTo>
                  <a:lnTo>
                    <a:pt x="43" y="349"/>
                  </a:lnTo>
                  <a:lnTo>
                    <a:pt x="14" y="359"/>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01" name="Freeform 127">
              <a:extLst>
                <a:ext uri="{FF2B5EF4-FFF2-40B4-BE49-F238E27FC236}">
                  <a16:creationId xmlns:a16="http://schemas.microsoft.com/office/drawing/2014/main" id="{3E649A72-5C56-6C49-B2C6-812E24852F92}"/>
                </a:ext>
              </a:extLst>
            </p:cNvPr>
            <p:cNvSpPr>
              <a:spLocks noChangeAspect="1"/>
            </p:cNvSpPr>
            <p:nvPr/>
          </p:nvSpPr>
          <p:spPr bwMode="gray">
            <a:xfrm>
              <a:off x="5129554" y="2601579"/>
              <a:ext cx="408522" cy="326074"/>
            </a:xfrm>
            <a:custGeom>
              <a:avLst/>
              <a:gdLst>
                <a:gd name="T0" fmla="*/ 22 w 835"/>
                <a:gd name="T1" fmla="*/ 305 h 556"/>
                <a:gd name="T2" fmla="*/ 132 w 835"/>
                <a:gd name="T3" fmla="*/ 331 h 556"/>
                <a:gd name="T4" fmla="*/ 246 w 835"/>
                <a:gd name="T5" fmla="*/ 282 h 556"/>
                <a:gd name="T6" fmla="*/ 326 w 835"/>
                <a:gd name="T7" fmla="*/ 319 h 556"/>
                <a:gd name="T8" fmla="*/ 345 w 835"/>
                <a:gd name="T9" fmla="*/ 384 h 556"/>
                <a:gd name="T10" fmla="*/ 320 w 835"/>
                <a:gd name="T11" fmla="*/ 421 h 556"/>
                <a:gd name="T12" fmla="*/ 292 w 835"/>
                <a:gd name="T13" fmla="*/ 478 h 556"/>
                <a:gd name="T14" fmla="*/ 289 w 835"/>
                <a:gd name="T15" fmla="*/ 488 h 556"/>
                <a:gd name="T16" fmla="*/ 351 w 835"/>
                <a:gd name="T17" fmla="*/ 494 h 556"/>
                <a:gd name="T18" fmla="*/ 357 w 835"/>
                <a:gd name="T19" fmla="*/ 477 h 556"/>
                <a:gd name="T20" fmla="*/ 386 w 835"/>
                <a:gd name="T21" fmla="*/ 449 h 556"/>
                <a:gd name="T22" fmla="*/ 402 w 835"/>
                <a:gd name="T23" fmla="*/ 418 h 556"/>
                <a:gd name="T24" fmla="*/ 449 w 835"/>
                <a:gd name="T25" fmla="*/ 409 h 556"/>
                <a:gd name="T26" fmla="*/ 444 w 835"/>
                <a:gd name="T27" fmla="*/ 421 h 556"/>
                <a:gd name="T28" fmla="*/ 487 w 835"/>
                <a:gd name="T29" fmla="*/ 449 h 556"/>
                <a:gd name="T30" fmla="*/ 543 w 835"/>
                <a:gd name="T31" fmla="*/ 456 h 556"/>
                <a:gd name="T32" fmla="*/ 529 w 835"/>
                <a:gd name="T33" fmla="*/ 508 h 556"/>
                <a:gd name="T34" fmla="*/ 554 w 835"/>
                <a:gd name="T35" fmla="*/ 556 h 556"/>
                <a:gd name="T36" fmla="*/ 601 w 835"/>
                <a:gd name="T37" fmla="*/ 532 h 556"/>
                <a:gd name="T38" fmla="*/ 667 w 835"/>
                <a:gd name="T39" fmla="*/ 514 h 556"/>
                <a:gd name="T40" fmla="*/ 631 w 835"/>
                <a:gd name="T41" fmla="*/ 500 h 556"/>
                <a:gd name="T42" fmla="*/ 603 w 835"/>
                <a:gd name="T43" fmla="*/ 498 h 556"/>
                <a:gd name="T44" fmla="*/ 586 w 835"/>
                <a:gd name="T45" fmla="*/ 468 h 556"/>
                <a:gd name="T46" fmla="*/ 564 w 835"/>
                <a:gd name="T47" fmla="*/ 452 h 556"/>
                <a:gd name="T48" fmla="*/ 541 w 835"/>
                <a:gd name="T49" fmla="*/ 438 h 556"/>
                <a:gd name="T50" fmla="*/ 564 w 835"/>
                <a:gd name="T51" fmla="*/ 443 h 556"/>
                <a:gd name="T52" fmla="*/ 586 w 835"/>
                <a:gd name="T53" fmla="*/ 443 h 556"/>
                <a:gd name="T54" fmla="*/ 594 w 835"/>
                <a:gd name="T55" fmla="*/ 443 h 556"/>
                <a:gd name="T56" fmla="*/ 637 w 835"/>
                <a:gd name="T57" fmla="*/ 412 h 556"/>
                <a:gd name="T58" fmla="*/ 684 w 835"/>
                <a:gd name="T59" fmla="*/ 405 h 556"/>
                <a:gd name="T60" fmla="*/ 747 w 835"/>
                <a:gd name="T61" fmla="*/ 373 h 556"/>
                <a:gd name="T62" fmla="*/ 815 w 835"/>
                <a:gd name="T63" fmla="*/ 325 h 556"/>
                <a:gd name="T64" fmla="*/ 812 w 835"/>
                <a:gd name="T65" fmla="*/ 265 h 556"/>
                <a:gd name="T66" fmla="*/ 835 w 835"/>
                <a:gd name="T67" fmla="*/ 226 h 556"/>
                <a:gd name="T68" fmla="*/ 752 w 835"/>
                <a:gd name="T69" fmla="*/ 169 h 556"/>
                <a:gd name="T70" fmla="*/ 673 w 835"/>
                <a:gd name="T71" fmla="*/ 152 h 556"/>
                <a:gd name="T72" fmla="*/ 563 w 835"/>
                <a:gd name="T73" fmla="*/ 75 h 556"/>
                <a:gd name="T74" fmla="*/ 540 w 835"/>
                <a:gd name="T75" fmla="*/ 0 h 556"/>
                <a:gd name="T76" fmla="*/ 398 w 835"/>
                <a:gd name="T77" fmla="*/ 39 h 556"/>
                <a:gd name="T78" fmla="*/ 374 w 835"/>
                <a:gd name="T79" fmla="*/ 73 h 556"/>
                <a:gd name="T80" fmla="*/ 308 w 835"/>
                <a:gd name="T81" fmla="*/ 75 h 556"/>
                <a:gd name="T82" fmla="*/ 249 w 835"/>
                <a:gd name="T83" fmla="*/ 62 h 556"/>
                <a:gd name="T84" fmla="*/ 171 w 835"/>
                <a:gd name="T85" fmla="*/ 31 h 556"/>
                <a:gd name="T86" fmla="*/ 94 w 835"/>
                <a:gd name="T87" fmla="*/ 50 h 556"/>
                <a:gd name="T88" fmla="*/ 86 w 835"/>
                <a:gd name="T89" fmla="*/ 112 h 556"/>
                <a:gd name="T90" fmla="*/ 42 w 835"/>
                <a:gd name="T91" fmla="*/ 186 h 556"/>
                <a:gd name="T92" fmla="*/ 15 w 835"/>
                <a:gd name="T93" fmla="*/ 241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35" h="556">
                  <a:moveTo>
                    <a:pt x="15" y="241"/>
                  </a:moveTo>
                  <a:lnTo>
                    <a:pt x="0" y="290"/>
                  </a:lnTo>
                  <a:lnTo>
                    <a:pt x="22" y="305"/>
                  </a:lnTo>
                  <a:lnTo>
                    <a:pt x="34" y="321"/>
                  </a:lnTo>
                  <a:lnTo>
                    <a:pt x="116" y="319"/>
                  </a:lnTo>
                  <a:lnTo>
                    <a:pt x="132" y="331"/>
                  </a:lnTo>
                  <a:lnTo>
                    <a:pt x="207" y="304"/>
                  </a:lnTo>
                  <a:lnTo>
                    <a:pt x="218" y="285"/>
                  </a:lnTo>
                  <a:lnTo>
                    <a:pt x="246" y="282"/>
                  </a:lnTo>
                  <a:lnTo>
                    <a:pt x="281" y="304"/>
                  </a:lnTo>
                  <a:lnTo>
                    <a:pt x="323" y="313"/>
                  </a:lnTo>
                  <a:lnTo>
                    <a:pt x="326" y="319"/>
                  </a:lnTo>
                  <a:lnTo>
                    <a:pt x="323" y="346"/>
                  </a:lnTo>
                  <a:lnTo>
                    <a:pt x="340" y="358"/>
                  </a:lnTo>
                  <a:lnTo>
                    <a:pt x="345" y="384"/>
                  </a:lnTo>
                  <a:lnTo>
                    <a:pt x="362" y="395"/>
                  </a:lnTo>
                  <a:lnTo>
                    <a:pt x="360" y="421"/>
                  </a:lnTo>
                  <a:lnTo>
                    <a:pt x="320" y="421"/>
                  </a:lnTo>
                  <a:lnTo>
                    <a:pt x="315" y="447"/>
                  </a:lnTo>
                  <a:lnTo>
                    <a:pt x="297" y="466"/>
                  </a:lnTo>
                  <a:lnTo>
                    <a:pt x="292" y="478"/>
                  </a:lnTo>
                  <a:lnTo>
                    <a:pt x="281" y="480"/>
                  </a:lnTo>
                  <a:lnTo>
                    <a:pt x="283" y="492"/>
                  </a:lnTo>
                  <a:lnTo>
                    <a:pt x="289" y="488"/>
                  </a:lnTo>
                  <a:lnTo>
                    <a:pt x="300" y="502"/>
                  </a:lnTo>
                  <a:lnTo>
                    <a:pt x="339" y="489"/>
                  </a:lnTo>
                  <a:lnTo>
                    <a:pt x="351" y="494"/>
                  </a:lnTo>
                  <a:lnTo>
                    <a:pt x="351" y="495"/>
                  </a:lnTo>
                  <a:lnTo>
                    <a:pt x="351" y="463"/>
                  </a:lnTo>
                  <a:lnTo>
                    <a:pt x="357" y="477"/>
                  </a:lnTo>
                  <a:lnTo>
                    <a:pt x="359" y="469"/>
                  </a:lnTo>
                  <a:lnTo>
                    <a:pt x="377" y="463"/>
                  </a:lnTo>
                  <a:lnTo>
                    <a:pt x="386" y="449"/>
                  </a:lnTo>
                  <a:lnTo>
                    <a:pt x="376" y="429"/>
                  </a:lnTo>
                  <a:lnTo>
                    <a:pt x="391" y="441"/>
                  </a:lnTo>
                  <a:lnTo>
                    <a:pt x="402" y="418"/>
                  </a:lnTo>
                  <a:lnTo>
                    <a:pt x="442" y="404"/>
                  </a:lnTo>
                  <a:lnTo>
                    <a:pt x="441" y="412"/>
                  </a:lnTo>
                  <a:lnTo>
                    <a:pt x="449" y="409"/>
                  </a:lnTo>
                  <a:lnTo>
                    <a:pt x="458" y="400"/>
                  </a:lnTo>
                  <a:lnTo>
                    <a:pt x="472" y="421"/>
                  </a:lnTo>
                  <a:lnTo>
                    <a:pt x="444" y="421"/>
                  </a:lnTo>
                  <a:lnTo>
                    <a:pt x="464" y="427"/>
                  </a:lnTo>
                  <a:lnTo>
                    <a:pt x="453" y="439"/>
                  </a:lnTo>
                  <a:lnTo>
                    <a:pt x="487" y="449"/>
                  </a:lnTo>
                  <a:lnTo>
                    <a:pt x="520" y="441"/>
                  </a:lnTo>
                  <a:lnTo>
                    <a:pt x="538" y="447"/>
                  </a:lnTo>
                  <a:lnTo>
                    <a:pt x="543" y="456"/>
                  </a:lnTo>
                  <a:lnTo>
                    <a:pt x="516" y="466"/>
                  </a:lnTo>
                  <a:lnTo>
                    <a:pt x="486" y="492"/>
                  </a:lnTo>
                  <a:lnTo>
                    <a:pt x="529" y="508"/>
                  </a:lnTo>
                  <a:lnTo>
                    <a:pt x="533" y="525"/>
                  </a:lnTo>
                  <a:lnTo>
                    <a:pt x="529" y="546"/>
                  </a:lnTo>
                  <a:lnTo>
                    <a:pt x="554" y="556"/>
                  </a:lnTo>
                  <a:lnTo>
                    <a:pt x="569" y="549"/>
                  </a:lnTo>
                  <a:lnTo>
                    <a:pt x="583" y="536"/>
                  </a:lnTo>
                  <a:lnTo>
                    <a:pt x="601" y="532"/>
                  </a:lnTo>
                  <a:lnTo>
                    <a:pt x="623" y="511"/>
                  </a:lnTo>
                  <a:lnTo>
                    <a:pt x="648" y="517"/>
                  </a:lnTo>
                  <a:lnTo>
                    <a:pt x="667" y="514"/>
                  </a:lnTo>
                  <a:lnTo>
                    <a:pt x="674" y="488"/>
                  </a:lnTo>
                  <a:lnTo>
                    <a:pt x="640" y="489"/>
                  </a:lnTo>
                  <a:lnTo>
                    <a:pt x="631" y="500"/>
                  </a:lnTo>
                  <a:lnTo>
                    <a:pt x="622" y="494"/>
                  </a:lnTo>
                  <a:lnTo>
                    <a:pt x="622" y="498"/>
                  </a:lnTo>
                  <a:lnTo>
                    <a:pt x="603" y="498"/>
                  </a:lnTo>
                  <a:lnTo>
                    <a:pt x="594" y="472"/>
                  </a:lnTo>
                  <a:lnTo>
                    <a:pt x="584" y="475"/>
                  </a:lnTo>
                  <a:lnTo>
                    <a:pt x="586" y="468"/>
                  </a:lnTo>
                  <a:lnTo>
                    <a:pt x="575" y="466"/>
                  </a:lnTo>
                  <a:lnTo>
                    <a:pt x="581" y="456"/>
                  </a:lnTo>
                  <a:lnTo>
                    <a:pt x="564" y="452"/>
                  </a:lnTo>
                  <a:lnTo>
                    <a:pt x="560" y="460"/>
                  </a:lnTo>
                  <a:lnTo>
                    <a:pt x="555" y="446"/>
                  </a:lnTo>
                  <a:lnTo>
                    <a:pt x="541" y="438"/>
                  </a:lnTo>
                  <a:lnTo>
                    <a:pt x="557" y="443"/>
                  </a:lnTo>
                  <a:lnTo>
                    <a:pt x="560" y="430"/>
                  </a:lnTo>
                  <a:lnTo>
                    <a:pt x="564" y="443"/>
                  </a:lnTo>
                  <a:lnTo>
                    <a:pt x="575" y="443"/>
                  </a:lnTo>
                  <a:lnTo>
                    <a:pt x="577" y="452"/>
                  </a:lnTo>
                  <a:lnTo>
                    <a:pt x="586" y="443"/>
                  </a:lnTo>
                  <a:lnTo>
                    <a:pt x="592" y="463"/>
                  </a:lnTo>
                  <a:lnTo>
                    <a:pt x="596" y="463"/>
                  </a:lnTo>
                  <a:lnTo>
                    <a:pt x="594" y="443"/>
                  </a:lnTo>
                  <a:lnTo>
                    <a:pt x="606" y="422"/>
                  </a:lnTo>
                  <a:lnTo>
                    <a:pt x="614" y="434"/>
                  </a:lnTo>
                  <a:lnTo>
                    <a:pt x="637" y="412"/>
                  </a:lnTo>
                  <a:lnTo>
                    <a:pt x="654" y="412"/>
                  </a:lnTo>
                  <a:lnTo>
                    <a:pt x="674" y="398"/>
                  </a:lnTo>
                  <a:lnTo>
                    <a:pt x="684" y="405"/>
                  </a:lnTo>
                  <a:lnTo>
                    <a:pt x="687" y="395"/>
                  </a:lnTo>
                  <a:lnTo>
                    <a:pt x="718" y="381"/>
                  </a:lnTo>
                  <a:lnTo>
                    <a:pt x="747" y="373"/>
                  </a:lnTo>
                  <a:lnTo>
                    <a:pt x="745" y="353"/>
                  </a:lnTo>
                  <a:lnTo>
                    <a:pt x="778" y="321"/>
                  </a:lnTo>
                  <a:lnTo>
                    <a:pt x="815" y="325"/>
                  </a:lnTo>
                  <a:lnTo>
                    <a:pt x="823" y="294"/>
                  </a:lnTo>
                  <a:lnTo>
                    <a:pt x="820" y="279"/>
                  </a:lnTo>
                  <a:lnTo>
                    <a:pt x="812" y="265"/>
                  </a:lnTo>
                  <a:lnTo>
                    <a:pt x="829" y="254"/>
                  </a:lnTo>
                  <a:lnTo>
                    <a:pt x="815" y="243"/>
                  </a:lnTo>
                  <a:lnTo>
                    <a:pt x="835" y="226"/>
                  </a:lnTo>
                  <a:lnTo>
                    <a:pt x="828" y="207"/>
                  </a:lnTo>
                  <a:lnTo>
                    <a:pt x="835" y="204"/>
                  </a:lnTo>
                  <a:lnTo>
                    <a:pt x="752" y="169"/>
                  </a:lnTo>
                  <a:lnTo>
                    <a:pt x="735" y="175"/>
                  </a:lnTo>
                  <a:lnTo>
                    <a:pt x="707" y="138"/>
                  </a:lnTo>
                  <a:lnTo>
                    <a:pt x="673" y="152"/>
                  </a:lnTo>
                  <a:lnTo>
                    <a:pt x="625" y="139"/>
                  </a:lnTo>
                  <a:lnTo>
                    <a:pt x="601" y="84"/>
                  </a:lnTo>
                  <a:lnTo>
                    <a:pt x="563" y="75"/>
                  </a:lnTo>
                  <a:lnTo>
                    <a:pt x="555" y="50"/>
                  </a:lnTo>
                  <a:lnTo>
                    <a:pt x="569" y="38"/>
                  </a:lnTo>
                  <a:lnTo>
                    <a:pt x="540" y="0"/>
                  </a:lnTo>
                  <a:lnTo>
                    <a:pt x="450" y="17"/>
                  </a:lnTo>
                  <a:lnTo>
                    <a:pt x="413" y="22"/>
                  </a:lnTo>
                  <a:lnTo>
                    <a:pt x="398" y="39"/>
                  </a:lnTo>
                  <a:lnTo>
                    <a:pt x="396" y="73"/>
                  </a:lnTo>
                  <a:lnTo>
                    <a:pt x="386" y="82"/>
                  </a:lnTo>
                  <a:lnTo>
                    <a:pt x="374" y="73"/>
                  </a:lnTo>
                  <a:lnTo>
                    <a:pt x="342" y="80"/>
                  </a:lnTo>
                  <a:lnTo>
                    <a:pt x="322" y="60"/>
                  </a:lnTo>
                  <a:lnTo>
                    <a:pt x="308" y="75"/>
                  </a:lnTo>
                  <a:lnTo>
                    <a:pt x="280" y="60"/>
                  </a:lnTo>
                  <a:lnTo>
                    <a:pt x="255" y="73"/>
                  </a:lnTo>
                  <a:lnTo>
                    <a:pt x="249" y="62"/>
                  </a:lnTo>
                  <a:lnTo>
                    <a:pt x="235" y="63"/>
                  </a:lnTo>
                  <a:lnTo>
                    <a:pt x="221" y="48"/>
                  </a:lnTo>
                  <a:lnTo>
                    <a:pt x="171" y="31"/>
                  </a:lnTo>
                  <a:lnTo>
                    <a:pt x="147" y="33"/>
                  </a:lnTo>
                  <a:lnTo>
                    <a:pt x="108" y="36"/>
                  </a:lnTo>
                  <a:lnTo>
                    <a:pt x="94" y="50"/>
                  </a:lnTo>
                  <a:lnTo>
                    <a:pt x="65" y="60"/>
                  </a:lnTo>
                  <a:lnTo>
                    <a:pt x="76" y="99"/>
                  </a:lnTo>
                  <a:lnTo>
                    <a:pt x="86" y="112"/>
                  </a:lnTo>
                  <a:lnTo>
                    <a:pt x="91" y="135"/>
                  </a:lnTo>
                  <a:lnTo>
                    <a:pt x="86" y="146"/>
                  </a:lnTo>
                  <a:lnTo>
                    <a:pt x="42" y="186"/>
                  </a:lnTo>
                  <a:lnTo>
                    <a:pt x="27" y="217"/>
                  </a:lnTo>
                  <a:lnTo>
                    <a:pt x="29" y="241"/>
                  </a:lnTo>
                  <a:lnTo>
                    <a:pt x="15" y="241"/>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02" name="Freeform 128">
              <a:extLst>
                <a:ext uri="{FF2B5EF4-FFF2-40B4-BE49-F238E27FC236}">
                  <a16:creationId xmlns:a16="http://schemas.microsoft.com/office/drawing/2014/main" id="{D4E1AEBC-D2A6-7242-BA8A-96BF23C1C4F3}"/>
                </a:ext>
              </a:extLst>
            </p:cNvPr>
            <p:cNvSpPr>
              <a:spLocks noChangeAspect="1"/>
            </p:cNvSpPr>
            <p:nvPr/>
          </p:nvSpPr>
          <p:spPr bwMode="gray">
            <a:xfrm>
              <a:off x="4988081" y="2891210"/>
              <a:ext cx="87426" cy="101659"/>
            </a:xfrm>
            <a:custGeom>
              <a:avLst/>
              <a:gdLst>
                <a:gd name="T0" fmla="*/ 157 w 181"/>
                <a:gd name="T1" fmla="*/ 24 h 174"/>
                <a:gd name="T2" fmla="*/ 168 w 181"/>
                <a:gd name="T3" fmla="*/ 24 h 174"/>
                <a:gd name="T4" fmla="*/ 169 w 181"/>
                <a:gd name="T5" fmla="*/ 27 h 174"/>
                <a:gd name="T6" fmla="*/ 157 w 181"/>
                <a:gd name="T7" fmla="*/ 59 h 174"/>
                <a:gd name="T8" fmla="*/ 160 w 181"/>
                <a:gd name="T9" fmla="*/ 62 h 174"/>
                <a:gd name="T10" fmla="*/ 181 w 181"/>
                <a:gd name="T11" fmla="*/ 79 h 174"/>
                <a:gd name="T12" fmla="*/ 178 w 181"/>
                <a:gd name="T13" fmla="*/ 84 h 174"/>
                <a:gd name="T14" fmla="*/ 166 w 181"/>
                <a:gd name="T15" fmla="*/ 83 h 174"/>
                <a:gd name="T16" fmla="*/ 164 w 181"/>
                <a:gd name="T17" fmla="*/ 84 h 174"/>
                <a:gd name="T18" fmla="*/ 178 w 181"/>
                <a:gd name="T19" fmla="*/ 98 h 174"/>
                <a:gd name="T20" fmla="*/ 177 w 181"/>
                <a:gd name="T21" fmla="*/ 107 h 174"/>
                <a:gd name="T22" fmla="*/ 155 w 181"/>
                <a:gd name="T23" fmla="*/ 113 h 174"/>
                <a:gd name="T24" fmla="*/ 149 w 181"/>
                <a:gd name="T25" fmla="*/ 115 h 174"/>
                <a:gd name="T26" fmla="*/ 155 w 181"/>
                <a:gd name="T27" fmla="*/ 126 h 174"/>
                <a:gd name="T28" fmla="*/ 155 w 181"/>
                <a:gd name="T29" fmla="*/ 130 h 174"/>
                <a:gd name="T30" fmla="*/ 152 w 181"/>
                <a:gd name="T31" fmla="*/ 130 h 174"/>
                <a:gd name="T32" fmla="*/ 149 w 181"/>
                <a:gd name="T33" fmla="*/ 124 h 174"/>
                <a:gd name="T34" fmla="*/ 144 w 181"/>
                <a:gd name="T35" fmla="*/ 124 h 174"/>
                <a:gd name="T36" fmla="*/ 135 w 181"/>
                <a:gd name="T37" fmla="*/ 135 h 174"/>
                <a:gd name="T38" fmla="*/ 134 w 181"/>
                <a:gd name="T39" fmla="*/ 144 h 174"/>
                <a:gd name="T40" fmla="*/ 130 w 181"/>
                <a:gd name="T41" fmla="*/ 144 h 174"/>
                <a:gd name="T42" fmla="*/ 126 w 181"/>
                <a:gd name="T43" fmla="*/ 155 h 174"/>
                <a:gd name="T44" fmla="*/ 130 w 181"/>
                <a:gd name="T45" fmla="*/ 164 h 174"/>
                <a:gd name="T46" fmla="*/ 130 w 181"/>
                <a:gd name="T47" fmla="*/ 167 h 174"/>
                <a:gd name="T48" fmla="*/ 127 w 181"/>
                <a:gd name="T49" fmla="*/ 174 h 174"/>
                <a:gd name="T50" fmla="*/ 124 w 181"/>
                <a:gd name="T51" fmla="*/ 174 h 174"/>
                <a:gd name="T52" fmla="*/ 124 w 181"/>
                <a:gd name="T53" fmla="*/ 171 h 174"/>
                <a:gd name="T54" fmla="*/ 117 w 181"/>
                <a:gd name="T55" fmla="*/ 169 h 174"/>
                <a:gd name="T56" fmla="*/ 109 w 181"/>
                <a:gd name="T57" fmla="*/ 163 h 174"/>
                <a:gd name="T58" fmla="*/ 103 w 181"/>
                <a:gd name="T59" fmla="*/ 161 h 174"/>
                <a:gd name="T60" fmla="*/ 96 w 181"/>
                <a:gd name="T61" fmla="*/ 155 h 174"/>
                <a:gd name="T62" fmla="*/ 96 w 181"/>
                <a:gd name="T63" fmla="*/ 152 h 174"/>
                <a:gd name="T64" fmla="*/ 92 w 181"/>
                <a:gd name="T65" fmla="*/ 150 h 174"/>
                <a:gd name="T66" fmla="*/ 84 w 181"/>
                <a:gd name="T67" fmla="*/ 154 h 174"/>
                <a:gd name="T68" fmla="*/ 84 w 181"/>
                <a:gd name="T69" fmla="*/ 150 h 174"/>
                <a:gd name="T70" fmla="*/ 83 w 181"/>
                <a:gd name="T71" fmla="*/ 150 h 174"/>
                <a:gd name="T72" fmla="*/ 90 w 181"/>
                <a:gd name="T73" fmla="*/ 147 h 174"/>
                <a:gd name="T74" fmla="*/ 71 w 181"/>
                <a:gd name="T75" fmla="*/ 127 h 174"/>
                <a:gd name="T76" fmla="*/ 70 w 181"/>
                <a:gd name="T77" fmla="*/ 117 h 174"/>
                <a:gd name="T78" fmla="*/ 20 w 181"/>
                <a:gd name="T79" fmla="*/ 70 h 174"/>
                <a:gd name="T80" fmla="*/ 19 w 181"/>
                <a:gd name="T81" fmla="*/ 51 h 174"/>
                <a:gd name="T82" fmla="*/ 10 w 181"/>
                <a:gd name="T83" fmla="*/ 36 h 174"/>
                <a:gd name="T84" fmla="*/ 0 w 181"/>
                <a:gd name="T85" fmla="*/ 30 h 174"/>
                <a:gd name="T86" fmla="*/ 3 w 181"/>
                <a:gd name="T87" fmla="*/ 7 h 174"/>
                <a:gd name="T88" fmla="*/ 16 w 181"/>
                <a:gd name="T89" fmla="*/ 3 h 174"/>
                <a:gd name="T90" fmla="*/ 28 w 181"/>
                <a:gd name="T91" fmla="*/ 17 h 174"/>
                <a:gd name="T92" fmla="*/ 37 w 181"/>
                <a:gd name="T93" fmla="*/ 3 h 174"/>
                <a:gd name="T94" fmla="*/ 45 w 181"/>
                <a:gd name="T95" fmla="*/ 3 h 174"/>
                <a:gd name="T96" fmla="*/ 58 w 181"/>
                <a:gd name="T97" fmla="*/ 0 h 174"/>
                <a:gd name="T98" fmla="*/ 98 w 181"/>
                <a:gd name="T99" fmla="*/ 16 h 174"/>
                <a:gd name="T100" fmla="*/ 107 w 181"/>
                <a:gd name="T101" fmla="*/ 8 h 174"/>
                <a:gd name="T102" fmla="*/ 137 w 181"/>
                <a:gd name="T103" fmla="*/ 13 h 174"/>
                <a:gd name="T104" fmla="*/ 146 w 181"/>
                <a:gd name="T105" fmla="*/ 28 h 174"/>
                <a:gd name="T106" fmla="*/ 157 w 181"/>
                <a:gd name="T107" fmla="*/ 2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1" h="174">
                  <a:moveTo>
                    <a:pt x="157" y="24"/>
                  </a:moveTo>
                  <a:lnTo>
                    <a:pt x="168" y="24"/>
                  </a:lnTo>
                  <a:lnTo>
                    <a:pt x="169" y="27"/>
                  </a:lnTo>
                  <a:lnTo>
                    <a:pt x="157" y="59"/>
                  </a:lnTo>
                  <a:lnTo>
                    <a:pt x="160" y="62"/>
                  </a:lnTo>
                  <a:lnTo>
                    <a:pt x="181" y="79"/>
                  </a:lnTo>
                  <a:lnTo>
                    <a:pt x="178" y="84"/>
                  </a:lnTo>
                  <a:lnTo>
                    <a:pt x="166" y="83"/>
                  </a:lnTo>
                  <a:lnTo>
                    <a:pt x="164" y="84"/>
                  </a:lnTo>
                  <a:lnTo>
                    <a:pt x="178" y="98"/>
                  </a:lnTo>
                  <a:lnTo>
                    <a:pt x="177" y="107"/>
                  </a:lnTo>
                  <a:lnTo>
                    <a:pt x="155" y="113"/>
                  </a:lnTo>
                  <a:lnTo>
                    <a:pt x="149" y="115"/>
                  </a:lnTo>
                  <a:lnTo>
                    <a:pt x="155" y="126"/>
                  </a:lnTo>
                  <a:lnTo>
                    <a:pt x="155" y="130"/>
                  </a:lnTo>
                  <a:lnTo>
                    <a:pt x="152" y="130"/>
                  </a:lnTo>
                  <a:lnTo>
                    <a:pt x="149" y="124"/>
                  </a:lnTo>
                  <a:lnTo>
                    <a:pt x="144" y="124"/>
                  </a:lnTo>
                  <a:lnTo>
                    <a:pt x="135" y="135"/>
                  </a:lnTo>
                  <a:lnTo>
                    <a:pt x="134" y="144"/>
                  </a:lnTo>
                  <a:lnTo>
                    <a:pt x="130" y="144"/>
                  </a:lnTo>
                  <a:lnTo>
                    <a:pt x="126" y="155"/>
                  </a:lnTo>
                  <a:lnTo>
                    <a:pt x="130" y="164"/>
                  </a:lnTo>
                  <a:lnTo>
                    <a:pt x="130" y="167"/>
                  </a:lnTo>
                  <a:lnTo>
                    <a:pt x="127" y="174"/>
                  </a:lnTo>
                  <a:lnTo>
                    <a:pt x="124" y="174"/>
                  </a:lnTo>
                  <a:lnTo>
                    <a:pt x="124" y="171"/>
                  </a:lnTo>
                  <a:lnTo>
                    <a:pt x="117" y="169"/>
                  </a:lnTo>
                  <a:lnTo>
                    <a:pt x="109" y="163"/>
                  </a:lnTo>
                  <a:lnTo>
                    <a:pt x="103" y="161"/>
                  </a:lnTo>
                  <a:lnTo>
                    <a:pt x="96" y="155"/>
                  </a:lnTo>
                  <a:lnTo>
                    <a:pt x="96" y="152"/>
                  </a:lnTo>
                  <a:lnTo>
                    <a:pt x="92" y="150"/>
                  </a:lnTo>
                  <a:lnTo>
                    <a:pt x="84" y="154"/>
                  </a:lnTo>
                  <a:lnTo>
                    <a:pt x="84" y="150"/>
                  </a:lnTo>
                  <a:lnTo>
                    <a:pt x="83" y="150"/>
                  </a:lnTo>
                  <a:lnTo>
                    <a:pt x="90" y="147"/>
                  </a:lnTo>
                  <a:lnTo>
                    <a:pt x="71" y="127"/>
                  </a:lnTo>
                  <a:lnTo>
                    <a:pt x="70" y="117"/>
                  </a:lnTo>
                  <a:lnTo>
                    <a:pt x="20" y="70"/>
                  </a:lnTo>
                  <a:lnTo>
                    <a:pt x="19" y="51"/>
                  </a:lnTo>
                  <a:lnTo>
                    <a:pt x="10" y="36"/>
                  </a:lnTo>
                  <a:lnTo>
                    <a:pt x="0" y="30"/>
                  </a:lnTo>
                  <a:lnTo>
                    <a:pt x="3" y="7"/>
                  </a:lnTo>
                  <a:lnTo>
                    <a:pt x="16" y="3"/>
                  </a:lnTo>
                  <a:lnTo>
                    <a:pt x="28" y="17"/>
                  </a:lnTo>
                  <a:lnTo>
                    <a:pt x="37" y="3"/>
                  </a:lnTo>
                  <a:lnTo>
                    <a:pt x="45" y="3"/>
                  </a:lnTo>
                  <a:lnTo>
                    <a:pt x="58" y="0"/>
                  </a:lnTo>
                  <a:lnTo>
                    <a:pt x="98" y="16"/>
                  </a:lnTo>
                  <a:lnTo>
                    <a:pt x="107" y="8"/>
                  </a:lnTo>
                  <a:lnTo>
                    <a:pt x="137" y="13"/>
                  </a:lnTo>
                  <a:lnTo>
                    <a:pt x="146" y="28"/>
                  </a:lnTo>
                  <a:lnTo>
                    <a:pt x="157" y="24"/>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03" name="Freeform 129">
              <a:extLst>
                <a:ext uri="{FF2B5EF4-FFF2-40B4-BE49-F238E27FC236}">
                  <a16:creationId xmlns:a16="http://schemas.microsoft.com/office/drawing/2014/main" id="{3C89928D-D645-4B4B-9004-A4BC7B0382F7}"/>
                </a:ext>
              </a:extLst>
            </p:cNvPr>
            <p:cNvSpPr>
              <a:spLocks noChangeAspect="1"/>
            </p:cNvSpPr>
            <p:nvPr/>
          </p:nvSpPr>
          <p:spPr bwMode="gray">
            <a:xfrm>
              <a:off x="5137502" y="2937246"/>
              <a:ext cx="141472" cy="103577"/>
            </a:xfrm>
            <a:custGeom>
              <a:avLst/>
              <a:gdLst>
                <a:gd name="T0" fmla="*/ 27 w 290"/>
                <a:gd name="T1" fmla="*/ 173 h 179"/>
                <a:gd name="T2" fmla="*/ 20 w 290"/>
                <a:gd name="T3" fmla="*/ 133 h 179"/>
                <a:gd name="T4" fmla="*/ 2 w 290"/>
                <a:gd name="T5" fmla="*/ 117 h 179"/>
                <a:gd name="T6" fmla="*/ 2 w 290"/>
                <a:gd name="T7" fmla="*/ 96 h 179"/>
                <a:gd name="T8" fmla="*/ 22 w 290"/>
                <a:gd name="T9" fmla="*/ 66 h 179"/>
                <a:gd name="T10" fmla="*/ 2 w 290"/>
                <a:gd name="T11" fmla="*/ 40 h 179"/>
                <a:gd name="T12" fmla="*/ 0 w 290"/>
                <a:gd name="T13" fmla="*/ 22 h 179"/>
                <a:gd name="T14" fmla="*/ 2 w 290"/>
                <a:gd name="T15" fmla="*/ 6 h 179"/>
                <a:gd name="T16" fmla="*/ 16 w 290"/>
                <a:gd name="T17" fmla="*/ 0 h 179"/>
                <a:gd name="T18" fmla="*/ 27 w 290"/>
                <a:gd name="T19" fmla="*/ 3 h 179"/>
                <a:gd name="T20" fmla="*/ 22 w 290"/>
                <a:gd name="T21" fmla="*/ 14 h 179"/>
                <a:gd name="T22" fmla="*/ 31 w 290"/>
                <a:gd name="T23" fmla="*/ 22 h 179"/>
                <a:gd name="T24" fmla="*/ 143 w 290"/>
                <a:gd name="T25" fmla="*/ 31 h 179"/>
                <a:gd name="T26" fmla="*/ 212 w 290"/>
                <a:gd name="T27" fmla="*/ 3 h 179"/>
                <a:gd name="T28" fmla="*/ 229 w 290"/>
                <a:gd name="T29" fmla="*/ 3 h 179"/>
                <a:gd name="T30" fmla="*/ 257 w 290"/>
                <a:gd name="T31" fmla="*/ 14 h 179"/>
                <a:gd name="T32" fmla="*/ 276 w 290"/>
                <a:gd name="T33" fmla="*/ 25 h 179"/>
                <a:gd name="T34" fmla="*/ 290 w 290"/>
                <a:gd name="T35" fmla="*/ 23 h 179"/>
                <a:gd name="T36" fmla="*/ 283 w 290"/>
                <a:gd name="T37" fmla="*/ 46 h 179"/>
                <a:gd name="T38" fmla="*/ 268 w 290"/>
                <a:gd name="T39" fmla="*/ 51 h 179"/>
                <a:gd name="T40" fmla="*/ 257 w 290"/>
                <a:gd name="T41" fmla="*/ 63 h 179"/>
                <a:gd name="T42" fmla="*/ 257 w 290"/>
                <a:gd name="T43" fmla="*/ 88 h 179"/>
                <a:gd name="T44" fmla="*/ 237 w 290"/>
                <a:gd name="T45" fmla="*/ 103 h 179"/>
                <a:gd name="T46" fmla="*/ 260 w 290"/>
                <a:gd name="T47" fmla="*/ 140 h 179"/>
                <a:gd name="T48" fmla="*/ 235 w 290"/>
                <a:gd name="T49" fmla="*/ 142 h 179"/>
                <a:gd name="T50" fmla="*/ 220 w 290"/>
                <a:gd name="T51" fmla="*/ 133 h 179"/>
                <a:gd name="T52" fmla="*/ 183 w 290"/>
                <a:gd name="T53" fmla="*/ 147 h 179"/>
                <a:gd name="T54" fmla="*/ 175 w 290"/>
                <a:gd name="T55" fmla="*/ 148 h 179"/>
                <a:gd name="T56" fmla="*/ 173 w 290"/>
                <a:gd name="T57" fmla="*/ 165 h 179"/>
                <a:gd name="T58" fmla="*/ 161 w 290"/>
                <a:gd name="T59" fmla="*/ 176 h 179"/>
                <a:gd name="T60" fmla="*/ 144 w 290"/>
                <a:gd name="T61" fmla="*/ 179 h 179"/>
                <a:gd name="T62" fmla="*/ 96 w 290"/>
                <a:gd name="T63" fmla="*/ 161 h 179"/>
                <a:gd name="T64" fmla="*/ 27 w 290"/>
                <a:gd name="T65" fmla="*/ 17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0" h="179">
                  <a:moveTo>
                    <a:pt x="27" y="173"/>
                  </a:moveTo>
                  <a:lnTo>
                    <a:pt x="20" y="133"/>
                  </a:lnTo>
                  <a:lnTo>
                    <a:pt x="2" y="117"/>
                  </a:lnTo>
                  <a:lnTo>
                    <a:pt x="2" y="96"/>
                  </a:lnTo>
                  <a:lnTo>
                    <a:pt x="22" y="66"/>
                  </a:lnTo>
                  <a:lnTo>
                    <a:pt x="2" y="40"/>
                  </a:lnTo>
                  <a:lnTo>
                    <a:pt x="0" y="22"/>
                  </a:lnTo>
                  <a:lnTo>
                    <a:pt x="2" y="6"/>
                  </a:lnTo>
                  <a:lnTo>
                    <a:pt x="16" y="0"/>
                  </a:lnTo>
                  <a:lnTo>
                    <a:pt x="27" y="3"/>
                  </a:lnTo>
                  <a:lnTo>
                    <a:pt x="22" y="14"/>
                  </a:lnTo>
                  <a:lnTo>
                    <a:pt x="31" y="22"/>
                  </a:lnTo>
                  <a:lnTo>
                    <a:pt x="143" y="31"/>
                  </a:lnTo>
                  <a:lnTo>
                    <a:pt x="212" y="3"/>
                  </a:lnTo>
                  <a:lnTo>
                    <a:pt x="229" y="3"/>
                  </a:lnTo>
                  <a:lnTo>
                    <a:pt x="257" y="14"/>
                  </a:lnTo>
                  <a:lnTo>
                    <a:pt x="276" y="25"/>
                  </a:lnTo>
                  <a:lnTo>
                    <a:pt x="290" y="23"/>
                  </a:lnTo>
                  <a:lnTo>
                    <a:pt x="283" y="46"/>
                  </a:lnTo>
                  <a:lnTo>
                    <a:pt x="268" y="51"/>
                  </a:lnTo>
                  <a:lnTo>
                    <a:pt x="257" y="63"/>
                  </a:lnTo>
                  <a:lnTo>
                    <a:pt x="257" y="88"/>
                  </a:lnTo>
                  <a:lnTo>
                    <a:pt x="237" y="103"/>
                  </a:lnTo>
                  <a:lnTo>
                    <a:pt x="260" y="140"/>
                  </a:lnTo>
                  <a:lnTo>
                    <a:pt x="235" y="142"/>
                  </a:lnTo>
                  <a:lnTo>
                    <a:pt x="220" y="133"/>
                  </a:lnTo>
                  <a:lnTo>
                    <a:pt x="183" y="147"/>
                  </a:lnTo>
                  <a:lnTo>
                    <a:pt x="175" y="148"/>
                  </a:lnTo>
                  <a:lnTo>
                    <a:pt x="173" y="165"/>
                  </a:lnTo>
                  <a:lnTo>
                    <a:pt x="161" y="176"/>
                  </a:lnTo>
                  <a:lnTo>
                    <a:pt x="144" y="179"/>
                  </a:lnTo>
                  <a:lnTo>
                    <a:pt x="96" y="161"/>
                  </a:lnTo>
                  <a:lnTo>
                    <a:pt x="27" y="173"/>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404" name="Freeform 130">
              <a:extLst>
                <a:ext uri="{FF2B5EF4-FFF2-40B4-BE49-F238E27FC236}">
                  <a16:creationId xmlns:a16="http://schemas.microsoft.com/office/drawing/2014/main" id="{66A50867-7AB6-A34F-9D95-93D7077C1F90}"/>
                </a:ext>
              </a:extLst>
            </p:cNvPr>
            <p:cNvSpPr>
              <a:spLocks noChangeAspect="1"/>
            </p:cNvSpPr>
            <p:nvPr/>
          </p:nvSpPr>
          <p:spPr bwMode="gray">
            <a:xfrm>
              <a:off x="4996029" y="2766537"/>
              <a:ext cx="149419" cy="109333"/>
            </a:xfrm>
            <a:custGeom>
              <a:avLst/>
              <a:gdLst>
                <a:gd name="T0" fmla="*/ 310 w 310"/>
                <a:gd name="T1" fmla="*/ 39 h 186"/>
                <a:gd name="T2" fmla="*/ 298 w 310"/>
                <a:gd name="T3" fmla="*/ 23 h 186"/>
                <a:gd name="T4" fmla="*/ 276 w 310"/>
                <a:gd name="T5" fmla="*/ 8 h 186"/>
                <a:gd name="T6" fmla="*/ 215 w 310"/>
                <a:gd name="T7" fmla="*/ 0 h 186"/>
                <a:gd name="T8" fmla="*/ 200 w 310"/>
                <a:gd name="T9" fmla="*/ 8 h 186"/>
                <a:gd name="T10" fmla="*/ 197 w 310"/>
                <a:gd name="T11" fmla="*/ 17 h 186"/>
                <a:gd name="T12" fmla="*/ 176 w 310"/>
                <a:gd name="T13" fmla="*/ 25 h 186"/>
                <a:gd name="T14" fmla="*/ 163 w 310"/>
                <a:gd name="T15" fmla="*/ 20 h 186"/>
                <a:gd name="T16" fmla="*/ 124 w 310"/>
                <a:gd name="T17" fmla="*/ 35 h 186"/>
                <a:gd name="T18" fmla="*/ 107 w 310"/>
                <a:gd name="T19" fmla="*/ 52 h 186"/>
                <a:gd name="T20" fmla="*/ 79 w 310"/>
                <a:gd name="T21" fmla="*/ 54 h 186"/>
                <a:gd name="T22" fmla="*/ 47 w 310"/>
                <a:gd name="T23" fmla="*/ 32 h 186"/>
                <a:gd name="T24" fmla="*/ 44 w 310"/>
                <a:gd name="T25" fmla="*/ 56 h 186"/>
                <a:gd name="T26" fmla="*/ 22 w 310"/>
                <a:gd name="T27" fmla="*/ 56 h 186"/>
                <a:gd name="T28" fmla="*/ 19 w 310"/>
                <a:gd name="T29" fmla="*/ 62 h 186"/>
                <a:gd name="T30" fmla="*/ 24 w 310"/>
                <a:gd name="T31" fmla="*/ 69 h 186"/>
                <a:gd name="T32" fmla="*/ 17 w 310"/>
                <a:gd name="T33" fmla="*/ 85 h 186"/>
                <a:gd name="T34" fmla="*/ 17 w 310"/>
                <a:gd name="T35" fmla="*/ 102 h 186"/>
                <a:gd name="T36" fmla="*/ 0 w 310"/>
                <a:gd name="T37" fmla="*/ 113 h 186"/>
                <a:gd name="T38" fmla="*/ 11 w 310"/>
                <a:gd name="T39" fmla="*/ 116 h 186"/>
                <a:gd name="T40" fmla="*/ 24 w 310"/>
                <a:gd name="T41" fmla="*/ 139 h 186"/>
                <a:gd name="T42" fmla="*/ 62 w 310"/>
                <a:gd name="T43" fmla="*/ 174 h 186"/>
                <a:gd name="T44" fmla="*/ 84 w 310"/>
                <a:gd name="T45" fmla="*/ 186 h 186"/>
                <a:gd name="T46" fmla="*/ 121 w 310"/>
                <a:gd name="T47" fmla="*/ 176 h 186"/>
                <a:gd name="T48" fmla="*/ 164 w 310"/>
                <a:gd name="T49" fmla="*/ 161 h 186"/>
                <a:gd name="T50" fmla="*/ 185 w 310"/>
                <a:gd name="T51" fmla="*/ 157 h 186"/>
                <a:gd name="T52" fmla="*/ 191 w 310"/>
                <a:gd name="T53" fmla="*/ 162 h 186"/>
                <a:gd name="T54" fmla="*/ 232 w 310"/>
                <a:gd name="T55" fmla="*/ 148 h 186"/>
                <a:gd name="T56" fmla="*/ 265 w 310"/>
                <a:gd name="T57" fmla="*/ 89 h 186"/>
                <a:gd name="T58" fmla="*/ 273 w 310"/>
                <a:gd name="T59" fmla="*/ 66 h 186"/>
                <a:gd name="T60" fmla="*/ 310 w 310"/>
                <a:gd name="T61" fmla="*/ 3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0" h="186">
                  <a:moveTo>
                    <a:pt x="310" y="39"/>
                  </a:moveTo>
                  <a:lnTo>
                    <a:pt x="298" y="23"/>
                  </a:lnTo>
                  <a:lnTo>
                    <a:pt x="276" y="8"/>
                  </a:lnTo>
                  <a:lnTo>
                    <a:pt x="215" y="0"/>
                  </a:lnTo>
                  <a:lnTo>
                    <a:pt x="200" y="8"/>
                  </a:lnTo>
                  <a:lnTo>
                    <a:pt x="197" y="17"/>
                  </a:lnTo>
                  <a:lnTo>
                    <a:pt x="176" y="25"/>
                  </a:lnTo>
                  <a:lnTo>
                    <a:pt x="163" y="20"/>
                  </a:lnTo>
                  <a:lnTo>
                    <a:pt x="124" y="35"/>
                  </a:lnTo>
                  <a:lnTo>
                    <a:pt x="107" y="52"/>
                  </a:lnTo>
                  <a:lnTo>
                    <a:pt x="79" y="54"/>
                  </a:lnTo>
                  <a:lnTo>
                    <a:pt x="47" y="32"/>
                  </a:lnTo>
                  <a:lnTo>
                    <a:pt x="44" y="56"/>
                  </a:lnTo>
                  <a:lnTo>
                    <a:pt x="22" y="56"/>
                  </a:lnTo>
                  <a:lnTo>
                    <a:pt x="19" y="62"/>
                  </a:lnTo>
                  <a:lnTo>
                    <a:pt x="24" y="69"/>
                  </a:lnTo>
                  <a:lnTo>
                    <a:pt x="17" y="85"/>
                  </a:lnTo>
                  <a:lnTo>
                    <a:pt x="17" y="102"/>
                  </a:lnTo>
                  <a:lnTo>
                    <a:pt x="0" y="113"/>
                  </a:lnTo>
                  <a:lnTo>
                    <a:pt x="11" y="116"/>
                  </a:lnTo>
                  <a:lnTo>
                    <a:pt x="24" y="139"/>
                  </a:lnTo>
                  <a:lnTo>
                    <a:pt x="62" y="174"/>
                  </a:lnTo>
                  <a:lnTo>
                    <a:pt x="84" y="186"/>
                  </a:lnTo>
                  <a:lnTo>
                    <a:pt x="121" y="176"/>
                  </a:lnTo>
                  <a:lnTo>
                    <a:pt x="164" y="161"/>
                  </a:lnTo>
                  <a:lnTo>
                    <a:pt x="185" y="157"/>
                  </a:lnTo>
                  <a:lnTo>
                    <a:pt x="191" y="162"/>
                  </a:lnTo>
                  <a:lnTo>
                    <a:pt x="232" y="148"/>
                  </a:lnTo>
                  <a:lnTo>
                    <a:pt x="265" y="89"/>
                  </a:lnTo>
                  <a:lnTo>
                    <a:pt x="273" y="66"/>
                  </a:lnTo>
                  <a:lnTo>
                    <a:pt x="310" y="39"/>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05" name="Freeform 131">
              <a:extLst>
                <a:ext uri="{FF2B5EF4-FFF2-40B4-BE49-F238E27FC236}">
                  <a16:creationId xmlns:a16="http://schemas.microsoft.com/office/drawing/2014/main" id="{78D6523A-61BE-2C4B-9594-FC2987EBEC34}"/>
                </a:ext>
              </a:extLst>
            </p:cNvPr>
            <p:cNvSpPr>
              <a:spLocks noChangeAspect="1"/>
            </p:cNvSpPr>
            <p:nvPr/>
          </p:nvSpPr>
          <p:spPr bwMode="gray">
            <a:xfrm>
              <a:off x="4935627" y="2831750"/>
              <a:ext cx="71531" cy="61379"/>
            </a:xfrm>
            <a:custGeom>
              <a:avLst/>
              <a:gdLst>
                <a:gd name="T0" fmla="*/ 4 w 147"/>
                <a:gd name="T1" fmla="*/ 93 h 103"/>
                <a:gd name="T2" fmla="*/ 43 w 147"/>
                <a:gd name="T3" fmla="*/ 97 h 103"/>
                <a:gd name="T4" fmla="*/ 54 w 147"/>
                <a:gd name="T5" fmla="*/ 83 h 103"/>
                <a:gd name="T6" fmla="*/ 62 w 147"/>
                <a:gd name="T7" fmla="*/ 100 h 103"/>
                <a:gd name="T8" fmla="*/ 69 w 147"/>
                <a:gd name="T9" fmla="*/ 97 h 103"/>
                <a:gd name="T10" fmla="*/ 80 w 147"/>
                <a:gd name="T11" fmla="*/ 103 h 103"/>
                <a:gd name="T12" fmla="*/ 83 w 147"/>
                <a:gd name="T13" fmla="*/ 100 h 103"/>
                <a:gd name="T14" fmla="*/ 83 w 147"/>
                <a:gd name="T15" fmla="*/ 82 h 103"/>
                <a:gd name="T16" fmla="*/ 105 w 147"/>
                <a:gd name="T17" fmla="*/ 66 h 103"/>
                <a:gd name="T18" fmla="*/ 105 w 147"/>
                <a:gd name="T19" fmla="*/ 57 h 103"/>
                <a:gd name="T20" fmla="*/ 99 w 147"/>
                <a:gd name="T21" fmla="*/ 52 h 103"/>
                <a:gd name="T22" fmla="*/ 100 w 147"/>
                <a:gd name="T23" fmla="*/ 44 h 103"/>
                <a:gd name="T24" fmla="*/ 130 w 147"/>
                <a:gd name="T25" fmla="*/ 34 h 103"/>
                <a:gd name="T26" fmla="*/ 131 w 147"/>
                <a:gd name="T27" fmla="*/ 20 h 103"/>
                <a:gd name="T28" fmla="*/ 143 w 147"/>
                <a:gd name="T29" fmla="*/ 26 h 103"/>
                <a:gd name="T30" fmla="*/ 147 w 147"/>
                <a:gd name="T31" fmla="*/ 26 h 103"/>
                <a:gd name="T32" fmla="*/ 134 w 147"/>
                <a:gd name="T33" fmla="*/ 3 h 103"/>
                <a:gd name="T34" fmla="*/ 123 w 147"/>
                <a:gd name="T35" fmla="*/ 0 h 103"/>
                <a:gd name="T36" fmla="*/ 113 w 147"/>
                <a:gd name="T37" fmla="*/ 10 h 103"/>
                <a:gd name="T38" fmla="*/ 63 w 147"/>
                <a:gd name="T39" fmla="*/ 15 h 103"/>
                <a:gd name="T40" fmla="*/ 51 w 147"/>
                <a:gd name="T41" fmla="*/ 29 h 103"/>
                <a:gd name="T42" fmla="*/ 11 w 147"/>
                <a:gd name="T43" fmla="*/ 26 h 103"/>
                <a:gd name="T44" fmla="*/ 0 w 147"/>
                <a:gd name="T45" fmla="*/ 44 h 103"/>
                <a:gd name="T46" fmla="*/ 6 w 147"/>
                <a:gd name="T47" fmla="*/ 44 h 103"/>
                <a:gd name="T48" fmla="*/ 4 w 147"/>
                <a:gd name="T49" fmla="*/ 57 h 103"/>
                <a:gd name="T50" fmla="*/ 8 w 147"/>
                <a:gd name="T51" fmla="*/ 69 h 103"/>
                <a:gd name="T52" fmla="*/ 23 w 147"/>
                <a:gd name="T53" fmla="*/ 83 h 103"/>
                <a:gd name="T54" fmla="*/ 11 w 147"/>
                <a:gd name="T55" fmla="*/ 90 h 103"/>
                <a:gd name="T56" fmla="*/ 4 w 147"/>
                <a:gd name="T57" fmla="*/ 9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7" h="103">
                  <a:moveTo>
                    <a:pt x="4" y="93"/>
                  </a:moveTo>
                  <a:lnTo>
                    <a:pt x="43" y="97"/>
                  </a:lnTo>
                  <a:lnTo>
                    <a:pt x="54" y="83"/>
                  </a:lnTo>
                  <a:lnTo>
                    <a:pt x="62" y="100"/>
                  </a:lnTo>
                  <a:lnTo>
                    <a:pt x="69" y="97"/>
                  </a:lnTo>
                  <a:lnTo>
                    <a:pt x="80" y="103"/>
                  </a:lnTo>
                  <a:lnTo>
                    <a:pt x="83" y="100"/>
                  </a:lnTo>
                  <a:lnTo>
                    <a:pt x="83" y="82"/>
                  </a:lnTo>
                  <a:lnTo>
                    <a:pt x="105" y="66"/>
                  </a:lnTo>
                  <a:lnTo>
                    <a:pt x="105" y="57"/>
                  </a:lnTo>
                  <a:lnTo>
                    <a:pt x="99" y="52"/>
                  </a:lnTo>
                  <a:lnTo>
                    <a:pt x="100" y="44"/>
                  </a:lnTo>
                  <a:lnTo>
                    <a:pt x="130" y="34"/>
                  </a:lnTo>
                  <a:lnTo>
                    <a:pt x="131" y="20"/>
                  </a:lnTo>
                  <a:lnTo>
                    <a:pt x="143" y="26"/>
                  </a:lnTo>
                  <a:lnTo>
                    <a:pt x="147" y="26"/>
                  </a:lnTo>
                  <a:lnTo>
                    <a:pt x="134" y="3"/>
                  </a:lnTo>
                  <a:lnTo>
                    <a:pt x="123" y="0"/>
                  </a:lnTo>
                  <a:lnTo>
                    <a:pt x="113" y="10"/>
                  </a:lnTo>
                  <a:lnTo>
                    <a:pt x="63" y="15"/>
                  </a:lnTo>
                  <a:lnTo>
                    <a:pt x="51" y="29"/>
                  </a:lnTo>
                  <a:lnTo>
                    <a:pt x="11" y="26"/>
                  </a:lnTo>
                  <a:lnTo>
                    <a:pt x="0" y="44"/>
                  </a:lnTo>
                  <a:lnTo>
                    <a:pt x="6" y="44"/>
                  </a:lnTo>
                  <a:lnTo>
                    <a:pt x="4" y="57"/>
                  </a:lnTo>
                  <a:lnTo>
                    <a:pt x="8" y="69"/>
                  </a:lnTo>
                  <a:lnTo>
                    <a:pt x="23" y="83"/>
                  </a:lnTo>
                  <a:lnTo>
                    <a:pt x="11" y="90"/>
                  </a:lnTo>
                  <a:lnTo>
                    <a:pt x="4" y="93"/>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06" name="Freeform 132">
              <a:extLst>
                <a:ext uri="{FF2B5EF4-FFF2-40B4-BE49-F238E27FC236}">
                  <a16:creationId xmlns:a16="http://schemas.microsoft.com/office/drawing/2014/main" id="{504D8C76-DD7E-DF49-8563-A63613298B27}"/>
                </a:ext>
              </a:extLst>
            </p:cNvPr>
            <p:cNvSpPr>
              <a:spLocks noChangeAspect="1"/>
            </p:cNvSpPr>
            <p:nvPr/>
          </p:nvSpPr>
          <p:spPr bwMode="gray">
            <a:xfrm>
              <a:off x="5013514" y="2724338"/>
              <a:ext cx="123988" cy="72888"/>
            </a:xfrm>
            <a:custGeom>
              <a:avLst/>
              <a:gdLst>
                <a:gd name="T0" fmla="*/ 240 w 255"/>
                <a:gd name="T1" fmla="*/ 79 h 125"/>
                <a:gd name="T2" fmla="*/ 179 w 255"/>
                <a:gd name="T3" fmla="*/ 71 h 125"/>
                <a:gd name="T4" fmla="*/ 164 w 255"/>
                <a:gd name="T5" fmla="*/ 79 h 125"/>
                <a:gd name="T6" fmla="*/ 161 w 255"/>
                <a:gd name="T7" fmla="*/ 88 h 125"/>
                <a:gd name="T8" fmla="*/ 140 w 255"/>
                <a:gd name="T9" fmla="*/ 96 h 125"/>
                <a:gd name="T10" fmla="*/ 127 w 255"/>
                <a:gd name="T11" fmla="*/ 91 h 125"/>
                <a:gd name="T12" fmla="*/ 88 w 255"/>
                <a:gd name="T13" fmla="*/ 106 h 125"/>
                <a:gd name="T14" fmla="*/ 71 w 255"/>
                <a:gd name="T15" fmla="*/ 123 h 125"/>
                <a:gd name="T16" fmla="*/ 43 w 255"/>
                <a:gd name="T17" fmla="*/ 125 h 125"/>
                <a:gd name="T18" fmla="*/ 11 w 255"/>
                <a:gd name="T19" fmla="*/ 103 h 125"/>
                <a:gd name="T20" fmla="*/ 0 w 255"/>
                <a:gd name="T21" fmla="*/ 72 h 125"/>
                <a:gd name="T22" fmla="*/ 9 w 255"/>
                <a:gd name="T23" fmla="*/ 55 h 125"/>
                <a:gd name="T24" fmla="*/ 33 w 255"/>
                <a:gd name="T25" fmla="*/ 57 h 125"/>
                <a:gd name="T26" fmla="*/ 45 w 255"/>
                <a:gd name="T27" fmla="*/ 49 h 125"/>
                <a:gd name="T28" fmla="*/ 57 w 255"/>
                <a:gd name="T29" fmla="*/ 34 h 125"/>
                <a:gd name="T30" fmla="*/ 59 w 255"/>
                <a:gd name="T31" fmla="*/ 20 h 125"/>
                <a:gd name="T32" fmla="*/ 91 w 255"/>
                <a:gd name="T33" fmla="*/ 1 h 125"/>
                <a:gd name="T34" fmla="*/ 99 w 255"/>
                <a:gd name="T35" fmla="*/ 4 h 125"/>
                <a:gd name="T36" fmla="*/ 118 w 255"/>
                <a:gd name="T37" fmla="*/ 0 h 125"/>
                <a:gd name="T38" fmla="*/ 138 w 255"/>
                <a:gd name="T39" fmla="*/ 20 h 125"/>
                <a:gd name="T40" fmla="*/ 161 w 255"/>
                <a:gd name="T41" fmla="*/ 9 h 125"/>
                <a:gd name="T42" fmla="*/ 186 w 255"/>
                <a:gd name="T43" fmla="*/ 17 h 125"/>
                <a:gd name="T44" fmla="*/ 211 w 255"/>
                <a:gd name="T45" fmla="*/ 6 h 125"/>
                <a:gd name="T46" fmla="*/ 255 w 255"/>
                <a:gd name="T47" fmla="*/ 30 h 125"/>
                <a:gd name="T48" fmla="*/ 240 w 255"/>
                <a:gd name="T49" fmla="*/ 7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5" h="125">
                  <a:moveTo>
                    <a:pt x="240" y="79"/>
                  </a:moveTo>
                  <a:lnTo>
                    <a:pt x="179" y="71"/>
                  </a:lnTo>
                  <a:lnTo>
                    <a:pt x="164" y="79"/>
                  </a:lnTo>
                  <a:lnTo>
                    <a:pt x="161" y="88"/>
                  </a:lnTo>
                  <a:lnTo>
                    <a:pt x="140" y="96"/>
                  </a:lnTo>
                  <a:lnTo>
                    <a:pt x="127" y="91"/>
                  </a:lnTo>
                  <a:lnTo>
                    <a:pt x="88" y="106"/>
                  </a:lnTo>
                  <a:lnTo>
                    <a:pt x="71" y="123"/>
                  </a:lnTo>
                  <a:lnTo>
                    <a:pt x="43" y="125"/>
                  </a:lnTo>
                  <a:lnTo>
                    <a:pt x="11" y="103"/>
                  </a:lnTo>
                  <a:lnTo>
                    <a:pt x="0" y="72"/>
                  </a:lnTo>
                  <a:lnTo>
                    <a:pt x="9" y="55"/>
                  </a:lnTo>
                  <a:lnTo>
                    <a:pt x="33" y="57"/>
                  </a:lnTo>
                  <a:lnTo>
                    <a:pt x="45" y="49"/>
                  </a:lnTo>
                  <a:lnTo>
                    <a:pt x="57" y="34"/>
                  </a:lnTo>
                  <a:lnTo>
                    <a:pt x="59" y="20"/>
                  </a:lnTo>
                  <a:lnTo>
                    <a:pt x="91" y="1"/>
                  </a:lnTo>
                  <a:lnTo>
                    <a:pt x="99" y="4"/>
                  </a:lnTo>
                  <a:lnTo>
                    <a:pt x="118" y="0"/>
                  </a:lnTo>
                  <a:lnTo>
                    <a:pt x="138" y="20"/>
                  </a:lnTo>
                  <a:lnTo>
                    <a:pt x="161" y="9"/>
                  </a:lnTo>
                  <a:lnTo>
                    <a:pt x="186" y="17"/>
                  </a:lnTo>
                  <a:lnTo>
                    <a:pt x="211" y="6"/>
                  </a:lnTo>
                  <a:lnTo>
                    <a:pt x="255" y="30"/>
                  </a:lnTo>
                  <a:lnTo>
                    <a:pt x="240" y="79"/>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07" name="Freeform 133">
              <a:extLst>
                <a:ext uri="{FF2B5EF4-FFF2-40B4-BE49-F238E27FC236}">
                  <a16:creationId xmlns:a16="http://schemas.microsoft.com/office/drawing/2014/main" id="{9597BEF7-751B-7444-8BCB-2778671DBFD4}"/>
                </a:ext>
              </a:extLst>
            </p:cNvPr>
            <p:cNvSpPr>
              <a:spLocks noChangeAspect="1"/>
            </p:cNvSpPr>
            <p:nvPr/>
          </p:nvSpPr>
          <p:spPr bwMode="gray">
            <a:xfrm>
              <a:off x="4902245" y="2657206"/>
              <a:ext cx="155778" cy="109333"/>
            </a:xfrm>
            <a:custGeom>
              <a:avLst/>
              <a:gdLst>
                <a:gd name="T0" fmla="*/ 318 w 318"/>
                <a:gd name="T1" fmla="*/ 115 h 186"/>
                <a:gd name="T2" fmla="*/ 301 w 318"/>
                <a:gd name="T3" fmla="*/ 109 h 186"/>
                <a:gd name="T4" fmla="*/ 286 w 318"/>
                <a:gd name="T5" fmla="*/ 83 h 186"/>
                <a:gd name="T6" fmla="*/ 266 w 318"/>
                <a:gd name="T7" fmla="*/ 75 h 186"/>
                <a:gd name="T8" fmla="*/ 266 w 318"/>
                <a:gd name="T9" fmla="*/ 63 h 186"/>
                <a:gd name="T10" fmla="*/ 228 w 318"/>
                <a:gd name="T11" fmla="*/ 53 h 186"/>
                <a:gd name="T12" fmla="*/ 230 w 318"/>
                <a:gd name="T13" fmla="*/ 63 h 186"/>
                <a:gd name="T14" fmla="*/ 219 w 318"/>
                <a:gd name="T15" fmla="*/ 69 h 186"/>
                <a:gd name="T16" fmla="*/ 198 w 318"/>
                <a:gd name="T17" fmla="*/ 50 h 186"/>
                <a:gd name="T18" fmla="*/ 201 w 318"/>
                <a:gd name="T19" fmla="*/ 38 h 186"/>
                <a:gd name="T20" fmla="*/ 184 w 318"/>
                <a:gd name="T21" fmla="*/ 27 h 186"/>
                <a:gd name="T22" fmla="*/ 159 w 318"/>
                <a:gd name="T23" fmla="*/ 24 h 186"/>
                <a:gd name="T24" fmla="*/ 145 w 318"/>
                <a:gd name="T25" fmla="*/ 10 h 186"/>
                <a:gd name="T26" fmla="*/ 133 w 318"/>
                <a:gd name="T27" fmla="*/ 24 h 186"/>
                <a:gd name="T28" fmla="*/ 128 w 318"/>
                <a:gd name="T29" fmla="*/ 21 h 186"/>
                <a:gd name="T30" fmla="*/ 103 w 318"/>
                <a:gd name="T31" fmla="*/ 0 h 186"/>
                <a:gd name="T32" fmla="*/ 99 w 318"/>
                <a:gd name="T33" fmla="*/ 19 h 186"/>
                <a:gd name="T34" fmla="*/ 20 w 318"/>
                <a:gd name="T35" fmla="*/ 58 h 186"/>
                <a:gd name="T36" fmla="*/ 17 w 318"/>
                <a:gd name="T37" fmla="*/ 69 h 186"/>
                <a:gd name="T38" fmla="*/ 1 w 318"/>
                <a:gd name="T39" fmla="*/ 58 h 186"/>
                <a:gd name="T40" fmla="*/ 0 w 318"/>
                <a:gd name="T41" fmla="*/ 69 h 186"/>
                <a:gd name="T42" fmla="*/ 17 w 318"/>
                <a:gd name="T43" fmla="*/ 83 h 186"/>
                <a:gd name="T44" fmla="*/ 18 w 318"/>
                <a:gd name="T45" fmla="*/ 109 h 186"/>
                <a:gd name="T46" fmla="*/ 26 w 318"/>
                <a:gd name="T47" fmla="*/ 118 h 186"/>
                <a:gd name="T48" fmla="*/ 85 w 318"/>
                <a:gd name="T49" fmla="*/ 169 h 186"/>
                <a:gd name="T50" fmla="*/ 102 w 318"/>
                <a:gd name="T51" fmla="*/ 180 h 186"/>
                <a:gd name="T52" fmla="*/ 120 w 318"/>
                <a:gd name="T53" fmla="*/ 180 h 186"/>
                <a:gd name="T54" fmla="*/ 136 w 318"/>
                <a:gd name="T55" fmla="*/ 169 h 186"/>
                <a:gd name="T56" fmla="*/ 143 w 318"/>
                <a:gd name="T57" fmla="*/ 154 h 186"/>
                <a:gd name="T58" fmla="*/ 173 w 318"/>
                <a:gd name="T59" fmla="*/ 154 h 186"/>
                <a:gd name="T60" fmla="*/ 191 w 318"/>
                <a:gd name="T61" fmla="*/ 169 h 186"/>
                <a:gd name="T62" fmla="*/ 221 w 318"/>
                <a:gd name="T63" fmla="*/ 166 h 186"/>
                <a:gd name="T64" fmla="*/ 227 w 318"/>
                <a:gd name="T65" fmla="*/ 186 h 186"/>
                <a:gd name="T66" fmla="*/ 236 w 318"/>
                <a:gd name="T67" fmla="*/ 169 h 186"/>
                <a:gd name="T68" fmla="*/ 260 w 318"/>
                <a:gd name="T69" fmla="*/ 171 h 186"/>
                <a:gd name="T70" fmla="*/ 272 w 318"/>
                <a:gd name="T71" fmla="*/ 163 h 186"/>
                <a:gd name="T72" fmla="*/ 284 w 318"/>
                <a:gd name="T73" fmla="*/ 148 h 186"/>
                <a:gd name="T74" fmla="*/ 286 w 318"/>
                <a:gd name="T75" fmla="*/ 134 h 186"/>
                <a:gd name="T76" fmla="*/ 318 w 318"/>
                <a:gd name="T77" fmla="*/ 11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8" h="186">
                  <a:moveTo>
                    <a:pt x="318" y="115"/>
                  </a:moveTo>
                  <a:lnTo>
                    <a:pt x="301" y="109"/>
                  </a:lnTo>
                  <a:lnTo>
                    <a:pt x="286" y="83"/>
                  </a:lnTo>
                  <a:lnTo>
                    <a:pt x="266" y="75"/>
                  </a:lnTo>
                  <a:lnTo>
                    <a:pt x="266" y="63"/>
                  </a:lnTo>
                  <a:lnTo>
                    <a:pt x="228" y="53"/>
                  </a:lnTo>
                  <a:lnTo>
                    <a:pt x="230" y="63"/>
                  </a:lnTo>
                  <a:lnTo>
                    <a:pt x="219" y="69"/>
                  </a:lnTo>
                  <a:lnTo>
                    <a:pt x="198" y="50"/>
                  </a:lnTo>
                  <a:lnTo>
                    <a:pt x="201" y="38"/>
                  </a:lnTo>
                  <a:lnTo>
                    <a:pt x="184" y="27"/>
                  </a:lnTo>
                  <a:lnTo>
                    <a:pt x="159" y="24"/>
                  </a:lnTo>
                  <a:lnTo>
                    <a:pt x="145" y="10"/>
                  </a:lnTo>
                  <a:lnTo>
                    <a:pt x="133" y="24"/>
                  </a:lnTo>
                  <a:lnTo>
                    <a:pt x="128" y="21"/>
                  </a:lnTo>
                  <a:lnTo>
                    <a:pt x="103" y="0"/>
                  </a:lnTo>
                  <a:lnTo>
                    <a:pt x="99" y="19"/>
                  </a:lnTo>
                  <a:lnTo>
                    <a:pt x="20" y="58"/>
                  </a:lnTo>
                  <a:lnTo>
                    <a:pt x="17" y="69"/>
                  </a:lnTo>
                  <a:lnTo>
                    <a:pt x="1" y="58"/>
                  </a:lnTo>
                  <a:lnTo>
                    <a:pt x="0" y="69"/>
                  </a:lnTo>
                  <a:lnTo>
                    <a:pt x="17" y="83"/>
                  </a:lnTo>
                  <a:lnTo>
                    <a:pt x="18" y="109"/>
                  </a:lnTo>
                  <a:lnTo>
                    <a:pt x="26" y="118"/>
                  </a:lnTo>
                  <a:lnTo>
                    <a:pt x="85" y="169"/>
                  </a:lnTo>
                  <a:lnTo>
                    <a:pt x="102" y="180"/>
                  </a:lnTo>
                  <a:lnTo>
                    <a:pt x="120" y="180"/>
                  </a:lnTo>
                  <a:lnTo>
                    <a:pt x="136" y="169"/>
                  </a:lnTo>
                  <a:lnTo>
                    <a:pt x="143" y="154"/>
                  </a:lnTo>
                  <a:lnTo>
                    <a:pt x="173" y="154"/>
                  </a:lnTo>
                  <a:lnTo>
                    <a:pt x="191" y="169"/>
                  </a:lnTo>
                  <a:lnTo>
                    <a:pt x="221" y="166"/>
                  </a:lnTo>
                  <a:lnTo>
                    <a:pt x="227" y="186"/>
                  </a:lnTo>
                  <a:lnTo>
                    <a:pt x="236" y="169"/>
                  </a:lnTo>
                  <a:lnTo>
                    <a:pt x="260" y="171"/>
                  </a:lnTo>
                  <a:lnTo>
                    <a:pt x="272" y="163"/>
                  </a:lnTo>
                  <a:lnTo>
                    <a:pt x="284" y="148"/>
                  </a:lnTo>
                  <a:lnTo>
                    <a:pt x="286" y="134"/>
                  </a:lnTo>
                  <a:lnTo>
                    <a:pt x="318" y="115"/>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08" name="Freeform 134">
              <a:extLst>
                <a:ext uri="{FF2B5EF4-FFF2-40B4-BE49-F238E27FC236}">
                  <a16:creationId xmlns:a16="http://schemas.microsoft.com/office/drawing/2014/main" id="{DA51FD22-9A12-8341-9F50-73F36C0E324D}"/>
                </a:ext>
              </a:extLst>
            </p:cNvPr>
            <p:cNvSpPr>
              <a:spLocks noChangeAspect="1"/>
            </p:cNvSpPr>
            <p:nvPr/>
          </p:nvSpPr>
          <p:spPr bwMode="gray">
            <a:xfrm>
              <a:off x="4848200" y="2747354"/>
              <a:ext cx="171676" cy="101659"/>
            </a:xfrm>
            <a:custGeom>
              <a:avLst/>
              <a:gdLst>
                <a:gd name="T0" fmla="*/ 193 w 352"/>
                <a:gd name="T1" fmla="*/ 170 h 173"/>
                <a:gd name="T2" fmla="*/ 137 w 352"/>
                <a:gd name="T3" fmla="*/ 156 h 173"/>
                <a:gd name="T4" fmla="*/ 127 w 352"/>
                <a:gd name="T5" fmla="*/ 149 h 173"/>
                <a:gd name="T6" fmla="*/ 120 w 352"/>
                <a:gd name="T7" fmla="*/ 130 h 173"/>
                <a:gd name="T8" fmla="*/ 58 w 352"/>
                <a:gd name="T9" fmla="*/ 149 h 173"/>
                <a:gd name="T10" fmla="*/ 42 w 352"/>
                <a:gd name="T11" fmla="*/ 145 h 173"/>
                <a:gd name="T12" fmla="*/ 8 w 352"/>
                <a:gd name="T13" fmla="*/ 136 h 173"/>
                <a:gd name="T14" fmla="*/ 2 w 352"/>
                <a:gd name="T15" fmla="*/ 125 h 173"/>
                <a:gd name="T16" fmla="*/ 5 w 352"/>
                <a:gd name="T17" fmla="*/ 110 h 173"/>
                <a:gd name="T18" fmla="*/ 0 w 352"/>
                <a:gd name="T19" fmla="*/ 103 h 173"/>
                <a:gd name="T20" fmla="*/ 16 w 352"/>
                <a:gd name="T21" fmla="*/ 99 h 173"/>
                <a:gd name="T22" fmla="*/ 36 w 352"/>
                <a:gd name="T23" fmla="*/ 111 h 173"/>
                <a:gd name="T24" fmla="*/ 49 w 352"/>
                <a:gd name="T25" fmla="*/ 99 h 173"/>
                <a:gd name="T26" fmla="*/ 81 w 352"/>
                <a:gd name="T27" fmla="*/ 107 h 173"/>
                <a:gd name="T28" fmla="*/ 129 w 352"/>
                <a:gd name="T29" fmla="*/ 88 h 173"/>
                <a:gd name="T30" fmla="*/ 151 w 352"/>
                <a:gd name="T31" fmla="*/ 91 h 173"/>
                <a:gd name="T32" fmla="*/ 154 w 352"/>
                <a:gd name="T33" fmla="*/ 99 h 173"/>
                <a:gd name="T34" fmla="*/ 161 w 352"/>
                <a:gd name="T35" fmla="*/ 95 h 173"/>
                <a:gd name="T36" fmla="*/ 154 w 352"/>
                <a:gd name="T37" fmla="*/ 62 h 173"/>
                <a:gd name="T38" fmla="*/ 157 w 352"/>
                <a:gd name="T39" fmla="*/ 51 h 173"/>
                <a:gd name="T40" fmla="*/ 176 w 352"/>
                <a:gd name="T41" fmla="*/ 45 h 173"/>
                <a:gd name="T42" fmla="*/ 183 w 352"/>
                <a:gd name="T43" fmla="*/ 29 h 173"/>
                <a:gd name="T44" fmla="*/ 197 w 352"/>
                <a:gd name="T45" fmla="*/ 22 h 173"/>
                <a:gd name="T46" fmla="*/ 199 w 352"/>
                <a:gd name="T47" fmla="*/ 15 h 173"/>
                <a:gd name="T48" fmla="*/ 216 w 352"/>
                <a:gd name="T49" fmla="*/ 26 h 173"/>
                <a:gd name="T50" fmla="*/ 234 w 352"/>
                <a:gd name="T51" fmla="*/ 26 h 173"/>
                <a:gd name="T52" fmla="*/ 250 w 352"/>
                <a:gd name="T53" fmla="*/ 15 h 173"/>
                <a:gd name="T54" fmla="*/ 257 w 352"/>
                <a:gd name="T55" fmla="*/ 0 h 173"/>
                <a:gd name="T56" fmla="*/ 287 w 352"/>
                <a:gd name="T57" fmla="*/ 0 h 173"/>
                <a:gd name="T58" fmla="*/ 305 w 352"/>
                <a:gd name="T59" fmla="*/ 15 h 173"/>
                <a:gd name="T60" fmla="*/ 335 w 352"/>
                <a:gd name="T61" fmla="*/ 12 h 173"/>
                <a:gd name="T62" fmla="*/ 341 w 352"/>
                <a:gd name="T63" fmla="*/ 32 h 173"/>
                <a:gd name="T64" fmla="*/ 352 w 352"/>
                <a:gd name="T65" fmla="*/ 63 h 173"/>
                <a:gd name="T66" fmla="*/ 349 w 352"/>
                <a:gd name="T67" fmla="*/ 87 h 173"/>
                <a:gd name="T68" fmla="*/ 327 w 352"/>
                <a:gd name="T69" fmla="*/ 87 h 173"/>
                <a:gd name="T70" fmla="*/ 324 w 352"/>
                <a:gd name="T71" fmla="*/ 93 h 173"/>
                <a:gd name="T72" fmla="*/ 329 w 352"/>
                <a:gd name="T73" fmla="*/ 100 h 173"/>
                <a:gd name="T74" fmla="*/ 322 w 352"/>
                <a:gd name="T75" fmla="*/ 116 h 173"/>
                <a:gd name="T76" fmla="*/ 322 w 352"/>
                <a:gd name="T77" fmla="*/ 133 h 173"/>
                <a:gd name="T78" fmla="*/ 305 w 352"/>
                <a:gd name="T79" fmla="*/ 144 h 173"/>
                <a:gd name="T80" fmla="*/ 295 w 352"/>
                <a:gd name="T81" fmla="*/ 154 h 173"/>
                <a:gd name="T82" fmla="*/ 245 w 352"/>
                <a:gd name="T83" fmla="*/ 159 h 173"/>
                <a:gd name="T84" fmla="*/ 233 w 352"/>
                <a:gd name="T85" fmla="*/ 173 h 173"/>
                <a:gd name="T86" fmla="*/ 193 w 352"/>
                <a:gd name="T87" fmla="*/ 17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2" h="173">
                  <a:moveTo>
                    <a:pt x="193" y="170"/>
                  </a:moveTo>
                  <a:lnTo>
                    <a:pt x="137" y="156"/>
                  </a:lnTo>
                  <a:lnTo>
                    <a:pt x="127" y="149"/>
                  </a:lnTo>
                  <a:lnTo>
                    <a:pt x="120" y="130"/>
                  </a:lnTo>
                  <a:lnTo>
                    <a:pt x="58" y="149"/>
                  </a:lnTo>
                  <a:lnTo>
                    <a:pt x="42" y="145"/>
                  </a:lnTo>
                  <a:lnTo>
                    <a:pt x="8" y="136"/>
                  </a:lnTo>
                  <a:lnTo>
                    <a:pt x="2" y="125"/>
                  </a:lnTo>
                  <a:lnTo>
                    <a:pt x="5" y="110"/>
                  </a:lnTo>
                  <a:lnTo>
                    <a:pt x="0" y="103"/>
                  </a:lnTo>
                  <a:lnTo>
                    <a:pt x="16" y="99"/>
                  </a:lnTo>
                  <a:lnTo>
                    <a:pt x="36" y="111"/>
                  </a:lnTo>
                  <a:lnTo>
                    <a:pt x="49" y="99"/>
                  </a:lnTo>
                  <a:lnTo>
                    <a:pt x="81" y="107"/>
                  </a:lnTo>
                  <a:lnTo>
                    <a:pt x="129" y="88"/>
                  </a:lnTo>
                  <a:lnTo>
                    <a:pt x="151" y="91"/>
                  </a:lnTo>
                  <a:lnTo>
                    <a:pt x="154" y="99"/>
                  </a:lnTo>
                  <a:lnTo>
                    <a:pt x="161" y="95"/>
                  </a:lnTo>
                  <a:lnTo>
                    <a:pt x="154" y="62"/>
                  </a:lnTo>
                  <a:lnTo>
                    <a:pt x="157" y="51"/>
                  </a:lnTo>
                  <a:lnTo>
                    <a:pt x="176" y="45"/>
                  </a:lnTo>
                  <a:lnTo>
                    <a:pt x="183" y="29"/>
                  </a:lnTo>
                  <a:lnTo>
                    <a:pt x="197" y="22"/>
                  </a:lnTo>
                  <a:lnTo>
                    <a:pt x="199" y="15"/>
                  </a:lnTo>
                  <a:lnTo>
                    <a:pt x="216" y="26"/>
                  </a:lnTo>
                  <a:lnTo>
                    <a:pt x="234" y="26"/>
                  </a:lnTo>
                  <a:lnTo>
                    <a:pt x="250" y="15"/>
                  </a:lnTo>
                  <a:lnTo>
                    <a:pt x="257" y="0"/>
                  </a:lnTo>
                  <a:lnTo>
                    <a:pt x="287" y="0"/>
                  </a:lnTo>
                  <a:lnTo>
                    <a:pt x="305" y="15"/>
                  </a:lnTo>
                  <a:lnTo>
                    <a:pt x="335" y="12"/>
                  </a:lnTo>
                  <a:lnTo>
                    <a:pt x="341" y="32"/>
                  </a:lnTo>
                  <a:lnTo>
                    <a:pt x="352" y="63"/>
                  </a:lnTo>
                  <a:lnTo>
                    <a:pt x="349" y="87"/>
                  </a:lnTo>
                  <a:lnTo>
                    <a:pt x="327" y="87"/>
                  </a:lnTo>
                  <a:lnTo>
                    <a:pt x="324" y="93"/>
                  </a:lnTo>
                  <a:lnTo>
                    <a:pt x="329" y="100"/>
                  </a:lnTo>
                  <a:lnTo>
                    <a:pt x="322" y="116"/>
                  </a:lnTo>
                  <a:lnTo>
                    <a:pt x="322" y="133"/>
                  </a:lnTo>
                  <a:lnTo>
                    <a:pt x="305" y="144"/>
                  </a:lnTo>
                  <a:lnTo>
                    <a:pt x="295" y="154"/>
                  </a:lnTo>
                  <a:lnTo>
                    <a:pt x="245" y="159"/>
                  </a:lnTo>
                  <a:lnTo>
                    <a:pt x="233" y="173"/>
                  </a:lnTo>
                  <a:lnTo>
                    <a:pt x="193" y="17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09" name="Freeform 135">
              <a:extLst>
                <a:ext uri="{FF2B5EF4-FFF2-40B4-BE49-F238E27FC236}">
                  <a16:creationId xmlns:a16="http://schemas.microsoft.com/office/drawing/2014/main" id="{AEE83ABF-74F9-B446-A6FF-1871C68C51E9}"/>
                </a:ext>
              </a:extLst>
            </p:cNvPr>
            <p:cNvSpPr>
              <a:spLocks noChangeAspect="1"/>
            </p:cNvSpPr>
            <p:nvPr/>
          </p:nvSpPr>
          <p:spPr bwMode="gray">
            <a:xfrm>
              <a:off x="4848200" y="2812572"/>
              <a:ext cx="6359" cy="13427"/>
            </a:xfrm>
            <a:custGeom>
              <a:avLst/>
              <a:gdLst>
                <a:gd name="T0" fmla="*/ 6 w 11"/>
                <a:gd name="T1" fmla="*/ 26 h 26"/>
                <a:gd name="T2" fmla="*/ 11 w 11"/>
                <a:gd name="T3" fmla="*/ 10 h 26"/>
                <a:gd name="T4" fmla="*/ 3 w 11"/>
                <a:gd name="T5" fmla="*/ 0 h 26"/>
                <a:gd name="T6" fmla="*/ 0 w 11"/>
                <a:gd name="T7" fmla="*/ 15 h 26"/>
                <a:gd name="T8" fmla="*/ 6 w 11"/>
                <a:gd name="T9" fmla="*/ 26 h 26"/>
              </a:gdLst>
              <a:ahLst/>
              <a:cxnLst>
                <a:cxn ang="0">
                  <a:pos x="T0" y="T1"/>
                </a:cxn>
                <a:cxn ang="0">
                  <a:pos x="T2" y="T3"/>
                </a:cxn>
                <a:cxn ang="0">
                  <a:pos x="T4" y="T5"/>
                </a:cxn>
                <a:cxn ang="0">
                  <a:pos x="T6" y="T7"/>
                </a:cxn>
                <a:cxn ang="0">
                  <a:pos x="T8" y="T9"/>
                </a:cxn>
              </a:cxnLst>
              <a:rect l="0" t="0" r="r" b="b"/>
              <a:pathLst>
                <a:path w="11" h="26">
                  <a:moveTo>
                    <a:pt x="6" y="26"/>
                  </a:moveTo>
                  <a:lnTo>
                    <a:pt x="11" y="10"/>
                  </a:lnTo>
                  <a:lnTo>
                    <a:pt x="3" y="0"/>
                  </a:lnTo>
                  <a:lnTo>
                    <a:pt x="0" y="15"/>
                  </a:lnTo>
                  <a:lnTo>
                    <a:pt x="6" y="26"/>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10" name="Freeform 136">
              <a:extLst>
                <a:ext uri="{FF2B5EF4-FFF2-40B4-BE49-F238E27FC236}">
                  <a16:creationId xmlns:a16="http://schemas.microsoft.com/office/drawing/2014/main" id="{8F3AFF2E-419D-A44A-A538-104CF609D72A}"/>
                </a:ext>
              </a:extLst>
            </p:cNvPr>
            <p:cNvSpPr>
              <a:spLocks noChangeAspect="1"/>
            </p:cNvSpPr>
            <p:nvPr/>
          </p:nvSpPr>
          <p:spPr bwMode="gray">
            <a:xfrm>
              <a:off x="4951521" y="2490332"/>
              <a:ext cx="224128" cy="251271"/>
            </a:xfrm>
            <a:custGeom>
              <a:avLst/>
              <a:gdLst>
                <a:gd name="T0" fmla="*/ 3 w 459"/>
                <a:gd name="T1" fmla="*/ 86 h 428"/>
                <a:gd name="T2" fmla="*/ 11 w 459"/>
                <a:gd name="T3" fmla="*/ 108 h 428"/>
                <a:gd name="T4" fmla="*/ 11 w 459"/>
                <a:gd name="T5" fmla="*/ 122 h 428"/>
                <a:gd name="T6" fmla="*/ 0 w 459"/>
                <a:gd name="T7" fmla="*/ 159 h 428"/>
                <a:gd name="T8" fmla="*/ 14 w 459"/>
                <a:gd name="T9" fmla="*/ 167 h 428"/>
                <a:gd name="T10" fmla="*/ 20 w 459"/>
                <a:gd name="T11" fmla="*/ 217 h 428"/>
                <a:gd name="T12" fmla="*/ 23 w 459"/>
                <a:gd name="T13" fmla="*/ 247 h 428"/>
                <a:gd name="T14" fmla="*/ 37 w 459"/>
                <a:gd name="T15" fmla="*/ 266 h 428"/>
                <a:gd name="T16" fmla="*/ 29 w 459"/>
                <a:gd name="T17" fmla="*/ 305 h 428"/>
                <a:gd name="T18" fmla="*/ 34 w 459"/>
                <a:gd name="T19" fmla="*/ 308 h 428"/>
                <a:gd name="T20" fmla="*/ 46 w 459"/>
                <a:gd name="T21" fmla="*/ 294 h 428"/>
                <a:gd name="T22" fmla="*/ 60 w 459"/>
                <a:gd name="T23" fmla="*/ 308 h 428"/>
                <a:gd name="T24" fmla="*/ 85 w 459"/>
                <a:gd name="T25" fmla="*/ 311 h 428"/>
                <a:gd name="T26" fmla="*/ 102 w 459"/>
                <a:gd name="T27" fmla="*/ 322 h 428"/>
                <a:gd name="T28" fmla="*/ 99 w 459"/>
                <a:gd name="T29" fmla="*/ 334 h 428"/>
                <a:gd name="T30" fmla="*/ 120 w 459"/>
                <a:gd name="T31" fmla="*/ 353 h 428"/>
                <a:gd name="T32" fmla="*/ 131 w 459"/>
                <a:gd name="T33" fmla="*/ 347 h 428"/>
                <a:gd name="T34" fmla="*/ 129 w 459"/>
                <a:gd name="T35" fmla="*/ 337 h 428"/>
                <a:gd name="T36" fmla="*/ 167 w 459"/>
                <a:gd name="T37" fmla="*/ 347 h 428"/>
                <a:gd name="T38" fmla="*/ 167 w 459"/>
                <a:gd name="T39" fmla="*/ 359 h 428"/>
                <a:gd name="T40" fmla="*/ 187 w 459"/>
                <a:gd name="T41" fmla="*/ 367 h 428"/>
                <a:gd name="T42" fmla="*/ 202 w 459"/>
                <a:gd name="T43" fmla="*/ 393 h 428"/>
                <a:gd name="T44" fmla="*/ 219 w 459"/>
                <a:gd name="T45" fmla="*/ 399 h 428"/>
                <a:gd name="T46" fmla="*/ 227 w 459"/>
                <a:gd name="T47" fmla="*/ 402 h 428"/>
                <a:gd name="T48" fmla="*/ 246 w 459"/>
                <a:gd name="T49" fmla="*/ 398 h 428"/>
                <a:gd name="T50" fmla="*/ 266 w 459"/>
                <a:gd name="T51" fmla="*/ 418 h 428"/>
                <a:gd name="T52" fmla="*/ 289 w 459"/>
                <a:gd name="T53" fmla="*/ 407 h 428"/>
                <a:gd name="T54" fmla="*/ 314 w 459"/>
                <a:gd name="T55" fmla="*/ 415 h 428"/>
                <a:gd name="T56" fmla="*/ 339 w 459"/>
                <a:gd name="T57" fmla="*/ 404 h 428"/>
                <a:gd name="T58" fmla="*/ 383 w 459"/>
                <a:gd name="T59" fmla="*/ 428 h 428"/>
                <a:gd name="T60" fmla="*/ 397 w 459"/>
                <a:gd name="T61" fmla="*/ 428 h 428"/>
                <a:gd name="T62" fmla="*/ 395 w 459"/>
                <a:gd name="T63" fmla="*/ 404 h 428"/>
                <a:gd name="T64" fmla="*/ 410 w 459"/>
                <a:gd name="T65" fmla="*/ 373 h 428"/>
                <a:gd name="T66" fmla="*/ 454 w 459"/>
                <a:gd name="T67" fmla="*/ 333 h 428"/>
                <a:gd name="T68" fmla="*/ 459 w 459"/>
                <a:gd name="T69" fmla="*/ 322 h 428"/>
                <a:gd name="T70" fmla="*/ 454 w 459"/>
                <a:gd name="T71" fmla="*/ 299 h 428"/>
                <a:gd name="T72" fmla="*/ 444 w 459"/>
                <a:gd name="T73" fmla="*/ 286 h 428"/>
                <a:gd name="T74" fmla="*/ 433 w 459"/>
                <a:gd name="T75" fmla="*/ 247 h 428"/>
                <a:gd name="T76" fmla="*/ 436 w 459"/>
                <a:gd name="T77" fmla="*/ 217 h 428"/>
                <a:gd name="T78" fmla="*/ 419 w 459"/>
                <a:gd name="T79" fmla="*/ 196 h 428"/>
                <a:gd name="T80" fmla="*/ 450 w 459"/>
                <a:gd name="T81" fmla="*/ 164 h 428"/>
                <a:gd name="T82" fmla="*/ 450 w 459"/>
                <a:gd name="T83" fmla="*/ 136 h 428"/>
                <a:gd name="T84" fmla="*/ 434 w 459"/>
                <a:gd name="T85" fmla="*/ 66 h 428"/>
                <a:gd name="T86" fmla="*/ 428 w 459"/>
                <a:gd name="T87" fmla="*/ 52 h 428"/>
                <a:gd name="T88" fmla="*/ 399 w 459"/>
                <a:gd name="T89" fmla="*/ 35 h 428"/>
                <a:gd name="T90" fmla="*/ 318 w 459"/>
                <a:gd name="T91" fmla="*/ 43 h 428"/>
                <a:gd name="T92" fmla="*/ 253 w 459"/>
                <a:gd name="T93" fmla="*/ 31 h 428"/>
                <a:gd name="T94" fmla="*/ 216 w 459"/>
                <a:gd name="T95" fmla="*/ 43 h 428"/>
                <a:gd name="T96" fmla="*/ 201 w 459"/>
                <a:gd name="T97" fmla="*/ 14 h 428"/>
                <a:gd name="T98" fmla="*/ 213 w 459"/>
                <a:gd name="T99" fmla="*/ 18 h 428"/>
                <a:gd name="T100" fmla="*/ 209 w 459"/>
                <a:gd name="T101" fmla="*/ 6 h 428"/>
                <a:gd name="T102" fmla="*/ 179 w 459"/>
                <a:gd name="T103" fmla="*/ 0 h 428"/>
                <a:gd name="T104" fmla="*/ 145 w 459"/>
                <a:gd name="T105" fmla="*/ 6 h 428"/>
                <a:gd name="T106" fmla="*/ 86 w 459"/>
                <a:gd name="T107" fmla="*/ 45 h 428"/>
                <a:gd name="T108" fmla="*/ 14 w 459"/>
                <a:gd name="T109" fmla="*/ 73 h 428"/>
                <a:gd name="T110" fmla="*/ 7 w 459"/>
                <a:gd name="T111" fmla="*/ 77 h 428"/>
                <a:gd name="T112" fmla="*/ 17 w 459"/>
                <a:gd name="T113" fmla="*/ 81 h 428"/>
                <a:gd name="T114" fmla="*/ 15 w 459"/>
                <a:gd name="T115" fmla="*/ 93 h 428"/>
                <a:gd name="T116" fmla="*/ 3 w 459"/>
                <a:gd name="T117" fmla="*/ 86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9" h="428">
                  <a:moveTo>
                    <a:pt x="3" y="86"/>
                  </a:moveTo>
                  <a:lnTo>
                    <a:pt x="11" y="108"/>
                  </a:lnTo>
                  <a:lnTo>
                    <a:pt x="11" y="122"/>
                  </a:lnTo>
                  <a:lnTo>
                    <a:pt x="0" y="159"/>
                  </a:lnTo>
                  <a:lnTo>
                    <a:pt x="14" y="167"/>
                  </a:lnTo>
                  <a:lnTo>
                    <a:pt x="20" y="217"/>
                  </a:lnTo>
                  <a:lnTo>
                    <a:pt x="23" y="247"/>
                  </a:lnTo>
                  <a:lnTo>
                    <a:pt x="37" y="266"/>
                  </a:lnTo>
                  <a:lnTo>
                    <a:pt x="29" y="305"/>
                  </a:lnTo>
                  <a:lnTo>
                    <a:pt x="34" y="308"/>
                  </a:lnTo>
                  <a:lnTo>
                    <a:pt x="46" y="294"/>
                  </a:lnTo>
                  <a:lnTo>
                    <a:pt x="60" y="308"/>
                  </a:lnTo>
                  <a:lnTo>
                    <a:pt x="85" y="311"/>
                  </a:lnTo>
                  <a:lnTo>
                    <a:pt x="102" y="322"/>
                  </a:lnTo>
                  <a:lnTo>
                    <a:pt x="99" y="334"/>
                  </a:lnTo>
                  <a:lnTo>
                    <a:pt x="120" y="353"/>
                  </a:lnTo>
                  <a:lnTo>
                    <a:pt x="131" y="347"/>
                  </a:lnTo>
                  <a:lnTo>
                    <a:pt x="129" y="337"/>
                  </a:lnTo>
                  <a:lnTo>
                    <a:pt x="167" y="347"/>
                  </a:lnTo>
                  <a:lnTo>
                    <a:pt x="167" y="359"/>
                  </a:lnTo>
                  <a:lnTo>
                    <a:pt x="187" y="367"/>
                  </a:lnTo>
                  <a:lnTo>
                    <a:pt x="202" y="393"/>
                  </a:lnTo>
                  <a:lnTo>
                    <a:pt x="219" y="399"/>
                  </a:lnTo>
                  <a:lnTo>
                    <a:pt x="227" y="402"/>
                  </a:lnTo>
                  <a:lnTo>
                    <a:pt x="246" y="398"/>
                  </a:lnTo>
                  <a:lnTo>
                    <a:pt x="266" y="418"/>
                  </a:lnTo>
                  <a:lnTo>
                    <a:pt x="289" y="407"/>
                  </a:lnTo>
                  <a:lnTo>
                    <a:pt x="314" y="415"/>
                  </a:lnTo>
                  <a:lnTo>
                    <a:pt x="339" y="404"/>
                  </a:lnTo>
                  <a:lnTo>
                    <a:pt x="383" y="428"/>
                  </a:lnTo>
                  <a:lnTo>
                    <a:pt x="397" y="428"/>
                  </a:lnTo>
                  <a:lnTo>
                    <a:pt x="395" y="404"/>
                  </a:lnTo>
                  <a:lnTo>
                    <a:pt x="410" y="373"/>
                  </a:lnTo>
                  <a:lnTo>
                    <a:pt x="454" y="333"/>
                  </a:lnTo>
                  <a:lnTo>
                    <a:pt x="459" y="322"/>
                  </a:lnTo>
                  <a:lnTo>
                    <a:pt x="454" y="299"/>
                  </a:lnTo>
                  <a:lnTo>
                    <a:pt x="444" y="286"/>
                  </a:lnTo>
                  <a:lnTo>
                    <a:pt x="433" y="247"/>
                  </a:lnTo>
                  <a:lnTo>
                    <a:pt x="436" y="217"/>
                  </a:lnTo>
                  <a:lnTo>
                    <a:pt x="419" y="196"/>
                  </a:lnTo>
                  <a:lnTo>
                    <a:pt x="450" y="164"/>
                  </a:lnTo>
                  <a:lnTo>
                    <a:pt x="450" y="136"/>
                  </a:lnTo>
                  <a:lnTo>
                    <a:pt x="434" y="66"/>
                  </a:lnTo>
                  <a:lnTo>
                    <a:pt x="428" y="52"/>
                  </a:lnTo>
                  <a:lnTo>
                    <a:pt x="399" y="35"/>
                  </a:lnTo>
                  <a:lnTo>
                    <a:pt x="318" y="43"/>
                  </a:lnTo>
                  <a:lnTo>
                    <a:pt x="253" y="31"/>
                  </a:lnTo>
                  <a:lnTo>
                    <a:pt x="216" y="43"/>
                  </a:lnTo>
                  <a:lnTo>
                    <a:pt x="201" y="14"/>
                  </a:lnTo>
                  <a:lnTo>
                    <a:pt x="213" y="18"/>
                  </a:lnTo>
                  <a:lnTo>
                    <a:pt x="209" y="6"/>
                  </a:lnTo>
                  <a:lnTo>
                    <a:pt x="179" y="0"/>
                  </a:lnTo>
                  <a:lnTo>
                    <a:pt x="145" y="6"/>
                  </a:lnTo>
                  <a:lnTo>
                    <a:pt x="86" y="45"/>
                  </a:lnTo>
                  <a:lnTo>
                    <a:pt x="14" y="73"/>
                  </a:lnTo>
                  <a:lnTo>
                    <a:pt x="7" y="77"/>
                  </a:lnTo>
                  <a:lnTo>
                    <a:pt x="17" y="81"/>
                  </a:lnTo>
                  <a:lnTo>
                    <a:pt x="15" y="93"/>
                  </a:lnTo>
                  <a:lnTo>
                    <a:pt x="3" y="86"/>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411" name="Freeform 137">
              <a:extLst>
                <a:ext uri="{FF2B5EF4-FFF2-40B4-BE49-F238E27FC236}">
                  <a16:creationId xmlns:a16="http://schemas.microsoft.com/office/drawing/2014/main" id="{26D7E1D4-13DE-1740-ABCE-42587D356AEC}"/>
                </a:ext>
              </a:extLst>
            </p:cNvPr>
            <p:cNvSpPr>
              <a:spLocks noChangeAspect="1"/>
            </p:cNvSpPr>
            <p:nvPr/>
          </p:nvSpPr>
          <p:spPr bwMode="gray">
            <a:xfrm>
              <a:off x="5105709" y="2331130"/>
              <a:ext cx="165317" cy="117003"/>
            </a:xfrm>
            <a:custGeom>
              <a:avLst/>
              <a:gdLst>
                <a:gd name="T0" fmla="*/ 266 w 339"/>
                <a:gd name="T1" fmla="*/ 200 h 200"/>
                <a:gd name="T2" fmla="*/ 285 w 339"/>
                <a:gd name="T3" fmla="*/ 188 h 200"/>
                <a:gd name="T4" fmla="*/ 305 w 339"/>
                <a:gd name="T5" fmla="*/ 191 h 200"/>
                <a:gd name="T6" fmla="*/ 324 w 339"/>
                <a:gd name="T7" fmla="*/ 164 h 200"/>
                <a:gd name="T8" fmla="*/ 339 w 339"/>
                <a:gd name="T9" fmla="*/ 159 h 200"/>
                <a:gd name="T10" fmla="*/ 336 w 339"/>
                <a:gd name="T11" fmla="*/ 125 h 200"/>
                <a:gd name="T12" fmla="*/ 312 w 339"/>
                <a:gd name="T13" fmla="*/ 95 h 200"/>
                <a:gd name="T14" fmla="*/ 317 w 339"/>
                <a:gd name="T15" fmla="*/ 62 h 200"/>
                <a:gd name="T16" fmla="*/ 300 w 339"/>
                <a:gd name="T17" fmla="*/ 40 h 200"/>
                <a:gd name="T18" fmla="*/ 260 w 339"/>
                <a:gd name="T19" fmla="*/ 40 h 200"/>
                <a:gd name="T20" fmla="*/ 237 w 339"/>
                <a:gd name="T21" fmla="*/ 17 h 200"/>
                <a:gd name="T22" fmla="*/ 200 w 339"/>
                <a:gd name="T23" fmla="*/ 0 h 200"/>
                <a:gd name="T24" fmla="*/ 158 w 339"/>
                <a:gd name="T25" fmla="*/ 15 h 200"/>
                <a:gd name="T26" fmla="*/ 156 w 339"/>
                <a:gd name="T27" fmla="*/ 20 h 200"/>
                <a:gd name="T28" fmla="*/ 156 w 339"/>
                <a:gd name="T29" fmla="*/ 74 h 200"/>
                <a:gd name="T30" fmla="*/ 146 w 339"/>
                <a:gd name="T31" fmla="*/ 98 h 200"/>
                <a:gd name="T32" fmla="*/ 143 w 339"/>
                <a:gd name="T33" fmla="*/ 88 h 200"/>
                <a:gd name="T34" fmla="*/ 124 w 339"/>
                <a:gd name="T35" fmla="*/ 95 h 200"/>
                <a:gd name="T36" fmla="*/ 110 w 339"/>
                <a:gd name="T37" fmla="*/ 87 h 200"/>
                <a:gd name="T38" fmla="*/ 102 w 339"/>
                <a:gd name="T39" fmla="*/ 65 h 200"/>
                <a:gd name="T40" fmla="*/ 101 w 339"/>
                <a:gd name="T41" fmla="*/ 74 h 200"/>
                <a:gd name="T42" fmla="*/ 73 w 339"/>
                <a:gd name="T43" fmla="*/ 31 h 200"/>
                <a:gd name="T44" fmla="*/ 36 w 339"/>
                <a:gd name="T45" fmla="*/ 45 h 200"/>
                <a:gd name="T46" fmla="*/ 5 w 339"/>
                <a:gd name="T47" fmla="*/ 115 h 200"/>
                <a:gd name="T48" fmla="*/ 0 w 339"/>
                <a:gd name="T49" fmla="*/ 158 h 200"/>
                <a:gd name="T50" fmla="*/ 2 w 339"/>
                <a:gd name="T51" fmla="*/ 164 h 200"/>
                <a:gd name="T52" fmla="*/ 11 w 339"/>
                <a:gd name="T53" fmla="*/ 166 h 200"/>
                <a:gd name="T54" fmla="*/ 22 w 339"/>
                <a:gd name="T55" fmla="*/ 150 h 200"/>
                <a:gd name="T56" fmla="*/ 54 w 339"/>
                <a:gd name="T57" fmla="*/ 137 h 200"/>
                <a:gd name="T58" fmla="*/ 127 w 339"/>
                <a:gd name="T59" fmla="*/ 139 h 200"/>
                <a:gd name="T60" fmla="*/ 153 w 339"/>
                <a:gd name="T61" fmla="*/ 149 h 200"/>
                <a:gd name="T62" fmla="*/ 183 w 339"/>
                <a:gd name="T63" fmla="*/ 133 h 200"/>
                <a:gd name="T64" fmla="*/ 195 w 339"/>
                <a:gd name="T65" fmla="*/ 158 h 200"/>
                <a:gd name="T66" fmla="*/ 215 w 339"/>
                <a:gd name="T67" fmla="*/ 159 h 200"/>
                <a:gd name="T68" fmla="*/ 266 w 339"/>
                <a:gd name="T6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9" h="200">
                  <a:moveTo>
                    <a:pt x="266" y="200"/>
                  </a:moveTo>
                  <a:lnTo>
                    <a:pt x="285" y="188"/>
                  </a:lnTo>
                  <a:lnTo>
                    <a:pt x="305" y="191"/>
                  </a:lnTo>
                  <a:lnTo>
                    <a:pt x="324" y="164"/>
                  </a:lnTo>
                  <a:lnTo>
                    <a:pt x="339" y="159"/>
                  </a:lnTo>
                  <a:lnTo>
                    <a:pt x="336" y="125"/>
                  </a:lnTo>
                  <a:lnTo>
                    <a:pt x="312" y="95"/>
                  </a:lnTo>
                  <a:lnTo>
                    <a:pt x="317" y="62"/>
                  </a:lnTo>
                  <a:lnTo>
                    <a:pt x="300" y="40"/>
                  </a:lnTo>
                  <a:lnTo>
                    <a:pt x="260" y="40"/>
                  </a:lnTo>
                  <a:lnTo>
                    <a:pt x="237" y="17"/>
                  </a:lnTo>
                  <a:lnTo>
                    <a:pt x="200" y="0"/>
                  </a:lnTo>
                  <a:lnTo>
                    <a:pt x="158" y="15"/>
                  </a:lnTo>
                  <a:lnTo>
                    <a:pt x="156" y="20"/>
                  </a:lnTo>
                  <a:lnTo>
                    <a:pt x="156" y="74"/>
                  </a:lnTo>
                  <a:lnTo>
                    <a:pt x="146" y="98"/>
                  </a:lnTo>
                  <a:lnTo>
                    <a:pt x="143" y="88"/>
                  </a:lnTo>
                  <a:lnTo>
                    <a:pt x="124" y="95"/>
                  </a:lnTo>
                  <a:lnTo>
                    <a:pt x="110" y="87"/>
                  </a:lnTo>
                  <a:lnTo>
                    <a:pt x="102" y="65"/>
                  </a:lnTo>
                  <a:lnTo>
                    <a:pt x="101" y="74"/>
                  </a:lnTo>
                  <a:lnTo>
                    <a:pt x="73" y="31"/>
                  </a:lnTo>
                  <a:lnTo>
                    <a:pt x="36" y="45"/>
                  </a:lnTo>
                  <a:lnTo>
                    <a:pt x="5" y="115"/>
                  </a:lnTo>
                  <a:lnTo>
                    <a:pt x="0" y="158"/>
                  </a:lnTo>
                  <a:lnTo>
                    <a:pt x="2" y="164"/>
                  </a:lnTo>
                  <a:lnTo>
                    <a:pt x="11" y="166"/>
                  </a:lnTo>
                  <a:lnTo>
                    <a:pt x="22" y="150"/>
                  </a:lnTo>
                  <a:lnTo>
                    <a:pt x="54" y="137"/>
                  </a:lnTo>
                  <a:lnTo>
                    <a:pt x="127" y="139"/>
                  </a:lnTo>
                  <a:lnTo>
                    <a:pt x="153" y="149"/>
                  </a:lnTo>
                  <a:lnTo>
                    <a:pt x="183" y="133"/>
                  </a:lnTo>
                  <a:lnTo>
                    <a:pt x="195" y="158"/>
                  </a:lnTo>
                  <a:lnTo>
                    <a:pt x="215" y="159"/>
                  </a:lnTo>
                  <a:lnTo>
                    <a:pt x="266" y="20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12" name="Freeform 138">
              <a:extLst>
                <a:ext uri="{FF2B5EF4-FFF2-40B4-BE49-F238E27FC236}">
                  <a16:creationId xmlns:a16="http://schemas.microsoft.com/office/drawing/2014/main" id="{8F6655ED-EE7B-DB40-9269-FCFE29232ADF}"/>
                </a:ext>
              </a:extLst>
            </p:cNvPr>
            <p:cNvSpPr>
              <a:spLocks noChangeAspect="1"/>
            </p:cNvSpPr>
            <p:nvPr/>
          </p:nvSpPr>
          <p:spPr bwMode="gray">
            <a:xfrm>
              <a:off x="5105709" y="2407853"/>
              <a:ext cx="130347" cy="120841"/>
            </a:xfrm>
            <a:custGeom>
              <a:avLst/>
              <a:gdLst>
                <a:gd name="T0" fmla="*/ 178 w 266"/>
                <a:gd name="T1" fmla="*/ 200 h 204"/>
                <a:gd name="T2" fmla="*/ 175 w 266"/>
                <a:gd name="T3" fmla="*/ 189 h 204"/>
                <a:gd name="T4" fmla="*/ 198 w 266"/>
                <a:gd name="T5" fmla="*/ 177 h 204"/>
                <a:gd name="T6" fmla="*/ 221 w 266"/>
                <a:gd name="T7" fmla="*/ 186 h 204"/>
                <a:gd name="T8" fmla="*/ 212 w 266"/>
                <a:gd name="T9" fmla="*/ 169 h 204"/>
                <a:gd name="T10" fmla="*/ 221 w 266"/>
                <a:gd name="T11" fmla="*/ 150 h 204"/>
                <a:gd name="T12" fmla="*/ 224 w 266"/>
                <a:gd name="T13" fmla="*/ 122 h 204"/>
                <a:gd name="T14" fmla="*/ 260 w 266"/>
                <a:gd name="T15" fmla="*/ 109 h 204"/>
                <a:gd name="T16" fmla="*/ 266 w 266"/>
                <a:gd name="T17" fmla="*/ 93 h 204"/>
                <a:gd name="T18" fmla="*/ 252 w 266"/>
                <a:gd name="T19" fmla="*/ 90 h 204"/>
                <a:gd name="T20" fmla="*/ 252 w 266"/>
                <a:gd name="T21" fmla="*/ 76 h 204"/>
                <a:gd name="T22" fmla="*/ 264 w 266"/>
                <a:gd name="T23" fmla="*/ 68 h 204"/>
                <a:gd name="T24" fmla="*/ 264 w 266"/>
                <a:gd name="T25" fmla="*/ 67 h 204"/>
                <a:gd name="T26" fmla="*/ 213 w 266"/>
                <a:gd name="T27" fmla="*/ 26 h 204"/>
                <a:gd name="T28" fmla="*/ 193 w 266"/>
                <a:gd name="T29" fmla="*/ 25 h 204"/>
                <a:gd name="T30" fmla="*/ 181 w 266"/>
                <a:gd name="T31" fmla="*/ 0 h 204"/>
                <a:gd name="T32" fmla="*/ 151 w 266"/>
                <a:gd name="T33" fmla="*/ 16 h 204"/>
                <a:gd name="T34" fmla="*/ 125 w 266"/>
                <a:gd name="T35" fmla="*/ 6 h 204"/>
                <a:gd name="T36" fmla="*/ 52 w 266"/>
                <a:gd name="T37" fmla="*/ 4 h 204"/>
                <a:gd name="T38" fmla="*/ 20 w 266"/>
                <a:gd name="T39" fmla="*/ 17 h 204"/>
                <a:gd name="T40" fmla="*/ 9 w 266"/>
                <a:gd name="T41" fmla="*/ 33 h 204"/>
                <a:gd name="T42" fmla="*/ 0 w 266"/>
                <a:gd name="T43" fmla="*/ 31 h 204"/>
                <a:gd name="T44" fmla="*/ 14 w 266"/>
                <a:gd name="T45" fmla="*/ 101 h 204"/>
                <a:gd name="T46" fmla="*/ 76 w 266"/>
                <a:gd name="T47" fmla="*/ 116 h 204"/>
                <a:gd name="T48" fmla="*/ 85 w 266"/>
                <a:gd name="T49" fmla="*/ 135 h 204"/>
                <a:gd name="T50" fmla="*/ 80 w 266"/>
                <a:gd name="T51" fmla="*/ 147 h 204"/>
                <a:gd name="T52" fmla="*/ 82 w 266"/>
                <a:gd name="T53" fmla="*/ 173 h 204"/>
                <a:gd name="T54" fmla="*/ 111 w 266"/>
                <a:gd name="T55" fmla="*/ 190 h 204"/>
                <a:gd name="T56" fmla="*/ 117 w 266"/>
                <a:gd name="T57" fmla="*/ 204 h 204"/>
                <a:gd name="T58" fmla="*/ 178 w 266"/>
                <a:gd name="T59" fmla="*/ 20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6" h="204">
                  <a:moveTo>
                    <a:pt x="178" y="200"/>
                  </a:moveTo>
                  <a:lnTo>
                    <a:pt x="175" y="189"/>
                  </a:lnTo>
                  <a:lnTo>
                    <a:pt x="198" y="177"/>
                  </a:lnTo>
                  <a:lnTo>
                    <a:pt x="221" y="186"/>
                  </a:lnTo>
                  <a:lnTo>
                    <a:pt x="212" y="169"/>
                  </a:lnTo>
                  <a:lnTo>
                    <a:pt x="221" y="150"/>
                  </a:lnTo>
                  <a:lnTo>
                    <a:pt x="224" y="122"/>
                  </a:lnTo>
                  <a:lnTo>
                    <a:pt x="260" y="109"/>
                  </a:lnTo>
                  <a:lnTo>
                    <a:pt x="266" y="93"/>
                  </a:lnTo>
                  <a:lnTo>
                    <a:pt x="252" y="90"/>
                  </a:lnTo>
                  <a:lnTo>
                    <a:pt x="252" y="76"/>
                  </a:lnTo>
                  <a:lnTo>
                    <a:pt x="264" y="68"/>
                  </a:lnTo>
                  <a:lnTo>
                    <a:pt x="264" y="67"/>
                  </a:lnTo>
                  <a:lnTo>
                    <a:pt x="213" y="26"/>
                  </a:lnTo>
                  <a:lnTo>
                    <a:pt x="193" y="25"/>
                  </a:lnTo>
                  <a:lnTo>
                    <a:pt x="181" y="0"/>
                  </a:lnTo>
                  <a:lnTo>
                    <a:pt x="151" y="16"/>
                  </a:lnTo>
                  <a:lnTo>
                    <a:pt x="125" y="6"/>
                  </a:lnTo>
                  <a:lnTo>
                    <a:pt x="52" y="4"/>
                  </a:lnTo>
                  <a:lnTo>
                    <a:pt x="20" y="17"/>
                  </a:lnTo>
                  <a:lnTo>
                    <a:pt x="9" y="33"/>
                  </a:lnTo>
                  <a:lnTo>
                    <a:pt x="0" y="31"/>
                  </a:lnTo>
                  <a:lnTo>
                    <a:pt x="14" y="101"/>
                  </a:lnTo>
                  <a:lnTo>
                    <a:pt x="76" y="116"/>
                  </a:lnTo>
                  <a:lnTo>
                    <a:pt x="85" y="135"/>
                  </a:lnTo>
                  <a:lnTo>
                    <a:pt x="80" y="147"/>
                  </a:lnTo>
                  <a:lnTo>
                    <a:pt x="82" y="173"/>
                  </a:lnTo>
                  <a:lnTo>
                    <a:pt x="111" y="190"/>
                  </a:lnTo>
                  <a:lnTo>
                    <a:pt x="117" y="204"/>
                  </a:lnTo>
                  <a:lnTo>
                    <a:pt x="178" y="20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13" name="Freeform 139">
              <a:extLst>
                <a:ext uri="{FF2B5EF4-FFF2-40B4-BE49-F238E27FC236}">
                  <a16:creationId xmlns:a16="http://schemas.microsoft.com/office/drawing/2014/main" id="{281C58E2-FEF2-D747-90FC-1EB3EDE6578A}"/>
                </a:ext>
              </a:extLst>
            </p:cNvPr>
            <p:cNvSpPr>
              <a:spLocks noChangeAspect="1"/>
            </p:cNvSpPr>
            <p:nvPr/>
          </p:nvSpPr>
          <p:spPr bwMode="gray">
            <a:xfrm>
              <a:off x="5073920" y="2448134"/>
              <a:ext cx="71531" cy="69051"/>
            </a:xfrm>
            <a:custGeom>
              <a:avLst/>
              <a:gdLst>
                <a:gd name="T0" fmla="*/ 0 w 149"/>
                <a:gd name="T1" fmla="*/ 101 h 113"/>
                <a:gd name="T2" fmla="*/ 65 w 149"/>
                <a:gd name="T3" fmla="*/ 113 h 113"/>
                <a:gd name="T4" fmla="*/ 146 w 149"/>
                <a:gd name="T5" fmla="*/ 105 h 113"/>
                <a:gd name="T6" fmla="*/ 144 w 149"/>
                <a:gd name="T7" fmla="*/ 79 h 113"/>
                <a:gd name="T8" fmla="*/ 149 w 149"/>
                <a:gd name="T9" fmla="*/ 67 h 113"/>
                <a:gd name="T10" fmla="*/ 140 w 149"/>
                <a:gd name="T11" fmla="*/ 48 h 113"/>
                <a:gd name="T12" fmla="*/ 78 w 149"/>
                <a:gd name="T13" fmla="*/ 33 h 113"/>
                <a:gd name="T14" fmla="*/ 73 w 149"/>
                <a:gd name="T15" fmla="*/ 62 h 113"/>
                <a:gd name="T16" fmla="*/ 47 w 149"/>
                <a:gd name="T17" fmla="*/ 54 h 113"/>
                <a:gd name="T18" fmla="*/ 65 w 149"/>
                <a:gd name="T19" fmla="*/ 24 h 113"/>
                <a:gd name="T20" fmla="*/ 71 w 149"/>
                <a:gd name="T21" fmla="*/ 0 h 113"/>
                <a:gd name="T22" fmla="*/ 54 w 149"/>
                <a:gd name="T23" fmla="*/ 37 h 113"/>
                <a:gd name="T24" fmla="*/ 39 w 149"/>
                <a:gd name="T25" fmla="*/ 59 h 113"/>
                <a:gd name="T26" fmla="*/ 20 w 149"/>
                <a:gd name="T27" fmla="*/ 59 h 113"/>
                <a:gd name="T28" fmla="*/ 11 w 149"/>
                <a:gd name="T29" fmla="*/ 87 h 113"/>
                <a:gd name="T30" fmla="*/ 0 w 149"/>
                <a:gd name="T31" fmla="*/ 10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9" h="113">
                  <a:moveTo>
                    <a:pt x="0" y="101"/>
                  </a:moveTo>
                  <a:lnTo>
                    <a:pt x="65" y="113"/>
                  </a:lnTo>
                  <a:lnTo>
                    <a:pt x="146" y="105"/>
                  </a:lnTo>
                  <a:lnTo>
                    <a:pt x="144" y="79"/>
                  </a:lnTo>
                  <a:lnTo>
                    <a:pt x="149" y="67"/>
                  </a:lnTo>
                  <a:lnTo>
                    <a:pt x="140" y="48"/>
                  </a:lnTo>
                  <a:lnTo>
                    <a:pt x="78" y="33"/>
                  </a:lnTo>
                  <a:lnTo>
                    <a:pt x="73" y="62"/>
                  </a:lnTo>
                  <a:lnTo>
                    <a:pt x="47" y="54"/>
                  </a:lnTo>
                  <a:lnTo>
                    <a:pt x="65" y="24"/>
                  </a:lnTo>
                  <a:lnTo>
                    <a:pt x="71" y="0"/>
                  </a:lnTo>
                  <a:lnTo>
                    <a:pt x="54" y="37"/>
                  </a:lnTo>
                  <a:lnTo>
                    <a:pt x="39" y="59"/>
                  </a:lnTo>
                  <a:lnTo>
                    <a:pt x="20" y="59"/>
                  </a:lnTo>
                  <a:lnTo>
                    <a:pt x="11" y="87"/>
                  </a:lnTo>
                  <a:lnTo>
                    <a:pt x="0" y="101"/>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14" name="Freeform 140">
              <a:extLst>
                <a:ext uri="{FF2B5EF4-FFF2-40B4-BE49-F238E27FC236}">
                  <a16:creationId xmlns:a16="http://schemas.microsoft.com/office/drawing/2014/main" id="{C858EF11-47E2-C945-B78F-8FDCC6D79C11}"/>
                </a:ext>
              </a:extLst>
            </p:cNvPr>
            <p:cNvSpPr>
              <a:spLocks noChangeAspect="1"/>
            </p:cNvSpPr>
            <p:nvPr/>
          </p:nvSpPr>
          <p:spPr bwMode="gray">
            <a:xfrm>
              <a:off x="4762362" y="2699404"/>
              <a:ext cx="14308" cy="24935"/>
            </a:xfrm>
            <a:custGeom>
              <a:avLst/>
              <a:gdLst>
                <a:gd name="T0" fmla="*/ 27 w 30"/>
                <a:gd name="T1" fmla="*/ 42 h 42"/>
                <a:gd name="T2" fmla="*/ 30 w 30"/>
                <a:gd name="T3" fmla="*/ 26 h 42"/>
                <a:gd name="T4" fmla="*/ 24 w 30"/>
                <a:gd name="T5" fmla="*/ 14 h 42"/>
                <a:gd name="T6" fmla="*/ 25 w 30"/>
                <a:gd name="T7" fmla="*/ 3 h 42"/>
                <a:gd name="T8" fmla="*/ 19 w 30"/>
                <a:gd name="T9" fmla="*/ 0 h 42"/>
                <a:gd name="T10" fmla="*/ 5 w 30"/>
                <a:gd name="T11" fmla="*/ 4 h 42"/>
                <a:gd name="T12" fmla="*/ 0 w 30"/>
                <a:gd name="T13" fmla="*/ 17 h 42"/>
                <a:gd name="T14" fmla="*/ 3 w 30"/>
                <a:gd name="T15" fmla="*/ 40 h 42"/>
                <a:gd name="T16" fmla="*/ 27 w 30"/>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42">
                  <a:moveTo>
                    <a:pt x="27" y="42"/>
                  </a:moveTo>
                  <a:lnTo>
                    <a:pt x="30" y="26"/>
                  </a:lnTo>
                  <a:lnTo>
                    <a:pt x="24" y="14"/>
                  </a:lnTo>
                  <a:lnTo>
                    <a:pt x="25" y="3"/>
                  </a:lnTo>
                  <a:lnTo>
                    <a:pt x="19" y="0"/>
                  </a:lnTo>
                  <a:lnTo>
                    <a:pt x="5" y="4"/>
                  </a:lnTo>
                  <a:lnTo>
                    <a:pt x="0" y="17"/>
                  </a:lnTo>
                  <a:lnTo>
                    <a:pt x="3" y="40"/>
                  </a:lnTo>
                  <a:lnTo>
                    <a:pt x="27" y="42"/>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15" name="Freeform 141">
              <a:extLst>
                <a:ext uri="{FF2B5EF4-FFF2-40B4-BE49-F238E27FC236}">
                  <a16:creationId xmlns:a16="http://schemas.microsoft.com/office/drawing/2014/main" id="{E26BC2A4-3DA9-804C-AEEE-71EB45F4DC36}"/>
                </a:ext>
              </a:extLst>
            </p:cNvPr>
            <p:cNvSpPr>
              <a:spLocks noChangeAspect="1"/>
            </p:cNvSpPr>
            <p:nvPr/>
          </p:nvSpPr>
          <p:spPr bwMode="gray">
            <a:xfrm>
              <a:off x="4770311" y="2801062"/>
              <a:ext cx="96964" cy="70970"/>
            </a:xfrm>
            <a:custGeom>
              <a:avLst/>
              <a:gdLst>
                <a:gd name="T0" fmla="*/ 201 w 201"/>
                <a:gd name="T1" fmla="*/ 54 h 121"/>
                <a:gd name="T2" fmla="*/ 167 w 201"/>
                <a:gd name="T3" fmla="*/ 45 h 121"/>
                <a:gd name="T4" fmla="*/ 161 w 201"/>
                <a:gd name="T5" fmla="*/ 34 h 121"/>
                <a:gd name="T6" fmla="*/ 164 w 201"/>
                <a:gd name="T7" fmla="*/ 19 h 121"/>
                <a:gd name="T8" fmla="*/ 159 w 201"/>
                <a:gd name="T9" fmla="*/ 12 h 121"/>
                <a:gd name="T10" fmla="*/ 127 w 201"/>
                <a:gd name="T11" fmla="*/ 0 h 121"/>
                <a:gd name="T12" fmla="*/ 76 w 201"/>
                <a:gd name="T13" fmla="*/ 9 h 121"/>
                <a:gd name="T14" fmla="*/ 70 w 201"/>
                <a:gd name="T15" fmla="*/ 4 h 121"/>
                <a:gd name="T16" fmla="*/ 44 w 201"/>
                <a:gd name="T17" fmla="*/ 11 h 121"/>
                <a:gd name="T18" fmla="*/ 41 w 201"/>
                <a:gd name="T19" fmla="*/ 16 h 121"/>
                <a:gd name="T20" fmla="*/ 44 w 201"/>
                <a:gd name="T21" fmla="*/ 20 h 121"/>
                <a:gd name="T22" fmla="*/ 24 w 201"/>
                <a:gd name="T23" fmla="*/ 42 h 121"/>
                <a:gd name="T24" fmla="*/ 0 w 201"/>
                <a:gd name="T25" fmla="*/ 82 h 121"/>
                <a:gd name="T26" fmla="*/ 2 w 201"/>
                <a:gd name="T27" fmla="*/ 102 h 121"/>
                <a:gd name="T28" fmla="*/ 17 w 201"/>
                <a:gd name="T29" fmla="*/ 85 h 121"/>
                <a:gd name="T30" fmla="*/ 34 w 201"/>
                <a:gd name="T31" fmla="*/ 87 h 121"/>
                <a:gd name="T32" fmla="*/ 36 w 201"/>
                <a:gd name="T33" fmla="*/ 109 h 121"/>
                <a:gd name="T34" fmla="*/ 42 w 201"/>
                <a:gd name="T35" fmla="*/ 110 h 121"/>
                <a:gd name="T36" fmla="*/ 44 w 201"/>
                <a:gd name="T37" fmla="*/ 121 h 121"/>
                <a:gd name="T38" fmla="*/ 83 w 201"/>
                <a:gd name="T39" fmla="*/ 116 h 121"/>
                <a:gd name="T40" fmla="*/ 110 w 201"/>
                <a:gd name="T41" fmla="*/ 84 h 121"/>
                <a:gd name="T42" fmla="*/ 115 w 201"/>
                <a:gd name="T43" fmla="*/ 101 h 121"/>
                <a:gd name="T44" fmla="*/ 135 w 201"/>
                <a:gd name="T45" fmla="*/ 118 h 121"/>
                <a:gd name="T46" fmla="*/ 150 w 201"/>
                <a:gd name="T47" fmla="*/ 80 h 121"/>
                <a:gd name="T48" fmla="*/ 188 w 201"/>
                <a:gd name="T49" fmla="*/ 92 h 121"/>
                <a:gd name="T50" fmla="*/ 188 w 201"/>
                <a:gd name="T51" fmla="*/ 71 h 121"/>
                <a:gd name="T52" fmla="*/ 200 w 201"/>
                <a:gd name="T53" fmla="*/ 68 h 121"/>
                <a:gd name="T54" fmla="*/ 201 w 201"/>
                <a:gd name="T55" fmla="*/ 5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1" h="121">
                  <a:moveTo>
                    <a:pt x="201" y="54"/>
                  </a:moveTo>
                  <a:lnTo>
                    <a:pt x="167" y="45"/>
                  </a:lnTo>
                  <a:lnTo>
                    <a:pt x="161" y="34"/>
                  </a:lnTo>
                  <a:lnTo>
                    <a:pt x="164" y="19"/>
                  </a:lnTo>
                  <a:lnTo>
                    <a:pt x="159" y="12"/>
                  </a:lnTo>
                  <a:lnTo>
                    <a:pt x="127" y="0"/>
                  </a:lnTo>
                  <a:lnTo>
                    <a:pt x="76" y="9"/>
                  </a:lnTo>
                  <a:lnTo>
                    <a:pt x="70" y="4"/>
                  </a:lnTo>
                  <a:lnTo>
                    <a:pt x="44" y="11"/>
                  </a:lnTo>
                  <a:lnTo>
                    <a:pt x="41" y="16"/>
                  </a:lnTo>
                  <a:lnTo>
                    <a:pt x="44" y="20"/>
                  </a:lnTo>
                  <a:lnTo>
                    <a:pt x="24" y="42"/>
                  </a:lnTo>
                  <a:lnTo>
                    <a:pt x="0" y="82"/>
                  </a:lnTo>
                  <a:lnTo>
                    <a:pt x="2" y="102"/>
                  </a:lnTo>
                  <a:lnTo>
                    <a:pt x="17" y="85"/>
                  </a:lnTo>
                  <a:lnTo>
                    <a:pt x="34" y="87"/>
                  </a:lnTo>
                  <a:lnTo>
                    <a:pt x="36" y="109"/>
                  </a:lnTo>
                  <a:lnTo>
                    <a:pt x="42" y="110"/>
                  </a:lnTo>
                  <a:lnTo>
                    <a:pt x="44" y="121"/>
                  </a:lnTo>
                  <a:lnTo>
                    <a:pt x="83" y="116"/>
                  </a:lnTo>
                  <a:lnTo>
                    <a:pt x="110" y="84"/>
                  </a:lnTo>
                  <a:lnTo>
                    <a:pt x="115" y="101"/>
                  </a:lnTo>
                  <a:lnTo>
                    <a:pt x="135" y="118"/>
                  </a:lnTo>
                  <a:lnTo>
                    <a:pt x="150" y="80"/>
                  </a:lnTo>
                  <a:lnTo>
                    <a:pt x="188" y="92"/>
                  </a:lnTo>
                  <a:lnTo>
                    <a:pt x="188" y="71"/>
                  </a:lnTo>
                  <a:lnTo>
                    <a:pt x="200" y="68"/>
                  </a:lnTo>
                  <a:lnTo>
                    <a:pt x="201" y="54"/>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16" name="Freeform 142">
              <a:extLst>
                <a:ext uri="{FF2B5EF4-FFF2-40B4-BE49-F238E27FC236}">
                  <a16:creationId xmlns:a16="http://schemas.microsoft.com/office/drawing/2014/main" id="{03CC5122-D181-0341-A337-F7207478EA03}"/>
                </a:ext>
              </a:extLst>
            </p:cNvPr>
            <p:cNvSpPr>
              <a:spLocks noChangeAspect="1"/>
            </p:cNvSpPr>
            <p:nvPr/>
          </p:nvSpPr>
          <p:spPr bwMode="gray">
            <a:xfrm>
              <a:off x="4698780" y="2643777"/>
              <a:ext cx="77891" cy="80560"/>
            </a:xfrm>
            <a:custGeom>
              <a:avLst/>
              <a:gdLst>
                <a:gd name="T0" fmla="*/ 102 w 158"/>
                <a:gd name="T1" fmla="*/ 122 h 134"/>
                <a:gd name="T2" fmla="*/ 99 w 158"/>
                <a:gd name="T3" fmla="*/ 95 h 134"/>
                <a:gd name="T4" fmla="*/ 85 w 158"/>
                <a:gd name="T5" fmla="*/ 106 h 134"/>
                <a:gd name="T6" fmla="*/ 68 w 158"/>
                <a:gd name="T7" fmla="*/ 105 h 134"/>
                <a:gd name="T8" fmla="*/ 60 w 158"/>
                <a:gd name="T9" fmla="*/ 80 h 134"/>
                <a:gd name="T10" fmla="*/ 29 w 158"/>
                <a:gd name="T11" fmla="*/ 66 h 134"/>
                <a:gd name="T12" fmla="*/ 21 w 158"/>
                <a:gd name="T13" fmla="*/ 51 h 134"/>
                <a:gd name="T14" fmla="*/ 3 w 158"/>
                <a:gd name="T15" fmla="*/ 47 h 134"/>
                <a:gd name="T16" fmla="*/ 0 w 158"/>
                <a:gd name="T17" fmla="*/ 26 h 134"/>
                <a:gd name="T18" fmla="*/ 34 w 158"/>
                <a:gd name="T19" fmla="*/ 7 h 134"/>
                <a:gd name="T20" fmla="*/ 48 w 158"/>
                <a:gd name="T21" fmla="*/ 15 h 134"/>
                <a:gd name="T22" fmla="*/ 87 w 158"/>
                <a:gd name="T23" fmla="*/ 0 h 134"/>
                <a:gd name="T24" fmla="*/ 107 w 158"/>
                <a:gd name="T25" fmla="*/ 5 h 134"/>
                <a:gd name="T26" fmla="*/ 131 w 158"/>
                <a:gd name="T27" fmla="*/ 18 h 134"/>
                <a:gd name="T28" fmla="*/ 131 w 158"/>
                <a:gd name="T29" fmla="*/ 46 h 134"/>
                <a:gd name="T30" fmla="*/ 148 w 158"/>
                <a:gd name="T31" fmla="*/ 51 h 134"/>
                <a:gd name="T32" fmla="*/ 158 w 158"/>
                <a:gd name="T33" fmla="*/ 72 h 134"/>
                <a:gd name="T34" fmla="*/ 150 w 158"/>
                <a:gd name="T35" fmla="*/ 94 h 134"/>
                <a:gd name="T36" fmla="*/ 136 w 158"/>
                <a:gd name="T37" fmla="*/ 98 h 134"/>
                <a:gd name="T38" fmla="*/ 131 w 158"/>
                <a:gd name="T39" fmla="*/ 111 h 134"/>
                <a:gd name="T40" fmla="*/ 134 w 158"/>
                <a:gd name="T41" fmla="*/ 134 h 134"/>
                <a:gd name="T42" fmla="*/ 117 w 158"/>
                <a:gd name="T43" fmla="*/ 132 h 134"/>
                <a:gd name="T44" fmla="*/ 102 w 158"/>
                <a:gd name="T45" fmla="*/ 12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34">
                  <a:moveTo>
                    <a:pt x="102" y="122"/>
                  </a:moveTo>
                  <a:lnTo>
                    <a:pt x="99" y="95"/>
                  </a:lnTo>
                  <a:lnTo>
                    <a:pt x="85" y="106"/>
                  </a:lnTo>
                  <a:lnTo>
                    <a:pt x="68" y="105"/>
                  </a:lnTo>
                  <a:lnTo>
                    <a:pt x="60" y="80"/>
                  </a:lnTo>
                  <a:lnTo>
                    <a:pt x="29" y="66"/>
                  </a:lnTo>
                  <a:lnTo>
                    <a:pt x="21" y="51"/>
                  </a:lnTo>
                  <a:lnTo>
                    <a:pt x="3" y="47"/>
                  </a:lnTo>
                  <a:lnTo>
                    <a:pt x="0" y="26"/>
                  </a:lnTo>
                  <a:lnTo>
                    <a:pt x="34" y="7"/>
                  </a:lnTo>
                  <a:lnTo>
                    <a:pt x="48" y="15"/>
                  </a:lnTo>
                  <a:lnTo>
                    <a:pt x="87" y="0"/>
                  </a:lnTo>
                  <a:lnTo>
                    <a:pt x="107" y="5"/>
                  </a:lnTo>
                  <a:lnTo>
                    <a:pt x="131" y="18"/>
                  </a:lnTo>
                  <a:lnTo>
                    <a:pt x="131" y="46"/>
                  </a:lnTo>
                  <a:lnTo>
                    <a:pt x="148" y="51"/>
                  </a:lnTo>
                  <a:lnTo>
                    <a:pt x="158" y="72"/>
                  </a:lnTo>
                  <a:lnTo>
                    <a:pt x="150" y="94"/>
                  </a:lnTo>
                  <a:lnTo>
                    <a:pt x="136" y="98"/>
                  </a:lnTo>
                  <a:lnTo>
                    <a:pt x="131" y="111"/>
                  </a:lnTo>
                  <a:lnTo>
                    <a:pt x="134" y="134"/>
                  </a:lnTo>
                  <a:lnTo>
                    <a:pt x="117" y="132"/>
                  </a:lnTo>
                  <a:lnTo>
                    <a:pt x="102" y="122"/>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17" name="Freeform 143">
              <a:extLst>
                <a:ext uri="{FF2B5EF4-FFF2-40B4-BE49-F238E27FC236}">
                  <a16:creationId xmlns:a16="http://schemas.microsoft.com/office/drawing/2014/main" id="{1D6B3F04-2281-4541-AAE6-66C4C3784F53}"/>
                </a:ext>
              </a:extLst>
            </p:cNvPr>
            <p:cNvSpPr>
              <a:spLocks noChangeAspect="1"/>
            </p:cNvSpPr>
            <p:nvPr/>
          </p:nvSpPr>
          <p:spPr bwMode="gray">
            <a:xfrm>
              <a:off x="5231287" y="2766537"/>
              <a:ext cx="76300" cy="115086"/>
            </a:xfrm>
            <a:custGeom>
              <a:avLst/>
              <a:gdLst>
                <a:gd name="T0" fmla="*/ 73 w 155"/>
                <a:gd name="T1" fmla="*/ 172 h 198"/>
                <a:gd name="T2" fmla="*/ 74 w 155"/>
                <a:gd name="T3" fmla="*/ 198 h 198"/>
                <a:gd name="T4" fmla="*/ 85 w 155"/>
                <a:gd name="T5" fmla="*/ 196 h 198"/>
                <a:gd name="T6" fmla="*/ 90 w 155"/>
                <a:gd name="T7" fmla="*/ 184 h 198"/>
                <a:gd name="T8" fmla="*/ 108 w 155"/>
                <a:gd name="T9" fmla="*/ 165 h 198"/>
                <a:gd name="T10" fmla="*/ 113 w 155"/>
                <a:gd name="T11" fmla="*/ 139 h 198"/>
                <a:gd name="T12" fmla="*/ 153 w 155"/>
                <a:gd name="T13" fmla="*/ 139 h 198"/>
                <a:gd name="T14" fmla="*/ 155 w 155"/>
                <a:gd name="T15" fmla="*/ 113 h 198"/>
                <a:gd name="T16" fmla="*/ 138 w 155"/>
                <a:gd name="T17" fmla="*/ 102 h 198"/>
                <a:gd name="T18" fmla="*/ 133 w 155"/>
                <a:gd name="T19" fmla="*/ 76 h 198"/>
                <a:gd name="T20" fmla="*/ 116 w 155"/>
                <a:gd name="T21" fmla="*/ 64 h 198"/>
                <a:gd name="T22" fmla="*/ 119 w 155"/>
                <a:gd name="T23" fmla="*/ 37 h 198"/>
                <a:gd name="T24" fmla="*/ 116 w 155"/>
                <a:gd name="T25" fmla="*/ 31 h 198"/>
                <a:gd name="T26" fmla="*/ 74 w 155"/>
                <a:gd name="T27" fmla="*/ 22 h 198"/>
                <a:gd name="T28" fmla="*/ 39 w 155"/>
                <a:gd name="T29" fmla="*/ 0 h 198"/>
                <a:gd name="T30" fmla="*/ 11 w 155"/>
                <a:gd name="T31" fmla="*/ 3 h 198"/>
                <a:gd name="T32" fmla="*/ 0 w 155"/>
                <a:gd name="T33" fmla="*/ 22 h 198"/>
                <a:gd name="T34" fmla="*/ 8 w 155"/>
                <a:gd name="T35" fmla="*/ 18 h 198"/>
                <a:gd name="T36" fmla="*/ 37 w 155"/>
                <a:gd name="T37" fmla="*/ 51 h 198"/>
                <a:gd name="T38" fmla="*/ 40 w 155"/>
                <a:gd name="T39" fmla="*/ 64 h 198"/>
                <a:gd name="T40" fmla="*/ 71 w 155"/>
                <a:gd name="T41" fmla="*/ 116 h 198"/>
                <a:gd name="T42" fmla="*/ 73 w 155"/>
                <a:gd name="T43" fmla="*/ 17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5" h="198">
                  <a:moveTo>
                    <a:pt x="73" y="172"/>
                  </a:moveTo>
                  <a:lnTo>
                    <a:pt x="74" y="198"/>
                  </a:lnTo>
                  <a:lnTo>
                    <a:pt x="85" y="196"/>
                  </a:lnTo>
                  <a:lnTo>
                    <a:pt x="90" y="184"/>
                  </a:lnTo>
                  <a:lnTo>
                    <a:pt x="108" y="165"/>
                  </a:lnTo>
                  <a:lnTo>
                    <a:pt x="113" y="139"/>
                  </a:lnTo>
                  <a:lnTo>
                    <a:pt x="153" y="139"/>
                  </a:lnTo>
                  <a:lnTo>
                    <a:pt x="155" y="113"/>
                  </a:lnTo>
                  <a:lnTo>
                    <a:pt x="138" y="102"/>
                  </a:lnTo>
                  <a:lnTo>
                    <a:pt x="133" y="76"/>
                  </a:lnTo>
                  <a:lnTo>
                    <a:pt x="116" y="64"/>
                  </a:lnTo>
                  <a:lnTo>
                    <a:pt x="119" y="37"/>
                  </a:lnTo>
                  <a:lnTo>
                    <a:pt x="116" y="31"/>
                  </a:lnTo>
                  <a:lnTo>
                    <a:pt x="74" y="22"/>
                  </a:lnTo>
                  <a:lnTo>
                    <a:pt x="39" y="0"/>
                  </a:lnTo>
                  <a:lnTo>
                    <a:pt x="11" y="3"/>
                  </a:lnTo>
                  <a:lnTo>
                    <a:pt x="0" y="22"/>
                  </a:lnTo>
                  <a:lnTo>
                    <a:pt x="8" y="18"/>
                  </a:lnTo>
                  <a:lnTo>
                    <a:pt x="37" y="51"/>
                  </a:lnTo>
                  <a:lnTo>
                    <a:pt x="40" y="64"/>
                  </a:lnTo>
                  <a:lnTo>
                    <a:pt x="71" y="116"/>
                  </a:lnTo>
                  <a:lnTo>
                    <a:pt x="73" y="172"/>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418" name="Freeform 144">
              <a:extLst>
                <a:ext uri="{FF2B5EF4-FFF2-40B4-BE49-F238E27FC236}">
                  <a16:creationId xmlns:a16="http://schemas.microsoft.com/office/drawing/2014/main" id="{2140FA8B-A1A5-B649-AD54-C6A50AFC19AA}"/>
                </a:ext>
              </a:extLst>
            </p:cNvPr>
            <p:cNvSpPr>
              <a:spLocks noChangeAspect="1"/>
            </p:cNvSpPr>
            <p:nvPr/>
          </p:nvSpPr>
          <p:spPr bwMode="gray">
            <a:xfrm>
              <a:off x="5089815" y="2776127"/>
              <a:ext cx="211415" cy="178383"/>
            </a:xfrm>
            <a:custGeom>
              <a:avLst/>
              <a:gdLst>
                <a:gd name="T0" fmla="*/ 363 w 437"/>
                <a:gd name="T1" fmla="*/ 98 h 304"/>
                <a:gd name="T2" fmla="*/ 332 w 437"/>
                <a:gd name="T3" fmla="*/ 46 h 304"/>
                <a:gd name="T4" fmla="*/ 329 w 437"/>
                <a:gd name="T5" fmla="*/ 33 h 304"/>
                <a:gd name="T6" fmla="*/ 300 w 437"/>
                <a:gd name="T7" fmla="*/ 0 h 304"/>
                <a:gd name="T8" fmla="*/ 292 w 437"/>
                <a:gd name="T9" fmla="*/ 4 h 304"/>
                <a:gd name="T10" fmla="*/ 217 w 437"/>
                <a:gd name="T11" fmla="*/ 31 h 304"/>
                <a:gd name="T12" fmla="*/ 201 w 437"/>
                <a:gd name="T13" fmla="*/ 19 h 304"/>
                <a:gd name="T14" fmla="*/ 119 w 437"/>
                <a:gd name="T15" fmla="*/ 21 h 304"/>
                <a:gd name="T16" fmla="*/ 82 w 437"/>
                <a:gd name="T17" fmla="*/ 48 h 304"/>
                <a:gd name="T18" fmla="*/ 74 w 437"/>
                <a:gd name="T19" fmla="*/ 71 h 304"/>
                <a:gd name="T20" fmla="*/ 41 w 437"/>
                <a:gd name="T21" fmla="*/ 130 h 304"/>
                <a:gd name="T22" fmla="*/ 0 w 437"/>
                <a:gd name="T23" fmla="*/ 144 h 304"/>
                <a:gd name="T24" fmla="*/ 23 w 437"/>
                <a:gd name="T25" fmla="*/ 163 h 304"/>
                <a:gd name="T26" fmla="*/ 39 w 437"/>
                <a:gd name="T27" fmla="*/ 200 h 304"/>
                <a:gd name="T28" fmla="*/ 54 w 437"/>
                <a:gd name="T29" fmla="*/ 206 h 304"/>
                <a:gd name="T30" fmla="*/ 58 w 437"/>
                <a:gd name="T31" fmla="*/ 228 h 304"/>
                <a:gd name="T32" fmla="*/ 95 w 437"/>
                <a:gd name="T33" fmla="*/ 246 h 304"/>
                <a:gd name="T34" fmla="*/ 103 w 437"/>
                <a:gd name="T35" fmla="*/ 239 h 304"/>
                <a:gd name="T36" fmla="*/ 110 w 437"/>
                <a:gd name="T37" fmla="*/ 248 h 304"/>
                <a:gd name="T38" fmla="*/ 102 w 437"/>
                <a:gd name="T39" fmla="*/ 257 h 304"/>
                <a:gd name="T40" fmla="*/ 108 w 437"/>
                <a:gd name="T41" fmla="*/ 271 h 304"/>
                <a:gd name="T42" fmla="*/ 116 w 437"/>
                <a:gd name="T43" fmla="*/ 273 h 304"/>
                <a:gd name="T44" fmla="*/ 127 w 437"/>
                <a:gd name="T45" fmla="*/ 276 h 304"/>
                <a:gd name="T46" fmla="*/ 122 w 437"/>
                <a:gd name="T47" fmla="*/ 287 h 304"/>
                <a:gd name="T48" fmla="*/ 131 w 437"/>
                <a:gd name="T49" fmla="*/ 295 h 304"/>
                <a:gd name="T50" fmla="*/ 243 w 437"/>
                <a:gd name="T51" fmla="*/ 304 h 304"/>
                <a:gd name="T52" fmla="*/ 312 w 437"/>
                <a:gd name="T53" fmla="*/ 276 h 304"/>
                <a:gd name="T54" fmla="*/ 329 w 437"/>
                <a:gd name="T55" fmla="*/ 276 h 304"/>
                <a:gd name="T56" fmla="*/ 357 w 437"/>
                <a:gd name="T57" fmla="*/ 287 h 304"/>
                <a:gd name="T58" fmla="*/ 376 w 437"/>
                <a:gd name="T59" fmla="*/ 298 h 304"/>
                <a:gd name="T60" fmla="*/ 390 w 437"/>
                <a:gd name="T61" fmla="*/ 296 h 304"/>
                <a:gd name="T62" fmla="*/ 390 w 437"/>
                <a:gd name="T63" fmla="*/ 266 h 304"/>
                <a:gd name="T64" fmla="*/ 402 w 437"/>
                <a:gd name="T65" fmla="*/ 220 h 304"/>
                <a:gd name="T66" fmla="*/ 408 w 437"/>
                <a:gd name="T67" fmla="*/ 220 h 304"/>
                <a:gd name="T68" fmla="*/ 408 w 437"/>
                <a:gd name="T69" fmla="*/ 232 h 304"/>
                <a:gd name="T70" fmla="*/ 396 w 437"/>
                <a:gd name="T71" fmla="*/ 249 h 304"/>
                <a:gd name="T72" fmla="*/ 399 w 437"/>
                <a:gd name="T73" fmla="*/ 254 h 304"/>
                <a:gd name="T74" fmla="*/ 428 w 437"/>
                <a:gd name="T75" fmla="*/ 232 h 304"/>
                <a:gd name="T76" fmla="*/ 434 w 437"/>
                <a:gd name="T77" fmla="*/ 228 h 304"/>
                <a:gd name="T78" fmla="*/ 437 w 437"/>
                <a:gd name="T79" fmla="*/ 214 h 304"/>
                <a:gd name="T80" fmla="*/ 436 w 437"/>
                <a:gd name="T81" fmla="*/ 194 h 304"/>
                <a:gd name="T82" fmla="*/ 424 w 437"/>
                <a:gd name="T83" fmla="*/ 189 h 304"/>
                <a:gd name="T84" fmla="*/ 385 w 437"/>
                <a:gd name="T85" fmla="*/ 202 h 304"/>
                <a:gd name="T86" fmla="*/ 374 w 437"/>
                <a:gd name="T87" fmla="*/ 188 h 304"/>
                <a:gd name="T88" fmla="*/ 368 w 437"/>
                <a:gd name="T89" fmla="*/ 192 h 304"/>
                <a:gd name="T90" fmla="*/ 366 w 437"/>
                <a:gd name="T91" fmla="*/ 180 h 304"/>
                <a:gd name="T92" fmla="*/ 365 w 437"/>
                <a:gd name="T93" fmla="*/ 154 h 304"/>
                <a:gd name="T94" fmla="*/ 363 w 437"/>
                <a:gd name="T95" fmla="*/ 9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7" h="304">
                  <a:moveTo>
                    <a:pt x="363" y="98"/>
                  </a:moveTo>
                  <a:lnTo>
                    <a:pt x="332" y="46"/>
                  </a:lnTo>
                  <a:lnTo>
                    <a:pt x="329" y="33"/>
                  </a:lnTo>
                  <a:lnTo>
                    <a:pt x="300" y="0"/>
                  </a:lnTo>
                  <a:lnTo>
                    <a:pt x="292" y="4"/>
                  </a:lnTo>
                  <a:lnTo>
                    <a:pt x="217" y="31"/>
                  </a:lnTo>
                  <a:lnTo>
                    <a:pt x="201" y="19"/>
                  </a:lnTo>
                  <a:lnTo>
                    <a:pt x="119" y="21"/>
                  </a:lnTo>
                  <a:lnTo>
                    <a:pt x="82" y="48"/>
                  </a:lnTo>
                  <a:lnTo>
                    <a:pt x="74" y="71"/>
                  </a:lnTo>
                  <a:lnTo>
                    <a:pt x="41" y="130"/>
                  </a:lnTo>
                  <a:lnTo>
                    <a:pt x="0" y="144"/>
                  </a:lnTo>
                  <a:lnTo>
                    <a:pt x="23" y="163"/>
                  </a:lnTo>
                  <a:lnTo>
                    <a:pt x="39" y="200"/>
                  </a:lnTo>
                  <a:lnTo>
                    <a:pt x="54" y="206"/>
                  </a:lnTo>
                  <a:lnTo>
                    <a:pt x="58" y="228"/>
                  </a:lnTo>
                  <a:lnTo>
                    <a:pt x="95" y="246"/>
                  </a:lnTo>
                  <a:lnTo>
                    <a:pt x="103" y="239"/>
                  </a:lnTo>
                  <a:lnTo>
                    <a:pt x="110" y="248"/>
                  </a:lnTo>
                  <a:lnTo>
                    <a:pt x="102" y="257"/>
                  </a:lnTo>
                  <a:lnTo>
                    <a:pt x="108" y="271"/>
                  </a:lnTo>
                  <a:lnTo>
                    <a:pt x="116" y="273"/>
                  </a:lnTo>
                  <a:lnTo>
                    <a:pt x="127" y="276"/>
                  </a:lnTo>
                  <a:lnTo>
                    <a:pt x="122" y="287"/>
                  </a:lnTo>
                  <a:lnTo>
                    <a:pt x="131" y="295"/>
                  </a:lnTo>
                  <a:lnTo>
                    <a:pt x="243" y="304"/>
                  </a:lnTo>
                  <a:lnTo>
                    <a:pt x="312" y="276"/>
                  </a:lnTo>
                  <a:lnTo>
                    <a:pt x="329" y="276"/>
                  </a:lnTo>
                  <a:lnTo>
                    <a:pt x="357" y="287"/>
                  </a:lnTo>
                  <a:lnTo>
                    <a:pt x="376" y="298"/>
                  </a:lnTo>
                  <a:lnTo>
                    <a:pt x="390" y="296"/>
                  </a:lnTo>
                  <a:lnTo>
                    <a:pt x="390" y="266"/>
                  </a:lnTo>
                  <a:lnTo>
                    <a:pt x="402" y="220"/>
                  </a:lnTo>
                  <a:lnTo>
                    <a:pt x="408" y="220"/>
                  </a:lnTo>
                  <a:lnTo>
                    <a:pt x="408" y="232"/>
                  </a:lnTo>
                  <a:lnTo>
                    <a:pt x="396" y="249"/>
                  </a:lnTo>
                  <a:lnTo>
                    <a:pt x="399" y="254"/>
                  </a:lnTo>
                  <a:lnTo>
                    <a:pt x="428" y="232"/>
                  </a:lnTo>
                  <a:lnTo>
                    <a:pt x="434" y="228"/>
                  </a:lnTo>
                  <a:lnTo>
                    <a:pt x="437" y="214"/>
                  </a:lnTo>
                  <a:lnTo>
                    <a:pt x="436" y="194"/>
                  </a:lnTo>
                  <a:lnTo>
                    <a:pt x="424" y="189"/>
                  </a:lnTo>
                  <a:lnTo>
                    <a:pt x="385" y="202"/>
                  </a:lnTo>
                  <a:lnTo>
                    <a:pt x="374" y="188"/>
                  </a:lnTo>
                  <a:lnTo>
                    <a:pt x="368" y="192"/>
                  </a:lnTo>
                  <a:lnTo>
                    <a:pt x="366" y="180"/>
                  </a:lnTo>
                  <a:lnTo>
                    <a:pt x="365" y="154"/>
                  </a:lnTo>
                  <a:lnTo>
                    <a:pt x="363" y="98"/>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19" name="Freeform 145">
              <a:extLst>
                <a:ext uri="{FF2B5EF4-FFF2-40B4-BE49-F238E27FC236}">
                  <a16:creationId xmlns:a16="http://schemas.microsoft.com/office/drawing/2014/main" id="{190824E3-7715-BC4B-A068-A7A5AC8712C1}"/>
                </a:ext>
              </a:extLst>
            </p:cNvPr>
            <p:cNvSpPr>
              <a:spLocks noChangeAspect="1"/>
            </p:cNvSpPr>
            <p:nvPr/>
          </p:nvSpPr>
          <p:spPr bwMode="gray">
            <a:xfrm>
              <a:off x="4666988" y="2992870"/>
              <a:ext cx="7948" cy="7672"/>
            </a:xfrm>
            <a:custGeom>
              <a:avLst/>
              <a:gdLst>
                <a:gd name="T0" fmla="*/ 10 w 16"/>
                <a:gd name="T1" fmla="*/ 0 h 13"/>
                <a:gd name="T2" fmla="*/ 16 w 16"/>
                <a:gd name="T3" fmla="*/ 8 h 13"/>
                <a:gd name="T4" fmla="*/ 8 w 16"/>
                <a:gd name="T5" fmla="*/ 13 h 13"/>
                <a:gd name="T6" fmla="*/ 0 w 16"/>
                <a:gd name="T7" fmla="*/ 3 h 13"/>
                <a:gd name="T8" fmla="*/ 10 w 16"/>
                <a:gd name="T9" fmla="*/ 0 h 13"/>
              </a:gdLst>
              <a:ahLst/>
              <a:cxnLst>
                <a:cxn ang="0">
                  <a:pos x="T0" y="T1"/>
                </a:cxn>
                <a:cxn ang="0">
                  <a:pos x="T2" y="T3"/>
                </a:cxn>
                <a:cxn ang="0">
                  <a:pos x="T4" y="T5"/>
                </a:cxn>
                <a:cxn ang="0">
                  <a:pos x="T6" y="T7"/>
                </a:cxn>
                <a:cxn ang="0">
                  <a:pos x="T8" y="T9"/>
                </a:cxn>
              </a:cxnLst>
              <a:rect l="0" t="0" r="r" b="b"/>
              <a:pathLst>
                <a:path w="16" h="13">
                  <a:moveTo>
                    <a:pt x="10" y="0"/>
                  </a:moveTo>
                  <a:lnTo>
                    <a:pt x="16" y="8"/>
                  </a:lnTo>
                  <a:lnTo>
                    <a:pt x="8" y="13"/>
                  </a:lnTo>
                  <a:lnTo>
                    <a:pt x="0" y="3"/>
                  </a:lnTo>
                  <a:lnTo>
                    <a:pt x="10" y="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20" name="Freeform 146">
              <a:extLst>
                <a:ext uri="{FF2B5EF4-FFF2-40B4-BE49-F238E27FC236}">
                  <a16:creationId xmlns:a16="http://schemas.microsoft.com/office/drawing/2014/main" id="{0A991281-3305-FD49-A3F6-29A1A36D085E}"/>
                </a:ext>
              </a:extLst>
            </p:cNvPr>
            <p:cNvSpPr>
              <a:spLocks noChangeAspect="1" noEditPoints="1"/>
            </p:cNvSpPr>
            <p:nvPr/>
          </p:nvSpPr>
          <p:spPr bwMode="gray">
            <a:xfrm>
              <a:off x="3937373" y="3012052"/>
              <a:ext cx="562708" cy="176462"/>
            </a:xfrm>
            <a:custGeom>
              <a:avLst/>
              <a:gdLst>
                <a:gd name="T0" fmla="*/ 1038 w 1157"/>
                <a:gd name="T1" fmla="*/ 17 h 300"/>
                <a:gd name="T2" fmla="*/ 1044 w 1157"/>
                <a:gd name="T3" fmla="*/ 9 h 300"/>
                <a:gd name="T4" fmla="*/ 1070 w 1157"/>
                <a:gd name="T5" fmla="*/ 0 h 300"/>
                <a:gd name="T6" fmla="*/ 1070 w 1157"/>
                <a:gd name="T7" fmla="*/ 10 h 300"/>
                <a:gd name="T8" fmla="*/ 1077 w 1157"/>
                <a:gd name="T9" fmla="*/ 15 h 300"/>
                <a:gd name="T10" fmla="*/ 1146 w 1157"/>
                <a:gd name="T11" fmla="*/ 14 h 300"/>
                <a:gd name="T12" fmla="*/ 1157 w 1157"/>
                <a:gd name="T13" fmla="*/ 29 h 300"/>
                <a:gd name="T14" fmla="*/ 1151 w 1157"/>
                <a:gd name="T15" fmla="*/ 48 h 300"/>
                <a:gd name="T16" fmla="*/ 1132 w 1157"/>
                <a:gd name="T17" fmla="*/ 66 h 300"/>
                <a:gd name="T18" fmla="*/ 1124 w 1157"/>
                <a:gd name="T19" fmla="*/ 110 h 300"/>
                <a:gd name="T20" fmla="*/ 1129 w 1157"/>
                <a:gd name="T21" fmla="*/ 133 h 300"/>
                <a:gd name="T22" fmla="*/ 1106 w 1157"/>
                <a:gd name="T23" fmla="*/ 151 h 300"/>
                <a:gd name="T24" fmla="*/ 1120 w 1157"/>
                <a:gd name="T25" fmla="*/ 183 h 300"/>
                <a:gd name="T26" fmla="*/ 1111 w 1157"/>
                <a:gd name="T27" fmla="*/ 213 h 300"/>
                <a:gd name="T28" fmla="*/ 1123 w 1157"/>
                <a:gd name="T29" fmla="*/ 242 h 300"/>
                <a:gd name="T30" fmla="*/ 1098 w 1157"/>
                <a:gd name="T31" fmla="*/ 267 h 300"/>
                <a:gd name="T32" fmla="*/ 1103 w 1157"/>
                <a:gd name="T33" fmla="*/ 291 h 300"/>
                <a:gd name="T34" fmla="*/ 1081 w 1157"/>
                <a:gd name="T35" fmla="*/ 300 h 300"/>
                <a:gd name="T36" fmla="*/ 1035 w 1157"/>
                <a:gd name="T37" fmla="*/ 300 h 300"/>
                <a:gd name="T38" fmla="*/ 1043 w 1157"/>
                <a:gd name="T39" fmla="*/ 213 h 300"/>
                <a:gd name="T40" fmla="*/ 1024 w 1157"/>
                <a:gd name="T41" fmla="*/ 218 h 300"/>
                <a:gd name="T42" fmla="*/ 1018 w 1157"/>
                <a:gd name="T43" fmla="*/ 205 h 300"/>
                <a:gd name="T44" fmla="*/ 1009 w 1157"/>
                <a:gd name="T45" fmla="*/ 200 h 300"/>
                <a:gd name="T46" fmla="*/ 1013 w 1157"/>
                <a:gd name="T47" fmla="*/ 171 h 300"/>
                <a:gd name="T48" fmla="*/ 1033 w 1157"/>
                <a:gd name="T49" fmla="*/ 131 h 300"/>
                <a:gd name="T50" fmla="*/ 1044 w 1157"/>
                <a:gd name="T51" fmla="*/ 69 h 300"/>
                <a:gd name="T52" fmla="*/ 1038 w 1157"/>
                <a:gd name="T53" fmla="*/ 17 h 300"/>
                <a:gd name="T54" fmla="*/ 281 w 1157"/>
                <a:gd name="T55" fmla="*/ 254 h 300"/>
                <a:gd name="T56" fmla="*/ 250 w 1157"/>
                <a:gd name="T57" fmla="*/ 254 h 300"/>
                <a:gd name="T58" fmla="*/ 269 w 1157"/>
                <a:gd name="T59" fmla="*/ 263 h 300"/>
                <a:gd name="T60" fmla="*/ 281 w 1157"/>
                <a:gd name="T61" fmla="*/ 254 h 300"/>
                <a:gd name="T62" fmla="*/ 5 w 1157"/>
                <a:gd name="T63" fmla="*/ 161 h 300"/>
                <a:gd name="T64" fmla="*/ 1 w 1157"/>
                <a:gd name="T65" fmla="*/ 156 h 300"/>
                <a:gd name="T66" fmla="*/ 0 w 1157"/>
                <a:gd name="T67" fmla="*/ 162 h 300"/>
                <a:gd name="T68" fmla="*/ 5 w 1157"/>
                <a:gd name="T69" fmla="*/ 161 h 300"/>
                <a:gd name="T70" fmla="*/ 189 w 1157"/>
                <a:gd name="T71" fmla="*/ 200 h 300"/>
                <a:gd name="T72" fmla="*/ 179 w 1157"/>
                <a:gd name="T73" fmla="*/ 205 h 300"/>
                <a:gd name="T74" fmla="*/ 187 w 1157"/>
                <a:gd name="T75" fmla="*/ 209 h 300"/>
                <a:gd name="T76" fmla="*/ 193 w 1157"/>
                <a:gd name="T77" fmla="*/ 205 h 300"/>
                <a:gd name="T78" fmla="*/ 189 w 1157"/>
                <a:gd name="T79" fmla="*/ 200 h 300"/>
                <a:gd name="T80" fmla="*/ 158 w 1157"/>
                <a:gd name="T81" fmla="*/ 212 h 300"/>
                <a:gd name="T82" fmla="*/ 141 w 1157"/>
                <a:gd name="T83" fmla="*/ 204 h 300"/>
                <a:gd name="T84" fmla="*/ 158 w 1157"/>
                <a:gd name="T85" fmla="*/ 212 h 300"/>
                <a:gd name="T86" fmla="*/ 144 w 1157"/>
                <a:gd name="T87" fmla="*/ 222 h 300"/>
                <a:gd name="T88" fmla="*/ 147 w 1157"/>
                <a:gd name="T89" fmla="*/ 221 h 300"/>
                <a:gd name="T90" fmla="*/ 142 w 1157"/>
                <a:gd name="T91" fmla="*/ 217 h 300"/>
                <a:gd name="T92" fmla="*/ 127 w 1157"/>
                <a:gd name="T93" fmla="*/ 215 h 300"/>
                <a:gd name="T94" fmla="*/ 144 w 1157"/>
                <a:gd name="T95" fmla="*/ 222 h 300"/>
                <a:gd name="T96" fmla="*/ 119 w 1157"/>
                <a:gd name="T97" fmla="*/ 210 h 300"/>
                <a:gd name="T98" fmla="*/ 116 w 1157"/>
                <a:gd name="T99" fmla="*/ 215 h 300"/>
                <a:gd name="T100" fmla="*/ 119 w 1157"/>
                <a:gd name="T101" fmla="*/ 21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57" h="300">
                  <a:moveTo>
                    <a:pt x="1038" y="17"/>
                  </a:moveTo>
                  <a:lnTo>
                    <a:pt x="1044" y="9"/>
                  </a:lnTo>
                  <a:lnTo>
                    <a:pt x="1070" y="0"/>
                  </a:lnTo>
                  <a:lnTo>
                    <a:pt x="1070" y="10"/>
                  </a:lnTo>
                  <a:lnTo>
                    <a:pt x="1077" y="15"/>
                  </a:lnTo>
                  <a:lnTo>
                    <a:pt x="1146" y="14"/>
                  </a:lnTo>
                  <a:lnTo>
                    <a:pt x="1157" y="29"/>
                  </a:lnTo>
                  <a:lnTo>
                    <a:pt x="1151" y="48"/>
                  </a:lnTo>
                  <a:lnTo>
                    <a:pt x="1132" y="66"/>
                  </a:lnTo>
                  <a:lnTo>
                    <a:pt x="1124" y="110"/>
                  </a:lnTo>
                  <a:lnTo>
                    <a:pt x="1129" y="133"/>
                  </a:lnTo>
                  <a:lnTo>
                    <a:pt x="1106" y="151"/>
                  </a:lnTo>
                  <a:lnTo>
                    <a:pt x="1120" y="183"/>
                  </a:lnTo>
                  <a:lnTo>
                    <a:pt x="1111" y="213"/>
                  </a:lnTo>
                  <a:lnTo>
                    <a:pt x="1123" y="242"/>
                  </a:lnTo>
                  <a:lnTo>
                    <a:pt x="1098" y="267"/>
                  </a:lnTo>
                  <a:lnTo>
                    <a:pt x="1103" y="291"/>
                  </a:lnTo>
                  <a:lnTo>
                    <a:pt x="1081" y="300"/>
                  </a:lnTo>
                  <a:lnTo>
                    <a:pt x="1035" y="300"/>
                  </a:lnTo>
                  <a:lnTo>
                    <a:pt x="1043" y="213"/>
                  </a:lnTo>
                  <a:lnTo>
                    <a:pt x="1024" y="218"/>
                  </a:lnTo>
                  <a:lnTo>
                    <a:pt x="1018" y="205"/>
                  </a:lnTo>
                  <a:lnTo>
                    <a:pt x="1009" y="200"/>
                  </a:lnTo>
                  <a:lnTo>
                    <a:pt x="1013" y="171"/>
                  </a:lnTo>
                  <a:lnTo>
                    <a:pt x="1033" y="131"/>
                  </a:lnTo>
                  <a:lnTo>
                    <a:pt x="1044" y="69"/>
                  </a:lnTo>
                  <a:lnTo>
                    <a:pt x="1038" y="17"/>
                  </a:lnTo>
                  <a:close/>
                  <a:moveTo>
                    <a:pt x="281" y="254"/>
                  </a:moveTo>
                  <a:lnTo>
                    <a:pt x="250" y="254"/>
                  </a:lnTo>
                  <a:lnTo>
                    <a:pt x="269" y="263"/>
                  </a:lnTo>
                  <a:lnTo>
                    <a:pt x="281" y="254"/>
                  </a:lnTo>
                  <a:close/>
                  <a:moveTo>
                    <a:pt x="5" y="161"/>
                  </a:moveTo>
                  <a:lnTo>
                    <a:pt x="1" y="156"/>
                  </a:lnTo>
                  <a:lnTo>
                    <a:pt x="0" y="162"/>
                  </a:lnTo>
                  <a:lnTo>
                    <a:pt x="5" y="161"/>
                  </a:lnTo>
                  <a:close/>
                  <a:moveTo>
                    <a:pt x="189" y="200"/>
                  </a:moveTo>
                  <a:lnTo>
                    <a:pt x="179" y="205"/>
                  </a:lnTo>
                  <a:lnTo>
                    <a:pt x="187" y="209"/>
                  </a:lnTo>
                  <a:lnTo>
                    <a:pt x="193" y="205"/>
                  </a:lnTo>
                  <a:lnTo>
                    <a:pt x="189" y="200"/>
                  </a:lnTo>
                  <a:close/>
                  <a:moveTo>
                    <a:pt x="158" y="212"/>
                  </a:moveTo>
                  <a:lnTo>
                    <a:pt x="141" y="204"/>
                  </a:lnTo>
                  <a:lnTo>
                    <a:pt x="158" y="212"/>
                  </a:lnTo>
                  <a:close/>
                  <a:moveTo>
                    <a:pt x="144" y="222"/>
                  </a:moveTo>
                  <a:lnTo>
                    <a:pt x="147" y="221"/>
                  </a:lnTo>
                  <a:lnTo>
                    <a:pt x="142" y="217"/>
                  </a:lnTo>
                  <a:lnTo>
                    <a:pt x="127" y="215"/>
                  </a:lnTo>
                  <a:lnTo>
                    <a:pt x="144" y="222"/>
                  </a:lnTo>
                  <a:close/>
                  <a:moveTo>
                    <a:pt x="119" y="210"/>
                  </a:moveTo>
                  <a:lnTo>
                    <a:pt x="116" y="215"/>
                  </a:lnTo>
                  <a:lnTo>
                    <a:pt x="119" y="21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21" name="Freeform 147">
              <a:extLst>
                <a:ext uri="{FF2B5EF4-FFF2-40B4-BE49-F238E27FC236}">
                  <a16:creationId xmlns:a16="http://schemas.microsoft.com/office/drawing/2014/main" id="{C1DD193D-5742-F849-8716-FF58A85C279C}"/>
                </a:ext>
              </a:extLst>
            </p:cNvPr>
            <p:cNvSpPr>
              <a:spLocks noChangeAspect="1" noEditPoints="1"/>
            </p:cNvSpPr>
            <p:nvPr/>
          </p:nvSpPr>
          <p:spPr bwMode="gray">
            <a:xfrm>
              <a:off x="4748057" y="1494844"/>
              <a:ext cx="583375" cy="840124"/>
            </a:xfrm>
            <a:custGeom>
              <a:avLst/>
              <a:gdLst>
                <a:gd name="T0" fmla="*/ 14 w 1199"/>
                <a:gd name="T1" fmla="*/ 1190 h 1433"/>
                <a:gd name="T2" fmla="*/ 99 w 1199"/>
                <a:gd name="T3" fmla="*/ 1168 h 1433"/>
                <a:gd name="T4" fmla="*/ 102 w 1199"/>
                <a:gd name="T5" fmla="*/ 1137 h 1433"/>
                <a:gd name="T6" fmla="*/ 12 w 1199"/>
                <a:gd name="T7" fmla="*/ 1105 h 1433"/>
                <a:gd name="T8" fmla="*/ 22 w 1199"/>
                <a:gd name="T9" fmla="*/ 1052 h 1433"/>
                <a:gd name="T10" fmla="*/ 68 w 1199"/>
                <a:gd name="T11" fmla="*/ 1017 h 1433"/>
                <a:gd name="T12" fmla="*/ 99 w 1199"/>
                <a:gd name="T13" fmla="*/ 970 h 1433"/>
                <a:gd name="T14" fmla="*/ 166 w 1199"/>
                <a:gd name="T15" fmla="*/ 922 h 1433"/>
                <a:gd name="T16" fmla="*/ 238 w 1199"/>
                <a:gd name="T17" fmla="*/ 917 h 1433"/>
                <a:gd name="T18" fmla="*/ 230 w 1199"/>
                <a:gd name="T19" fmla="*/ 885 h 1433"/>
                <a:gd name="T20" fmla="*/ 291 w 1199"/>
                <a:gd name="T21" fmla="*/ 782 h 1433"/>
                <a:gd name="T22" fmla="*/ 353 w 1199"/>
                <a:gd name="T23" fmla="*/ 714 h 1433"/>
                <a:gd name="T24" fmla="*/ 388 w 1199"/>
                <a:gd name="T25" fmla="*/ 614 h 1433"/>
                <a:gd name="T26" fmla="*/ 399 w 1199"/>
                <a:gd name="T27" fmla="*/ 541 h 1433"/>
                <a:gd name="T28" fmla="*/ 496 w 1199"/>
                <a:gd name="T29" fmla="*/ 460 h 1433"/>
                <a:gd name="T30" fmla="*/ 501 w 1199"/>
                <a:gd name="T31" fmla="*/ 390 h 1433"/>
                <a:gd name="T32" fmla="*/ 532 w 1199"/>
                <a:gd name="T33" fmla="*/ 359 h 1433"/>
                <a:gd name="T34" fmla="*/ 585 w 1199"/>
                <a:gd name="T35" fmla="*/ 316 h 1433"/>
                <a:gd name="T36" fmla="*/ 611 w 1199"/>
                <a:gd name="T37" fmla="*/ 243 h 1433"/>
                <a:gd name="T38" fmla="*/ 645 w 1199"/>
                <a:gd name="T39" fmla="*/ 203 h 1433"/>
                <a:gd name="T40" fmla="*/ 720 w 1199"/>
                <a:gd name="T41" fmla="*/ 208 h 1433"/>
                <a:gd name="T42" fmla="*/ 784 w 1199"/>
                <a:gd name="T43" fmla="*/ 192 h 1433"/>
                <a:gd name="T44" fmla="*/ 801 w 1199"/>
                <a:gd name="T45" fmla="*/ 127 h 1433"/>
                <a:gd name="T46" fmla="*/ 903 w 1199"/>
                <a:gd name="T47" fmla="*/ 65 h 1433"/>
                <a:gd name="T48" fmla="*/ 928 w 1199"/>
                <a:gd name="T49" fmla="*/ 119 h 1433"/>
                <a:gd name="T50" fmla="*/ 995 w 1199"/>
                <a:gd name="T51" fmla="*/ 105 h 1433"/>
                <a:gd name="T52" fmla="*/ 1061 w 1199"/>
                <a:gd name="T53" fmla="*/ 60 h 1433"/>
                <a:gd name="T54" fmla="*/ 1150 w 1199"/>
                <a:gd name="T55" fmla="*/ 57 h 1433"/>
                <a:gd name="T56" fmla="*/ 1131 w 1199"/>
                <a:gd name="T57" fmla="*/ 200 h 1433"/>
                <a:gd name="T58" fmla="*/ 1101 w 1199"/>
                <a:gd name="T59" fmla="*/ 262 h 1433"/>
                <a:gd name="T60" fmla="*/ 903 w 1199"/>
                <a:gd name="T61" fmla="*/ 326 h 1433"/>
                <a:gd name="T62" fmla="*/ 718 w 1199"/>
                <a:gd name="T63" fmla="*/ 277 h 1433"/>
                <a:gd name="T64" fmla="*/ 605 w 1199"/>
                <a:gd name="T65" fmla="*/ 384 h 1433"/>
                <a:gd name="T66" fmla="*/ 481 w 1199"/>
                <a:gd name="T67" fmla="*/ 582 h 1433"/>
                <a:gd name="T68" fmla="*/ 410 w 1199"/>
                <a:gd name="T69" fmla="*/ 862 h 1433"/>
                <a:gd name="T70" fmla="*/ 353 w 1199"/>
                <a:gd name="T71" fmla="*/ 1111 h 1433"/>
                <a:gd name="T72" fmla="*/ 310 w 1199"/>
                <a:gd name="T73" fmla="*/ 1266 h 1433"/>
                <a:gd name="T74" fmla="*/ 283 w 1199"/>
                <a:gd name="T75" fmla="*/ 1339 h 1433"/>
                <a:gd name="T76" fmla="*/ 246 w 1199"/>
                <a:gd name="T77" fmla="*/ 1300 h 1433"/>
                <a:gd name="T78" fmla="*/ 142 w 1199"/>
                <a:gd name="T79" fmla="*/ 1420 h 1433"/>
                <a:gd name="T80" fmla="*/ 74 w 1199"/>
                <a:gd name="T81" fmla="*/ 1428 h 1433"/>
                <a:gd name="T82" fmla="*/ 54 w 1199"/>
                <a:gd name="T83" fmla="*/ 1325 h 1433"/>
                <a:gd name="T84" fmla="*/ 62 w 1199"/>
                <a:gd name="T85" fmla="*/ 1272 h 1433"/>
                <a:gd name="T86" fmla="*/ 70 w 1199"/>
                <a:gd name="T87" fmla="*/ 1199 h 1433"/>
                <a:gd name="T88" fmla="*/ 935 w 1199"/>
                <a:gd name="T89" fmla="*/ 15 h 1433"/>
                <a:gd name="T90" fmla="*/ 872 w 1199"/>
                <a:gd name="T91" fmla="*/ 82 h 1433"/>
                <a:gd name="T92" fmla="*/ 825 w 1199"/>
                <a:gd name="T93" fmla="*/ 56 h 1433"/>
                <a:gd name="T94" fmla="*/ 821 w 1199"/>
                <a:gd name="T95" fmla="*/ 110 h 1433"/>
                <a:gd name="T96" fmla="*/ 682 w 1199"/>
                <a:gd name="T97" fmla="*/ 132 h 1433"/>
                <a:gd name="T98" fmla="*/ 639 w 1199"/>
                <a:gd name="T99" fmla="*/ 167 h 1433"/>
                <a:gd name="T100" fmla="*/ 603 w 1199"/>
                <a:gd name="T101" fmla="*/ 211 h 1433"/>
                <a:gd name="T102" fmla="*/ 574 w 1199"/>
                <a:gd name="T103" fmla="*/ 211 h 1433"/>
                <a:gd name="T104" fmla="*/ 458 w 1199"/>
                <a:gd name="T105" fmla="*/ 435 h 1433"/>
                <a:gd name="T106" fmla="*/ 515 w 1199"/>
                <a:gd name="T107" fmla="*/ 250 h 1433"/>
                <a:gd name="T108" fmla="*/ 475 w 1199"/>
                <a:gd name="T109" fmla="*/ 308 h 1433"/>
                <a:gd name="T110" fmla="*/ 496 w 1199"/>
                <a:gd name="T111" fmla="*/ 292 h 1433"/>
                <a:gd name="T112" fmla="*/ 503 w 1199"/>
                <a:gd name="T113" fmla="*/ 350 h 1433"/>
                <a:gd name="T114" fmla="*/ 489 w 1199"/>
                <a:gd name="T115" fmla="*/ 294 h 1433"/>
                <a:gd name="T116" fmla="*/ 11 w 1199"/>
                <a:gd name="T117" fmla="*/ 1315 h 1433"/>
                <a:gd name="T118" fmla="*/ 40 w 1199"/>
                <a:gd name="T119" fmla="*/ 1044 h 1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99" h="1433">
                  <a:moveTo>
                    <a:pt x="32" y="1249"/>
                  </a:moveTo>
                  <a:lnTo>
                    <a:pt x="26" y="1230"/>
                  </a:lnTo>
                  <a:lnTo>
                    <a:pt x="14" y="1241"/>
                  </a:lnTo>
                  <a:lnTo>
                    <a:pt x="6" y="1225"/>
                  </a:lnTo>
                  <a:lnTo>
                    <a:pt x="32" y="1193"/>
                  </a:lnTo>
                  <a:lnTo>
                    <a:pt x="6" y="1201"/>
                  </a:lnTo>
                  <a:lnTo>
                    <a:pt x="0" y="1182"/>
                  </a:lnTo>
                  <a:lnTo>
                    <a:pt x="14" y="1190"/>
                  </a:lnTo>
                  <a:lnTo>
                    <a:pt x="14" y="1176"/>
                  </a:lnTo>
                  <a:lnTo>
                    <a:pt x="3" y="1178"/>
                  </a:lnTo>
                  <a:lnTo>
                    <a:pt x="3" y="1170"/>
                  </a:lnTo>
                  <a:lnTo>
                    <a:pt x="9" y="1159"/>
                  </a:lnTo>
                  <a:lnTo>
                    <a:pt x="76" y="1154"/>
                  </a:lnTo>
                  <a:lnTo>
                    <a:pt x="85" y="1161"/>
                  </a:lnTo>
                  <a:lnTo>
                    <a:pt x="87" y="1174"/>
                  </a:lnTo>
                  <a:lnTo>
                    <a:pt x="99" y="1168"/>
                  </a:lnTo>
                  <a:lnTo>
                    <a:pt x="93" y="1162"/>
                  </a:lnTo>
                  <a:lnTo>
                    <a:pt x="95" y="1154"/>
                  </a:lnTo>
                  <a:lnTo>
                    <a:pt x="117" y="1145"/>
                  </a:lnTo>
                  <a:lnTo>
                    <a:pt x="122" y="1139"/>
                  </a:lnTo>
                  <a:lnTo>
                    <a:pt x="107" y="1142"/>
                  </a:lnTo>
                  <a:lnTo>
                    <a:pt x="116" y="1111"/>
                  </a:lnTo>
                  <a:lnTo>
                    <a:pt x="105" y="1117"/>
                  </a:lnTo>
                  <a:lnTo>
                    <a:pt x="102" y="1137"/>
                  </a:lnTo>
                  <a:lnTo>
                    <a:pt x="93" y="1147"/>
                  </a:lnTo>
                  <a:lnTo>
                    <a:pt x="68" y="1144"/>
                  </a:lnTo>
                  <a:lnTo>
                    <a:pt x="70" y="1123"/>
                  </a:lnTo>
                  <a:lnTo>
                    <a:pt x="59" y="1147"/>
                  </a:lnTo>
                  <a:lnTo>
                    <a:pt x="5" y="1151"/>
                  </a:lnTo>
                  <a:lnTo>
                    <a:pt x="2" y="1127"/>
                  </a:lnTo>
                  <a:lnTo>
                    <a:pt x="12" y="1115"/>
                  </a:lnTo>
                  <a:lnTo>
                    <a:pt x="12" y="1105"/>
                  </a:lnTo>
                  <a:lnTo>
                    <a:pt x="2" y="1094"/>
                  </a:lnTo>
                  <a:lnTo>
                    <a:pt x="19" y="1082"/>
                  </a:lnTo>
                  <a:lnTo>
                    <a:pt x="45" y="1080"/>
                  </a:lnTo>
                  <a:lnTo>
                    <a:pt x="54" y="1069"/>
                  </a:lnTo>
                  <a:lnTo>
                    <a:pt x="11" y="1074"/>
                  </a:lnTo>
                  <a:lnTo>
                    <a:pt x="6" y="1056"/>
                  </a:lnTo>
                  <a:lnTo>
                    <a:pt x="23" y="1063"/>
                  </a:lnTo>
                  <a:lnTo>
                    <a:pt x="22" y="1052"/>
                  </a:lnTo>
                  <a:lnTo>
                    <a:pt x="40" y="1051"/>
                  </a:lnTo>
                  <a:lnTo>
                    <a:pt x="46" y="1052"/>
                  </a:lnTo>
                  <a:lnTo>
                    <a:pt x="62" y="1032"/>
                  </a:lnTo>
                  <a:lnTo>
                    <a:pt x="71" y="1049"/>
                  </a:lnTo>
                  <a:lnTo>
                    <a:pt x="68" y="1029"/>
                  </a:lnTo>
                  <a:lnTo>
                    <a:pt x="74" y="1020"/>
                  </a:lnTo>
                  <a:lnTo>
                    <a:pt x="63" y="1024"/>
                  </a:lnTo>
                  <a:lnTo>
                    <a:pt x="68" y="1017"/>
                  </a:lnTo>
                  <a:lnTo>
                    <a:pt x="62" y="1014"/>
                  </a:lnTo>
                  <a:lnTo>
                    <a:pt x="116" y="1012"/>
                  </a:lnTo>
                  <a:lnTo>
                    <a:pt x="113" y="1007"/>
                  </a:lnTo>
                  <a:lnTo>
                    <a:pt x="119" y="1000"/>
                  </a:lnTo>
                  <a:lnTo>
                    <a:pt x="93" y="993"/>
                  </a:lnTo>
                  <a:lnTo>
                    <a:pt x="99" y="989"/>
                  </a:lnTo>
                  <a:lnTo>
                    <a:pt x="90" y="981"/>
                  </a:lnTo>
                  <a:lnTo>
                    <a:pt x="99" y="970"/>
                  </a:lnTo>
                  <a:lnTo>
                    <a:pt x="113" y="975"/>
                  </a:lnTo>
                  <a:lnTo>
                    <a:pt x="117" y="966"/>
                  </a:lnTo>
                  <a:lnTo>
                    <a:pt x="119" y="955"/>
                  </a:lnTo>
                  <a:lnTo>
                    <a:pt x="139" y="949"/>
                  </a:lnTo>
                  <a:lnTo>
                    <a:pt x="141" y="939"/>
                  </a:lnTo>
                  <a:lnTo>
                    <a:pt x="155" y="944"/>
                  </a:lnTo>
                  <a:lnTo>
                    <a:pt x="155" y="936"/>
                  </a:lnTo>
                  <a:lnTo>
                    <a:pt x="166" y="922"/>
                  </a:lnTo>
                  <a:lnTo>
                    <a:pt x="188" y="913"/>
                  </a:lnTo>
                  <a:lnTo>
                    <a:pt x="193" y="930"/>
                  </a:lnTo>
                  <a:lnTo>
                    <a:pt x="203" y="925"/>
                  </a:lnTo>
                  <a:lnTo>
                    <a:pt x="198" y="912"/>
                  </a:lnTo>
                  <a:lnTo>
                    <a:pt x="217" y="900"/>
                  </a:lnTo>
                  <a:lnTo>
                    <a:pt x="227" y="925"/>
                  </a:lnTo>
                  <a:lnTo>
                    <a:pt x="235" y="927"/>
                  </a:lnTo>
                  <a:lnTo>
                    <a:pt x="238" y="917"/>
                  </a:lnTo>
                  <a:lnTo>
                    <a:pt x="263" y="910"/>
                  </a:lnTo>
                  <a:lnTo>
                    <a:pt x="260" y="902"/>
                  </a:lnTo>
                  <a:lnTo>
                    <a:pt x="291" y="882"/>
                  </a:lnTo>
                  <a:lnTo>
                    <a:pt x="295" y="876"/>
                  </a:lnTo>
                  <a:lnTo>
                    <a:pt x="291" y="873"/>
                  </a:lnTo>
                  <a:lnTo>
                    <a:pt x="237" y="910"/>
                  </a:lnTo>
                  <a:lnTo>
                    <a:pt x="227" y="899"/>
                  </a:lnTo>
                  <a:lnTo>
                    <a:pt x="230" y="885"/>
                  </a:lnTo>
                  <a:lnTo>
                    <a:pt x="220" y="888"/>
                  </a:lnTo>
                  <a:lnTo>
                    <a:pt x="217" y="876"/>
                  </a:lnTo>
                  <a:lnTo>
                    <a:pt x="235" y="866"/>
                  </a:lnTo>
                  <a:lnTo>
                    <a:pt x="235" y="849"/>
                  </a:lnTo>
                  <a:lnTo>
                    <a:pt x="272" y="798"/>
                  </a:lnTo>
                  <a:lnTo>
                    <a:pt x="295" y="806"/>
                  </a:lnTo>
                  <a:lnTo>
                    <a:pt x="297" y="783"/>
                  </a:lnTo>
                  <a:lnTo>
                    <a:pt x="291" y="782"/>
                  </a:lnTo>
                  <a:lnTo>
                    <a:pt x="295" y="765"/>
                  </a:lnTo>
                  <a:lnTo>
                    <a:pt x="315" y="741"/>
                  </a:lnTo>
                  <a:lnTo>
                    <a:pt x="340" y="736"/>
                  </a:lnTo>
                  <a:lnTo>
                    <a:pt x="339" y="715"/>
                  </a:lnTo>
                  <a:lnTo>
                    <a:pt x="325" y="724"/>
                  </a:lnTo>
                  <a:lnTo>
                    <a:pt x="337" y="709"/>
                  </a:lnTo>
                  <a:lnTo>
                    <a:pt x="336" y="693"/>
                  </a:lnTo>
                  <a:lnTo>
                    <a:pt x="353" y="714"/>
                  </a:lnTo>
                  <a:lnTo>
                    <a:pt x="344" y="685"/>
                  </a:lnTo>
                  <a:lnTo>
                    <a:pt x="356" y="682"/>
                  </a:lnTo>
                  <a:lnTo>
                    <a:pt x="357" y="653"/>
                  </a:lnTo>
                  <a:lnTo>
                    <a:pt x="374" y="659"/>
                  </a:lnTo>
                  <a:lnTo>
                    <a:pt x="370" y="639"/>
                  </a:lnTo>
                  <a:lnTo>
                    <a:pt x="345" y="651"/>
                  </a:lnTo>
                  <a:lnTo>
                    <a:pt x="370" y="617"/>
                  </a:lnTo>
                  <a:lnTo>
                    <a:pt x="388" y="614"/>
                  </a:lnTo>
                  <a:lnTo>
                    <a:pt x="390" y="607"/>
                  </a:lnTo>
                  <a:lnTo>
                    <a:pt x="381" y="608"/>
                  </a:lnTo>
                  <a:lnTo>
                    <a:pt x="376" y="588"/>
                  </a:lnTo>
                  <a:lnTo>
                    <a:pt x="391" y="582"/>
                  </a:lnTo>
                  <a:lnTo>
                    <a:pt x="379" y="580"/>
                  </a:lnTo>
                  <a:lnTo>
                    <a:pt x="382" y="565"/>
                  </a:lnTo>
                  <a:lnTo>
                    <a:pt x="405" y="549"/>
                  </a:lnTo>
                  <a:lnTo>
                    <a:pt x="399" y="541"/>
                  </a:lnTo>
                  <a:lnTo>
                    <a:pt x="407" y="532"/>
                  </a:lnTo>
                  <a:lnTo>
                    <a:pt x="424" y="529"/>
                  </a:lnTo>
                  <a:lnTo>
                    <a:pt x="435" y="508"/>
                  </a:lnTo>
                  <a:lnTo>
                    <a:pt x="432" y="492"/>
                  </a:lnTo>
                  <a:lnTo>
                    <a:pt x="444" y="472"/>
                  </a:lnTo>
                  <a:lnTo>
                    <a:pt x="459" y="463"/>
                  </a:lnTo>
                  <a:lnTo>
                    <a:pt x="479" y="475"/>
                  </a:lnTo>
                  <a:lnTo>
                    <a:pt x="496" y="460"/>
                  </a:lnTo>
                  <a:lnTo>
                    <a:pt x="470" y="460"/>
                  </a:lnTo>
                  <a:lnTo>
                    <a:pt x="487" y="444"/>
                  </a:lnTo>
                  <a:lnTo>
                    <a:pt x="483" y="441"/>
                  </a:lnTo>
                  <a:lnTo>
                    <a:pt x="489" y="438"/>
                  </a:lnTo>
                  <a:lnTo>
                    <a:pt x="481" y="423"/>
                  </a:lnTo>
                  <a:lnTo>
                    <a:pt x="496" y="409"/>
                  </a:lnTo>
                  <a:lnTo>
                    <a:pt x="489" y="402"/>
                  </a:lnTo>
                  <a:lnTo>
                    <a:pt x="501" y="390"/>
                  </a:lnTo>
                  <a:lnTo>
                    <a:pt x="509" y="389"/>
                  </a:lnTo>
                  <a:lnTo>
                    <a:pt x="513" y="421"/>
                  </a:lnTo>
                  <a:lnTo>
                    <a:pt x="525" y="413"/>
                  </a:lnTo>
                  <a:lnTo>
                    <a:pt x="520" y="393"/>
                  </a:lnTo>
                  <a:lnTo>
                    <a:pt x="525" y="385"/>
                  </a:lnTo>
                  <a:lnTo>
                    <a:pt x="517" y="372"/>
                  </a:lnTo>
                  <a:lnTo>
                    <a:pt x="521" y="365"/>
                  </a:lnTo>
                  <a:lnTo>
                    <a:pt x="532" y="359"/>
                  </a:lnTo>
                  <a:lnTo>
                    <a:pt x="566" y="372"/>
                  </a:lnTo>
                  <a:lnTo>
                    <a:pt x="572" y="355"/>
                  </a:lnTo>
                  <a:lnTo>
                    <a:pt x="530" y="347"/>
                  </a:lnTo>
                  <a:lnTo>
                    <a:pt x="540" y="331"/>
                  </a:lnTo>
                  <a:lnTo>
                    <a:pt x="572" y="326"/>
                  </a:lnTo>
                  <a:lnTo>
                    <a:pt x="576" y="323"/>
                  </a:lnTo>
                  <a:lnTo>
                    <a:pt x="571" y="314"/>
                  </a:lnTo>
                  <a:lnTo>
                    <a:pt x="585" y="316"/>
                  </a:lnTo>
                  <a:lnTo>
                    <a:pt x="583" y="303"/>
                  </a:lnTo>
                  <a:lnTo>
                    <a:pt x="579" y="299"/>
                  </a:lnTo>
                  <a:lnTo>
                    <a:pt x="577" y="283"/>
                  </a:lnTo>
                  <a:lnTo>
                    <a:pt x="605" y="262"/>
                  </a:lnTo>
                  <a:lnTo>
                    <a:pt x="600" y="249"/>
                  </a:lnTo>
                  <a:lnTo>
                    <a:pt x="608" y="223"/>
                  </a:lnTo>
                  <a:lnTo>
                    <a:pt x="613" y="228"/>
                  </a:lnTo>
                  <a:lnTo>
                    <a:pt x="611" y="243"/>
                  </a:lnTo>
                  <a:lnTo>
                    <a:pt x="630" y="252"/>
                  </a:lnTo>
                  <a:lnTo>
                    <a:pt x="639" y="243"/>
                  </a:lnTo>
                  <a:lnTo>
                    <a:pt x="622" y="218"/>
                  </a:lnTo>
                  <a:lnTo>
                    <a:pt x="631" y="217"/>
                  </a:lnTo>
                  <a:lnTo>
                    <a:pt x="667" y="257"/>
                  </a:lnTo>
                  <a:lnTo>
                    <a:pt x="662" y="238"/>
                  </a:lnTo>
                  <a:lnTo>
                    <a:pt x="647" y="223"/>
                  </a:lnTo>
                  <a:lnTo>
                    <a:pt x="645" y="203"/>
                  </a:lnTo>
                  <a:lnTo>
                    <a:pt x="654" y="187"/>
                  </a:lnTo>
                  <a:lnTo>
                    <a:pt x="674" y="184"/>
                  </a:lnTo>
                  <a:lnTo>
                    <a:pt x="676" y="228"/>
                  </a:lnTo>
                  <a:lnTo>
                    <a:pt x="682" y="191"/>
                  </a:lnTo>
                  <a:lnTo>
                    <a:pt x="704" y="166"/>
                  </a:lnTo>
                  <a:lnTo>
                    <a:pt x="704" y="217"/>
                  </a:lnTo>
                  <a:lnTo>
                    <a:pt x="695" y="243"/>
                  </a:lnTo>
                  <a:lnTo>
                    <a:pt x="720" y="208"/>
                  </a:lnTo>
                  <a:lnTo>
                    <a:pt x="716" y="189"/>
                  </a:lnTo>
                  <a:lnTo>
                    <a:pt x="725" y="175"/>
                  </a:lnTo>
                  <a:lnTo>
                    <a:pt x="736" y="166"/>
                  </a:lnTo>
                  <a:lnTo>
                    <a:pt x="733" y="174"/>
                  </a:lnTo>
                  <a:lnTo>
                    <a:pt x="738" y="183"/>
                  </a:lnTo>
                  <a:lnTo>
                    <a:pt x="752" y="169"/>
                  </a:lnTo>
                  <a:lnTo>
                    <a:pt x="749" y="152"/>
                  </a:lnTo>
                  <a:lnTo>
                    <a:pt x="784" y="192"/>
                  </a:lnTo>
                  <a:lnTo>
                    <a:pt x="783" y="145"/>
                  </a:lnTo>
                  <a:lnTo>
                    <a:pt x="762" y="136"/>
                  </a:lnTo>
                  <a:lnTo>
                    <a:pt x="762" y="115"/>
                  </a:lnTo>
                  <a:lnTo>
                    <a:pt x="774" y="135"/>
                  </a:lnTo>
                  <a:lnTo>
                    <a:pt x="779" y="116"/>
                  </a:lnTo>
                  <a:lnTo>
                    <a:pt x="800" y="138"/>
                  </a:lnTo>
                  <a:lnTo>
                    <a:pt x="804" y="136"/>
                  </a:lnTo>
                  <a:lnTo>
                    <a:pt x="801" y="127"/>
                  </a:lnTo>
                  <a:lnTo>
                    <a:pt x="826" y="130"/>
                  </a:lnTo>
                  <a:lnTo>
                    <a:pt x="823" y="141"/>
                  </a:lnTo>
                  <a:lnTo>
                    <a:pt x="840" y="159"/>
                  </a:lnTo>
                  <a:lnTo>
                    <a:pt x="842" y="125"/>
                  </a:lnTo>
                  <a:lnTo>
                    <a:pt x="868" y="93"/>
                  </a:lnTo>
                  <a:lnTo>
                    <a:pt x="889" y="93"/>
                  </a:lnTo>
                  <a:lnTo>
                    <a:pt x="886" y="81"/>
                  </a:lnTo>
                  <a:lnTo>
                    <a:pt x="903" y="65"/>
                  </a:lnTo>
                  <a:lnTo>
                    <a:pt x="891" y="42"/>
                  </a:lnTo>
                  <a:lnTo>
                    <a:pt x="903" y="47"/>
                  </a:lnTo>
                  <a:lnTo>
                    <a:pt x="903" y="26"/>
                  </a:lnTo>
                  <a:lnTo>
                    <a:pt x="920" y="22"/>
                  </a:lnTo>
                  <a:lnTo>
                    <a:pt x="931" y="47"/>
                  </a:lnTo>
                  <a:lnTo>
                    <a:pt x="959" y="40"/>
                  </a:lnTo>
                  <a:lnTo>
                    <a:pt x="928" y="93"/>
                  </a:lnTo>
                  <a:lnTo>
                    <a:pt x="928" y="119"/>
                  </a:lnTo>
                  <a:lnTo>
                    <a:pt x="918" y="138"/>
                  </a:lnTo>
                  <a:lnTo>
                    <a:pt x="918" y="149"/>
                  </a:lnTo>
                  <a:lnTo>
                    <a:pt x="927" y="145"/>
                  </a:lnTo>
                  <a:lnTo>
                    <a:pt x="995" y="26"/>
                  </a:lnTo>
                  <a:lnTo>
                    <a:pt x="999" y="56"/>
                  </a:lnTo>
                  <a:lnTo>
                    <a:pt x="990" y="64"/>
                  </a:lnTo>
                  <a:lnTo>
                    <a:pt x="999" y="76"/>
                  </a:lnTo>
                  <a:lnTo>
                    <a:pt x="995" y="105"/>
                  </a:lnTo>
                  <a:lnTo>
                    <a:pt x="1016" y="91"/>
                  </a:lnTo>
                  <a:lnTo>
                    <a:pt x="1016" y="79"/>
                  </a:lnTo>
                  <a:lnTo>
                    <a:pt x="1024" y="71"/>
                  </a:lnTo>
                  <a:lnTo>
                    <a:pt x="1041" y="5"/>
                  </a:lnTo>
                  <a:lnTo>
                    <a:pt x="1081" y="20"/>
                  </a:lnTo>
                  <a:lnTo>
                    <a:pt x="1074" y="45"/>
                  </a:lnTo>
                  <a:lnTo>
                    <a:pt x="1053" y="51"/>
                  </a:lnTo>
                  <a:lnTo>
                    <a:pt x="1061" y="60"/>
                  </a:lnTo>
                  <a:lnTo>
                    <a:pt x="1049" y="71"/>
                  </a:lnTo>
                  <a:lnTo>
                    <a:pt x="1074" y="69"/>
                  </a:lnTo>
                  <a:lnTo>
                    <a:pt x="1058" y="93"/>
                  </a:lnTo>
                  <a:lnTo>
                    <a:pt x="1087" y="91"/>
                  </a:lnTo>
                  <a:lnTo>
                    <a:pt x="1087" y="52"/>
                  </a:lnTo>
                  <a:lnTo>
                    <a:pt x="1114" y="37"/>
                  </a:lnTo>
                  <a:lnTo>
                    <a:pt x="1121" y="64"/>
                  </a:lnTo>
                  <a:lnTo>
                    <a:pt x="1150" y="57"/>
                  </a:lnTo>
                  <a:lnTo>
                    <a:pt x="1168" y="73"/>
                  </a:lnTo>
                  <a:lnTo>
                    <a:pt x="1160" y="77"/>
                  </a:lnTo>
                  <a:lnTo>
                    <a:pt x="1197" y="98"/>
                  </a:lnTo>
                  <a:lnTo>
                    <a:pt x="1199" y="110"/>
                  </a:lnTo>
                  <a:lnTo>
                    <a:pt x="1154" y="144"/>
                  </a:lnTo>
                  <a:lnTo>
                    <a:pt x="1091" y="136"/>
                  </a:lnTo>
                  <a:lnTo>
                    <a:pt x="1148" y="172"/>
                  </a:lnTo>
                  <a:lnTo>
                    <a:pt x="1131" y="200"/>
                  </a:lnTo>
                  <a:lnTo>
                    <a:pt x="1162" y="195"/>
                  </a:lnTo>
                  <a:lnTo>
                    <a:pt x="1194" y="186"/>
                  </a:lnTo>
                  <a:lnTo>
                    <a:pt x="1191" y="213"/>
                  </a:lnTo>
                  <a:lnTo>
                    <a:pt x="1162" y="204"/>
                  </a:lnTo>
                  <a:lnTo>
                    <a:pt x="1157" y="229"/>
                  </a:lnTo>
                  <a:lnTo>
                    <a:pt x="1123" y="252"/>
                  </a:lnTo>
                  <a:lnTo>
                    <a:pt x="1109" y="277"/>
                  </a:lnTo>
                  <a:lnTo>
                    <a:pt x="1101" y="262"/>
                  </a:lnTo>
                  <a:lnTo>
                    <a:pt x="1121" y="232"/>
                  </a:lnTo>
                  <a:lnTo>
                    <a:pt x="1114" y="195"/>
                  </a:lnTo>
                  <a:lnTo>
                    <a:pt x="1061" y="145"/>
                  </a:lnTo>
                  <a:lnTo>
                    <a:pt x="1015" y="164"/>
                  </a:lnTo>
                  <a:lnTo>
                    <a:pt x="969" y="183"/>
                  </a:lnTo>
                  <a:lnTo>
                    <a:pt x="959" y="209"/>
                  </a:lnTo>
                  <a:lnTo>
                    <a:pt x="956" y="286"/>
                  </a:lnTo>
                  <a:lnTo>
                    <a:pt x="903" y="326"/>
                  </a:lnTo>
                  <a:lnTo>
                    <a:pt x="877" y="300"/>
                  </a:lnTo>
                  <a:lnTo>
                    <a:pt x="849" y="325"/>
                  </a:lnTo>
                  <a:lnTo>
                    <a:pt x="804" y="316"/>
                  </a:lnTo>
                  <a:lnTo>
                    <a:pt x="770" y="257"/>
                  </a:lnTo>
                  <a:lnTo>
                    <a:pt x="749" y="241"/>
                  </a:lnTo>
                  <a:lnTo>
                    <a:pt x="738" y="246"/>
                  </a:lnTo>
                  <a:lnTo>
                    <a:pt x="742" y="269"/>
                  </a:lnTo>
                  <a:lnTo>
                    <a:pt x="718" y="277"/>
                  </a:lnTo>
                  <a:lnTo>
                    <a:pt x="695" y="279"/>
                  </a:lnTo>
                  <a:lnTo>
                    <a:pt x="699" y="299"/>
                  </a:lnTo>
                  <a:lnTo>
                    <a:pt x="686" y="333"/>
                  </a:lnTo>
                  <a:lnTo>
                    <a:pt x="696" y="350"/>
                  </a:lnTo>
                  <a:lnTo>
                    <a:pt x="691" y="357"/>
                  </a:lnTo>
                  <a:lnTo>
                    <a:pt x="613" y="345"/>
                  </a:lnTo>
                  <a:lnTo>
                    <a:pt x="605" y="357"/>
                  </a:lnTo>
                  <a:lnTo>
                    <a:pt x="605" y="384"/>
                  </a:lnTo>
                  <a:lnTo>
                    <a:pt x="593" y="416"/>
                  </a:lnTo>
                  <a:lnTo>
                    <a:pt x="571" y="398"/>
                  </a:lnTo>
                  <a:lnTo>
                    <a:pt x="537" y="426"/>
                  </a:lnTo>
                  <a:lnTo>
                    <a:pt x="532" y="452"/>
                  </a:lnTo>
                  <a:lnTo>
                    <a:pt x="513" y="486"/>
                  </a:lnTo>
                  <a:lnTo>
                    <a:pt x="523" y="504"/>
                  </a:lnTo>
                  <a:lnTo>
                    <a:pt x="523" y="523"/>
                  </a:lnTo>
                  <a:lnTo>
                    <a:pt x="481" y="582"/>
                  </a:lnTo>
                  <a:lnTo>
                    <a:pt x="470" y="622"/>
                  </a:lnTo>
                  <a:lnTo>
                    <a:pt x="441" y="638"/>
                  </a:lnTo>
                  <a:lnTo>
                    <a:pt x="441" y="692"/>
                  </a:lnTo>
                  <a:lnTo>
                    <a:pt x="432" y="736"/>
                  </a:lnTo>
                  <a:lnTo>
                    <a:pt x="402" y="794"/>
                  </a:lnTo>
                  <a:lnTo>
                    <a:pt x="421" y="823"/>
                  </a:lnTo>
                  <a:lnTo>
                    <a:pt x="418" y="849"/>
                  </a:lnTo>
                  <a:lnTo>
                    <a:pt x="410" y="862"/>
                  </a:lnTo>
                  <a:lnTo>
                    <a:pt x="366" y="862"/>
                  </a:lnTo>
                  <a:lnTo>
                    <a:pt x="331" y="896"/>
                  </a:lnTo>
                  <a:lnTo>
                    <a:pt x="322" y="925"/>
                  </a:lnTo>
                  <a:lnTo>
                    <a:pt x="334" y="958"/>
                  </a:lnTo>
                  <a:lnTo>
                    <a:pt x="322" y="1009"/>
                  </a:lnTo>
                  <a:lnTo>
                    <a:pt x="328" y="1034"/>
                  </a:lnTo>
                  <a:lnTo>
                    <a:pt x="328" y="1086"/>
                  </a:lnTo>
                  <a:lnTo>
                    <a:pt x="353" y="1111"/>
                  </a:lnTo>
                  <a:lnTo>
                    <a:pt x="356" y="1130"/>
                  </a:lnTo>
                  <a:lnTo>
                    <a:pt x="351" y="1145"/>
                  </a:lnTo>
                  <a:lnTo>
                    <a:pt x="327" y="1164"/>
                  </a:lnTo>
                  <a:lnTo>
                    <a:pt x="336" y="1176"/>
                  </a:lnTo>
                  <a:lnTo>
                    <a:pt x="342" y="1204"/>
                  </a:lnTo>
                  <a:lnTo>
                    <a:pt x="336" y="1229"/>
                  </a:lnTo>
                  <a:lnTo>
                    <a:pt x="339" y="1249"/>
                  </a:lnTo>
                  <a:lnTo>
                    <a:pt x="310" y="1266"/>
                  </a:lnTo>
                  <a:lnTo>
                    <a:pt x="310" y="1278"/>
                  </a:lnTo>
                  <a:lnTo>
                    <a:pt x="300" y="1297"/>
                  </a:lnTo>
                  <a:lnTo>
                    <a:pt x="305" y="1320"/>
                  </a:lnTo>
                  <a:lnTo>
                    <a:pt x="298" y="1352"/>
                  </a:lnTo>
                  <a:lnTo>
                    <a:pt x="291" y="1357"/>
                  </a:lnTo>
                  <a:lnTo>
                    <a:pt x="288" y="1349"/>
                  </a:lnTo>
                  <a:lnTo>
                    <a:pt x="285" y="1360"/>
                  </a:lnTo>
                  <a:lnTo>
                    <a:pt x="283" y="1339"/>
                  </a:lnTo>
                  <a:lnTo>
                    <a:pt x="277" y="1332"/>
                  </a:lnTo>
                  <a:lnTo>
                    <a:pt x="261" y="1326"/>
                  </a:lnTo>
                  <a:lnTo>
                    <a:pt x="254" y="1283"/>
                  </a:lnTo>
                  <a:lnTo>
                    <a:pt x="261" y="1269"/>
                  </a:lnTo>
                  <a:lnTo>
                    <a:pt x="255" y="1266"/>
                  </a:lnTo>
                  <a:lnTo>
                    <a:pt x="247" y="1271"/>
                  </a:lnTo>
                  <a:lnTo>
                    <a:pt x="251" y="1298"/>
                  </a:lnTo>
                  <a:lnTo>
                    <a:pt x="246" y="1300"/>
                  </a:lnTo>
                  <a:lnTo>
                    <a:pt x="238" y="1283"/>
                  </a:lnTo>
                  <a:lnTo>
                    <a:pt x="237" y="1298"/>
                  </a:lnTo>
                  <a:lnTo>
                    <a:pt x="247" y="1320"/>
                  </a:lnTo>
                  <a:lnTo>
                    <a:pt x="237" y="1342"/>
                  </a:lnTo>
                  <a:lnTo>
                    <a:pt x="209" y="1340"/>
                  </a:lnTo>
                  <a:lnTo>
                    <a:pt x="210" y="1348"/>
                  </a:lnTo>
                  <a:lnTo>
                    <a:pt x="187" y="1379"/>
                  </a:lnTo>
                  <a:lnTo>
                    <a:pt x="142" y="1420"/>
                  </a:lnTo>
                  <a:lnTo>
                    <a:pt x="136" y="1410"/>
                  </a:lnTo>
                  <a:lnTo>
                    <a:pt x="122" y="1430"/>
                  </a:lnTo>
                  <a:lnTo>
                    <a:pt x="112" y="1433"/>
                  </a:lnTo>
                  <a:lnTo>
                    <a:pt x="99" y="1428"/>
                  </a:lnTo>
                  <a:lnTo>
                    <a:pt x="105" y="1422"/>
                  </a:lnTo>
                  <a:lnTo>
                    <a:pt x="91" y="1422"/>
                  </a:lnTo>
                  <a:lnTo>
                    <a:pt x="88" y="1428"/>
                  </a:lnTo>
                  <a:lnTo>
                    <a:pt x="74" y="1428"/>
                  </a:lnTo>
                  <a:lnTo>
                    <a:pt x="78" y="1403"/>
                  </a:lnTo>
                  <a:lnTo>
                    <a:pt x="71" y="1413"/>
                  </a:lnTo>
                  <a:lnTo>
                    <a:pt x="62" y="1411"/>
                  </a:lnTo>
                  <a:lnTo>
                    <a:pt x="20" y="1374"/>
                  </a:lnTo>
                  <a:lnTo>
                    <a:pt x="28" y="1348"/>
                  </a:lnTo>
                  <a:lnTo>
                    <a:pt x="42" y="1352"/>
                  </a:lnTo>
                  <a:lnTo>
                    <a:pt x="40" y="1342"/>
                  </a:lnTo>
                  <a:lnTo>
                    <a:pt x="54" y="1325"/>
                  </a:lnTo>
                  <a:lnTo>
                    <a:pt x="54" y="1315"/>
                  </a:lnTo>
                  <a:lnTo>
                    <a:pt x="49" y="1317"/>
                  </a:lnTo>
                  <a:lnTo>
                    <a:pt x="59" y="1301"/>
                  </a:lnTo>
                  <a:lnTo>
                    <a:pt x="14" y="1318"/>
                  </a:lnTo>
                  <a:lnTo>
                    <a:pt x="11" y="1305"/>
                  </a:lnTo>
                  <a:lnTo>
                    <a:pt x="22" y="1288"/>
                  </a:lnTo>
                  <a:lnTo>
                    <a:pt x="39" y="1288"/>
                  </a:lnTo>
                  <a:lnTo>
                    <a:pt x="62" y="1272"/>
                  </a:lnTo>
                  <a:lnTo>
                    <a:pt x="32" y="1271"/>
                  </a:lnTo>
                  <a:lnTo>
                    <a:pt x="57" y="1244"/>
                  </a:lnTo>
                  <a:lnTo>
                    <a:pt x="53" y="1237"/>
                  </a:lnTo>
                  <a:lnTo>
                    <a:pt x="70" y="1215"/>
                  </a:lnTo>
                  <a:lnTo>
                    <a:pt x="74" y="1227"/>
                  </a:lnTo>
                  <a:lnTo>
                    <a:pt x="78" y="1212"/>
                  </a:lnTo>
                  <a:lnTo>
                    <a:pt x="91" y="1207"/>
                  </a:lnTo>
                  <a:lnTo>
                    <a:pt x="70" y="1199"/>
                  </a:lnTo>
                  <a:lnTo>
                    <a:pt x="62" y="1207"/>
                  </a:lnTo>
                  <a:lnTo>
                    <a:pt x="32" y="1249"/>
                  </a:lnTo>
                  <a:lnTo>
                    <a:pt x="22" y="1264"/>
                  </a:lnTo>
                  <a:lnTo>
                    <a:pt x="19" y="1255"/>
                  </a:lnTo>
                  <a:lnTo>
                    <a:pt x="32" y="1249"/>
                  </a:lnTo>
                  <a:close/>
                  <a:moveTo>
                    <a:pt x="961" y="6"/>
                  </a:moveTo>
                  <a:lnTo>
                    <a:pt x="969" y="23"/>
                  </a:lnTo>
                  <a:lnTo>
                    <a:pt x="935" y="15"/>
                  </a:lnTo>
                  <a:lnTo>
                    <a:pt x="952" y="0"/>
                  </a:lnTo>
                  <a:lnTo>
                    <a:pt x="961" y="6"/>
                  </a:lnTo>
                  <a:close/>
                  <a:moveTo>
                    <a:pt x="872" y="82"/>
                  </a:moveTo>
                  <a:lnTo>
                    <a:pt x="869" y="85"/>
                  </a:lnTo>
                  <a:lnTo>
                    <a:pt x="862" y="57"/>
                  </a:lnTo>
                  <a:lnTo>
                    <a:pt x="876" y="64"/>
                  </a:lnTo>
                  <a:lnTo>
                    <a:pt x="877" y="81"/>
                  </a:lnTo>
                  <a:lnTo>
                    <a:pt x="872" y="82"/>
                  </a:lnTo>
                  <a:close/>
                  <a:moveTo>
                    <a:pt x="846" y="110"/>
                  </a:moveTo>
                  <a:lnTo>
                    <a:pt x="834" y="113"/>
                  </a:lnTo>
                  <a:lnTo>
                    <a:pt x="826" y="93"/>
                  </a:lnTo>
                  <a:lnTo>
                    <a:pt x="849" y="77"/>
                  </a:lnTo>
                  <a:lnTo>
                    <a:pt x="857" y="93"/>
                  </a:lnTo>
                  <a:lnTo>
                    <a:pt x="846" y="110"/>
                  </a:lnTo>
                  <a:close/>
                  <a:moveTo>
                    <a:pt x="800" y="65"/>
                  </a:moveTo>
                  <a:lnTo>
                    <a:pt x="825" y="56"/>
                  </a:lnTo>
                  <a:lnTo>
                    <a:pt x="835" y="67"/>
                  </a:lnTo>
                  <a:lnTo>
                    <a:pt x="825" y="84"/>
                  </a:lnTo>
                  <a:lnTo>
                    <a:pt x="795" y="91"/>
                  </a:lnTo>
                  <a:lnTo>
                    <a:pt x="786" y="73"/>
                  </a:lnTo>
                  <a:lnTo>
                    <a:pt x="800" y="65"/>
                  </a:lnTo>
                  <a:close/>
                  <a:moveTo>
                    <a:pt x="818" y="124"/>
                  </a:moveTo>
                  <a:lnTo>
                    <a:pt x="804" y="110"/>
                  </a:lnTo>
                  <a:lnTo>
                    <a:pt x="821" y="110"/>
                  </a:lnTo>
                  <a:lnTo>
                    <a:pt x="826" y="121"/>
                  </a:lnTo>
                  <a:lnTo>
                    <a:pt x="818" y="124"/>
                  </a:lnTo>
                  <a:close/>
                  <a:moveTo>
                    <a:pt x="724" y="125"/>
                  </a:moveTo>
                  <a:lnTo>
                    <a:pt x="729" y="130"/>
                  </a:lnTo>
                  <a:lnTo>
                    <a:pt x="727" y="147"/>
                  </a:lnTo>
                  <a:lnTo>
                    <a:pt x="713" y="142"/>
                  </a:lnTo>
                  <a:lnTo>
                    <a:pt x="724" y="125"/>
                  </a:lnTo>
                  <a:close/>
                  <a:moveTo>
                    <a:pt x="682" y="132"/>
                  </a:moveTo>
                  <a:lnTo>
                    <a:pt x="695" y="144"/>
                  </a:lnTo>
                  <a:lnTo>
                    <a:pt x="679" y="145"/>
                  </a:lnTo>
                  <a:lnTo>
                    <a:pt x="671" y="121"/>
                  </a:lnTo>
                  <a:lnTo>
                    <a:pt x="682" y="132"/>
                  </a:lnTo>
                  <a:close/>
                  <a:moveTo>
                    <a:pt x="639" y="150"/>
                  </a:moveTo>
                  <a:lnTo>
                    <a:pt x="671" y="157"/>
                  </a:lnTo>
                  <a:lnTo>
                    <a:pt x="656" y="181"/>
                  </a:lnTo>
                  <a:lnTo>
                    <a:pt x="639" y="167"/>
                  </a:lnTo>
                  <a:lnTo>
                    <a:pt x="639" y="150"/>
                  </a:lnTo>
                  <a:close/>
                  <a:moveTo>
                    <a:pt x="610" y="195"/>
                  </a:moveTo>
                  <a:lnTo>
                    <a:pt x="630" y="189"/>
                  </a:lnTo>
                  <a:lnTo>
                    <a:pt x="634" y="172"/>
                  </a:lnTo>
                  <a:lnTo>
                    <a:pt x="645" y="184"/>
                  </a:lnTo>
                  <a:lnTo>
                    <a:pt x="637" y="206"/>
                  </a:lnTo>
                  <a:lnTo>
                    <a:pt x="617" y="215"/>
                  </a:lnTo>
                  <a:lnTo>
                    <a:pt x="603" y="211"/>
                  </a:lnTo>
                  <a:lnTo>
                    <a:pt x="610" y="195"/>
                  </a:lnTo>
                  <a:close/>
                  <a:moveTo>
                    <a:pt x="551" y="260"/>
                  </a:moveTo>
                  <a:lnTo>
                    <a:pt x="546" y="255"/>
                  </a:lnTo>
                  <a:lnTo>
                    <a:pt x="552" y="254"/>
                  </a:lnTo>
                  <a:lnTo>
                    <a:pt x="551" y="240"/>
                  </a:lnTo>
                  <a:lnTo>
                    <a:pt x="574" y="226"/>
                  </a:lnTo>
                  <a:lnTo>
                    <a:pt x="577" y="221"/>
                  </a:lnTo>
                  <a:lnTo>
                    <a:pt x="574" y="211"/>
                  </a:lnTo>
                  <a:lnTo>
                    <a:pt x="586" y="211"/>
                  </a:lnTo>
                  <a:lnTo>
                    <a:pt x="597" y="238"/>
                  </a:lnTo>
                  <a:lnTo>
                    <a:pt x="593" y="263"/>
                  </a:lnTo>
                  <a:lnTo>
                    <a:pt x="547" y="280"/>
                  </a:lnTo>
                  <a:lnTo>
                    <a:pt x="543" y="274"/>
                  </a:lnTo>
                  <a:lnTo>
                    <a:pt x="554" y="263"/>
                  </a:lnTo>
                  <a:lnTo>
                    <a:pt x="551" y="260"/>
                  </a:lnTo>
                  <a:close/>
                  <a:moveTo>
                    <a:pt x="458" y="435"/>
                  </a:moveTo>
                  <a:lnTo>
                    <a:pt x="452" y="426"/>
                  </a:lnTo>
                  <a:lnTo>
                    <a:pt x="476" y="427"/>
                  </a:lnTo>
                  <a:lnTo>
                    <a:pt x="456" y="450"/>
                  </a:lnTo>
                  <a:lnTo>
                    <a:pt x="447" y="447"/>
                  </a:lnTo>
                  <a:lnTo>
                    <a:pt x="458" y="435"/>
                  </a:lnTo>
                  <a:close/>
                  <a:moveTo>
                    <a:pt x="496" y="260"/>
                  </a:moveTo>
                  <a:lnTo>
                    <a:pt x="503" y="245"/>
                  </a:lnTo>
                  <a:lnTo>
                    <a:pt x="515" y="250"/>
                  </a:lnTo>
                  <a:lnTo>
                    <a:pt x="498" y="283"/>
                  </a:lnTo>
                  <a:lnTo>
                    <a:pt x="484" y="282"/>
                  </a:lnTo>
                  <a:lnTo>
                    <a:pt x="496" y="260"/>
                  </a:lnTo>
                  <a:close/>
                  <a:moveTo>
                    <a:pt x="435" y="326"/>
                  </a:moveTo>
                  <a:lnTo>
                    <a:pt x="452" y="300"/>
                  </a:lnTo>
                  <a:lnTo>
                    <a:pt x="464" y="308"/>
                  </a:lnTo>
                  <a:lnTo>
                    <a:pt x="464" y="291"/>
                  </a:lnTo>
                  <a:lnTo>
                    <a:pt x="475" y="308"/>
                  </a:lnTo>
                  <a:lnTo>
                    <a:pt x="476" y="331"/>
                  </a:lnTo>
                  <a:lnTo>
                    <a:pt x="458" y="339"/>
                  </a:lnTo>
                  <a:lnTo>
                    <a:pt x="455" y="331"/>
                  </a:lnTo>
                  <a:lnTo>
                    <a:pt x="462" y="319"/>
                  </a:lnTo>
                  <a:lnTo>
                    <a:pt x="438" y="336"/>
                  </a:lnTo>
                  <a:lnTo>
                    <a:pt x="435" y="326"/>
                  </a:lnTo>
                  <a:close/>
                  <a:moveTo>
                    <a:pt x="489" y="294"/>
                  </a:moveTo>
                  <a:lnTo>
                    <a:pt x="496" y="292"/>
                  </a:lnTo>
                  <a:lnTo>
                    <a:pt x="503" y="317"/>
                  </a:lnTo>
                  <a:lnTo>
                    <a:pt x="496" y="339"/>
                  </a:lnTo>
                  <a:lnTo>
                    <a:pt x="515" y="316"/>
                  </a:lnTo>
                  <a:lnTo>
                    <a:pt x="517" y="300"/>
                  </a:lnTo>
                  <a:lnTo>
                    <a:pt x="530" y="314"/>
                  </a:lnTo>
                  <a:lnTo>
                    <a:pt x="530" y="333"/>
                  </a:lnTo>
                  <a:lnTo>
                    <a:pt x="506" y="357"/>
                  </a:lnTo>
                  <a:lnTo>
                    <a:pt x="503" y="350"/>
                  </a:lnTo>
                  <a:lnTo>
                    <a:pt x="487" y="372"/>
                  </a:lnTo>
                  <a:lnTo>
                    <a:pt x="484" y="351"/>
                  </a:lnTo>
                  <a:lnTo>
                    <a:pt x="452" y="384"/>
                  </a:lnTo>
                  <a:lnTo>
                    <a:pt x="447" y="376"/>
                  </a:lnTo>
                  <a:lnTo>
                    <a:pt x="427" y="385"/>
                  </a:lnTo>
                  <a:lnTo>
                    <a:pt x="435" y="365"/>
                  </a:lnTo>
                  <a:lnTo>
                    <a:pt x="473" y="350"/>
                  </a:lnTo>
                  <a:lnTo>
                    <a:pt x="489" y="294"/>
                  </a:lnTo>
                  <a:close/>
                  <a:moveTo>
                    <a:pt x="159" y="908"/>
                  </a:moveTo>
                  <a:lnTo>
                    <a:pt x="181" y="895"/>
                  </a:lnTo>
                  <a:lnTo>
                    <a:pt x="190" y="895"/>
                  </a:lnTo>
                  <a:lnTo>
                    <a:pt x="193" y="907"/>
                  </a:lnTo>
                  <a:lnTo>
                    <a:pt x="166" y="919"/>
                  </a:lnTo>
                  <a:lnTo>
                    <a:pt x="159" y="908"/>
                  </a:lnTo>
                  <a:close/>
                  <a:moveTo>
                    <a:pt x="12" y="1334"/>
                  </a:moveTo>
                  <a:lnTo>
                    <a:pt x="11" y="1315"/>
                  </a:lnTo>
                  <a:lnTo>
                    <a:pt x="6" y="1332"/>
                  </a:lnTo>
                  <a:lnTo>
                    <a:pt x="12" y="1334"/>
                  </a:lnTo>
                  <a:close/>
                  <a:moveTo>
                    <a:pt x="20" y="1281"/>
                  </a:moveTo>
                  <a:lnTo>
                    <a:pt x="20" y="1266"/>
                  </a:lnTo>
                  <a:lnTo>
                    <a:pt x="14" y="1261"/>
                  </a:lnTo>
                  <a:lnTo>
                    <a:pt x="12" y="1276"/>
                  </a:lnTo>
                  <a:lnTo>
                    <a:pt x="20" y="1281"/>
                  </a:lnTo>
                  <a:close/>
                  <a:moveTo>
                    <a:pt x="40" y="1044"/>
                  </a:moveTo>
                  <a:lnTo>
                    <a:pt x="45" y="1029"/>
                  </a:lnTo>
                  <a:lnTo>
                    <a:pt x="37" y="1031"/>
                  </a:lnTo>
                  <a:lnTo>
                    <a:pt x="40" y="1044"/>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422" name="Freeform 148">
              <a:extLst>
                <a:ext uri="{FF2B5EF4-FFF2-40B4-BE49-F238E27FC236}">
                  <a16:creationId xmlns:a16="http://schemas.microsoft.com/office/drawing/2014/main" id="{029D6EB1-F212-C545-9E91-4F7B81BC66BC}"/>
                </a:ext>
              </a:extLst>
            </p:cNvPr>
            <p:cNvSpPr>
              <a:spLocks noChangeAspect="1" noEditPoints="1"/>
            </p:cNvSpPr>
            <p:nvPr/>
          </p:nvSpPr>
          <p:spPr bwMode="gray">
            <a:xfrm>
              <a:off x="4883170" y="1655963"/>
              <a:ext cx="292482" cy="809433"/>
            </a:xfrm>
            <a:custGeom>
              <a:avLst/>
              <a:gdLst>
                <a:gd name="T0" fmla="*/ 594 w 601"/>
                <a:gd name="T1" fmla="*/ 395 h 1374"/>
                <a:gd name="T2" fmla="*/ 556 w 601"/>
                <a:gd name="T3" fmla="*/ 396 h 1374"/>
                <a:gd name="T4" fmla="*/ 517 w 601"/>
                <a:gd name="T5" fmla="*/ 413 h 1374"/>
                <a:gd name="T6" fmla="*/ 477 w 601"/>
                <a:gd name="T7" fmla="*/ 442 h 1374"/>
                <a:gd name="T8" fmla="*/ 484 w 601"/>
                <a:gd name="T9" fmla="*/ 543 h 1374"/>
                <a:gd name="T10" fmla="*/ 472 w 601"/>
                <a:gd name="T11" fmla="*/ 546 h 1374"/>
                <a:gd name="T12" fmla="*/ 389 w 601"/>
                <a:gd name="T13" fmla="*/ 631 h 1374"/>
                <a:gd name="T14" fmla="*/ 345 w 601"/>
                <a:gd name="T15" fmla="*/ 678 h 1374"/>
                <a:gd name="T16" fmla="*/ 330 w 601"/>
                <a:gd name="T17" fmla="*/ 704 h 1374"/>
                <a:gd name="T18" fmla="*/ 310 w 601"/>
                <a:gd name="T19" fmla="*/ 730 h 1374"/>
                <a:gd name="T20" fmla="*/ 286 w 601"/>
                <a:gd name="T21" fmla="*/ 749 h 1374"/>
                <a:gd name="T22" fmla="*/ 290 w 601"/>
                <a:gd name="T23" fmla="*/ 821 h 1374"/>
                <a:gd name="T24" fmla="*/ 281 w 601"/>
                <a:gd name="T25" fmla="*/ 897 h 1374"/>
                <a:gd name="T26" fmla="*/ 282 w 601"/>
                <a:gd name="T27" fmla="*/ 933 h 1374"/>
                <a:gd name="T28" fmla="*/ 264 w 601"/>
                <a:gd name="T29" fmla="*/ 958 h 1374"/>
                <a:gd name="T30" fmla="*/ 301 w 601"/>
                <a:gd name="T31" fmla="*/ 928 h 1374"/>
                <a:gd name="T32" fmla="*/ 339 w 601"/>
                <a:gd name="T33" fmla="*/ 952 h 1374"/>
                <a:gd name="T34" fmla="*/ 339 w 601"/>
                <a:gd name="T35" fmla="*/ 1021 h 1374"/>
                <a:gd name="T36" fmla="*/ 279 w 601"/>
                <a:gd name="T37" fmla="*/ 1024 h 1374"/>
                <a:gd name="T38" fmla="*/ 243 w 601"/>
                <a:gd name="T39" fmla="*/ 1028 h 1374"/>
                <a:gd name="T40" fmla="*/ 342 w 601"/>
                <a:gd name="T41" fmla="*/ 1038 h 1374"/>
                <a:gd name="T42" fmla="*/ 330 w 601"/>
                <a:gd name="T43" fmla="*/ 1055 h 1374"/>
                <a:gd name="T44" fmla="*/ 301 w 601"/>
                <a:gd name="T45" fmla="*/ 1065 h 1374"/>
                <a:gd name="T46" fmla="*/ 268 w 601"/>
                <a:gd name="T47" fmla="*/ 1097 h 1374"/>
                <a:gd name="T48" fmla="*/ 259 w 601"/>
                <a:gd name="T49" fmla="*/ 1108 h 1374"/>
                <a:gd name="T50" fmla="*/ 242 w 601"/>
                <a:gd name="T51" fmla="*/ 1116 h 1374"/>
                <a:gd name="T52" fmla="*/ 245 w 601"/>
                <a:gd name="T53" fmla="*/ 1163 h 1374"/>
                <a:gd name="T54" fmla="*/ 252 w 601"/>
                <a:gd name="T55" fmla="*/ 1204 h 1374"/>
                <a:gd name="T56" fmla="*/ 220 w 601"/>
                <a:gd name="T57" fmla="*/ 1314 h 1374"/>
                <a:gd name="T58" fmla="*/ 151 w 601"/>
                <a:gd name="T59" fmla="*/ 1320 h 1374"/>
                <a:gd name="T60" fmla="*/ 137 w 601"/>
                <a:gd name="T61" fmla="*/ 1374 h 1374"/>
                <a:gd name="T62" fmla="*/ 62 w 601"/>
                <a:gd name="T63" fmla="*/ 1309 h 1374"/>
                <a:gd name="T64" fmla="*/ 83 w 601"/>
                <a:gd name="T65" fmla="*/ 1289 h 1374"/>
                <a:gd name="T66" fmla="*/ 42 w 601"/>
                <a:gd name="T67" fmla="*/ 1210 h 1374"/>
                <a:gd name="T68" fmla="*/ 27 w 601"/>
                <a:gd name="T69" fmla="*/ 1173 h 1374"/>
                <a:gd name="T70" fmla="*/ 24 w 601"/>
                <a:gd name="T71" fmla="*/ 1134 h 1374"/>
                <a:gd name="T72" fmla="*/ 11 w 601"/>
                <a:gd name="T73" fmla="*/ 1134 h 1374"/>
                <a:gd name="T74" fmla="*/ 0 w 601"/>
                <a:gd name="T75" fmla="*/ 1072 h 1374"/>
                <a:gd name="T76" fmla="*/ 10 w 601"/>
                <a:gd name="T77" fmla="*/ 1072 h 1374"/>
                <a:gd name="T78" fmla="*/ 27 w 601"/>
                <a:gd name="T79" fmla="*/ 1043 h 1374"/>
                <a:gd name="T80" fmla="*/ 32 w 601"/>
                <a:gd name="T81" fmla="*/ 989 h 1374"/>
                <a:gd name="T82" fmla="*/ 64 w 601"/>
                <a:gd name="T83" fmla="*/ 927 h 1374"/>
                <a:gd name="T84" fmla="*/ 73 w 601"/>
                <a:gd name="T85" fmla="*/ 868 h 1374"/>
                <a:gd name="T86" fmla="*/ 50 w 601"/>
                <a:gd name="T87" fmla="*/ 809 h 1374"/>
                <a:gd name="T88" fmla="*/ 56 w 601"/>
                <a:gd name="T89" fmla="*/ 681 h 1374"/>
                <a:gd name="T90" fmla="*/ 88 w 601"/>
                <a:gd name="T91" fmla="*/ 585 h 1374"/>
                <a:gd name="T92" fmla="*/ 143 w 601"/>
                <a:gd name="T93" fmla="*/ 546 h 1374"/>
                <a:gd name="T94" fmla="*/ 163 w 601"/>
                <a:gd name="T95" fmla="*/ 415 h 1374"/>
                <a:gd name="T96" fmla="*/ 203 w 601"/>
                <a:gd name="T97" fmla="*/ 305 h 1374"/>
                <a:gd name="T98" fmla="*/ 235 w 601"/>
                <a:gd name="T99" fmla="*/ 209 h 1374"/>
                <a:gd name="T100" fmla="*/ 293 w 601"/>
                <a:gd name="T101" fmla="*/ 121 h 1374"/>
                <a:gd name="T102" fmla="*/ 327 w 601"/>
                <a:gd name="T103" fmla="*/ 80 h 1374"/>
                <a:gd name="T104" fmla="*/ 418 w 601"/>
                <a:gd name="T105" fmla="*/ 73 h 1374"/>
                <a:gd name="T106" fmla="*/ 417 w 601"/>
                <a:gd name="T107" fmla="*/ 2 h 1374"/>
                <a:gd name="T108" fmla="*/ 548 w 601"/>
                <a:gd name="T109" fmla="*/ 90 h 1374"/>
                <a:gd name="T110" fmla="*/ 581 w 601"/>
                <a:gd name="T111" fmla="*/ 217 h 1374"/>
                <a:gd name="T112" fmla="*/ 594 w 601"/>
                <a:gd name="T113" fmla="*/ 305 h 1374"/>
                <a:gd name="T114" fmla="*/ 322 w 601"/>
                <a:gd name="T115" fmla="*/ 1246 h 1374"/>
                <a:gd name="T116" fmla="*/ 362 w 601"/>
                <a:gd name="T117" fmla="*/ 1165 h 1374"/>
                <a:gd name="T118" fmla="*/ 322 w 601"/>
                <a:gd name="T119" fmla="*/ 1224 h 1374"/>
                <a:gd name="T120" fmla="*/ 240 w 601"/>
                <a:gd name="T121" fmla="*/ 1303 h 1374"/>
                <a:gd name="T122" fmla="*/ 245 w 601"/>
                <a:gd name="T123" fmla="*/ 1272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1" h="1374">
                  <a:moveTo>
                    <a:pt x="599" y="376"/>
                  </a:moveTo>
                  <a:lnTo>
                    <a:pt x="601" y="387"/>
                  </a:lnTo>
                  <a:lnTo>
                    <a:pt x="594" y="395"/>
                  </a:lnTo>
                  <a:lnTo>
                    <a:pt x="581" y="384"/>
                  </a:lnTo>
                  <a:lnTo>
                    <a:pt x="559" y="387"/>
                  </a:lnTo>
                  <a:lnTo>
                    <a:pt x="556" y="396"/>
                  </a:lnTo>
                  <a:lnTo>
                    <a:pt x="523" y="381"/>
                  </a:lnTo>
                  <a:lnTo>
                    <a:pt x="517" y="399"/>
                  </a:lnTo>
                  <a:lnTo>
                    <a:pt x="517" y="413"/>
                  </a:lnTo>
                  <a:lnTo>
                    <a:pt x="500" y="399"/>
                  </a:lnTo>
                  <a:lnTo>
                    <a:pt x="508" y="420"/>
                  </a:lnTo>
                  <a:lnTo>
                    <a:pt x="477" y="442"/>
                  </a:lnTo>
                  <a:lnTo>
                    <a:pt x="484" y="464"/>
                  </a:lnTo>
                  <a:lnTo>
                    <a:pt x="464" y="500"/>
                  </a:lnTo>
                  <a:lnTo>
                    <a:pt x="484" y="543"/>
                  </a:lnTo>
                  <a:lnTo>
                    <a:pt x="475" y="555"/>
                  </a:lnTo>
                  <a:lnTo>
                    <a:pt x="475" y="542"/>
                  </a:lnTo>
                  <a:lnTo>
                    <a:pt x="472" y="546"/>
                  </a:lnTo>
                  <a:lnTo>
                    <a:pt x="434" y="610"/>
                  </a:lnTo>
                  <a:lnTo>
                    <a:pt x="396" y="636"/>
                  </a:lnTo>
                  <a:lnTo>
                    <a:pt x="389" y="631"/>
                  </a:lnTo>
                  <a:lnTo>
                    <a:pt x="366" y="659"/>
                  </a:lnTo>
                  <a:lnTo>
                    <a:pt x="350" y="657"/>
                  </a:lnTo>
                  <a:lnTo>
                    <a:pt x="345" y="678"/>
                  </a:lnTo>
                  <a:lnTo>
                    <a:pt x="332" y="690"/>
                  </a:lnTo>
                  <a:lnTo>
                    <a:pt x="335" y="695"/>
                  </a:lnTo>
                  <a:lnTo>
                    <a:pt x="330" y="704"/>
                  </a:lnTo>
                  <a:lnTo>
                    <a:pt x="316" y="712"/>
                  </a:lnTo>
                  <a:lnTo>
                    <a:pt x="308" y="698"/>
                  </a:lnTo>
                  <a:lnTo>
                    <a:pt x="310" y="730"/>
                  </a:lnTo>
                  <a:lnTo>
                    <a:pt x="299" y="743"/>
                  </a:lnTo>
                  <a:lnTo>
                    <a:pt x="286" y="737"/>
                  </a:lnTo>
                  <a:lnTo>
                    <a:pt x="286" y="749"/>
                  </a:lnTo>
                  <a:lnTo>
                    <a:pt x="294" y="763"/>
                  </a:lnTo>
                  <a:lnTo>
                    <a:pt x="286" y="796"/>
                  </a:lnTo>
                  <a:lnTo>
                    <a:pt x="290" y="821"/>
                  </a:lnTo>
                  <a:lnTo>
                    <a:pt x="276" y="814"/>
                  </a:lnTo>
                  <a:lnTo>
                    <a:pt x="274" y="833"/>
                  </a:lnTo>
                  <a:lnTo>
                    <a:pt x="281" y="897"/>
                  </a:lnTo>
                  <a:lnTo>
                    <a:pt x="277" y="913"/>
                  </a:lnTo>
                  <a:lnTo>
                    <a:pt x="285" y="914"/>
                  </a:lnTo>
                  <a:lnTo>
                    <a:pt x="282" y="933"/>
                  </a:lnTo>
                  <a:lnTo>
                    <a:pt x="240" y="958"/>
                  </a:lnTo>
                  <a:lnTo>
                    <a:pt x="235" y="964"/>
                  </a:lnTo>
                  <a:lnTo>
                    <a:pt x="264" y="958"/>
                  </a:lnTo>
                  <a:lnTo>
                    <a:pt x="279" y="947"/>
                  </a:lnTo>
                  <a:lnTo>
                    <a:pt x="294" y="919"/>
                  </a:lnTo>
                  <a:lnTo>
                    <a:pt x="301" y="928"/>
                  </a:lnTo>
                  <a:lnTo>
                    <a:pt x="315" y="927"/>
                  </a:lnTo>
                  <a:lnTo>
                    <a:pt x="319" y="943"/>
                  </a:lnTo>
                  <a:lnTo>
                    <a:pt x="339" y="952"/>
                  </a:lnTo>
                  <a:lnTo>
                    <a:pt x="332" y="955"/>
                  </a:lnTo>
                  <a:lnTo>
                    <a:pt x="356" y="987"/>
                  </a:lnTo>
                  <a:lnTo>
                    <a:pt x="339" y="1021"/>
                  </a:lnTo>
                  <a:lnTo>
                    <a:pt x="311" y="1035"/>
                  </a:lnTo>
                  <a:lnTo>
                    <a:pt x="299" y="1021"/>
                  </a:lnTo>
                  <a:lnTo>
                    <a:pt x="279" y="1024"/>
                  </a:lnTo>
                  <a:lnTo>
                    <a:pt x="271" y="1018"/>
                  </a:lnTo>
                  <a:lnTo>
                    <a:pt x="239" y="1024"/>
                  </a:lnTo>
                  <a:lnTo>
                    <a:pt x="243" y="1028"/>
                  </a:lnTo>
                  <a:lnTo>
                    <a:pt x="276" y="1035"/>
                  </a:lnTo>
                  <a:lnTo>
                    <a:pt x="282" y="1045"/>
                  </a:lnTo>
                  <a:lnTo>
                    <a:pt x="342" y="1038"/>
                  </a:lnTo>
                  <a:lnTo>
                    <a:pt x="336" y="1048"/>
                  </a:lnTo>
                  <a:lnTo>
                    <a:pt x="327" y="1043"/>
                  </a:lnTo>
                  <a:lnTo>
                    <a:pt x="330" y="1055"/>
                  </a:lnTo>
                  <a:lnTo>
                    <a:pt x="311" y="1075"/>
                  </a:lnTo>
                  <a:lnTo>
                    <a:pt x="301" y="1075"/>
                  </a:lnTo>
                  <a:lnTo>
                    <a:pt x="301" y="1065"/>
                  </a:lnTo>
                  <a:lnTo>
                    <a:pt x="294" y="1063"/>
                  </a:lnTo>
                  <a:lnTo>
                    <a:pt x="290" y="1080"/>
                  </a:lnTo>
                  <a:lnTo>
                    <a:pt x="268" y="1097"/>
                  </a:lnTo>
                  <a:lnTo>
                    <a:pt x="235" y="1099"/>
                  </a:lnTo>
                  <a:lnTo>
                    <a:pt x="231" y="1102"/>
                  </a:lnTo>
                  <a:lnTo>
                    <a:pt x="259" y="1108"/>
                  </a:lnTo>
                  <a:lnTo>
                    <a:pt x="262" y="1112"/>
                  </a:lnTo>
                  <a:lnTo>
                    <a:pt x="245" y="1114"/>
                  </a:lnTo>
                  <a:lnTo>
                    <a:pt x="242" y="1116"/>
                  </a:lnTo>
                  <a:lnTo>
                    <a:pt x="257" y="1129"/>
                  </a:lnTo>
                  <a:lnTo>
                    <a:pt x="256" y="1162"/>
                  </a:lnTo>
                  <a:lnTo>
                    <a:pt x="245" y="1163"/>
                  </a:lnTo>
                  <a:lnTo>
                    <a:pt x="252" y="1182"/>
                  </a:lnTo>
                  <a:lnTo>
                    <a:pt x="247" y="1190"/>
                  </a:lnTo>
                  <a:lnTo>
                    <a:pt x="252" y="1204"/>
                  </a:lnTo>
                  <a:lnTo>
                    <a:pt x="243" y="1224"/>
                  </a:lnTo>
                  <a:lnTo>
                    <a:pt x="240" y="1263"/>
                  </a:lnTo>
                  <a:lnTo>
                    <a:pt x="220" y="1314"/>
                  </a:lnTo>
                  <a:lnTo>
                    <a:pt x="171" y="1309"/>
                  </a:lnTo>
                  <a:lnTo>
                    <a:pt x="160" y="1324"/>
                  </a:lnTo>
                  <a:lnTo>
                    <a:pt x="151" y="1320"/>
                  </a:lnTo>
                  <a:lnTo>
                    <a:pt x="143" y="1343"/>
                  </a:lnTo>
                  <a:lnTo>
                    <a:pt x="146" y="1360"/>
                  </a:lnTo>
                  <a:lnTo>
                    <a:pt x="137" y="1374"/>
                  </a:lnTo>
                  <a:lnTo>
                    <a:pt x="78" y="1374"/>
                  </a:lnTo>
                  <a:lnTo>
                    <a:pt x="86" y="1354"/>
                  </a:lnTo>
                  <a:lnTo>
                    <a:pt x="62" y="1309"/>
                  </a:lnTo>
                  <a:lnTo>
                    <a:pt x="76" y="1307"/>
                  </a:lnTo>
                  <a:lnTo>
                    <a:pt x="70" y="1294"/>
                  </a:lnTo>
                  <a:lnTo>
                    <a:pt x="83" y="1289"/>
                  </a:lnTo>
                  <a:lnTo>
                    <a:pt x="83" y="1281"/>
                  </a:lnTo>
                  <a:lnTo>
                    <a:pt x="53" y="1247"/>
                  </a:lnTo>
                  <a:lnTo>
                    <a:pt x="42" y="1210"/>
                  </a:lnTo>
                  <a:lnTo>
                    <a:pt x="34" y="1210"/>
                  </a:lnTo>
                  <a:lnTo>
                    <a:pt x="37" y="1171"/>
                  </a:lnTo>
                  <a:lnTo>
                    <a:pt x="27" y="1173"/>
                  </a:lnTo>
                  <a:lnTo>
                    <a:pt x="27" y="1151"/>
                  </a:lnTo>
                  <a:lnTo>
                    <a:pt x="13" y="1146"/>
                  </a:lnTo>
                  <a:lnTo>
                    <a:pt x="24" y="1134"/>
                  </a:lnTo>
                  <a:lnTo>
                    <a:pt x="19" y="1133"/>
                  </a:lnTo>
                  <a:lnTo>
                    <a:pt x="22" y="1125"/>
                  </a:lnTo>
                  <a:lnTo>
                    <a:pt x="11" y="1134"/>
                  </a:lnTo>
                  <a:lnTo>
                    <a:pt x="11" y="1125"/>
                  </a:lnTo>
                  <a:lnTo>
                    <a:pt x="5" y="1114"/>
                  </a:lnTo>
                  <a:lnTo>
                    <a:pt x="0" y="1072"/>
                  </a:lnTo>
                  <a:lnTo>
                    <a:pt x="5" y="1062"/>
                  </a:lnTo>
                  <a:lnTo>
                    <a:pt x="7" y="1083"/>
                  </a:lnTo>
                  <a:lnTo>
                    <a:pt x="10" y="1072"/>
                  </a:lnTo>
                  <a:lnTo>
                    <a:pt x="13" y="1080"/>
                  </a:lnTo>
                  <a:lnTo>
                    <a:pt x="20" y="1075"/>
                  </a:lnTo>
                  <a:lnTo>
                    <a:pt x="27" y="1043"/>
                  </a:lnTo>
                  <a:lnTo>
                    <a:pt x="22" y="1020"/>
                  </a:lnTo>
                  <a:lnTo>
                    <a:pt x="32" y="1001"/>
                  </a:lnTo>
                  <a:lnTo>
                    <a:pt x="32" y="989"/>
                  </a:lnTo>
                  <a:lnTo>
                    <a:pt x="61" y="972"/>
                  </a:lnTo>
                  <a:lnTo>
                    <a:pt x="58" y="952"/>
                  </a:lnTo>
                  <a:lnTo>
                    <a:pt x="64" y="927"/>
                  </a:lnTo>
                  <a:lnTo>
                    <a:pt x="58" y="899"/>
                  </a:lnTo>
                  <a:lnTo>
                    <a:pt x="49" y="887"/>
                  </a:lnTo>
                  <a:lnTo>
                    <a:pt x="73" y="868"/>
                  </a:lnTo>
                  <a:lnTo>
                    <a:pt x="78" y="853"/>
                  </a:lnTo>
                  <a:lnTo>
                    <a:pt x="75" y="834"/>
                  </a:lnTo>
                  <a:lnTo>
                    <a:pt x="50" y="809"/>
                  </a:lnTo>
                  <a:lnTo>
                    <a:pt x="50" y="757"/>
                  </a:lnTo>
                  <a:lnTo>
                    <a:pt x="44" y="732"/>
                  </a:lnTo>
                  <a:lnTo>
                    <a:pt x="56" y="681"/>
                  </a:lnTo>
                  <a:lnTo>
                    <a:pt x="44" y="648"/>
                  </a:lnTo>
                  <a:lnTo>
                    <a:pt x="53" y="619"/>
                  </a:lnTo>
                  <a:lnTo>
                    <a:pt x="88" y="585"/>
                  </a:lnTo>
                  <a:lnTo>
                    <a:pt x="132" y="585"/>
                  </a:lnTo>
                  <a:lnTo>
                    <a:pt x="140" y="572"/>
                  </a:lnTo>
                  <a:lnTo>
                    <a:pt x="143" y="546"/>
                  </a:lnTo>
                  <a:lnTo>
                    <a:pt x="124" y="517"/>
                  </a:lnTo>
                  <a:lnTo>
                    <a:pt x="154" y="459"/>
                  </a:lnTo>
                  <a:lnTo>
                    <a:pt x="163" y="415"/>
                  </a:lnTo>
                  <a:lnTo>
                    <a:pt x="163" y="361"/>
                  </a:lnTo>
                  <a:lnTo>
                    <a:pt x="192" y="345"/>
                  </a:lnTo>
                  <a:lnTo>
                    <a:pt x="203" y="305"/>
                  </a:lnTo>
                  <a:lnTo>
                    <a:pt x="245" y="246"/>
                  </a:lnTo>
                  <a:lnTo>
                    <a:pt x="245" y="227"/>
                  </a:lnTo>
                  <a:lnTo>
                    <a:pt x="235" y="209"/>
                  </a:lnTo>
                  <a:lnTo>
                    <a:pt x="254" y="175"/>
                  </a:lnTo>
                  <a:lnTo>
                    <a:pt x="259" y="149"/>
                  </a:lnTo>
                  <a:lnTo>
                    <a:pt x="293" y="121"/>
                  </a:lnTo>
                  <a:lnTo>
                    <a:pt x="315" y="139"/>
                  </a:lnTo>
                  <a:lnTo>
                    <a:pt x="327" y="107"/>
                  </a:lnTo>
                  <a:lnTo>
                    <a:pt x="327" y="80"/>
                  </a:lnTo>
                  <a:lnTo>
                    <a:pt x="335" y="68"/>
                  </a:lnTo>
                  <a:lnTo>
                    <a:pt x="413" y="80"/>
                  </a:lnTo>
                  <a:lnTo>
                    <a:pt x="418" y="73"/>
                  </a:lnTo>
                  <a:lnTo>
                    <a:pt x="408" y="56"/>
                  </a:lnTo>
                  <a:lnTo>
                    <a:pt x="421" y="22"/>
                  </a:lnTo>
                  <a:lnTo>
                    <a:pt x="417" y="2"/>
                  </a:lnTo>
                  <a:lnTo>
                    <a:pt x="440" y="0"/>
                  </a:lnTo>
                  <a:lnTo>
                    <a:pt x="505" y="68"/>
                  </a:lnTo>
                  <a:lnTo>
                    <a:pt x="548" y="90"/>
                  </a:lnTo>
                  <a:lnTo>
                    <a:pt x="577" y="139"/>
                  </a:lnTo>
                  <a:lnTo>
                    <a:pt x="573" y="186"/>
                  </a:lnTo>
                  <a:lnTo>
                    <a:pt x="581" y="217"/>
                  </a:lnTo>
                  <a:lnTo>
                    <a:pt x="576" y="234"/>
                  </a:lnTo>
                  <a:lnTo>
                    <a:pt x="594" y="286"/>
                  </a:lnTo>
                  <a:lnTo>
                    <a:pt x="594" y="305"/>
                  </a:lnTo>
                  <a:lnTo>
                    <a:pt x="582" y="330"/>
                  </a:lnTo>
                  <a:lnTo>
                    <a:pt x="599" y="376"/>
                  </a:lnTo>
                  <a:close/>
                  <a:moveTo>
                    <a:pt x="322" y="1246"/>
                  </a:moveTo>
                  <a:lnTo>
                    <a:pt x="358" y="1207"/>
                  </a:lnTo>
                  <a:lnTo>
                    <a:pt x="353" y="1182"/>
                  </a:lnTo>
                  <a:lnTo>
                    <a:pt x="362" y="1165"/>
                  </a:lnTo>
                  <a:lnTo>
                    <a:pt x="345" y="1165"/>
                  </a:lnTo>
                  <a:lnTo>
                    <a:pt x="324" y="1193"/>
                  </a:lnTo>
                  <a:lnTo>
                    <a:pt x="322" y="1224"/>
                  </a:lnTo>
                  <a:lnTo>
                    <a:pt x="328" y="1235"/>
                  </a:lnTo>
                  <a:lnTo>
                    <a:pt x="322" y="1246"/>
                  </a:lnTo>
                  <a:close/>
                  <a:moveTo>
                    <a:pt x="240" y="1303"/>
                  </a:moveTo>
                  <a:lnTo>
                    <a:pt x="251" y="1287"/>
                  </a:lnTo>
                  <a:lnTo>
                    <a:pt x="273" y="1212"/>
                  </a:lnTo>
                  <a:lnTo>
                    <a:pt x="245" y="1272"/>
                  </a:lnTo>
                  <a:lnTo>
                    <a:pt x="240" y="1303"/>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423" name="Freeform 149">
              <a:extLst>
                <a:ext uri="{FF2B5EF4-FFF2-40B4-BE49-F238E27FC236}">
                  <a16:creationId xmlns:a16="http://schemas.microsoft.com/office/drawing/2014/main" id="{575B0488-210D-144D-BCBC-37997D3EE001}"/>
                </a:ext>
              </a:extLst>
            </p:cNvPr>
            <p:cNvSpPr>
              <a:spLocks noChangeAspect="1" noEditPoints="1"/>
            </p:cNvSpPr>
            <p:nvPr/>
          </p:nvSpPr>
          <p:spPr bwMode="gray">
            <a:xfrm>
              <a:off x="5075507" y="1579239"/>
              <a:ext cx="265458" cy="659820"/>
            </a:xfrm>
            <a:custGeom>
              <a:avLst/>
              <a:gdLst>
                <a:gd name="T0" fmla="*/ 110 w 545"/>
                <a:gd name="T1" fmla="*/ 200 h 1124"/>
                <a:gd name="T2" fmla="*/ 182 w 545"/>
                <a:gd name="T3" fmla="*/ 271 h 1124"/>
                <a:gd name="T4" fmla="*/ 186 w 545"/>
                <a:gd name="T5" fmla="*/ 349 h 1124"/>
                <a:gd name="T6" fmla="*/ 199 w 545"/>
                <a:gd name="T7" fmla="*/ 418 h 1124"/>
                <a:gd name="T8" fmla="*/ 187 w 545"/>
                <a:gd name="T9" fmla="*/ 462 h 1124"/>
                <a:gd name="T10" fmla="*/ 229 w 545"/>
                <a:gd name="T11" fmla="*/ 520 h 1124"/>
                <a:gd name="T12" fmla="*/ 260 w 545"/>
                <a:gd name="T13" fmla="*/ 564 h 1124"/>
                <a:gd name="T14" fmla="*/ 263 w 545"/>
                <a:gd name="T15" fmla="*/ 599 h 1124"/>
                <a:gd name="T16" fmla="*/ 266 w 545"/>
                <a:gd name="T17" fmla="*/ 615 h 1124"/>
                <a:gd name="T18" fmla="*/ 233 w 545"/>
                <a:gd name="T19" fmla="*/ 632 h 1124"/>
                <a:gd name="T20" fmla="*/ 178 w 545"/>
                <a:gd name="T21" fmla="*/ 718 h 1124"/>
                <a:gd name="T22" fmla="*/ 122 w 545"/>
                <a:gd name="T23" fmla="*/ 797 h 1124"/>
                <a:gd name="T24" fmla="*/ 91 w 545"/>
                <a:gd name="T25" fmla="*/ 808 h 1124"/>
                <a:gd name="T26" fmla="*/ 94 w 545"/>
                <a:gd name="T27" fmla="*/ 818 h 1124"/>
                <a:gd name="T28" fmla="*/ 62 w 545"/>
                <a:gd name="T29" fmla="*/ 855 h 1124"/>
                <a:gd name="T30" fmla="*/ 71 w 545"/>
                <a:gd name="T31" fmla="*/ 916 h 1124"/>
                <a:gd name="T32" fmla="*/ 80 w 545"/>
                <a:gd name="T33" fmla="*/ 969 h 1124"/>
                <a:gd name="T34" fmla="*/ 72 w 545"/>
                <a:gd name="T35" fmla="*/ 1017 h 1124"/>
                <a:gd name="T36" fmla="*/ 82 w 545"/>
                <a:gd name="T37" fmla="*/ 1039 h 1124"/>
                <a:gd name="T38" fmla="*/ 127 w 545"/>
                <a:gd name="T39" fmla="*/ 1070 h 1124"/>
                <a:gd name="T40" fmla="*/ 133 w 545"/>
                <a:gd name="T41" fmla="*/ 1085 h 1124"/>
                <a:gd name="T42" fmla="*/ 147 w 545"/>
                <a:gd name="T43" fmla="*/ 1092 h 1124"/>
                <a:gd name="T44" fmla="*/ 150 w 545"/>
                <a:gd name="T45" fmla="*/ 1124 h 1124"/>
                <a:gd name="T46" fmla="*/ 170 w 545"/>
                <a:gd name="T47" fmla="*/ 1104 h 1124"/>
                <a:gd name="T48" fmla="*/ 216 w 545"/>
                <a:gd name="T49" fmla="*/ 1105 h 1124"/>
                <a:gd name="T50" fmla="*/ 263 w 545"/>
                <a:gd name="T51" fmla="*/ 1084 h 1124"/>
                <a:gd name="T52" fmla="*/ 274 w 545"/>
                <a:gd name="T53" fmla="*/ 1080 h 1124"/>
                <a:gd name="T54" fmla="*/ 288 w 545"/>
                <a:gd name="T55" fmla="*/ 1067 h 1124"/>
                <a:gd name="T56" fmla="*/ 475 w 545"/>
                <a:gd name="T57" fmla="*/ 957 h 1124"/>
                <a:gd name="T58" fmla="*/ 545 w 545"/>
                <a:gd name="T59" fmla="*/ 818 h 1124"/>
                <a:gd name="T60" fmla="*/ 507 w 545"/>
                <a:gd name="T61" fmla="*/ 691 h 1124"/>
                <a:gd name="T62" fmla="*/ 482 w 545"/>
                <a:gd name="T63" fmla="*/ 633 h 1124"/>
                <a:gd name="T64" fmla="*/ 469 w 545"/>
                <a:gd name="T65" fmla="*/ 579 h 1124"/>
                <a:gd name="T66" fmla="*/ 444 w 545"/>
                <a:gd name="T67" fmla="*/ 393 h 1124"/>
                <a:gd name="T68" fmla="*/ 477 w 545"/>
                <a:gd name="T69" fmla="*/ 296 h 1124"/>
                <a:gd name="T70" fmla="*/ 419 w 545"/>
                <a:gd name="T71" fmla="*/ 239 h 1124"/>
                <a:gd name="T72" fmla="*/ 436 w 545"/>
                <a:gd name="T73" fmla="*/ 132 h 1124"/>
                <a:gd name="T74" fmla="*/ 448 w 545"/>
                <a:gd name="T75" fmla="*/ 87 h 1124"/>
                <a:gd name="T76" fmla="*/ 388 w 545"/>
                <a:gd name="T77" fmla="*/ 0 h 1124"/>
                <a:gd name="T78" fmla="*/ 296 w 545"/>
                <a:gd name="T79" fmla="*/ 38 h 1124"/>
                <a:gd name="T80" fmla="*/ 283 w 545"/>
                <a:gd name="T81" fmla="*/ 141 h 1124"/>
                <a:gd name="T82" fmla="*/ 204 w 545"/>
                <a:gd name="T83" fmla="*/ 155 h 1124"/>
                <a:gd name="T84" fmla="*/ 131 w 545"/>
                <a:gd name="T85" fmla="*/ 171 h 1124"/>
                <a:gd name="T86" fmla="*/ 76 w 545"/>
                <a:gd name="T87" fmla="*/ 96 h 1124"/>
                <a:gd name="T88" fmla="*/ 69 w 545"/>
                <a:gd name="T89" fmla="*/ 124 h 1124"/>
                <a:gd name="T90" fmla="*/ 136 w 545"/>
                <a:gd name="T91" fmla="*/ 1107 h 1124"/>
                <a:gd name="T92" fmla="*/ 128 w 545"/>
                <a:gd name="T93" fmla="*/ 1092 h 1124"/>
                <a:gd name="T94" fmla="*/ 136 w 545"/>
                <a:gd name="T95" fmla="*/ 1107 h 1124"/>
                <a:gd name="T96" fmla="*/ 91 w 545"/>
                <a:gd name="T97" fmla="*/ 1096 h 1124"/>
                <a:gd name="T98" fmla="*/ 99 w 545"/>
                <a:gd name="T99" fmla="*/ 1092 h 1124"/>
                <a:gd name="T100" fmla="*/ 3 w 545"/>
                <a:gd name="T101" fmla="*/ 1075 h 1124"/>
                <a:gd name="T102" fmla="*/ 0 w 545"/>
                <a:gd name="T103" fmla="*/ 1084 h 1124"/>
                <a:gd name="T104" fmla="*/ 18 w 545"/>
                <a:gd name="T105" fmla="*/ 1109 h 1124"/>
                <a:gd name="T106" fmla="*/ 13 w 545"/>
                <a:gd name="T107" fmla="*/ 1093 h 1124"/>
                <a:gd name="T108" fmla="*/ 17 w 545"/>
                <a:gd name="T109" fmla="*/ 1075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5" h="1124">
                  <a:moveTo>
                    <a:pt x="45" y="132"/>
                  </a:moveTo>
                  <a:lnTo>
                    <a:pt x="110" y="200"/>
                  </a:lnTo>
                  <a:lnTo>
                    <a:pt x="153" y="222"/>
                  </a:lnTo>
                  <a:lnTo>
                    <a:pt x="182" y="271"/>
                  </a:lnTo>
                  <a:lnTo>
                    <a:pt x="178" y="318"/>
                  </a:lnTo>
                  <a:lnTo>
                    <a:pt x="186" y="349"/>
                  </a:lnTo>
                  <a:lnTo>
                    <a:pt x="181" y="366"/>
                  </a:lnTo>
                  <a:lnTo>
                    <a:pt x="199" y="418"/>
                  </a:lnTo>
                  <a:lnTo>
                    <a:pt x="199" y="437"/>
                  </a:lnTo>
                  <a:lnTo>
                    <a:pt x="187" y="462"/>
                  </a:lnTo>
                  <a:lnTo>
                    <a:pt x="204" y="508"/>
                  </a:lnTo>
                  <a:lnTo>
                    <a:pt x="229" y="520"/>
                  </a:lnTo>
                  <a:lnTo>
                    <a:pt x="232" y="523"/>
                  </a:lnTo>
                  <a:lnTo>
                    <a:pt x="260" y="564"/>
                  </a:lnTo>
                  <a:lnTo>
                    <a:pt x="266" y="576"/>
                  </a:lnTo>
                  <a:lnTo>
                    <a:pt x="263" y="599"/>
                  </a:lnTo>
                  <a:lnTo>
                    <a:pt x="272" y="616"/>
                  </a:lnTo>
                  <a:lnTo>
                    <a:pt x="266" y="615"/>
                  </a:lnTo>
                  <a:lnTo>
                    <a:pt x="266" y="630"/>
                  </a:lnTo>
                  <a:lnTo>
                    <a:pt x="233" y="632"/>
                  </a:lnTo>
                  <a:lnTo>
                    <a:pt x="224" y="661"/>
                  </a:lnTo>
                  <a:lnTo>
                    <a:pt x="178" y="718"/>
                  </a:lnTo>
                  <a:lnTo>
                    <a:pt x="144" y="771"/>
                  </a:lnTo>
                  <a:lnTo>
                    <a:pt x="122" y="797"/>
                  </a:lnTo>
                  <a:lnTo>
                    <a:pt x="96" y="796"/>
                  </a:lnTo>
                  <a:lnTo>
                    <a:pt x="91" y="808"/>
                  </a:lnTo>
                  <a:lnTo>
                    <a:pt x="97" y="816"/>
                  </a:lnTo>
                  <a:lnTo>
                    <a:pt x="94" y="818"/>
                  </a:lnTo>
                  <a:lnTo>
                    <a:pt x="80" y="819"/>
                  </a:lnTo>
                  <a:lnTo>
                    <a:pt x="62" y="855"/>
                  </a:lnTo>
                  <a:lnTo>
                    <a:pt x="72" y="894"/>
                  </a:lnTo>
                  <a:lnTo>
                    <a:pt x="71" y="916"/>
                  </a:lnTo>
                  <a:lnTo>
                    <a:pt x="93" y="969"/>
                  </a:lnTo>
                  <a:lnTo>
                    <a:pt x="80" y="969"/>
                  </a:lnTo>
                  <a:lnTo>
                    <a:pt x="82" y="997"/>
                  </a:lnTo>
                  <a:lnTo>
                    <a:pt x="72" y="1017"/>
                  </a:lnTo>
                  <a:lnTo>
                    <a:pt x="76" y="1036"/>
                  </a:lnTo>
                  <a:lnTo>
                    <a:pt x="82" y="1039"/>
                  </a:lnTo>
                  <a:lnTo>
                    <a:pt x="77" y="1050"/>
                  </a:lnTo>
                  <a:lnTo>
                    <a:pt x="127" y="1070"/>
                  </a:lnTo>
                  <a:lnTo>
                    <a:pt x="127" y="1080"/>
                  </a:lnTo>
                  <a:lnTo>
                    <a:pt x="133" y="1085"/>
                  </a:lnTo>
                  <a:lnTo>
                    <a:pt x="147" y="1077"/>
                  </a:lnTo>
                  <a:lnTo>
                    <a:pt x="147" y="1092"/>
                  </a:lnTo>
                  <a:lnTo>
                    <a:pt x="161" y="1113"/>
                  </a:lnTo>
                  <a:lnTo>
                    <a:pt x="150" y="1124"/>
                  </a:lnTo>
                  <a:lnTo>
                    <a:pt x="162" y="1121"/>
                  </a:lnTo>
                  <a:lnTo>
                    <a:pt x="170" y="1104"/>
                  </a:lnTo>
                  <a:lnTo>
                    <a:pt x="178" y="1116"/>
                  </a:lnTo>
                  <a:lnTo>
                    <a:pt x="216" y="1105"/>
                  </a:lnTo>
                  <a:lnTo>
                    <a:pt x="232" y="1092"/>
                  </a:lnTo>
                  <a:lnTo>
                    <a:pt x="263" y="1084"/>
                  </a:lnTo>
                  <a:lnTo>
                    <a:pt x="271" y="1071"/>
                  </a:lnTo>
                  <a:lnTo>
                    <a:pt x="274" y="1080"/>
                  </a:lnTo>
                  <a:lnTo>
                    <a:pt x="289" y="1075"/>
                  </a:lnTo>
                  <a:lnTo>
                    <a:pt x="288" y="1067"/>
                  </a:lnTo>
                  <a:lnTo>
                    <a:pt x="370" y="1056"/>
                  </a:lnTo>
                  <a:lnTo>
                    <a:pt x="475" y="957"/>
                  </a:lnTo>
                  <a:lnTo>
                    <a:pt x="543" y="850"/>
                  </a:lnTo>
                  <a:lnTo>
                    <a:pt x="545" y="818"/>
                  </a:lnTo>
                  <a:lnTo>
                    <a:pt x="490" y="748"/>
                  </a:lnTo>
                  <a:lnTo>
                    <a:pt x="507" y="691"/>
                  </a:lnTo>
                  <a:lnTo>
                    <a:pt x="487" y="664"/>
                  </a:lnTo>
                  <a:lnTo>
                    <a:pt x="482" y="633"/>
                  </a:lnTo>
                  <a:lnTo>
                    <a:pt x="469" y="629"/>
                  </a:lnTo>
                  <a:lnTo>
                    <a:pt x="469" y="579"/>
                  </a:lnTo>
                  <a:lnTo>
                    <a:pt x="486" y="523"/>
                  </a:lnTo>
                  <a:lnTo>
                    <a:pt x="444" y="393"/>
                  </a:lnTo>
                  <a:lnTo>
                    <a:pt x="481" y="315"/>
                  </a:lnTo>
                  <a:lnTo>
                    <a:pt x="477" y="296"/>
                  </a:lnTo>
                  <a:lnTo>
                    <a:pt x="452" y="253"/>
                  </a:lnTo>
                  <a:lnTo>
                    <a:pt x="419" y="239"/>
                  </a:lnTo>
                  <a:lnTo>
                    <a:pt x="411" y="188"/>
                  </a:lnTo>
                  <a:lnTo>
                    <a:pt x="436" y="132"/>
                  </a:lnTo>
                  <a:lnTo>
                    <a:pt x="428" y="117"/>
                  </a:lnTo>
                  <a:lnTo>
                    <a:pt x="448" y="87"/>
                  </a:lnTo>
                  <a:lnTo>
                    <a:pt x="441" y="50"/>
                  </a:lnTo>
                  <a:lnTo>
                    <a:pt x="388" y="0"/>
                  </a:lnTo>
                  <a:lnTo>
                    <a:pt x="342" y="19"/>
                  </a:lnTo>
                  <a:lnTo>
                    <a:pt x="296" y="38"/>
                  </a:lnTo>
                  <a:lnTo>
                    <a:pt x="286" y="64"/>
                  </a:lnTo>
                  <a:lnTo>
                    <a:pt x="283" y="141"/>
                  </a:lnTo>
                  <a:lnTo>
                    <a:pt x="230" y="181"/>
                  </a:lnTo>
                  <a:lnTo>
                    <a:pt x="204" y="155"/>
                  </a:lnTo>
                  <a:lnTo>
                    <a:pt x="176" y="180"/>
                  </a:lnTo>
                  <a:lnTo>
                    <a:pt x="131" y="171"/>
                  </a:lnTo>
                  <a:lnTo>
                    <a:pt x="97" y="112"/>
                  </a:lnTo>
                  <a:lnTo>
                    <a:pt x="76" y="96"/>
                  </a:lnTo>
                  <a:lnTo>
                    <a:pt x="65" y="101"/>
                  </a:lnTo>
                  <a:lnTo>
                    <a:pt x="69" y="124"/>
                  </a:lnTo>
                  <a:lnTo>
                    <a:pt x="45" y="132"/>
                  </a:lnTo>
                  <a:close/>
                  <a:moveTo>
                    <a:pt x="136" y="1107"/>
                  </a:moveTo>
                  <a:lnTo>
                    <a:pt x="144" y="1084"/>
                  </a:lnTo>
                  <a:lnTo>
                    <a:pt x="128" y="1092"/>
                  </a:lnTo>
                  <a:lnTo>
                    <a:pt x="123" y="1105"/>
                  </a:lnTo>
                  <a:lnTo>
                    <a:pt x="136" y="1107"/>
                  </a:lnTo>
                  <a:close/>
                  <a:moveTo>
                    <a:pt x="99" y="1092"/>
                  </a:moveTo>
                  <a:lnTo>
                    <a:pt x="91" y="1096"/>
                  </a:lnTo>
                  <a:lnTo>
                    <a:pt x="99" y="1099"/>
                  </a:lnTo>
                  <a:lnTo>
                    <a:pt x="99" y="1092"/>
                  </a:lnTo>
                  <a:close/>
                  <a:moveTo>
                    <a:pt x="17" y="1075"/>
                  </a:moveTo>
                  <a:lnTo>
                    <a:pt x="3" y="1075"/>
                  </a:lnTo>
                  <a:lnTo>
                    <a:pt x="6" y="1085"/>
                  </a:lnTo>
                  <a:lnTo>
                    <a:pt x="0" y="1084"/>
                  </a:lnTo>
                  <a:lnTo>
                    <a:pt x="0" y="1099"/>
                  </a:lnTo>
                  <a:lnTo>
                    <a:pt x="18" y="1109"/>
                  </a:lnTo>
                  <a:lnTo>
                    <a:pt x="22" y="1104"/>
                  </a:lnTo>
                  <a:lnTo>
                    <a:pt x="13" y="1093"/>
                  </a:lnTo>
                  <a:lnTo>
                    <a:pt x="20" y="1085"/>
                  </a:lnTo>
                  <a:lnTo>
                    <a:pt x="17" y="1075"/>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424" name="Freeform 150">
              <a:extLst>
                <a:ext uri="{FF2B5EF4-FFF2-40B4-BE49-F238E27FC236}">
                  <a16:creationId xmlns:a16="http://schemas.microsoft.com/office/drawing/2014/main" id="{D948CCB0-E6CB-B143-925E-09B184CB655E}"/>
                </a:ext>
              </a:extLst>
            </p:cNvPr>
            <p:cNvSpPr>
              <a:spLocks noChangeAspect="1" noEditPoints="1"/>
            </p:cNvSpPr>
            <p:nvPr/>
          </p:nvSpPr>
          <p:spPr bwMode="gray">
            <a:xfrm>
              <a:off x="4814817" y="2350310"/>
              <a:ext cx="155778" cy="151528"/>
            </a:xfrm>
            <a:custGeom>
              <a:avLst/>
              <a:gdLst>
                <a:gd name="T0" fmla="*/ 176 w 320"/>
                <a:gd name="T1" fmla="*/ 147 h 259"/>
                <a:gd name="T2" fmla="*/ 175 w 320"/>
                <a:gd name="T3" fmla="*/ 171 h 259"/>
                <a:gd name="T4" fmla="*/ 186 w 320"/>
                <a:gd name="T5" fmla="*/ 161 h 259"/>
                <a:gd name="T6" fmla="*/ 186 w 320"/>
                <a:gd name="T7" fmla="*/ 171 h 259"/>
                <a:gd name="T8" fmla="*/ 181 w 320"/>
                <a:gd name="T9" fmla="*/ 144 h 259"/>
                <a:gd name="T10" fmla="*/ 212 w 320"/>
                <a:gd name="T11" fmla="*/ 149 h 259"/>
                <a:gd name="T12" fmla="*/ 197 w 320"/>
                <a:gd name="T13" fmla="*/ 184 h 259"/>
                <a:gd name="T14" fmla="*/ 193 w 320"/>
                <a:gd name="T15" fmla="*/ 208 h 259"/>
                <a:gd name="T16" fmla="*/ 173 w 320"/>
                <a:gd name="T17" fmla="*/ 221 h 259"/>
                <a:gd name="T18" fmla="*/ 175 w 320"/>
                <a:gd name="T19" fmla="*/ 211 h 259"/>
                <a:gd name="T20" fmla="*/ 144 w 320"/>
                <a:gd name="T21" fmla="*/ 198 h 259"/>
                <a:gd name="T22" fmla="*/ 135 w 320"/>
                <a:gd name="T23" fmla="*/ 167 h 259"/>
                <a:gd name="T24" fmla="*/ 156 w 320"/>
                <a:gd name="T25" fmla="*/ 146 h 259"/>
                <a:gd name="T26" fmla="*/ 135 w 320"/>
                <a:gd name="T27" fmla="*/ 211 h 259"/>
                <a:gd name="T28" fmla="*/ 125 w 320"/>
                <a:gd name="T29" fmla="*/ 249 h 259"/>
                <a:gd name="T30" fmla="*/ 132 w 320"/>
                <a:gd name="T31" fmla="*/ 220 h 259"/>
                <a:gd name="T32" fmla="*/ 159 w 320"/>
                <a:gd name="T33" fmla="*/ 237 h 259"/>
                <a:gd name="T34" fmla="*/ 176 w 320"/>
                <a:gd name="T35" fmla="*/ 252 h 259"/>
                <a:gd name="T36" fmla="*/ 141 w 320"/>
                <a:gd name="T37" fmla="*/ 243 h 259"/>
                <a:gd name="T38" fmla="*/ 141 w 320"/>
                <a:gd name="T39" fmla="*/ 232 h 259"/>
                <a:gd name="T40" fmla="*/ 176 w 320"/>
                <a:gd name="T41" fmla="*/ 228 h 259"/>
                <a:gd name="T42" fmla="*/ 184 w 320"/>
                <a:gd name="T43" fmla="*/ 259 h 259"/>
                <a:gd name="T44" fmla="*/ 176 w 320"/>
                <a:gd name="T45" fmla="*/ 228 h 259"/>
                <a:gd name="T46" fmla="*/ 319 w 320"/>
                <a:gd name="T47" fmla="*/ 211 h 259"/>
                <a:gd name="T48" fmla="*/ 303 w 320"/>
                <a:gd name="T49" fmla="*/ 218 h 259"/>
                <a:gd name="T50" fmla="*/ 28 w 320"/>
                <a:gd name="T51" fmla="*/ 234 h 259"/>
                <a:gd name="T52" fmla="*/ 74 w 320"/>
                <a:gd name="T53" fmla="*/ 234 h 259"/>
                <a:gd name="T54" fmla="*/ 71 w 320"/>
                <a:gd name="T55" fmla="*/ 208 h 259"/>
                <a:gd name="T56" fmla="*/ 76 w 320"/>
                <a:gd name="T57" fmla="*/ 175 h 259"/>
                <a:gd name="T58" fmla="*/ 87 w 320"/>
                <a:gd name="T59" fmla="*/ 167 h 259"/>
                <a:gd name="T60" fmla="*/ 102 w 320"/>
                <a:gd name="T61" fmla="*/ 147 h 259"/>
                <a:gd name="T62" fmla="*/ 110 w 320"/>
                <a:gd name="T63" fmla="*/ 135 h 259"/>
                <a:gd name="T64" fmla="*/ 127 w 320"/>
                <a:gd name="T65" fmla="*/ 105 h 259"/>
                <a:gd name="T66" fmla="*/ 95 w 320"/>
                <a:gd name="T67" fmla="*/ 98 h 259"/>
                <a:gd name="T68" fmla="*/ 91 w 320"/>
                <a:gd name="T69" fmla="*/ 91 h 259"/>
                <a:gd name="T70" fmla="*/ 102 w 320"/>
                <a:gd name="T71" fmla="*/ 56 h 259"/>
                <a:gd name="T72" fmla="*/ 107 w 320"/>
                <a:gd name="T73" fmla="*/ 17 h 259"/>
                <a:gd name="T74" fmla="*/ 85 w 320"/>
                <a:gd name="T75" fmla="*/ 13 h 259"/>
                <a:gd name="T76" fmla="*/ 24 w 320"/>
                <a:gd name="T77" fmla="*/ 53 h 259"/>
                <a:gd name="T78" fmla="*/ 0 w 320"/>
                <a:gd name="T79" fmla="*/ 113 h 259"/>
                <a:gd name="T80" fmla="*/ 19 w 320"/>
                <a:gd name="T81" fmla="*/ 184 h 259"/>
                <a:gd name="T82" fmla="*/ 28 w 320"/>
                <a:gd name="T83" fmla="*/ 234 h 259"/>
                <a:gd name="T84" fmla="*/ 115 w 320"/>
                <a:gd name="T85" fmla="*/ 183 h 259"/>
                <a:gd name="T86" fmla="*/ 132 w 320"/>
                <a:gd name="T87" fmla="*/ 203 h 259"/>
                <a:gd name="T88" fmla="*/ 96 w 320"/>
                <a:gd name="T89" fmla="*/ 220 h 259"/>
                <a:gd name="T90" fmla="*/ 87 w 320"/>
                <a:gd name="T91" fmla="*/ 208 h 259"/>
                <a:gd name="T92" fmla="*/ 93 w 320"/>
                <a:gd name="T93" fmla="*/ 18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259">
                  <a:moveTo>
                    <a:pt x="156" y="146"/>
                  </a:moveTo>
                  <a:lnTo>
                    <a:pt x="176" y="147"/>
                  </a:lnTo>
                  <a:lnTo>
                    <a:pt x="171" y="161"/>
                  </a:lnTo>
                  <a:lnTo>
                    <a:pt x="175" y="171"/>
                  </a:lnTo>
                  <a:lnTo>
                    <a:pt x="183" y="150"/>
                  </a:lnTo>
                  <a:lnTo>
                    <a:pt x="186" y="161"/>
                  </a:lnTo>
                  <a:lnTo>
                    <a:pt x="183" y="169"/>
                  </a:lnTo>
                  <a:lnTo>
                    <a:pt x="186" y="171"/>
                  </a:lnTo>
                  <a:lnTo>
                    <a:pt x="188" y="150"/>
                  </a:lnTo>
                  <a:lnTo>
                    <a:pt x="181" y="144"/>
                  </a:lnTo>
                  <a:lnTo>
                    <a:pt x="201" y="133"/>
                  </a:lnTo>
                  <a:lnTo>
                    <a:pt x="212" y="149"/>
                  </a:lnTo>
                  <a:lnTo>
                    <a:pt x="217" y="171"/>
                  </a:lnTo>
                  <a:lnTo>
                    <a:pt x="197" y="184"/>
                  </a:lnTo>
                  <a:lnTo>
                    <a:pt x="205" y="204"/>
                  </a:lnTo>
                  <a:lnTo>
                    <a:pt x="193" y="208"/>
                  </a:lnTo>
                  <a:lnTo>
                    <a:pt x="192" y="225"/>
                  </a:lnTo>
                  <a:lnTo>
                    <a:pt x="173" y="221"/>
                  </a:lnTo>
                  <a:lnTo>
                    <a:pt x="169" y="218"/>
                  </a:lnTo>
                  <a:lnTo>
                    <a:pt x="175" y="211"/>
                  </a:lnTo>
                  <a:lnTo>
                    <a:pt x="152" y="209"/>
                  </a:lnTo>
                  <a:lnTo>
                    <a:pt x="144" y="198"/>
                  </a:lnTo>
                  <a:lnTo>
                    <a:pt x="147" y="178"/>
                  </a:lnTo>
                  <a:lnTo>
                    <a:pt x="135" y="167"/>
                  </a:lnTo>
                  <a:lnTo>
                    <a:pt x="163" y="155"/>
                  </a:lnTo>
                  <a:lnTo>
                    <a:pt x="156" y="146"/>
                  </a:lnTo>
                  <a:close/>
                  <a:moveTo>
                    <a:pt x="132" y="220"/>
                  </a:moveTo>
                  <a:lnTo>
                    <a:pt x="135" y="211"/>
                  </a:lnTo>
                  <a:lnTo>
                    <a:pt x="138" y="223"/>
                  </a:lnTo>
                  <a:lnTo>
                    <a:pt x="125" y="249"/>
                  </a:lnTo>
                  <a:lnTo>
                    <a:pt x="122" y="237"/>
                  </a:lnTo>
                  <a:lnTo>
                    <a:pt x="132" y="220"/>
                  </a:lnTo>
                  <a:close/>
                  <a:moveTo>
                    <a:pt x="150" y="228"/>
                  </a:moveTo>
                  <a:lnTo>
                    <a:pt x="159" y="237"/>
                  </a:lnTo>
                  <a:lnTo>
                    <a:pt x="169" y="234"/>
                  </a:lnTo>
                  <a:lnTo>
                    <a:pt x="176" y="252"/>
                  </a:lnTo>
                  <a:lnTo>
                    <a:pt x="158" y="255"/>
                  </a:lnTo>
                  <a:lnTo>
                    <a:pt x="141" y="243"/>
                  </a:lnTo>
                  <a:lnTo>
                    <a:pt x="144" y="237"/>
                  </a:lnTo>
                  <a:lnTo>
                    <a:pt x="141" y="232"/>
                  </a:lnTo>
                  <a:lnTo>
                    <a:pt x="150" y="228"/>
                  </a:lnTo>
                  <a:close/>
                  <a:moveTo>
                    <a:pt x="176" y="228"/>
                  </a:moveTo>
                  <a:lnTo>
                    <a:pt x="189" y="237"/>
                  </a:lnTo>
                  <a:lnTo>
                    <a:pt x="184" y="259"/>
                  </a:lnTo>
                  <a:lnTo>
                    <a:pt x="173" y="229"/>
                  </a:lnTo>
                  <a:lnTo>
                    <a:pt x="176" y="228"/>
                  </a:lnTo>
                  <a:close/>
                  <a:moveTo>
                    <a:pt x="320" y="225"/>
                  </a:moveTo>
                  <a:lnTo>
                    <a:pt x="319" y="211"/>
                  </a:lnTo>
                  <a:lnTo>
                    <a:pt x="305" y="203"/>
                  </a:lnTo>
                  <a:lnTo>
                    <a:pt x="303" y="218"/>
                  </a:lnTo>
                  <a:lnTo>
                    <a:pt x="320" y="225"/>
                  </a:lnTo>
                  <a:close/>
                  <a:moveTo>
                    <a:pt x="28" y="234"/>
                  </a:moveTo>
                  <a:lnTo>
                    <a:pt x="66" y="235"/>
                  </a:lnTo>
                  <a:lnTo>
                    <a:pt x="74" y="234"/>
                  </a:lnTo>
                  <a:lnTo>
                    <a:pt x="62" y="220"/>
                  </a:lnTo>
                  <a:lnTo>
                    <a:pt x="71" y="208"/>
                  </a:lnTo>
                  <a:lnTo>
                    <a:pt x="70" y="184"/>
                  </a:lnTo>
                  <a:lnTo>
                    <a:pt x="76" y="175"/>
                  </a:lnTo>
                  <a:lnTo>
                    <a:pt x="70" y="167"/>
                  </a:lnTo>
                  <a:lnTo>
                    <a:pt x="87" y="167"/>
                  </a:lnTo>
                  <a:lnTo>
                    <a:pt x="82" y="155"/>
                  </a:lnTo>
                  <a:lnTo>
                    <a:pt x="102" y="147"/>
                  </a:lnTo>
                  <a:lnTo>
                    <a:pt x="104" y="127"/>
                  </a:lnTo>
                  <a:lnTo>
                    <a:pt x="110" y="135"/>
                  </a:lnTo>
                  <a:lnTo>
                    <a:pt x="129" y="120"/>
                  </a:lnTo>
                  <a:lnTo>
                    <a:pt x="127" y="105"/>
                  </a:lnTo>
                  <a:lnTo>
                    <a:pt x="96" y="107"/>
                  </a:lnTo>
                  <a:lnTo>
                    <a:pt x="95" y="98"/>
                  </a:lnTo>
                  <a:lnTo>
                    <a:pt x="99" y="91"/>
                  </a:lnTo>
                  <a:lnTo>
                    <a:pt x="91" y="91"/>
                  </a:lnTo>
                  <a:lnTo>
                    <a:pt x="98" y="87"/>
                  </a:lnTo>
                  <a:lnTo>
                    <a:pt x="102" y="56"/>
                  </a:lnTo>
                  <a:lnTo>
                    <a:pt x="110" y="40"/>
                  </a:lnTo>
                  <a:lnTo>
                    <a:pt x="107" y="17"/>
                  </a:lnTo>
                  <a:lnTo>
                    <a:pt x="108" y="0"/>
                  </a:lnTo>
                  <a:lnTo>
                    <a:pt x="85" y="13"/>
                  </a:lnTo>
                  <a:lnTo>
                    <a:pt x="59" y="45"/>
                  </a:lnTo>
                  <a:lnTo>
                    <a:pt x="24" y="53"/>
                  </a:lnTo>
                  <a:lnTo>
                    <a:pt x="11" y="70"/>
                  </a:lnTo>
                  <a:lnTo>
                    <a:pt x="0" y="113"/>
                  </a:lnTo>
                  <a:lnTo>
                    <a:pt x="3" y="181"/>
                  </a:lnTo>
                  <a:lnTo>
                    <a:pt x="19" y="184"/>
                  </a:lnTo>
                  <a:lnTo>
                    <a:pt x="28" y="198"/>
                  </a:lnTo>
                  <a:lnTo>
                    <a:pt x="28" y="234"/>
                  </a:lnTo>
                  <a:close/>
                  <a:moveTo>
                    <a:pt x="93" y="183"/>
                  </a:moveTo>
                  <a:lnTo>
                    <a:pt x="115" y="183"/>
                  </a:lnTo>
                  <a:lnTo>
                    <a:pt x="118" y="174"/>
                  </a:lnTo>
                  <a:lnTo>
                    <a:pt x="132" y="203"/>
                  </a:lnTo>
                  <a:lnTo>
                    <a:pt x="129" y="218"/>
                  </a:lnTo>
                  <a:lnTo>
                    <a:pt x="96" y="220"/>
                  </a:lnTo>
                  <a:lnTo>
                    <a:pt x="99" y="213"/>
                  </a:lnTo>
                  <a:lnTo>
                    <a:pt x="87" y="208"/>
                  </a:lnTo>
                  <a:lnTo>
                    <a:pt x="79" y="186"/>
                  </a:lnTo>
                  <a:lnTo>
                    <a:pt x="93" y="183"/>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25" name="Freeform 151">
              <a:extLst>
                <a:ext uri="{FF2B5EF4-FFF2-40B4-BE49-F238E27FC236}">
                  <a16:creationId xmlns:a16="http://schemas.microsoft.com/office/drawing/2014/main" id="{CD89383C-3DDD-5545-BF92-34148765979A}"/>
                </a:ext>
              </a:extLst>
            </p:cNvPr>
            <p:cNvSpPr>
              <a:spLocks noChangeAspect="1" noEditPoints="1"/>
            </p:cNvSpPr>
            <p:nvPr/>
          </p:nvSpPr>
          <p:spPr bwMode="gray">
            <a:xfrm>
              <a:off x="4768720" y="2488413"/>
              <a:ext cx="200287" cy="324157"/>
            </a:xfrm>
            <a:custGeom>
              <a:avLst/>
              <a:gdLst>
                <a:gd name="T0" fmla="*/ 360 w 413"/>
                <a:gd name="T1" fmla="*/ 463 h 552"/>
                <a:gd name="T2" fmla="*/ 339 w 413"/>
                <a:gd name="T3" fmla="*/ 486 h 552"/>
                <a:gd name="T4" fmla="*/ 317 w 413"/>
                <a:gd name="T5" fmla="*/ 503 h 552"/>
                <a:gd name="T6" fmla="*/ 317 w 413"/>
                <a:gd name="T7" fmla="*/ 540 h 552"/>
                <a:gd name="T8" fmla="*/ 292 w 413"/>
                <a:gd name="T9" fmla="*/ 529 h 552"/>
                <a:gd name="T10" fmla="*/ 212 w 413"/>
                <a:gd name="T11" fmla="*/ 540 h 552"/>
                <a:gd name="T12" fmla="*/ 179 w 413"/>
                <a:gd name="T13" fmla="*/ 540 h 552"/>
                <a:gd name="T14" fmla="*/ 131 w 413"/>
                <a:gd name="T15" fmla="*/ 532 h 552"/>
                <a:gd name="T16" fmla="*/ 74 w 413"/>
                <a:gd name="T17" fmla="*/ 536 h 552"/>
                <a:gd name="T18" fmla="*/ 82 w 413"/>
                <a:gd name="T19" fmla="*/ 472 h 552"/>
                <a:gd name="T20" fmla="*/ 36 w 413"/>
                <a:gd name="T21" fmla="*/ 426 h 552"/>
                <a:gd name="T22" fmla="*/ 17 w 413"/>
                <a:gd name="T23" fmla="*/ 385 h 552"/>
                <a:gd name="T24" fmla="*/ 12 w 413"/>
                <a:gd name="T25" fmla="*/ 362 h 552"/>
                <a:gd name="T26" fmla="*/ 14 w 413"/>
                <a:gd name="T27" fmla="*/ 337 h 552"/>
                <a:gd name="T28" fmla="*/ 0 w 413"/>
                <a:gd name="T29" fmla="*/ 295 h 552"/>
                <a:gd name="T30" fmla="*/ 3 w 413"/>
                <a:gd name="T31" fmla="*/ 229 h 552"/>
                <a:gd name="T32" fmla="*/ 34 w 413"/>
                <a:gd name="T33" fmla="*/ 215 h 552"/>
                <a:gd name="T34" fmla="*/ 49 w 413"/>
                <a:gd name="T35" fmla="*/ 190 h 552"/>
                <a:gd name="T36" fmla="*/ 32 w 413"/>
                <a:gd name="T37" fmla="*/ 175 h 552"/>
                <a:gd name="T38" fmla="*/ 53 w 413"/>
                <a:gd name="T39" fmla="*/ 130 h 552"/>
                <a:gd name="T40" fmla="*/ 53 w 413"/>
                <a:gd name="T41" fmla="*/ 114 h 552"/>
                <a:gd name="T42" fmla="*/ 83 w 413"/>
                <a:gd name="T43" fmla="*/ 94 h 552"/>
                <a:gd name="T44" fmla="*/ 104 w 413"/>
                <a:gd name="T45" fmla="*/ 114 h 552"/>
                <a:gd name="T46" fmla="*/ 108 w 413"/>
                <a:gd name="T47" fmla="*/ 106 h 552"/>
                <a:gd name="T48" fmla="*/ 125 w 413"/>
                <a:gd name="T49" fmla="*/ 125 h 552"/>
                <a:gd name="T50" fmla="*/ 122 w 413"/>
                <a:gd name="T51" fmla="*/ 89 h 552"/>
                <a:gd name="T52" fmla="*/ 134 w 413"/>
                <a:gd name="T53" fmla="*/ 72 h 552"/>
                <a:gd name="T54" fmla="*/ 134 w 413"/>
                <a:gd name="T55" fmla="*/ 48 h 552"/>
                <a:gd name="T56" fmla="*/ 139 w 413"/>
                <a:gd name="T57" fmla="*/ 31 h 552"/>
                <a:gd name="T58" fmla="*/ 125 w 413"/>
                <a:gd name="T59" fmla="*/ 0 h 552"/>
                <a:gd name="T60" fmla="*/ 159 w 413"/>
                <a:gd name="T61" fmla="*/ 4 h 552"/>
                <a:gd name="T62" fmla="*/ 184 w 413"/>
                <a:gd name="T63" fmla="*/ 18 h 552"/>
                <a:gd name="T64" fmla="*/ 188 w 413"/>
                <a:gd name="T65" fmla="*/ 42 h 552"/>
                <a:gd name="T66" fmla="*/ 210 w 413"/>
                <a:gd name="T67" fmla="*/ 45 h 552"/>
                <a:gd name="T68" fmla="*/ 221 w 413"/>
                <a:gd name="T69" fmla="*/ 74 h 552"/>
                <a:gd name="T70" fmla="*/ 249 w 413"/>
                <a:gd name="T71" fmla="*/ 69 h 552"/>
                <a:gd name="T72" fmla="*/ 278 w 413"/>
                <a:gd name="T73" fmla="*/ 54 h 552"/>
                <a:gd name="T74" fmla="*/ 303 w 413"/>
                <a:gd name="T75" fmla="*/ 34 h 552"/>
                <a:gd name="T76" fmla="*/ 295 w 413"/>
                <a:gd name="T77" fmla="*/ 48 h 552"/>
                <a:gd name="T78" fmla="*/ 334 w 413"/>
                <a:gd name="T79" fmla="*/ 55 h 552"/>
                <a:gd name="T80" fmla="*/ 360 w 413"/>
                <a:gd name="T81" fmla="*/ 82 h 552"/>
                <a:gd name="T82" fmla="*/ 387 w 413"/>
                <a:gd name="T83" fmla="*/ 111 h 552"/>
                <a:gd name="T84" fmla="*/ 376 w 413"/>
                <a:gd name="T85" fmla="*/ 162 h 552"/>
                <a:gd name="T86" fmla="*/ 396 w 413"/>
                <a:gd name="T87" fmla="*/ 220 h 552"/>
                <a:gd name="T88" fmla="*/ 413 w 413"/>
                <a:gd name="T89" fmla="*/ 269 h 552"/>
                <a:gd name="T90" fmla="*/ 380 w 413"/>
                <a:gd name="T91" fmla="*/ 287 h 552"/>
                <a:gd name="T92" fmla="*/ 297 w 413"/>
                <a:gd name="T93" fmla="*/ 345 h 552"/>
                <a:gd name="T94" fmla="*/ 278 w 413"/>
                <a:gd name="T95" fmla="*/ 345 h 552"/>
                <a:gd name="T96" fmla="*/ 294 w 413"/>
                <a:gd name="T97" fmla="*/ 370 h 552"/>
                <a:gd name="T98" fmla="*/ 303 w 413"/>
                <a:gd name="T99" fmla="*/ 405 h 552"/>
                <a:gd name="T100" fmla="*/ 351 w 413"/>
                <a:gd name="T101" fmla="*/ 35 h 552"/>
                <a:gd name="T102" fmla="*/ 329 w 413"/>
                <a:gd name="T103" fmla="*/ 43 h 552"/>
                <a:gd name="T104" fmla="*/ 345 w 413"/>
                <a:gd name="T105" fmla="*/ 34 h 552"/>
                <a:gd name="T106" fmla="*/ 353 w 413"/>
                <a:gd name="T107" fmla="*/ 25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3" h="552">
                  <a:moveTo>
                    <a:pt x="362" y="456"/>
                  </a:moveTo>
                  <a:lnTo>
                    <a:pt x="360" y="463"/>
                  </a:lnTo>
                  <a:lnTo>
                    <a:pt x="346" y="470"/>
                  </a:lnTo>
                  <a:lnTo>
                    <a:pt x="339" y="486"/>
                  </a:lnTo>
                  <a:lnTo>
                    <a:pt x="320" y="492"/>
                  </a:lnTo>
                  <a:lnTo>
                    <a:pt x="317" y="503"/>
                  </a:lnTo>
                  <a:lnTo>
                    <a:pt x="324" y="536"/>
                  </a:lnTo>
                  <a:lnTo>
                    <a:pt x="317" y="540"/>
                  </a:lnTo>
                  <a:lnTo>
                    <a:pt x="314" y="532"/>
                  </a:lnTo>
                  <a:lnTo>
                    <a:pt x="292" y="529"/>
                  </a:lnTo>
                  <a:lnTo>
                    <a:pt x="244" y="548"/>
                  </a:lnTo>
                  <a:lnTo>
                    <a:pt x="212" y="540"/>
                  </a:lnTo>
                  <a:lnTo>
                    <a:pt x="199" y="552"/>
                  </a:lnTo>
                  <a:lnTo>
                    <a:pt x="179" y="540"/>
                  </a:lnTo>
                  <a:lnTo>
                    <a:pt x="163" y="544"/>
                  </a:lnTo>
                  <a:lnTo>
                    <a:pt x="131" y="532"/>
                  </a:lnTo>
                  <a:lnTo>
                    <a:pt x="80" y="541"/>
                  </a:lnTo>
                  <a:lnTo>
                    <a:pt x="74" y="536"/>
                  </a:lnTo>
                  <a:lnTo>
                    <a:pt x="71" y="503"/>
                  </a:lnTo>
                  <a:lnTo>
                    <a:pt x="82" y="472"/>
                  </a:lnTo>
                  <a:lnTo>
                    <a:pt x="97" y="441"/>
                  </a:lnTo>
                  <a:lnTo>
                    <a:pt x="36" y="426"/>
                  </a:lnTo>
                  <a:lnTo>
                    <a:pt x="14" y="401"/>
                  </a:lnTo>
                  <a:lnTo>
                    <a:pt x="17" y="385"/>
                  </a:lnTo>
                  <a:lnTo>
                    <a:pt x="11" y="373"/>
                  </a:lnTo>
                  <a:lnTo>
                    <a:pt x="12" y="362"/>
                  </a:lnTo>
                  <a:lnTo>
                    <a:pt x="6" y="359"/>
                  </a:lnTo>
                  <a:lnTo>
                    <a:pt x="14" y="337"/>
                  </a:lnTo>
                  <a:lnTo>
                    <a:pt x="4" y="316"/>
                  </a:lnTo>
                  <a:lnTo>
                    <a:pt x="0" y="295"/>
                  </a:lnTo>
                  <a:lnTo>
                    <a:pt x="6" y="283"/>
                  </a:lnTo>
                  <a:lnTo>
                    <a:pt x="3" y="229"/>
                  </a:lnTo>
                  <a:lnTo>
                    <a:pt x="29" y="233"/>
                  </a:lnTo>
                  <a:lnTo>
                    <a:pt x="34" y="215"/>
                  </a:lnTo>
                  <a:lnTo>
                    <a:pt x="48" y="201"/>
                  </a:lnTo>
                  <a:lnTo>
                    <a:pt x="49" y="190"/>
                  </a:lnTo>
                  <a:lnTo>
                    <a:pt x="34" y="184"/>
                  </a:lnTo>
                  <a:lnTo>
                    <a:pt x="32" y="175"/>
                  </a:lnTo>
                  <a:lnTo>
                    <a:pt x="45" y="167"/>
                  </a:lnTo>
                  <a:lnTo>
                    <a:pt x="53" y="130"/>
                  </a:lnTo>
                  <a:lnTo>
                    <a:pt x="66" y="127"/>
                  </a:lnTo>
                  <a:lnTo>
                    <a:pt x="53" y="114"/>
                  </a:lnTo>
                  <a:lnTo>
                    <a:pt x="62" y="99"/>
                  </a:lnTo>
                  <a:lnTo>
                    <a:pt x="83" y="94"/>
                  </a:lnTo>
                  <a:lnTo>
                    <a:pt x="97" y="96"/>
                  </a:lnTo>
                  <a:lnTo>
                    <a:pt x="104" y="114"/>
                  </a:lnTo>
                  <a:lnTo>
                    <a:pt x="108" y="114"/>
                  </a:lnTo>
                  <a:lnTo>
                    <a:pt x="108" y="106"/>
                  </a:lnTo>
                  <a:lnTo>
                    <a:pt x="116" y="108"/>
                  </a:lnTo>
                  <a:lnTo>
                    <a:pt x="125" y="125"/>
                  </a:lnTo>
                  <a:lnTo>
                    <a:pt x="119" y="108"/>
                  </a:lnTo>
                  <a:lnTo>
                    <a:pt x="122" y="89"/>
                  </a:lnTo>
                  <a:lnTo>
                    <a:pt x="146" y="80"/>
                  </a:lnTo>
                  <a:lnTo>
                    <a:pt x="134" y="72"/>
                  </a:lnTo>
                  <a:lnTo>
                    <a:pt x="139" y="62"/>
                  </a:lnTo>
                  <a:lnTo>
                    <a:pt x="134" y="48"/>
                  </a:lnTo>
                  <a:lnTo>
                    <a:pt x="125" y="45"/>
                  </a:lnTo>
                  <a:lnTo>
                    <a:pt x="139" y="31"/>
                  </a:lnTo>
                  <a:lnTo>
                    <a:pt x="125" y="8"/>
                  </a:lnTo>
                  <a:lnTo>
                    <a:pt x="125" y="0"/>
                  </a:lnTo>
                  <a:lnTo>
                    <a:pt x="163" y="1"/>
                  </a:lnTo>
                  <a:lnTo>
                    <a:pt x="159" y="4"/>
                  </a:lnTo>
                  <a:lnTo>
                    <a:pt x="178" y="9"/>
                  </a:lnTo>
                  <a:lnTo>
                    <a:pt x="184" y="18"/>
                  </a:lnTo>
                  <a:lnTo>
                    <a:pt x="178" y="31"/>
                  </a:lnTo>
                  <a:lnTo>
                    <a:pt x="188" y="42"/>
                  </a:lnTo>
                  <a:lnTo>
                    <a:pt x="196" y="37"/>
                  </a:lnTo>
                  <a:lnTo>
                    <a:pt x="210" y="45"/>
                  </a:lnTo>
                  <a:lnTo>
                    <a:pt x="232" y="43"/>
                  </a:lnTo>
                  <a:lnTo>
                    <a:pt x="221" y="74"/>
                  </a:lnTo>
                  <a:lnTo>
                    <a:pt x="253" y="74"/>
                  </a:lnTo>
                  <a:lnTo>
                    <a:pt x="249" y="69"/>
                  </a:lnTo>
                  <a:lnTo>
                    <a:pt x="263" y="59"/>
                  </a:lnTo>
                  <a:lnTo>
                    <a:pt x="278" y="54"/>
                  </a:lnTo>
                  <a:lnTo>
                    <a:pt x="278" y="60"/>
                  </a:lnTo>
                  <a:lnTo>
                    <a:pt x="303" y="34"/>
                  </a:lnTo>
                  <a:lnTo>
                    <a:pt x="311" y="35"/>
                  </a:lnTo>
                  <a:lnTo>
                    <a:pt x="295" y="48"/>
                  </a:lnTo>
                  <a:lnTo>
                    <a:pt x="320" y="40"/>
                  </a:lnTo>
                  <a:lnTo>
                    <a:pt x="334" y="55"/>
                  </a:lnTo>
                  <a:lnTo>
                    <a:pt x="349" y="60"/>
                  </a:lnTo>
                  <a:lnTo>
                    <a:pt x="360" y="82"/>
                  </a:lnTo>
                  <a:lnTo>
                    <a:pt x="379" y="89"/>
                  </a:lnTo>
                  <a:lnTo>
                    <a:pt x="387" y="111"/>
                  </a:lnTo>
                  <a:lnTo>
                    <a:pt x="387" y="125"/>
                  </a:lnTo>
                  <a:lnTo>
                    <a:pt x="376" y="162"/>
                  </a:lnTo>
                  <a:lnTo>
                    <a:pt x="390" y="170"/>
                  </a:lnTo>
                  <a:lnTo>
                    <a:pt x="396" y="220"/>
                  </a:lnTo>
                  <a:lnTo>
                    <a:pt x="399" y="250"/>
                  </a:lnTo>
                  <a:lnTo>
                    <a:pt x="413" y="269"/>
                  </a:lnTo>
                  <a:lnTo>
                    <a:pt x="405" y="308"/>
                  </a:lnTo>
                  <a:lnTo>
                    <a:pt x="380" y="287"/>
                  </a:lnTo>
                  <a:lnTo>
                    <a:pt x="376" y="306"/>
                  </a:lnTo>
                  <a:lnTo>
                    <a:pt x="297" y="345"/>
                  </a:lnTo>
                  <a:lnTo>
                    <a:pt x="294" y="356"/>
                  </a:lnTo>
                  <a:lnTo>
                    <a:pt x="278" y="345"/>
                  </a:lnTo>
                  <a:lnTo>
                    <a:pt x="277" y="356"/>
                  </a:lnTo>
                  <a:lnTo>
                    <a:pt x="294" y="370"/>
                  </a:lnTo>
                  <a:lnTo>
                    <a:pt x="295" y="396"/>
                  </a:lnTo>
                  <a:lnTo>
                    <a:pt x="303" y="405"/>
                  </a:lnTo>
                  <a:lnTo>
                    <a:pt x="362" y="456"/>
                  </a:lnTo>
                  <a:close/>
                  <a:moveTo>
                    <a:pt x="351" y="35"/>
                  </a:moveTo>
                  <a:lnTo>
                    <a:pt x="353" y="48"/>
                  </a:lnTo>
                  <a:lnTo>
                    <a:pt x="329" y="43"/>
                  </a:lnTo>
                  <a:lnTo>
                    <a:pt x="329" y="28"/>
                  </a:lnTo>
                  <a:lnTo>
                    <a:pt x="345" y="34"/>
                  </a:lnTo>
                  <a:lnTo>
                    <a:pt x="336" y="18"/>
                  </a:lnTo>
                  <a:lnTo>
                    <a:pt x="353" y="25"/>
                  </a:lnTo>
                  <a:lnTo>
                    <a:pt x="351" y="35"/>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26" name="Freeform 152">
              <a:extLst>
                <a:ext uri="{FF2B5EF4-FFF2-40B4-BE49-F238E27FC236}">
                  <a16:creationId xmlns:a16="http://schemas.microsoft.com/office/drawing/2014/main" id="{0DDC7DB3-049C-984A-8DC6-A246915D5C67}"/>
                </a:ext>
              </a:extLst>
            </p:cNvPr>
            <p:cNvSpPr>
              <a:spLocks noChangeAspect="1" noEditPoints="1"/>
            </p:cNvSpPr>
            <p:nvPr/>
          </p:nvSpPr>
          <p:spPr bwMode="gray">
            <a:xfrm>
              <a:off x="4474650" y="2104795"/>
              <a:ext cx="12717" cy="49869"/>
            </a:xfrm>
            <a:custGeom>
              <a:avLst/>
              <a:gdLst>
                <a:gd name="T0" fmla="*/ 21 w 28"/>
                <a:gd name="T1" fmla="*/ 32 h 84"/>
                <a:gd name="T2" fmla="*/ 11 w 28"/>
                <a:gd name="T3" fmla="*/ 7 h 84"/>
                <a:gd name="T4" fmla="*/ 3 w 28"/>
                <a:gd name="T5" fmla="*/ 0 h 84"/>
                <a:gd name="T6" fmla="*/ 0 w 28"/>
                <a:gd name="T7" fmla="*/ 9 h 84"/>
                <a:gd name="T8" fmla="*/ 21 w 28"/>
                <a:gd name="T9" fmla="*/ 32 h 84"/>
                <a:gd name="T10" fmla="*/ 17 w 28"/>
                <a:gd name="T11" fmla="*/ 64 h 84"/>
                <a:gd name="T12" fmla="*/ 14 w 28"/>
                <a:gd name="T13" fmla="*/ 80 h 84"/>
                <a:gd name="T14" fmla="*/ 23 w 28"/>
                <a:gd name="T15" fmla="*/ 84 h 84"/>
                <a:gd name="T16" fmla="*/ 17 w 28"/>
                <a:gd name="T17" fmla="*/ 64 h 84"/>
                <a:gd name="T18" fmla="*/ 28 w 28"/>
                <a:gd name="T19" fmla="*/ 50 h 84"/>
                <a:gd name="T20" fmla="*/ 28 w 28"/>
                <a:gd name="T21" fmla="*/ 41 h 84"/>
                <a:gd name="T22" fmla="*/ 20 w 28"/>
                <a:gd name="T23" fmla="*/ 41 h 84"/>
                <a:gd name="T24" fmla="*/ 28 w 28"/>
                <a:gd name="T25"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84">
                  <a:moveTo>
                    <a:pt x="21" y="32"/>
                  </a:moveTo>
                  <a:lnTo>
                    <a:pt x="11" y="7"/>
                  </a:lnTo>
                  <a:lnTo>
                    <a:pt x="3" y="0"/>
                  </a:lnTo>
                  <a:lnTo>
                    <a:pt x="0" y="9"/>
                  </a:lnTo>
                  <a:lnTo>
                    <a:pt x="21" y="32"/>
                  </a:lnTo>
                  <a:close/>
                  <a:moveTo>
                    <a:pt x="17" y="64"/>
                  </a:moveTo>
                  <a:lnTo>
                    <a:pt x="14" y="80"/>
                  </a:lnTo>
                  <a:lnTo>
                    <a:pt x="23" y="84"/>
                  </a:lnTo>
                  <a:lnTo>
                    <a:pt x="17" y="64"/>
                  </a:lnTo>
                  <a:close/>
                  <a:moveTo>
                    <a:pt x="28" y="50"/>
                  </a:moveTo>
                  <a:lnTo>
                    <a:pt x="28" y="41"/>
                  </a:lnTo>
                  <a:lnTo>
                    <a:pt x="20" y="41"/>
                  </a:lnTo>
                  <a:lnTo>
                    <a:pt x="28" y="5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27" name="Freeform 153">
              <a:extLst>
                <a:ext uri="{FF2B5EF4-FFF2-40B4-BE49-F238E27FC236}">
                  <a16:creationId xmlns:a16="http://schemas.microsoft.com/office/drawing/2014/main" id="{D137E8AC-C536-5542-BC60-11B7EB644B1F}"/>
                </a:ext>
              </a:extLst>
            </p:cNvPr>
            <p:cNvSpPr>
              <a:spLocks noChangeAspect="1"/>
            </p:cNvSpPr>
            <p:nvPr/>
          </p:nvSpPr>
          <p:spPr bwMode="gray">
            <a:xfrm>
              <a:off x="4406297" y="2469233"/>
              <a:ext cx="108090" cy="174544"/>
            </a:xfrm>
            <a:custGeom>
              <a:avLst/>
              <a:gdLst>
                <a:gd name="T0" fmla="*/ 126 w 223"/>
                <a:gd name="T1" fmla="*/ 7 h 296"/>
                <a:gd name="T2" fmla="*/ 74 w 223"/>
                <a:gd name="T3" fmla="*/ 51 h 296"/>
                <a:gd name="T4" fmla="*/ 97 w 223"/>
                <a:gd name="T5" fmla="*/ 68 h 296"/>
                <a:gd name="T6" fmla="*/ 82 w 223"/>
                <a:gd name="T7" fmla="*/ 87 h 296"/>
                <a:gd name="T8" fmla="*/ 21 w 223"/>
                <a:gd name="T9" fmla="*/ 95 h 296"/>
                <a:gd name="T10" fmla="*/ 11 w 223"/>
                <a:gd name="T11" fmla="*/ 109 h 296"/>
                <a:gd name="T12" fmla="*/ 15 w 223"/>
                <a:gd name="T13" fmla="*/ 141 h 296"/>
                <a:gd name="T14" fmla="*/ 65 w 223"/>
                <a:gd name="T15" fmla="*/ 169 h 296"/>
                <a:gd name="T16" fmla="*/ 40 w 223"/>
                <a:gd name="T17" fmla="*/ 203 h 296"/>
                <a:gd name="T18" fmla="*/ 54 w 223"/>
                <a:gd name="T19" fmla="*/ 212 h 296"/>
                <a:gd name="T20" fmla="*/ 69 w 223"/>
                <a:gd name="T21" fmla="*/ 206 h 296"/>
                <a:gd name="T22" fmla="*/ 35 w 223"/>
                <a:gd name="T23" fmla="*/ 219 h 296"/>
                <a:gd name="T24" fmla="*/ 1 w 223"/>
                <a:gd name="T25" fmla="*/ 245 h 296"/>
                <a:gd name="T26" fmla="*/ 21 w 223"/>
                <a:gd name="T27" fmla="*/ 254 h 296"/>
                <a:gd name="T28" fmla="*/ 32 w 223"/>
                <a:gd name="T29" fmla="*/ 270 h 296"/>
                <a:gd name="T30" fmla="*/ 38 w 223"/>
                <a:gd name="T31" fmla="*/ 279 h 296"/>
                <a:gd name="T32" fmla="*/ 28 w 223"/>
                <a:gd name="T33" fmla="*/ 291 h 296"/>
                <a:gd name="T34" fmla="*/ 51 w 223"/>
                <a:gd name="T35" fmla="*/ 294 h 296"/>
                <a:gd name="T36" fmla="*/ 92 w 223"/>
                <a:gd name="T37" fmla="*/ 278 h 296"/>
                <a:gd name="T38" fmla="*/ 100 w 223"/>
                <a:gd name="T39" fmla="*/ 274 h 296"/>
                <a:gd name="T40" fmla="*/ 128 w 223"/>
                <a:gd name="T41" fmla="*/ 251 h 296"/>
                <a:gd name="T42" fmla="*/ 181 w 223"/>
                <a:gd name="T43" fmla="*/ 232 h 296"/>
                <a:gd name="T44" fmla="*/ 190 w 223"/>
                <a:gd name="T45" fmla="*/ 156 h 296"/>
                <a:gd name="T46" fmla="*/ 184 w 223"/>
                <a:gd name="T47" fmla="*/ 115 h 296"/>
                <a:gd name="T48" fmla="*/ 204 w 223"/>
                <a:gd name="T49" fmla="*/ 98 h 296"/>
                <a:gd name="T50" fmla="*/ 216 w 223"/>
                <a:gd name="T51" fmla="*/ 87 h 296"/>
                <a:gd name="T52" fmla="*/ 215 w 223"/>
                <a:gd name="T53" fmla="*/ 64 h 296"/>
                <a:gd name="T54" fmla="*/ 223 w 223"/>
                <a:gd name="T55" fmla="*/ 67 h 296"/>
                <a:gd name="T56" fmla="*/ 202 w 223"/>
                <a:gd name="T57" fmla="*/ 56 h 296"/>
                <a:gd name="T58" fmla="*/ 207 w 223"/>
                <a:gd name="T59" fmla="*/ 33 h 296"/>
                <a:gd name="T60" fmla="*/ 179 w 223"/>
                <a:gd name="T61" fmla="*/ 8 h 296"/>
                <a:gd name="T62" fmla="*/ 147 w 223"/>
                <a:gd name="T63" fmla="*/ 19 h 296"/>
                <a:gd name="T64" fmla="*/ 147 w 223"/>
                <a:gd name="T65" fmla="*/ 0 h 296"/>
                <a:gd name="T66" fmla="*/ 133 w 223"/>
                <a:gd name="T67" fmla="*/ 10 h 296"/>
                <a:gd name="T68" fmla="*/ 130 w 223"/>
                <a:gd name="T69" fmla="*/ 2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3" h="296">
                  <a:moveTo>
                    <a:pt x="130" y="28"/>
                  </a:moveTo>
                  <a:lnTo>
                    <a:pt x="126" y="7"/>
                  </a:lnTo>
                  <a:lnTo>
                    <a:pt x="100" y="16"/>
                  </a:lnTo>
                  <a:lnTo>
                    <a:pt x="74" y="51"/>
                  </a:lnTo>
                  <a:lnTo>
                    <a:pt x="100" y="56"/>
                  </a:lnTo>
                  <a:lnTo>
                    <a:pt x="97" y="68"/>
                  </a:lnTo>
                  <a:lnTo>
                    <a:pt x="82" y="78"/>
                  </a:lnTo>
                  <a:lnTo>
                    <a:pt x="82" y="87"/>
                  </a:lnTo>
                  <a:lnTo>
                    <a:pt x="29" y="81"/>
                  </a:lnTo>
                  <a:lnTo>
                    <a:pt x="21" y="95"/>
                  </a:lnTo>
                  <a:lnTo>
                    <a:pt x="25" y="109"/>
                  </a:lnTo>
                  <a:lnTo>
                    <a:pt x="11" y="109"/>
                  </a:lnTo>
                  <a:lnTo>
                    <a:pt x="37" y="122"/>
                  </a:lnTo>
                  <a:lnTo>
                    <a:pt x="15" y="141"/>
                  </a:lnTo>
                  <a:lnTo>
                    <a:pt x="23" y="158"/>
                  </a:lnTo>
                  <a:lnTo>
                    <a:pt x="65" y="169"/>
                  </a:lnTo>
                  <a:lnTo>
                    <a:pt x="45" y="183"/>
                  </a:lnTo>
                  <a:lnTo>
                    <a:pt x="40" y="203"/>
                  </a:lnTo>
                  <a:lnTo>
                    <a:pt x="26" y="215"/>
                  </a:lnTo>
                  <a:lnTo>
                    <a:pt x="54" y="212"/>
                  </a:lnTo>
                  <a:lnTo>
                    <a:pt x="68" y="198"/>
                  </a:lnTo>
                  <a:lnTo>
                    <a:pt x="69" y="206"/>
                  </a:lnTo>
                  <a:lnTo>
                    <a:pt x="76" y="211"/>
                  </a:lnTo>
                  <a:lnTo>
                    <a:pt x="35" y="219"/>
                  </a:lnTo>
                  <a:lnTo>
                    <a:pt x="23" y="240"/>
                  </a:lnTo>
                  <a:lnTo>
                    <a:pt x="1" y="245"/>
                  </a:lnTo>
                  <a:lnTo>
                    <a:pt x="0" y="253"/>
                  </a:lnTo>
                  <a:lnTo>
                    <a:pt x="21" y="254"/>
                  </a:lnTo>
                  <a:lnTo>
                    <a:pt x="3" y="271"/>
                  </a:lnTo>
                  <a:lnTo>
                    <a:pt x="32" y="270"/>
                  </a:lnTo>
                  <a:lnTo>
                    <a:pt x="13" y="288"/>
                  </a:lnTo>
                  <a:lnTo>
                    <a:pt x="38" y="279"/>
                  </a:lnTo>
                  <a:lnTo>
                    <a:pt x="38" y="288"/>
                  </a:lnTo>
                  <a:lnTo>
                    <a:pt x="28" y="291"/>
                  </a:lnTo>
                  <a:lnTo>
                    <a:pt x="29" y="296"/>
                  </a:lnTo>
                  <a:lnTo>
                    <a:pt x="51" y="294"/>
                  </a:lnTo>
                  <a:lnTo>
                    <a:pt x="86" y="283"/>
                  </a:lnTo>
                  <a:lnTo>
                    <a:pt x="92" y="278"/>
                  </a:lnTo>
                  <a:lnTo>
                    <a:pt x="92" y="266"/>
                  </a:lnTo>
                  <a:lnTo>
                    <a:pt x="100" y="274"/>
                  </a:lnTo>
                  <a:lnTo>
                    <a:pt x="122" y="265"/>
                  </a:lnTo>
                  <a:lnTo>
                    <a:pt x="128" y="251"/>
                  </a:lnTo>
                  <a:lnTo>
                    <a:pt x="182" y="245"/>
                  </a:lnTo>
                  <a:lnTo>
                    <a:pt x="181" y="232"/>
                  </a:lnTo>
                  <a:lnTo>
                    <a:pt x="196" y="189"/>
                  </a:lnTo>
                  <a:lnTo>
                    <a:pt x="190" y="156"/>
                  </a:lnTo>
                  <a:lnTo>
                    <a:pt x="196" y="143"/>
                  </a:lnTo>
                  <a:lnTo>
                    <a:pt x="184" y="115"/>
                  </a:lnTo>
                  <a:lnTo>
                    <a:pt x="193" y="105"/>
                  </a:lnTo>
                  <a:lnTo>
                    <a:pt x="204" y="98"/>
                  </a:lnTo>
                  <a:lnTo>
                    <a:pt x="206" y="90"/>
                  </a:lnTo>
                  <a:lnTo>
                    <a:pt x="216" y="87"/>
                  </a:lnTo>
                  <a:lnTo>
                    <a:pt x="221" y="81"/>
                  </a:lnTo>
                  <a:lnTo>
                    <a:pt x="215" y="64"/>
                  </a:lnTo>
                  <a:lnTo>
                    <a:pt x="221" y="75"/>
                  </a:lnTo>
                  <a:lnTo>
                    <a:pt x="223" y="67"/>
                  </a:lnTo>
                  <a:lnTo>
                    <a:pt x="215" y="54"/>
                  </a:lnTo>
                  <a:lnTo>
                    <a:pt x="202" y="56"/>
                  </a:lnTo>
                  <a:lnTo>
                    <a:pt x="207" y="48"/>
                  </a:lnTo>
                  <a:lnTo>
                    <a:pt x="207" y="33"/>
                  </a:lnTo>
                  <a:lnTo>
                    <a:pt x="194" y="14"/>
                  </a:lnTo>
                  <a:lnTo>
                    <a:pt x="179" y="8"/>
                  </a:lnTo>
                  <a:lnTo>
                    <a:pt x="147" y="22"/>
                  </a:lnTo>
                  <a:lnTo>
                    <a:pt x="147" y="19"/>
                  </a:lnTo>
                  <a:lnTo>
                    <a:pt x="156" y="8"/>
                  </a:lnTo>
                  <a:lnTo>
                    <a:pt x="147" y="0"/>
                  </a:lnTo>
                  <a:lnTo>
                    <a:pt x="139" y="0"/>
                  </a:lnTo>
                  <a:lnTo>
                    <a:pt x="133" y="10"/>
                  </a:lnTo>
                  <a:lnTo>
                    <a:pt x="133" y="27"/>
                  </a:lnTo>
                  <a:lnTo>
                    <a:pt x="130" y="28"/>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428" name="Freeform 154">
              <a:extLst>
                <a:ext uri="{FF2B5EF4-FFF2-40B4-BE49-F238E27FC236}">
                  <a16:creationId xmlns:a16="http://schemas.microsoft.com/office/drawing/2014/main" id="{476E4AB3-5D43-9C45-A700-31AC99AE0A1F}"/>
                </a:ext>
              </a:extLst>
            </p:cNvPr>
            <p:cNvSpPr>
              <a:spLocks noChangeAspect="1" noEditPoints="1"/>
            </p:cNvSpPr>
            <p:nvPr/>
          </p:nvSpPr>
          <p:spPr bwMode="gray">
            <a:xfrm>
              <a:off x="4469881" y="2196864"/>
              <a:ext cx="206645" cy="510211"/>
            </a:xfrm>
            <a:custGeom>
              <a:avLst/>
              <a:gdLst>
                <a:gd name="T0" fmla="*/ 274 w 424"/>
                <a:gd name="T1" fmla="*/ 815 h 866"/>
                <a:gd name="T2" fmla="*/ 388 w 424"/>
                <a:gd name="T3" fmla="*/ 797 h 866"/>
                <a:gd name="T4" fmla="*/ 373 w 424"/>
                <a:gd name="T5" fmla="*/ 756 h 866"/>
                <a:gd name="T6" fmla="*/ 402 w 424"/>
                <a:gd name="T7" fmla="*/ 721 h 866"/>
                <a:gd name="T8" fmla="*/ 398 w 424"/>
                <a:gd name="T9" fmla="*/ 648 h 866"/>
                <a:gd name="T10" fmla="*/ 345 w 424"/>
                <a:gd name="T11" fmla="*/ 657 h 866"/>
                <a:gd name="T12" fmla="*/ 351 w 424"/>
                <a:gd name="T13" fmla="*/ 584 h 866"/>
                <a:gd name="T14" fmla="*/ 273 w 424"/>
                <a:gd name="T15" fmla="*/ 445 h 866"/>
                <a:gd name="T16" fmla="*/ 202 w 424"/>
                <a:gd name="T17" fmla="*/ 394 h 866"/>
                <a:gd name="T18" fmla="*/ 241 w 424"/>
                <a:gd name="T19" fmla="*/ 335 h 866"/>
                <a:gd name="T20" fmla="*/ 194 w 424"/>
                <a:gd name="T21" fmla="*/ 264 h 866"/>
                <a:gd name="T22" fmla="*/ 169 w 424"/>
                <a:gd name="T23" fmla="*/ 255 h 866"/>
                <a:gd name="T24" fmla="*/ 202 w 424"/>
                <a:gd name="T25" fmla="*/ 187 h 866"/>
                <a:gd name="T26" fmla="*/ 99 w 424"/>
                <a:gd name="T27" fmla="*/ 218 h 866"/>
                <a:gd name="T28" fmla="*/ 80 w 424"/>
                <a:gd name="T29" fmla="*/ 255 h 866"/>
                <a:gd name="T30" fmla="*/ 76 w 424"/>
                <a:gd name="T31" fmla="*/ 291 h 866"/>
                <a:gd name="T32" fmla="*/ 76 w 424"/>
                <a:gd name="T33" fmla="*/ 343 h 866"/>
                <a:gd name="T34" fmla="*/ 87 w 424"/>
                <a:gd name="T35" fmla="*/ 413 h 866"/>
                <a:gd name="T36" fmla="*/ 101 w 424"/>
                <a:gd name="T37" fmla="*/ 427 h 866"/>
                <a:gd name="T38" fmla="*/ 118 w 424"/>
                <a:gd name="T39" fmla="*/ 413 h 866"/>
                <a:gd name="T40" fmla="*/ 121 w 424"/>
                <a:gd name="T41" fmla="*/ 433 h 866"/>
                <a:gd name="T42" fmla="*/ 113 w 424"/>
                <a:gd name="T43" fmla="*/ 515 h 866"/>
                <a:gd name="T44" fmla="*/ 144 w 424"/>
                <a:gd name="T45" fmla="*/ 501 h 866"/>
                <a:gd name="T46" fmla="*/ 197 w 424"/>
                <a:gd name="T47" fmla="*/ 560 h 866"/>
                <a:gd name="T48" fmla="*/ 206 w 424"/>
                <a:gd name="T49" fmla="*/ 606 h 866"/>
                <a:gd name="T50" fmla="*/ 130 w 424"/>
                <a:gd name="T51" fmla="*/ 657 h 866"/>
                <a:gd name="T52" fmla="*/ 155 w 424"/>
                <a:gd name="T53" fmla="*/ 699 h 866"/>
                <a:gd name="T54" fmla="*/ 150 w 424"/>
                <a:gd name="T55" fmla="*/ 752 h 866"/>
                <a:gd name="T56" fmla="*/ 227 w 424"/>
                <a:gd name="T57" fmla="*/ 745 h 866"/>
                <a:gd name="T58" fmla="*/ 88 w 424"/>
                <a:gd name="T59" fmla="*/ 865 h 866"/>
                <a:gd name="T60" fmla="*/ 177 w 424"/>
                <a:gd name="T61" fmla="*/ 846 h 866"/>
                <a:gd name="T62" fmla="*/ 198 w 424"/>
                <a:gd name="T63" fmla="*/ 164 h 866"/>
                <a:gd name="T64" fmla="*/ 280 w 424"/>
                <a:gd name="T65" fmla="*/ 820 h 866"/>
                <a:gd name="T66" fmla="*/ 153 w 424"/>
                <a:gd name="T67" fmla="*/ 626 h 866"/>
                <a:gd name="T68" fmla="*/ 143 w 424"/>
                <a:gd name="T69" fmla="*/ 537 h 866"/>
                <a:gd name="T70" fmla="*/ 143 w 424"/>
                <a:gd name="T71" fmla="*/ 537 h 866"/>
                <a:gd name="T72" fmla="*/ 269 w 424"/>
                <a:gd name="T73" fmla="*/ 35 h 866"/>
                <a:gd name="T74" fmla="*/ 294 w 424"/>
                <a:gd name="T75" fmla="*/ 20 h 866"/>
                <a:gd name="T76" fmla="*/ 206 w 424"/>
                <a:gd name="T77" fmla="*/ 150 h 866"/>
                <a:gd name="T78" fmla="*/ 220 w 424"/>
                <a:gd name="T79" fmla="*/ 154 h 866"/>
                <a:gd name="T80" fmla="*/ 36 w 424"/>
                <a:gd name="T81" fmla="*/ 291 h 866"/>
                <a:gd name="T82" fmla="*/ 82 w 424"/>
                <a:gd name="T83" fmla="*/ 305 h 866"/>
                <a:gd name="T84" fmla="*/ 82 w 424"/>
                <a:gd name="T85" fmla="*/ 377 h 866"/>
                <a:gd name="T86" fmla="*/ 53 w 424"/>
                <a:gd name="T87" fmla="*/ 382 h 866"/>
                <a:gd name="T88" fmla="*/ 62 w 424"/>
                <a:gd name="T89" fmla="*/ 416 h 866"/>
                <a:gd name="T90" fmla="*/ 56 w 424"/>
                <a:gd name="T91" fmla="*/ 439 h 866"/>
                <a:gd name="T92" fmla="*/ 101 w 424"/>
                <a:gd name="T93" fmla="*/ 449 h 866"/>
                <a:gd name="T94" fmla="*/ 17 w 424"/>
                <a:gd name="T95" fmla="*/ 271 h 866"/>
                <a:gd name="T96" fmla="*/ 58 w 424"/>
                <a:gd name="T97" fmla="*/ 198 h 866"/>
                <a:gd name="T98" fmla="*/ 22 w 424"/>
                <a:gd name="T99" fmla="*/ 259 h 866"/>
                <a:gd name="T100" fmla="*/ 56 w 424"/>
                <a:gd name="T101" fmla="*/ 215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4" h="866">
                  <a:moveTo>
                    <a:pt x="231" y="828"/>
                  </a:moveTo>
                  <a:lnTo>
                    <a:pt x="256" y="821"/>
                  </a:lnTo>
                  <a:lnTo>
                    <a:pt x="252" y="815"/>
                  </a:lnTo>
                  <a:lnTo>
                    <a:pt x="274" y="815"/>
                  </a:lnTo>
                  <a:lnTo>
                    <a:pt x="283" y="811"/>
                  </a:lnTo>
                  <a:lnTo>
                    <a:pt x="283" y="803"/>
                  </a:lnTo>
                  <a:lnTo>
                    <a:pt x="308" y="812"/>
                  </a:lnTo>
                  <a:lnTo>
                    <a:pt x="388" y="797"/>
                  </a:lnTo>
                  <a:lnTo>
                    <a:pt x="409" y="782"/>
                  </a:lnTo>
                  <a:lnTo>
                    <a:pt x="410" y="773"/>
                  </a:lnTo>
                  <a:lnTo>
                    <a:pt x="376" y="769"/>
                  </a:lnTo>
                  <a:lnTo>
                    <a:pt x="373" y="756"/>
                  </a:lnTo>
                  <a:lnTo>
                    <a:pt x="387" y="743"/>
                  </a:lnTo>
                  <a:lnTo>
                    <a:pt x="379" y="740"/>
                  </a:lnTo>
                  <a:lnTo>
                    <a:pt x="402" y="735"/>
                  </a:lnTo>
                  <a:lnTo>
                    <a:pt x="402" y="721"/>
                  </a:lnTo>
                  <a:lnTo>
                    <a:pt x="419" y="711"/>
                  </a:lnTo>
                  <a:lnTo>
                    <a:pt x="424" y="681"/>
                  </a:lnTo>
                  <a:lnTo>
                    <a:pt x="421" y="667"/>
                  </a:lnTo>
                  <a:lnTo>
                    <a:pt x="398" y="648"/>
                  </a:lnTo>
                  <a:lnTo>
                    <a:pt x="370" y="651"/>
                  </a:lnTo>
                  <a:lnTo>
                    <a:pt x="361" y="662"/>
                  </a:lnTo>
                  <a:lnTo>
                    <a:pt x="350" y="659"/>
                  </a:lnTo>
                  <a:lnTo>
                    <a:pt x="345" y="657"/>
                  </a:lnTo>
                  <a:lnTo>
                    <a:pt x="361" y="623"/>
                  </a:lnTo>
                  <a:lnTo>
                    <a:pt x="331" y="589"/>
                  </a:lnTo>
                  <a:lnTo>
                    <a:pt x="353" y="597"/>
                  </a:lnTo>
                  <a:lnTo>
                    <a:pt x="351" y="584"/>
                  </a:lnTo>
                  <a:lnTo>
                    <a:pt x="317" y="526"/>
                  </a:lnTo>
                  <a:lnTo>
                    <a:pt x="294" y="518"/>
                  </a:lnTo>
                  <a:lnTo>
                    <a:pt x="277" y="476"/>
                  </a:lnTo>
                  <a:lnTo>
                    <a:pt x="273" y="445"/>
                  </a:lnTo>
                  <a:lnTo>
                    <a:pt x="251" y="420"/>
                  </a:lnTo>
                  <a:lnTo>
                    <a:pt x="226" y="407"/>
                  </a:lnTo>
                  <a:lnTo>
                    <a:pt x="195" y="407"/>
                  </a:lnTo>
                  <a:lnTo>
                    <a:pt x="202" y="394"/>
                  </a:lnTo>
                  <a:lnTo>
                    <a:pt x="226" y="388"/>
                  </a:lnTo>
                  <a:lnTo>
                    <a:pt x="211" y="369"/>
                  </a:lnTo>
                  <a:lnTo>
                    <a:pt x="224" y="366"/>
                  </a:lnTo>
                  <a:lnTo>
                    <a:pt x="241" y="335"/>
                  </a:lnTo>
                  <a:lnTo>
                    <a:pt x="249" y="305"/>
                  </a:lnTo>
                  <a:lnTo>
                    <a:pt x="261" y="291"/>
                  </a:lnTo>
                  <a:lnTo>
                    <a:pt x="258" y="267"/>
                  </a:lnTo>
                  <a:lnTo>
                    <a:pt x="194" y="264"/>
                  </a:lnTo>
                  <a:lnTo>
                    <a:pt x="153" y="276"/>
                  </a:lnTo>
                  <a:lnTo>
                    <a:pt x="155" y="267"/>
                  </a:lnTo>
                  <a:lnTo>
                    <a:pt x="147" y="266"/>
                  </a:lnTo>
                  <a:lnTo>
                    <a:pt x="169" y="255"/>
                  </a:lnTo>
                  <a:lnTo>
                    <a:pt x="155" y="254"/>
                  </a:lnTo>
                  <a:lnTo>
                    <a:pt x="155" y="247"/>
                  </a:lnTo>
                  <a:lnTo>
                    <a:pt x="198" y="208"/>
                  </a:lnTo>
                  <a:lnTo>
                    <a:pt x="202" y="187"/>
                  </a:lnTo>
                  <a:lnTo>
                    <a:pt x="192" y="182"/>
                  </a:lnTo>
                  <a:lnTo>
                    <a:pt x="119" y="190"/>
                  </a:lnTo>
                  <a:lnTo>
                    <a:pt x="109" y="216"/>
                  </a:lnTo>
                  <a:lnTo>
                    <a:pt x="99" y="218"/>
                  </a:lnTo>
                  <a:lnTo>
                    <a:pt x="101" y="230"/>
                  </a:lnTo>
                  <a:lnTo>
                    <a:pt x="95" y="232"/>
                  </a:lnTo>
                  <a:lnTo>
                    <a:pt x="104" y="244"/>
                  </a:lnTo>
                  <a:lnTo>
                    <a:pt x="80" y="255"/>
                  </a:lnTo>
                  <a:lnTo>
                    <a:pt x="82" y="274"/>
                  </a:lnTo>
                  <a:lnTo>
                    <a:pt x="87" y="278"/>
                  </a:lnTo>
                  <a:lnTo>
                    <a:pt x="76" y="280"/>
                  </a:lnTo>
                  <a:lnTo>
                    <a:pt x="76" y="291"/>
                  </a:lnTo>
                  <a:lnTo>
                    <a:pt x="93" y="291"/>
                  </a:lnTo>
                  <a:lnTo>
                    <a:pt x="87" y="297"/>
                  </a:lnTo>
                  <a:lnTo>
                    <a:pt x="92" y="298"/>
                  </a:lnTo>
                  <a:lnTo>
                    <a:pt x="76" y="343"/>
                  </a:lnTo>
                  <a:lnTo>
                    <a:pt x="63" y="349"/>
                  </a:lnTo>
                  <a:lnTo>
                    <a:pt x="84" y="369"/>
                  </a:lnTo>
                  <a:lnTo>
                    <a:pt x="102" y="356"/>
                  </a:lnTo>
                  <a:lnTo>
                    <a:pt x="87" y="413"/>
                  </a:lnTo>
                  <a:lnTo>
                    <a:pt x="92" y="428"/>
                  </a:lnTo>
                  <a:lnTo>
                    <a:pt x="80" y="462"/>
                  </a:lnTo>
                  <a:lnTo>
                    <a:pt x="88" y="459"/>
                  </a:lnTo>
                  <a:lnTo>
                    <a:pt x="101" y="427"/>
                  </a:lnTo>
                  <a:lnTo>
                    <a:pt x="97" y="407"/>
                  </a:lnTo>
                  <a:lnTo>
                    <a:pt x="109" y="391"/>
                  </a:lnTo>
                  <a:lnTo>
                    <a:pt x="104" y="420"/>
                  </a:lnTo>
                  <a:lnTo>
                    <a:pt x="118" y="413"/>
                  </a:lnTo>
                  <a:lnTo>
                    <a:pt x="118" y="402"/>
                  </a:lnTo>
                  <a:lnTo>
                    <a:pt x="130" y="411"/>
                  </a:lnTo>
                  <a:lnTo>
                    <a:pt x="124" y="416"/>
                  </a:lnTo>
                  <a:lnTo>
                    <a:pt x="121" y="433"/>
                  </a:lnTo>
                  <a:lnTo>
                    <a:pt x="130" y="450"/>
                  </a:lnTo>
                  <a:lnTo>
                    <a:pt x="113" y="495"/>
                  </a:lnTo>
                  <a:lnTo>
                    <a:pt x="107" y="495"/>
                  </a:lnTo>
                  <a:lnTo>
                    <a:pt x="113" y="515"/>
                  </a:lnTo>
                  <a:lnTo>
                    <a:pt x="119" y="516"/>
                  </a:lnTo>
                  <a:lnTo>
                    <a:pt x="122" y="501"/>
                  </a:lnTo>
                  <a:lnTo>
                    <a:pt x="141" y="513"/>
                  </a:lnTo>
                  <a:lnTo>
                    <a:pt x="144" y="501"/>
                  </a:lnTo>
                  <a:lnTo>
                    <a:pt x="204" y="493"/>
                  </a:lnTo>
                  <a:lnTo>
                    <a:pt x="190" y="501"/>
                  </a:lnTo>
                  <a:lnTo>
                    <a:pt x="178" y="530"/>
                  </a:lnTo>
                  <a:lnTo>
                    <a:pt x="197" y="560"/>
                  </a:lnTo>
                  <a:lnTo>
                    <a:pt x="219" y="550"/>
                  </a:lnTo>
                  <a:lnTo>
                    <a:pt x="207" y="584"/>
                  </a:lnTo>
                  <a:lnTo>
                    <a:pt x="215" y="588"/>
                  </a:lnTo>
                  <a:lnTo>
                    <a:pt x="206" y="606"/>
                  </a:lnTo>
                  <a:lnTo>
                    <a:pt x="212" y="613"/>
                  </a:lnTo>
                  <a:lnTo>
                    <a:pt x="206" y="622"/>
                  </a:lnTo>
                  <a:lnTo>
                    <a:pt x="172" y="622"/>
                  </a:lnTo>
                  <a:lnTo>
                    <a:pt x="130" y="657"/>
                  </a:lnTo>
                  <a:lnTo>
                    <a:pt x="156" y="650"/>
                  </a:lnTo>
                  <a:lnTo>
                    <a:pt x="158" y="674"/>
                  </a:lnTo>
                  <a:lnTo>
                    <a:pt x="164" y="681"/>
                  </a:lnTo>
                  <a:lnTo>
                    <a:pt x="155" y="699"/>
                  </a:lnTo>
                  <a:lnTo>
                    <a:pt x="104" y="730"/>
                  </a:lnTo>
                  <a:lnTo>
                    <a:pt x="113" y="748"/>
                  </a:lnTo>
                  <a:lnTo>
                    <a:pt x="141" y="736"/>
                  </a:lnTo>
                  <a:lnTo>
                    <a:pt x="150" y="752"/>
                  </a:lnTo>
                  <a:lnTo>
                    <a:pt x="169" y="747"/>
                  </a:lnTo>
                  <a:lnTo>
                    <a:pt x="189" y="765"/>
                  </a:lnTo>
                  <a:lnTo>
                    <a:pt x="227" y="740"/>
                  </a:lnTo>
                  <a:lnTo>
                    <a:pt x="227" y="745"/>
                  </a:lnTo>
                  <a:lnTo>
                    <a:pt x="206" y="777"/>
                  </a:lnTo>
                  <a:lnTo>
                    <a:pt x="156" y="782"/>
                  </a:lnTo>
                  <a:lnTo>
                    <a:pt x="90" y="855"/>
                  </a:lnTo>
                  <a:lnTo>
                    <a:pt x="88" y="865"/>
                  </a:lnTo>
                  <a:lnTo>
                    <a:pt x="93" y="858"/>
                  </a:lnTo>
                  <a:lnTo>
                    <a:pt x="109" y="866"/>
                  </a:lnTo>
                  <a:lnTo>
                    <a:pt x="129" y="841"/>
                  </a:lnTo>
                  <a:lnTo>
                    <a:pt x="177" y="846"/>
                  </a:lnTo>
                  <a:lnTo>
                    <a:pt x="189" y="820"/>
                  </a:lnTo>
                  <a:lnTo>
                    <a:pt x="217" y="812"/>
                  </a:lnTo>
                  <a:lnTo>
                    <a:pt x="231" y="828"/>
                  </a:lnTo>
                  <a:close/>
                  <a:moveTo>
                    <a:pt x="198" y="164"/>
                  </a:moveTo>
                  <a:lnTo>
                    <a:pt x="190" y="158"/>
                  </a:lnTo>
                  <a:lnTo>
                    <a:pt x="198" y="164"/>
                  </a:lnTo>
                  <a:close/>
                  <a:moveTo>
                    <a:pt x="291" y="814"/>
                  </a:moveTo>
                  <a:lnTo>
                    <a:pt x="280" y="820"/>
                  </a:lnTo>
                  <a:lnTo>
                    <a:pt x="294" y="823"/>
                  </a:lnTo>
                  <a:lnTo>
                    <a:pt x="297" y="818"/>
                  </a:lnTo>
                  <a:lnTo>
                    <a:pt x="291" y="814"/>
                  </a:lnTo>
                  <a:close/>
                  <a:moveTo>
                    <a:pt x="153" y="626"/>
                  </a:moveTo>
                  <a:lnTo>
                    <a:pt x="158" y="623"/>
                  </a:lnTo>
                  <a:lnTo>
                    <a:pt x="143" y="613"/>
                  </a:lnTo>
                  <a:lnTo>
                    <a:pt x="153" y="626"/>
                  </a:lnTo>
                  <a:close/>
                  <a:moveTo>
                    <a:pt x="143" y="537"/>
                  </a:moveTo>
                  <a:lnTo>
                    <a:pt x="126" y="562"/>
                  </a:lnTo>
                  <a:lnTo>
                    <a:pt x="143" y="557"/>
                  </a:lnTo>
                  <a:lnTo>
                    <a:pt x="146" y="546"/>
                  </a:lnTo>
                  <a:lnTo>
                    <a:pt x="143" y="537"/>
                  </a:lnTo>
                  <a:close/>
                  <a:moveTo>
                    <a:pt x="285" y="0"/>
                  </a:moveTo>
                  <a:lnTo>
                    <a:pt x="273" y="10"/>
                  </a:lnTo>
                  <a:lnTo>
                    <a:pt x="280" y="27"/>
                  </a:lnTo>
                  <a:lnTo>
                    <a:pt x="269" y="35"/>
                  </a:lnTo>
                  <a:lnTo>
                    <a:pt x="285" y="43"/>
                  </a:lnTo>
                  <a:lnTo>
                    <a:pt x="282" y="69"/>
                  </a:lnTo>
                  <a:lnTo>
                    <a:pt x="291" y="56"/>
                  </a:lnTo>
                  <a:lnTo>
                    <a:pt x="294" y="20"/>
                  </a:lnTo>
                  <a:lnTo>
                    <a:pt x="285" y="14"/>
                  </a:lnTo>
                  <a:lnTo>
                    <a:pt x="285" y="0"/>
                  </a:lnTo>
                  <a:close/>
                  <a:moveTo>
                    <a:pt x="220" y="154"/>
                  </a:moveTo>
                  <a:lnTo>
                    <a:pt x="206" y="150"/>
                  </a:lnTo>
                  <a:lnTo>
                    <a:pt x="198" y="136"/>
                  </a:lnTo>
                  <a:lnTo>
                    <a:pt x="194" y="144"/>
                  </a:lnTo>
                  <a:lnTo>
                    <a:pt x="197" y="153"/>
                  </a:lnTo>
                  <a:lnTo>
                    <a:pt x="220" y="154"/>
                  </a:lnTo>
                  <a:close/>
                  <a:moveTo>
                    <a:pt x="53" y="266"/>
                  </a:moveTo>
                  <a:lnTo>
                    <a:pt x="50" y="283"/>
                  </a:lnTo>
                  <a:lnTo>
                    <a:pt x="43" y="276"/>
                  </a:lnTo>
                  <a:lnTo>
                    <a:pt x="36" y="291"/>
                  </a:lnTo>
                  <a:lnTo>
                    <a:pt x="46" y="292"/>
                  </a:lnTo>
                  <a:lnTo>
                    <a:pt x="53" y="312"/>
                  </a:lnTo>
                  <a:lnTo>
                    <a:pt x="76" y="317"/>
                  </a:lnTo>
                  <a:lnTo>
                    <a:pt x="82" y="305"/>
                  </a:lnTo>
                  <a:lnTo>
                    <a:pt x="67" y="300"/>
                  </a:lnTo>
                  <a:lnTo>
                    <a:pt x="53" y="266"/>
                  </a:lnTo>
                  <a:close/>
                  <a:moveTo>
                    <a:pt x="53" y="382"/>
                  </a:moveTo>
                  <a:lnTo>
                    <a:pt x="82" y="377"/>
                  </a:lnTo>
                  <a:lnTo>
                    <a:pt x="65" y="357"/>
                  </a:lnTo>
                  <a:lnTo>
                    <a:pt x="56" y="360"/>
                  </a:lnTo>
                  <a:lnTo>
                    <a:pt x="65" y="377"/>
                  </a:lnTo>
                  <a:lnTo>
                    <a:pt x="53" y="382"/>
                  </a:lnTo>
                  <a:close/>
                  <a:moveTo>
                    <a:pt x="82" y="399"/>
                  </a:moveTo>
                  <a:lnTo>
                    <a:pt x="68" y="424"/>
                  </a:lnTo>
                  <a:lnTo>
                    <a:pt x="82" y="399"/>
                  </a:lnTo>
                  <a:close/>
                  <a:moveTo>
                    <a:pt x="62" y="416"/>
                  </a:moveTo>
                  <a:lnTo>
                    <a:pt x="50" y="422"/>
                  </a:lnTo>
                  <a:lnTo>
                    <a:pt x="48" y="433"/>
                  </a:lnTo>
                  <a:lnTo>
                    <a:pt x="53" y="427"/>
                  </a:lnTo>
                  <a:lnTo>
                    <a:pt x="56" y="439"/>
                  </a:lnTo>
                  <a:lnTo>
                    <a:pt x="65" y="435"/>
                  </a:lnTo>
                  <a:lnTo>
                    <a:pt x="62" y="416"/>
                  </a:lnTo>
                  <a:close/>
                  <a:moveTo>
                    <a:pt x="101" y="433"/>
                  </a:moveTo>
                  <a:lnTo>
                    <a:pt x="101" y="449"/>
                  </a:lnTo>
                  <a:lnTo>
                    <a:pt x="107" y="453"/>
                  </a:lnTo>
                  <a:lnTo>
                    <a:pt x="109" y="433"/>
                  </a:lnTo>
                  <a:lnTo>
                    <a:pt x="101" y="433"/>
                  </a:lnTo>
                  <a:close/>
                  <a:moveTo>
                    <a:pt x="17" y="271"/>
                  </a:moveTo>
                  <a:lnTo>
                    <a:pt x="0" y="272"/>
                  </a:lnTo>
                  <a:lnTo>
                    <a:pt x="16" y="280"/>
                  </a:lnTo>
                  <a:lnTo>
                    <a:pt x="17" y="271"/>
                  </a:lnTo>
                  <a:close/>
                  <a:moveTo>
                    <a:pt x="58" y="198"/>
                  </a:moveTo>
                  <a:lnTo>
                    <a:pt x="33" y="213"/>
                  </a:lnTo>
                  <a:lnTo>
                    <a:pt x="34" y="222"/>
                  </a:lnTo>
                  <a:lnTo>
                    <a:pt x="22" y="220"/>
                  </a:lnTo>
                  <a:lnTo>
                    <a:pt x="22" y="259"/>
                  </a:lnTo>
                  <a:lnTo>
                    <a:pt x="51" y="238"/>
                  </a:lnTo>
                  <a:lnTo>
                    <a:pt x="48" y="227"/>
                  </a:lnTo>
                  <a:lnTo>
                    <a:pt x="62" y="218"/>
                  </a:lnTo>
                  <a:lnTo>
                    <a:pt x="56" y="215"/>
                  </a:lnTo>
                  <a:lnTo>
                    <a:pt x="58" y="198"/>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429" name="Freeform 155">
              <a:extLst>
                <a:ext uri="{FF2B5EF4-FFF2-40B4-BE49-F238E27FC236}">
                  <a16:creationId xmlns:a16="http://schemas.microsoft.com/office/drawing/2014/main" id="{FE057C10-7785-9E44-BA5B-46592BB8FDA0}"/>
                </a:ext>
              </a:extLst>
            </p:cNvPr>
            <p:cNvSpPr>
              <a:spLocks noChangeAspect="1" noEditPoints="1"/>
            </p:cNvSpPr>
            <p:nvPr/>
          </p:nvSpPr>
          <p:spPr bwMode="gray">
            <a:xfrm>
              <a:off x="5124785" y="2248653"/>
              <a:ext cx="143062" cy="105494"/>
            </a:xfrm>
            <a:custGeom>
              <a:avLst/>
              <a:gdLst>
                <a:gd name="T0" fmla="*/ 116 w 295"/>
                <a:gd name="T1" fmla="*/ 156 h 181"/>
                <a:gd name="T2" fmla="*/ 122 w 295"/>
                <a:gd name="T3" fmla="*/ 115 h 181"/>
                <a:gd name="T4" fmla="*/ 111 w 295"/>
                <a:gd name="T5" fmla="*/ 115 h 181"/>
                <a:gd name="T6" fmla="*/ 101 w 295"/>
                <a:gd name="T7" fmla="*/ 126 h 181"/>
                <a:gd name="T8" fmla="*/ 85 w 295"/>
                <a:gd name="T9" fmla="*/ 118 h 181"/>
                <a:gd name="T10" fmla="*/ 76 w 295"/>
                <a:gd name="T11" fmla="*/ 92 h 181"/>
                <a:gd name="T12" fmla="*/ 87 w 295"/>
                <a:gd name="T13" fmla="*/ 82 h 181"/>
                <a:gd name="T14" fmla="*/ 74 w 295"/>
                <a:gd name="T15" fmla="*/ 76 h 181"/>
                <a:gd name="T16" fmla="*/ 76 w 295"/>
                <a:gd name="T17" fmla="*/ 41 h 181"/>
                <a:gd name="T18" fmla="*/ 118 w 295"/>
                <a:gd name="T19" fmla="*/ 17 h 181"/>
                <a:gd name="T20" fmla="*/ 135 w 295"/>
                <a:gd name="T21" fmla="*/ 19 h 181"/>
                <a:gd name="T22" fmla="*/ 136 w 295"/>
                <a:gd name="T23" fmla="*/ 11 h 181"/>
                <a:gd name="T24" fmla="*/ 164 w 295"/>
                <a:gd name="T25" fmla="*/ 14 h 181"/>
                <a:gd name="T26" fmla="*/ 175 w 295"/>
                <a:gd name="T27" fmla="*/ 0 h 181"/>
                <a:gd name="T28" fmla="*/ 238 w 295"/>
                <a:gd name="T29" fmla="*/ 21 h 181"/>
                <a:gd name="T30" fmla="*/ 274 w 295"/>
                <a:gd name="T31" fmla="*/ 22 h 181"/>
                <a:gd name="T32" fmla="*/ 283 w 295"/>
                <a:gd name="T33" fmla="*/ 19 h 181"/>
                <a:gd name="T34" fmla="*/ 283 w 295"/>
                <a:gd name="T35" fmla="*/ 8 h 181"/>
                <a:gd name="T36" fmla="*/ 295 w 295"/>
                <a:gd name="T37" fmla="*/ 22 h 181"/>
                <a:gd name="T38" fmla="*/ 277 w 295"/>
                <a:gd name="T39" fmla="*/ 51 h 181"/>
                <a:gd name="T40" fmla="*/ 238 w 295"/>
                <a:gd name="T41" fmla="*/ 65 h 181"/>
                <a:gd name="T42" fmla="*/ 274 w 295"/>
                <a:gd name="T43" fmla="*/ 155 h 181"/>
                <a:gd name="T44" fmla="*/ 258 w 295"/>
                <a:gd name="T45" fmla="*/ 181 h 181"/>
                <a:gd name="T46" fmla="*/ 218 w 295"/>
                <a:gd name="T47" fmla="*/ 181 h 181"/>
                <a:gd name="T48" fmla="*/ 195 w 295"/>
                <a:gd name="T49" fmla="*/ 158 h 181"/>
                <a:gd name="T50" fmla="*/ 158 w 295"/>
                <a:gd name="T51" fmla="*/ 141 h 181"/>
                <a:gd name="T52" fmla="*/ 116 w 295"/>
                <a:gd name="T53" fmla="*/ 156 h 181"/>
                <a:gd name="T54" fmla="*/ 42 w 295"/>
                <a:gd name="T55" fmla="*/ 59 h 181"/>
                <a:gd name="T56" fmla="*/ 33 w 295"/>
                <a:gd name="T57" fmla="*/ 51 h 181"/>
                <a:gd name="T58" fmla="*/ 25 w 295"/>
                <a:gd name="T59" fmla="*/ 65 h 181"/>
                <a:gd name="T60" fmla="*/ 8 w 295"/>
                <a:gd name="T61" fmla="*/ 70 h 181"/>
                <a:gd name="T62" fmla="*/ 11 w 295"/>
                <a:gd name="T63" fmla="*/ 75 h 181"/>
                <a:gd name="T64" fmla="*/ 20 w 295"/>
                <a:gd name="T65" fmla="*/ 72 h 181"/>
                <a:gd name="T66" fmla="*/ 26 w 295"/>
                <a:gd name="T67" fmla="*/ 87 h 181"/>
                <a:gd name="T68" fmla="*/ 50 w 295"/>
                <a:gd name="T69" fmla="*/ 73 h 181"/>
                <a:gd name="T70" fmla="*/ 50 w 295"/>
                <a:gd name="T71" fmla="*/ 65 h 181"/>
                <a:gd name="T72" fmla="*/ 42 w 295"/>
                <a:gd name="T73" fmla="*/ 59 h 181"/>
                <a:gd name="T74" fmla="*/ 51 w 295"/>
                <a:gd name="T75" fmla="*/ 95 h 181"/>
                <a:gd name="T76" fmla="*/ 0 w 295"/>
                <a:gd name="T77" fmla="*/ 104 h 181"/>
                <a:gd name="T78" fmla="*/ 0 w 295"/>
                <a:gd name="T79" fmla="*/ 124 h 181"/>
                <a:gd name="T80" fmla="*/ 11 w 295"/>
                <a:gd name="T81" fmla="*/ 132 h 181"/>
                <a:gd name="T82" fmla="*/ 6 w 295"/>
                <a:gd name="T83" fmla="*/ 147 h 181"/>
                <a:gd name="T84" fmla="*/ 6 w 295"/>
                <a:gd name="T85" fmla="*/ 152 h 181"/>
                <a:gd name="T86" fmla="*/ 21 w 295"/>
                <a:gd name="T87" fmla="*/ 122 h 181"/>
                <a:gd name="T88" fmla="*/ 36 w 295"/>
                <a:gd name="T89" fmla="*/ 127 h 181"/>
                <a:gd name="T90" fmla="*/ 63 w 295"/>
                <a:gd name="T91" fmla="*/ 109 h 181"/>
                <a:gd name="T92" fmla="*/ 51 w 295"/>
                <a:gd name="T93" fmla="*/ 95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95" h="181">
                  <a:moveTo>
                    <a:pt x="116" y="156"/>
                  </a:moveTo>
                  <a:lnTo>
                    <a:pt x="122" y="115"/>
                  </a:lnTo>
                  <a:lnTo>
                    <a:pt x="111" y="115"/>
                  </a:lnTo>
                  <a:lnTo>
                    <a:pt x="101" y="126"/>
                  </a:lnTo>
                  <a:lnTo>
                    <a:pt x="85" y="118"/>
                  </a:lnTo>
                  <a:lnTo>
                    <a:pt x="76" y="92"/>
                  </a:lnTo>
                  <a:lnTo>
                    <a:pt x="87" y="82"/>
                  </a:lnTo>
                  <a:lnTo>
                    <a:pt x="74" y="76"/>
                  </a:lnTo>
                  <a:lnTo>
                    <a:pt x="76" y="41"/>
                  </a:lnTo>
                  <a:lnTo>
                    <a:pt x="118" y="17"/>
                  </a:lnTo>
                  <a:lnTo>
                    <a:pt x="135" y="19"/>
                  </a:lnTo>
                  <a:lnTo>
                    <a:pt x="136" y="11"/>
                  </a:lnTo>
                  <a:lnTo>
                    <a:pt x="164" y="14"/>
                  </a:lnTo>
                  <a:lnTo>
                    <a:pt x="175" y="0"/>
                  </a:lnTo>
                  <a:lnTo>
                    <a:pt x="238" y="21"/>
                  </a:lnTo>
                  <a:lnTo>
                    <a:pt x="274" y="22"/>
                  </a:lnTo>
                  <a:lnTo>
                    <a:pt x="283" y="19"/>
                  </a:lnTo>
                  <a:lnTo>
                    <a:pt x="283" y="8"/>
                  </a:lnTo>
                  <a:lnTo>
                    <a:pt x="295" y="22"/>
                  </a:lnTo>
                  <a:lnTo>
                    <a:pt x="277" y="51"/>
                  </a:lnTo>
                  <a:lnTo>
                    <a:pt x="238" y="65"/>
                  </a:lnTo>
                  <a:lnTo>
                    <a:pt x="274" y="155"/>
                  </a:lnTo>
                  <a:lnTo>
                    <a:pt x="258" y="181"/>
                  </a:lnTo>
                  <a:lnTo>
                    <a:pt x="218" y="181"/>
                  </a:lnTo>
                  <a:lnTo>
                    <a:pt x="195" y="158"/>
                  </a:lnTo>
                  <a:lnTo>
                    <a:pt x="158" y="141"/>
                  </a:lnTo>
                  <a:lnTo>
                    <a:pt x="116" y="156"/>
                  </a:lnTo>
                  <a:close/>
                  <a:moveTo>
                    <a:pt x="42" y="59"/>
                  </a:moveTo>
                  <a:lnTo>
                    <a:pt x="33" y="51"/>
                  </a:lnTo>
                  <a:lnTo>
                    <a:pt x="25" y="65"/>
                  </a:lnTo>
                  <a:lnTo>
                    <a:pt x="8" y="70"/>
                  </a:lnTo>
                  <a:lnTo>
                    <a:pt x="11" y="75"/>
                  </a:lnTo>
                  <a:lnTo>
                    <a:pt x="20" y="72"/>
                  </a:lnTo>
                  <a:lnTo>
                    <a:pt x="26" y="87"/>
                  </a:lnTo>
                  <a:lnTo>
                    <a:pt x="50" y="73"/>
                  </a:lnTo>
                  <a:lnTo>
                    <a:pt x="50" y="65"/>
                  </a:lnTo>
                  <a:lnTo>
                    <a:pt x="42" y="59"/>
                  </a:lnTo>
                  <a:close/>
                  <a:moveTo>
                    <a:pt x="51" y="95"/>
                  </a:moveTo>
                  <a:lnTo>
                    <a:pt x="0" y="104"/>
                  </a:lnTo>
                  <a:lnTo>
                    <a:pt x="0" y="124"/>
                  </a:lnTo>
                  <a:lnTo>
                    <a:pt x="11" y="132"/>
                  </a:lnTo>
                  <a:lnTo>
                    <a:pt x="6" y="147"/>
                  </a:lnTo>
                  <a:lnTo>
                    <a:pt x="6" y="152"/>
                  </a:lnTo>
                  <a:lnTo>
                    <a:pt x="21" y="122"/>
                  </a:lnTo>
                  <a:lnTo>
                    <a:pt x="36" y="127"/>
                  </a:lnTo>
                  <a:lnTo>
                    <a:pt x="63" y="109"/>
                  </a:lnTo>
                  <a:lnTo>
                    <a:pt x="51" y="95"/>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30" name="Freeform 156">
              <a:extLst>
                <a:ext uri="{FF2B5EF4-FFF2-40B4-BE49-F238E27FC236}">
                  <a16:creationId xmlns:a16="http://schemas.microsoft.com/office/drawing/2014/main" id="{8BC53D46-2678-0547-98DE-83600B17F887}"/>
                </a:ext>
              </a:extLst>
            </p:cNvPr>
            <p:cNvSpPr>
              <a:spLocks noChangeAspect="1" noEditPoints="1"/>
            </p:cNvSpPr>
            <p:nvPr/>
          </p:nvSpPr>
          <p:spPr bwMode="gray">
            <a:xfrm>
              <a:off x="4716265" y="2557464"/>
              <a:ext cx="77891" cy="117003"/>
            </a:xfrm>
            <a:custGeom>
              <a:avLst/>
              <a:gdLst>
                <a:gd name="T0" fmla="*/ 163 w 163"/>
                <a:gd name="T1" fmla="*/ 14 h 200"/>
                <a:gd name="T2" fmla="*/ 146 w 163"/>
                <a:gd name="T3" fmla="*/ 0 h 200"/>
                <a:gd name="T4" fmla="*/ 107 w 163"/>
                <a:gd name="T5" fmla="*/ 3 h 200"/>
                <a:gd name="T6" fmla="*/ 90 w 163"/>
                <a:gd name="T7" fmla="*/ 15 h 200"/>
                <a:gd name="T8" fmla="*/ 87 w 163"/>
                <a:gd name="T9" fmla="*/ 39 h 200"/>
                <a:gd name="T10" fmla="*/ 97 w 163"/>
                <a:gd name="T11" fmla="*/ 45 h 200"/>
                <a:gd name="T12" fmla="*/ 91 w 163"/>
                <a:gd name="T13" fmla="*/ 63 h 200"/>
                <a:gd name="T14" fmla="*/ 83 w 163"/>
                <a:gd name="T15" fmla="*/ 70 h 200"/>
                <a:gd name="T16" fmla="*/ 87 w 163"/>
                <a:gd name="T17" fmla="*/ 87 h 200"/>
                <a:gd name="T18" fmla="*/ 70 w 163"/>
                <a:gd name="T19" fmla="*/ 78 h 200"/>
                <a:gd name="T20" fmla="*/ 70 w 163"/>
                <a:gd name="T21" fmla="*/ 62 h 200"/>
                <a:gd name="T22" fmla="*/ 79 w 163"/>
                <a:gd name="T23" fmla="*/ 54 h 200"/>
                <a:gd name="T24" fmla="*/ 70 w 163"/>
                <a:gd name="T25" fmla="*/ 40 h 200"/>
                <a:gd name="T26" fmla="*/ 62 w 163"/>
                <a:gd name="T27" fmla="*/ 43 h 200"/>
                <a:gd name="T28" fmla="*/ 51 w 163"/>
                <a:gd name="T29" fmla="*/ 88 h 200"/>
                <a:gd name="T30" fmla="*/ 31 w 163"/>
                <a:gd name="T31" fmla="*/ 116 h 200"/>
                <a:gd name="T32" fmla="*/ 32 w 163"/>
                <a:gd name="T33" fmla="*/ 122 h 200"/>
                <a:gd name="T34" fmla="*/ 36 w 163"/>
                <a:gd name="T35" fmla="*/ 127 h 200"/>
                <a:gd name="T36" fmla="*/ 65 w 163"/>
                <a:gd name="T37" fmla="*/ 129 h 200"/>
                <a:gd name="T38" fmla="*/ 19 w 163"/>
                <a:gd name="T39" fmla="*/ 144 h 200"/>
                <a:gd name="T40" fmla="*/ 15 w 163"/>
                <a:gd name="T41" fmla="*/ 150 h 200"/>
                <a:gd name="T42" fmla="*/ 0 w 163"/>
                <a:gd name="T43" fmla="*/ 156 h 200"/>
                <a:gd name="T44" fmla="*/ 14 w 163"/>
                <a:gd name="T45" fmla="*/ 164 h 200"/>
                <a:gd name="T46" fmla="*/ 53 w 163"/>
                <a:gd name="T47" fmla="*/ 149 h 200"/>
                <a:gd name="T48" fmla="*/ 73 w 163"/>
                <a:gd name="T49" fmla="*/ 154 h 200"/>
                <a:gd name="T50" fmla="*/ 97 w 163"/>
                <a:gd name="T51" fmla="*/ 167 h 200"/>
                <a:gd name="T52" fmla="*/ 97 w 163"/>
                <a:gd name="T53" fmla="*/ 195 h 200"/>
                <a:gd name="T54" fmla="*/ 114 w 163"/>
                <a:gd name="T55" fmla="*/ 200 h 200"/>
                <a:gd name="T56" fmla="*/ 110 w 163"/>
                <a:gd name="T57" fmla="*/ 179 h 200"/>
                <a:gd name="T58" fmla="*/ 116 w 163"/>
                <a:gd name="T59" fmla="*/ 167 h 200"/>
                <a:gd name="T60" fmla="*/ 113 w 163"/>
                <a:gd name="T61" fmla="*/ 113 h 200"/>
                <a:gd name="T62" fmla="*/ 139 w 163"/>
                <a:gd name="T63" fmla="*/ 117 h 200"/>
                <a:gd name="T64" fmla="*/ 144 w 163"/>
                <a:gd name="T65" fmla="*/ 99 h 200"/>
                <a:gd name="T66" fmla="*/ 158 w 163"/>
                <a:gd name="T67" fmla="*/ 85 h 200"/>
                <a:gd name="T68" fmla="*/ 159 w 163"/>
                <a:gd name="T69" fmla="*/ 74 h 200"/>
                <a:gd name="T70" fmla="*/ 144 w 163"/>
                <a:gd name="T71" fmla="*/ 68 h 200"/>
                <a:gd name="T72" fmla="*/ 142 w 163"/>
                <a:gd name="T73" fmla="*/ 59 h 200"/>
                <a:gd name="T74" fmla="*/ 155 w 163"/>
                <a:gd name="T75" fmla="*/ 51 h 200"/>
                <a:gd name="T76" fmla="*/ 163 w 163"/>
                <a:gd name="T77" fmla="*/ 14 h 200"/>
                <a:gd name="T78" fmla="*/ 68 w 163"/>
                <a:gd name="T79" fmla="*/ 15 h 200"/>
                <a:gd name="T80" fmla="*/ 57 w 163"/>
                <a:gd name="T81" fmla="*/ 37 h 200"/>
                <a:gd name="T82" fmla="*/ 65 w 163"/>
                <a:gd name="T83" fmla="*/ 32 h 200"/>
                <a:gd name="T84" fmla="*/ 68 w 163"/>
                <a:gd name="T85" fmla="*/ 15 h 200"/>
                <a:gd name="T86" fmla="*/ 6 w 163"/>
                <a:gd name="T87" fmla="*/ 142 h 200"/>
                <a:gd name="T88" fmla="*/ 6 w 163"/>
                <a:gd name="T89" fmla="*/ 150 h 200"/>
                <a:gd name="T90" fmla="*/ 11 w 163"/>
                <a:gd name="T91" fmla="*/ 147 h 200"/>
                <a:gd name="T92" fmla="*/ 6 w 163"/>
                <a:gd name="T93" fmla="*/ 14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3" h="200">
                  <a:moveTo>
                    <a:pt x="163" y="14"/>
                  </a:moveTo>
                  <a:lnTo>
                    <a:pt x="146" y="0"/>
                  </a:lnTo>
                  <a:lnTo>
                    <a:pt x="107" y="3"/>
                  </a:lnTo>
                  <a:lnTo>
                    <a:pt x="90" y="15"/>
                  </a:lnTo>
                  <a:lnTo>
                    <a:pt x="87" y="39"/>
                  </a:lnTo>
                  <a:lnTo>
                    <a:pt x="97" y="45"/>
                  </a:lnTo>
                  <a:lnTo>
                    <a:pt x="91" y="63"/>
                  </a:lnTo>
                  <a:lnTo>
                    <a:pt x="83" y="70"/>
                  </a:lnTo>
                  <a:lnTo>
                    <a:pt x="87" y="87"/>
                  </a:lnTo>
                  <a:lnTo>
                    <a:pt x="70" y="78"/>
                  </a:lnTo>
                  <a:lnTo>
                    <a:pt x="70" y="62"/>
                  </a:lnTo>
                  <a:lnTo>
                    <a:pt x="79" y="54"/>
                  </a:lnTo>
                  <a:lnTo>
                    <a:pt x="70" y="40"/>
                  </a:lnTo>
                  <a:lnTo>
                    <a:pt x="62" y="43"/>
                  </a:lnTo>
                  <a:lnTo>
                    <a:pt x="51" y="88"/>
                  </a:lnTo>
                  <a:lnTo>
                    <a:pt x="31" y="116"/>
                  </a:lnTo>
                  <a:lnTo>
                    <a:pt x="32" y="122"/>
                  </a:lnTo>
                  <a:lnTo>
                    <a:pt x="36" y="127"/>
                  </a:lnTo>
                  <a:lnTo>
                    <a:pt x="65" y="129"/>
                  </a:lnTo>
                  <a:lnTo>
                    <a:pt x="19" y="144"/>
                  </a:lnTo>
                  <a:lnTo>
                    <a:pt x="15" y="150"/>
                  </a:lnTo>
                  <a:lnTo>
                    <a:pt x="0" y="156"/>
                  </a:lnTo>
                  <a:lnTo>
                    <a:pt x="14" y="164"/>
                  </a:lnTo>
                  <a:lnTo>
                    <a:pt x="53" y="149"/>
                  </a:lnTo>
                  <a:lnTo>
                    <a:pt x="73" y="154"/>
                  </a:lnTo>
                  <a:lnTo>
                    <a:pt x="97" y="167"/>
                  </a:lnTo>
                  <a:lnTo>
                    <a:pt x="97" y="195"/>
                  </a:lnTo>
                  <a:lnTo>
                    <a:pt x="114" y="200"/>
                  </a:lnTo>
                  <a:lnTo>
                    <a:pt x="110" y="179"/>
                  </a:lnTo>
                  <a:lnTo>
                    <a:pt x="116" y="167"/>
                  </a:lnTo>
                  <a:lnTo>
                    <a:pt x="113" y="113"/>
                  </a:lnTo>
                  <a:lnTo>
                    <a:pt x="139" y="117"/>
                  </a:lnTo>
                  <a:lnTo>
                    <a:pt x="144" y="99"/>
                  </a:lnTo>
                  <a:lnTo>
                    <a:pt x="158" y="85"/>
                  </a:lnTo>
                  <a:lnTo>
                    <a:pt x="159" y="74"/>
                  </a:lnTo>
                  <a:lnTo>
                    <a:pt x="144" y="68"/>
                  </a:lnTo>
                  <a:lnTo>
                    <a:pt x="142" y="59"/>
                  </a:lnTo>
                  <a:lnTo>
                    <a:pt x="155" y="51"/>
                  </a:lnTo>
                  <a:lnTo>
                    <a:pt x="163" y="14"/>
                  </a:lnTo>
                  <a:close/>
                  <a:moveTo>
                    <a:pt x="68" y="15"/>
                  </a:moveTo>
                  <a:lnTo>
                    <a:pt x="57" y="37"/>
                  </a:lnTo>
                  <a:lnTo>
                    <a:pt x="65" y="32"/>
                  </a:lnTo>
                  <a:lnTo>
                    <a:pt x="68" y="15"/>
                  </a:lnTo>
                  <a:close/>
                  <a:moveTo>
                    <a:pt x="6" y="142"/>
                  </a:moveTo>
                  <a:lnTo>
                    <a:pt x="6" y="150"/>
                  </a:lnTo>
                  <a:lnTo>
                    <a:pt x="11" y="147"/>
                  </a:lnTo>
                  <a:lnTo>
                    <a:pt x="6" y="142"/>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31" name="Freeform 157">
              <a:extLst>
                <a:ext uri="{FF2B5EF4-FFF2-40B4-BE49-F238E27FC236}">
                  <a16:creationId xmlns:a16="http://schemas.microsoft.com/office/drawing/2014/main" id="{0E9070DC-7C23-8244-A888-5BEE5218B599}"/>
                </a:ext>
              </a:extLst>
            </p:cNvPr>
            <p:cNvSpPr>
              <a:spLocks noChangeAspect="1" noEditPoints="1"/>
            </p:cNvSpPr>
            <p:nvPr/>
          </p:nvSpPr>
          <p:spPr bwMode="gray">
            <a:xfrm>
              <a:off x="4431730" y="2950674"/>
              <a:ext cx="302018" cy="270453"/>
            </a:xfrm>
            <a:custGeom>
              <a:avLst/>
              <a:gdLst>
                <a:gd name="T0" fmla="*/ 82 w 619"/>
                <a:gd name="T1" fmla="*/ 370 h 459"/>
                <a:gd name="T2" fmla="*/ 95 w 619"/>
                <a:gd name="T3" fmla="*/ 316 h 459"/>
                <a:gd name="T4" fmla="*/ 90 w 619"/>
                <a:gd name="T5" fmla="*/ 254 h 459"/>
                <a:gd name="T6" fmla="*/ 108 w 619"/>
                <a:gd name="T7" fmla="*/ 213 h 459"/>
                <a:gd name="T8" fmla="*/ 135 w 619"/>
                <a:gd name="T9" fmla="*/ 151 h 459"/>
                <a:gd name="T10" fmla="*/ 130 w 619"/>
                <a:gd name="T11" fmla="*/ 117 h 459"/>
                <a:gd name="T12" fmla="*/ 54 w 619"/>
                <a:gd name="T13" fmla="*/ 113 h 459"/>
                <a:gd name="T14" fmla="*/ 28 w 619"/>
                <a:gd name="T15" fmla="*/ 112 h 459"/>
                <a:gd name="T16" fmla="*/ 20 w 619"/>
                <a:gd name="T17" fmla="*/ 109 h 459"/>
                <a:gd name="T18" fmla="*/ 22 w 619"/>
                <a:gd name="T19" fmla="*/ 92 h 459"/>
                <a:gd name="T20" fmla="*/ 17 w 619"/>
                <a:gd name="T21" fmla="*/ 81 h 459"/>
                <a:gd name="T22" fmla="*/ 11 w 619"/>
                <a:gd name="T23" fmla="*/ 66 h 459"/>
                <a:gd name="T24" fmla="*/ 0 w 619"/>
                <a:gd name="T25" fmla="*/ 47 h 459"/>
                <a:gd name="T26" fmla="*/ 39 w 619"/>
                <a:gd name="T27" fmla="*/ 27 h 459"/>
                <a:gd name="T28" fmla="*/ 70 w 619"/>
                <a:gd name="T29" fmla="*/ 0 h 459"/>
                <a:gd name="T30" fmla="*/ 150 w 619"/>
                <a:gd name="T31" fmla="*/ 7 h 459"/>
                <a:gd name="T32" fmla="*/ 257 w 619"/>
                <a:gd name="T33" fmla="*/ 16 h 459"/>
                <a:gd name="T34" fmla="*/ 362 w 619"/>
                <a:gd name="T35" fmla="*/ 42 h 459"/>
                <a:gd name="T36" fmla="*/ 444 w 619"/>
                <a:gd name="T37" fmla="*/ 69 h 459"/>
                <a:gd name="T38" fmla="*/ 484 w 619"/>
                <a:gd name="T39" fmla="*/ 73 h 459"/>
                <a:gd name="T40" fmla="*/ 500 w 619"/>
                <a:gd name="T41" fmla="*/ 78 h 459"/>
                <a:gd name="T42" fmla="*/ 567 w 619"/>
                <a:gd name="T43" fmla="*/ 84 h 459"/>
                <a:gd name="T44" fmla="*/ 569 w 619"/>
                <a:gd name="T45" fmla="*/ 96 h 459"/>
                <a:gd name="T46" fmla="*/ 565 w 619"/>
                <a:gd name="T47" fmla="*/ 121 h 459"/>
                <a:gd name="T48" fmla="*/ 472 w 619"/>
                <a:gd name="T49" fmla="*/ 171 h 459"/>
                <a:gd name="T50" fmla="*/ 416 w 619"/>
                <a:gd name="T51" fmla="*/ 253 h 459"/>
                <a:gd name="T52" fmla="*/ 416 w 619"/>
                <a:gd name="T53" fmla="*/ 290 h 459"/>
                <a:gd name="T54" fmla="*/ 430 w 619"/>
                <a:gd name="T55" fmla="*/ 310 h 459"/>
                <a:gd name="T56" fmla="*/ 393 w 619"/>
                <a:gd name="T57" fmla="*/ 358 h 459"/>
                <a:gd name="T58" fmla="*/ 365 w 619"/>
                <a:gd name="T59" fmla="*/ 374 h 459"/>
                <a:gd name="T60" fmla="*/ 335 w 619"/>
                <a:gd name="T61" fmla="*/ 418 h 459"/>
                <a:gd name="T62" fmla="*/ 217 w 619"/>
                <a:gd name="T63" fmla="*/ 434 h 459"/>
                <a:gd name="T64" fmla="*/ 176 w 619"/>
                <a:gd name="T65" fmla="*/ 459 h 459"/>
                <a:gd name="T66" fmla="*/ 135 w 619"/>
                <a:gd name="T67" fmla="*/ 409 h 459"/>
                <a:gd name="T68" fmla="*/ 105 w 619"/>
                <a:gd name="T69" fmla="*/ 392 h 459"/>
                <a:gd name="T70" fmla="*/ 618 w 619"/>
                <a:gd name="T71" fmla="*/ 228 h 459"/>
                <a:gd name="T72" fmla="*/ 601 w 619"/>
                <a:gd name="T73" fmla="*/ 230 h 459"/>
                <a:gd name="T74" fmla="*/ 571 w 619"/>
                <a:gd name="T75" fmla="*/ 234 h 459"/>
                <a:gd name="T76" fmla="*/ 580 w 619"/>
                <a:gd name="T77" fmla="*/ 250 h 459"/>
                <a:gd name="T78" fmla="*/ 551 w 619"/>
                <a:gd name="T79" fmla="*/ 257 h 459"/>
                <a:gd name="T80" fmla="*/ 535 w 619"/>
                <a:gd name="T81" fmla="*/ 254 h 459"/>
                <a:gd name="T82" fmla="*/ 571 w 619"/>
                <a:gd name="T83" fmla="*/ 234 h 459"/>
                <a:gd name="T84" fmla="*/ 496 w 619"/>
                <a:gd name="T85" fmla="*/ 290 h 459"/>
                <a:gd name="T86" fmla="*/ 483 w 619"/>
                <a:gd name="T87" fmla="*/ 295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19" h="459">
                  <a:moveTo>
                    <a:pt x="87" y="394"/>
                  </a:moveTo>
                  <a:lnTo>
                    <a:pt x="82" y="370"/>
                  </a:lnTo>
                  <a:lnTo>
                    <a:pt x="107" y="345"/>
                  </a:lnTo>
                  <a:lnTo>
                    <a:pt x="95" y="316"/>
                  </a:lnTo>
                  <a:lnTo>
                    <a:pt x="104" y="286"/>
                  </a:lnTo>
                  <a:lnTo>
                    <a:pt x="90" y="254"/>
                  </a:lnTo>
                  <a:lnTo>
                    <a:pt x="113" y="236"/>
                  </a:lnTo>
                  <a:lnTo>
                    <a:pt x="108" y="213"/>
                  </a:lnTo>
                  <a:lnTo>
                    <a:pt x="116" y="169"/>
                  </a:lnTo>
                  <a:lnTo>
                    <a:pt x="135" y="151"/>
                  </a:lnTo>
                  <a:lnTo>
                    <a:pt x="141" y="132"/>
                  </a:lnTo>
                  <a:lnTo>
                    <a:pt x="130" y="117"/>
                  </a:lnTo>
                  <a:lnTo>
                    <a:pt x="61" y="118"/>
                  </a:lnTo>
                  <a:lnTo>
                    <a:pt x="54" y="113"/>
                  </a:lnTo>
                  <a:lnTo>
                    <a:pt x="54" y="103"/>
                  </a:lnTo>
                  <a:lnTo>
                    <a:pt x="28" y="112"/>
                  </a:lnTo>
                  <a:lnTo>
                    <a:pt x="22" y="120"/>
                  </a:lnTo>
                  <a:lnTo>
                    <a:pt x="20" y="109"/>
                  </a:lnTo>
                  <a:lnTo>
                    <a:pt x="28" y="90"/>
                  </a:lnTo>
                  <a:lnTo>
                    <a:pt x="22" y="92"/>
                  </a:lnTo>
                  <a:lnTo>
                    <a:pt x="24" y="84"/>
                  </a:lnTo>
                  <a:lnTo>
                    <a:pt x="17" y="81"/>
                  </a:lnTo>
                  <a:lnTo>
                    <a:pt x="22" y="69"/>
                  </a:lnTo>
                  <a:lnTo>
                    <a:pt x="11" y="66"/>
                  </a:lnTo>
                  <a:lnTo>
                    <a:pt x="13" y="59"/>
                  </a:lnTo>
                  <a:lnTo>
                    <a:pt x="0" y="47"/>
                  </a:lnTo>
                  <a:lnTo>
                    <a:pt x="13" y="30"/>
                  </a:lnTo>
                  <a:lnTo>
                    <a:pt x="39" y="27"/>
                  </a:lnTo>
                  <a:lnTo>
                    <a:pt x="51" y="5"/>
                  </a:lnTo>
                  <a:lnTo>
                    <a:pt x="70" y="0"/>
                  </a:lnTo>
                  <a:lnTo>
                    <a:pt x="108" y="12"/>
                  </a:lnTo>
                  <a:lnTo>
                    <a:pt x="150" y="7"/>
                  </a:lnTo>
                  <a:lnTo>
                    <a:pt x="215" y="19"/>
                  </a:lnTo>
                  <a:lnTo>
                    <a:pt x="257" y="16"/>
                  </a:lnTo>
                  <a:lnTo>
                    <a:pt x="342" y="24"/>
                  </a:lnTo>
                  <a:lnTo>
                    <a:pt x="362" y="42"/>
                  </a:lnTo>
                  <a:lnTo>
                    <a:pt x="395" y="58"/>
                  </a:lnTo>
                  <a:lnTo>
                    <a:pt x="444" y="69"/>
                  </a:lnTo>
                  <a:lnTo>
                    <a:pt x="466" y="61"/>
                  </a:lnTo>
                  <a:lnTo>
                    <a:pt x="484" y="73"/>
                  </a:lnTo>
                  <a:lnTo>
                    <a:pt x="492" y="83"/>
                  </a:lnTo>
                  <a:lnTo>
                    <a:pt x="500" y="78"/>
                  </a:lnTo>
                  <a:lnTo>
                    <a:pt x="517" y="87"/>
                  </a:lnTo>
                  <a:lnTo>
                    <a:pt x="567" y="84"/>
                  </a:lnTo>
                  <a:lnTo>
                    <a:pt x="576" y="93"/>
                  </a:lnTo>
                  <a:lnTo>
                    <a:pt x="569" y="96"/>
                  </a:lnTo>
                  <a:lnTo>
                    <a:pt x="573" y="112"/>
                  </a:lnTo>
                  <a:lnTo>
                    <a:pt x="565" y="121"/>
                  </a:lnTo>
                  <a:lnTo>
                    <a:pt x="522" y="152"/>
                  </a:lnTo>
                  <a:lnTo>
                    <a:pt x="472" y="171"/>
                  </a:lnTo>
                  <a:lnTo>
                    <a:pt x="463" y="183"/>
                  </a:lnTo>
                  <a:lnTo>
                    <a:pt x="416" y="253"/>
                  </a:lnTo>
                  <a:lnTo>
                    <a:pt x="410" y="267"/>
                  </a:lnTo>
                  <a:lnTo>
                    <a:pt x="416" y="290"/>
                  </a:lnTo>
                  <a:lnTo>
                    <a:pt x="433" y="303"/>
                  </a:lnTo>
                  <a:lnTo>
                    <a:pt x="430" y="310"/>
                  </a:lnTo>
                  <a:lnTo>
                    <a:pt x="406" y="330"/>
                  </a:lnTo>
                  <a:lnTo>
                    <a:pt x="393" y="358"/>
                  </a:lnTo>
                  <a:lnTo>
                    <a:pt x="391" y="370"/>
                  </a:lnTo>
                  <a:lnTo>
                    <a:pt x="365" y="374"/>
                  </a:lnTo>
                  <a:lnTo>
                    <a:pt x="348" y="389"/>
                  </a:lnTo>
                  <a:lnTo>
                    <a:pt x="335" y="418"/>
                  </a:lnTo>
                  <a:lnTo>
                    <a:pt x="226" y="423"/>
                  </a:lnTo>
                  <a:lnTo>
                    <a:pt x="217" y="434"/>
                  </a:lnTo>
                  <a:lnTo>
                    <a:pt x="197" y="438"/>
                  </a:lnTo>
                  <a:lnTo>
                    <a:pt x="176" y="459"/>
                  </a:lnTo>
                  <a:lnTo>
                    <a:pt x="152" y="448"/>
                  </a:lnTo>
                  <a:lnTo>
                    <a:pt x="135" y="409"/>
                  </a:lnTo>
                  <a:lnTo>
                    <a:pt x="124" y="401"/>
                  </a:lnTo>
                  <a:lnTo>
                    <a:pt x="105" y="392"/>
                  </a:lnTo>
                  <a:lnTo>
                    <a:pt x="87" y="394"/>
                  </a:lnTo>
                  <a:close/>
                  <a:moveTo>
                    <a:pt x="618" y="228"/>
                  </a:moveTo>
                  <a:lnTo>
                    <a:pt x="619" y="239"/>
                  </a:lnTo>
                  <a:lnTo>
                    <a:pt x="601" y="230"/>
                  </a:lnTo>
                  <a:lnTo>
                    <a:pt x="618" y="228"/>
                  </a:lnTo>
                  <a:close/>
                  <a:moveTo>
                    <a:pt x="571" y="234"/>
                  </a:moveTo>
                  <a:lnTo>
                    <a:pt x="569" y="244"/>
                  </a:lnTo>
                  <a:lnTo>
                    <a:pt x="580" y="250"/>
                  </a:lnTo>
                  <a:lnTo>
                    <a:pt x="567" y="273"/>
                  </a:lnTo>
                  <a:lnTo>
                    <a:pt x="551" y="257"/>
                  </a:lnTo>
                  <a:lnTo>
                    <a:pt x="540" y="261"/>
                  </a:lnTo>
                  <a:lnTo>
                    <a:pt x="535" y="254"/>
                  </a:lnTo>
                  <a:lnTo>
                    <a:pt x="543" y="245"/>
                  </a:lnTo>
                  <a:lnTo>
                    <a:pt x="571" y="234"/>
                  </a:lnTo>
                  <a:close/>
                  <a:moveTo>
                    <a:pt x="492" y="282"/>
                  </a:moveTo>
                  <a:lnTo>
                    <a:pt x="496" y="290"/>
                  </a:lnTo>
                  <a:lnTo>
                    <a:pt x="491" y="295"/>
                  </a:lnTo>
                  <a:lnTo>
                    <a:pt x="483" y="295"/>
                  </a:lnTo>
                  <a:lnTo>
                    <a:pt x="492" y="282"/>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432" name="Freeform 158">
              <a:extLst>
                <a:ext uri="{FF2B5EF4-FFF2-40B4-BE49-F238E27FC236}">
                  <a16:creationId xmlns:a16="http://schemas.microsoft.com/office/drawing/2014/main" id="{CE591DC1-4C45-D346-8FCD-CC0A49FB532A}"/>
                </a:ext>
              </a:extLst>
            </p:cNvPr>
            <p:cNvSpPr>
              <a:spLocks noChangeAspect="1" noEditPoints="1"/>
            </p:cNvSpPr>
            <p:nvPr/>
          </p:nvSpPr>
          <p:spPr bwMode="gray">
            <a:xfrm>
              <a:off x="4786206" y="2824081"/>
              <a:ext cx="263870" cy="375947"/>
            </a:xfrm>
            <a:custGeom>
              <a:avLst/>
              <a:gdLst>
                <a:gd name="T0" fmla="*/ 68 w 544"/>
                <a:gd name="T1" fmla="*/ 206 h 642"/>
                <a:gd name="T2" fmla="*/ 97 w 544"/>
                <a:gd name="T3" fmla="*/ 176 h 642"/>
                <a:gd name="T4" fmla="*/ 160 w 544"/>
                <a:gd name="T5" fmla="*/ 204 h 642"/>
                <a:gd name="T6" fmla="*/ 203 w 544"/>
                <a:gd name="T7" fmla="*/ 288 h 642"/>
                <a:gd name="T8" fmla="*/ 219 w 544"/>
                <a:gd name="T9" fmla="*/ 298 h 642"/>
                <a:gd name="T10" fmla="*/ 237 w 544"/>
                <a:gd name="T11" fmla="*/ 322 h 642"/>
                <a:gd name="T12" fmla="*/ 293 w 544"/>
                <a:gd name="T13" fmla="*/ 371 h 642"/>
                <a:gd name="T14" fmla="*/ 340 w 544"/>
                <a:gd name="T15" fmla="*/ 395 h 642"/>
                <a:gd name="T16" fmla="*/ 354 w 544"/>
                <a:gd name="T17" fmla="*/ 410 h 642"/>
                <a:gd name="T18" fmla="*/ 384 w 544"/>
                <a:gd name="T19" fmla="*/ 436 h 642"/>
                <a:gd name="T20" fmla="*/ 411 w 544"/>
                <a:gd name="T21" fmla="*/ 442 h 642"/>
                <a:gd name="T22" fmla="*/ 422 w 544"/>
                <a:gd name="T23" fmla="*/ 527 h 642"/>
                <a:gd name="T24" fmla="*/ 415 w 544"/>
                <a:gd name="T25" fmla="*/ 554 h 642"/>
                <a:gd name="T26" fmla="*/ 431 w 544"/>
                <a:gd name="T27" fmla="*/ 571 h 642"/>
                <a:gd name="T28" fmla="*/ 454 w 544"/>
                <a:gd name="T29" fmla="*/ 544 h 642"/>
                <a:gd name="T30" fmla="*/ 479 w 544"/>
                <a:gd name="T31" fmla="*/ 505 h 642"/>
                <a:gd name="T32" fmla="*/ 452 w 544"/>
                <a:gd name="T33" fmla="*/ 463 h 642"/>
                <a:gd name="T34" fmla="*/ 464 w 544"/>
                <a:gd name="T35" fmla="*/ 429 h 642"/>
                <a:gd name="T36" fmla="*/ 518 w 544"/>
                <a:gd name="T37" fmla="*/ 433 h 642"/>
                <a:gd name="T38" fmla="*/ 536 w 544"/>
                <a:gd name="T39" fmla="*/ 456 h 642"/>
                <a:gd name="T40" fmla="*/ 518 w 544"/>
                <a:gd name="T41" fmla="*/ 404 h 642"/>
                <a:gd name="T42" fmla="*/ 423 w 544"/>
                <a:gd name="T43" fmla="*/ 353 h 642"/>
                <a:gd name="T44" fmla="*/ 435 w 544"/>
                <a:gd name="T45" fmla="*/ 334 h 642"/>
                <a:gd name="T46" fmla="*/ 392 w 544"/>
                <a:gd name="T47" fmla="*/ 331 h 642"/>
                <a:gd name="T48" fmla="*/ 369 w 544"/>
                <a:gd name="T49" fmla="*/ 319 h 642"/>
                <a:gd name="T50" fmla="*/ 315 w 544"/>
                <a:gd name="T51" fmla="*/ 226 h 642"/>
                <a:gd name="T52" fmla="*/ 258 w 544"/>
                <a:gd name="T53" fmla="*/ 178 h 642"/>
                <a:gd name="T54" fmla="*/ 266 w 544"/>
                <a:gd name="T55" fmla="*/ 144 h 642"/>
                <a:gd name="T56" fmla="*/ 258 w 544"/>
                <a:gd name="T57" fmla="*/ 131 h 642"/>
                <a:gd name="T58" fmla="*/ 301 w 544"/>
                <a:gd name="T59" fmla="*/ 91 h 642"/>
                <a:gd name="T60" fmla="*/ 320 w 544"/>
                <a:gd name="T61" fmla="*/ 104 h 642"/>
                <a:gd name="T62" fmla="*/ 317 w 544"/>
                <a:gd name="T63" fmla="*/ 83 h 642"/>
                <a:gd name="T64" fmla="*/ 315 w 544"/>
                <a:gd name="T65" fmla="*/ 58 h 642"/>
                <a:gd name="T66" fmla="*/ 320 w 544"/>
                <a:gd name="T67" fmla="*/ 40 h 642"/>
                <a:gd name="T68" fmla="*/ 254 w 544"/>
                <a:gd name="T69" fmla="*/ 19 h 642"/>
                <a:gd name="T70" fmla="*/ 185 w 544"/>
                <a:gd name="T71" fmla="*/ 19 h 642"/>
                <a:gd name="T72" fmla="*/ 168 w 544"/>
                <a:gd name="T73" fmla="*/ 29 h 642"/>
                <a:gd name="T74" fmla="*/ 156 w 544"/>
                <a:gd name="T75" fmla="*/ 53 h 642"/>
                <a:gd name="T76" fmla="*/ 103 w 544"/>
                <a:gd name="T77" fmla="*/ 79 h 642"/>
                <a:gd name="T78" fmla="*/ 78 w 544"/>
                <a:gd name="T79" fmla="*/ 45 h 642"/>
                <a:gd name="T80" fmla="*/ 12 w 544"/>
                <a:gd name="T81" fmla="*/ 82 h 642"/>
                <a:gd name="T82" fmla="*/ 15 w 544"/>
                <a:gd name="T83" fmla="*/ 119 h 642"/>
                <a:gd name="T84" fmla="*/ 0 w 544"/>
                <a:gd name="T85" fmla="*/ 142 h 642"/>
                <a:gd name="T86" fmla="*/ 9 w 544"/>
                <a:gd name="T87" fmla="*/ 173 h 642"/>
                <a:gd name="T88" fmla="*/ 38 w 544"/>
                <a:gd name="T89" fmla="*/ 192 h 642"/>
                <a:gd name="T90" fmla="*/ 112 w 544"/>
                <a:gd name="T91" fmla="*/ 370 h 642"/>
                <a:gd name="T92" fmla="*/ 137 w 544"/>
                <a:gd name="T93" fmla="*/ 405 h 642"/>
                <a:gd name="T94" fmla="*/ 129 w 544"/>
                <a:gd name="T95" fmla="*/ 498 h 642"/>
                <a:gd name="T96" fmla="*/ 110 w 544"/>
                <a:gd name="T97" fmla="*/ 509 h 642"/>
                <a:gd name="T98" fmla="*/ 81 w 544"/>
                <a:gd name="T99" fmla="*/ 490 h 642"/>
                <a:gd name="T100" fmla="*/ 85 w 544"/>
                <a:gd name="T101" fmla="*/ 455 h 642"/>
                <a:gd name="T102" fmla="*/ 69 w 544"/>
                <a:gd name="T103" fmla="*/ 408 h 642"/>
                <a:gd name="T104" fmla="*/ 86 w 544"/>
                <a:gd name="T105" fmla="*/ 395 h 642"/>
                <a:gd name="T106" fmla="*/ 411 w 544"/>
                <a:gd name="T107" fmla="*/ 549 h 642"/>
                <a:gd name="T108" fmla="*/ 395 w 544"/>
                <a:gd name="T109" fmla="*/ 622 h 642"/>
                <a:gd name="T110" fmla="*/ 366 w 544"/>
                <a:gd name="T111" fmla="*/ 639 h 642"/>
                <a:gd name="T112" fmla="*/ 275 w 544"/>
                <a:gd name="T113" fmla="*/ 589 h 642"/>
                <a:gd name="T114" fmla="*/ 276 w 544"/>
                <a:gd name="T115" fmla="*/ 555 h 642"/>
                <a:gd name="T116" fmla="*/ 301 w 544"/>
                <a:gd name="T117" fmla="*/ 554 h 642"/>
                <a:gd name="T118" fmla="*/ 411 w 544"/>
                <a:gd name="T119" fmla="*/ 549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4" h="642">
                  <a:moveTo>
                    <a:pt x="39" y="212"/>
                  </a:moveTo>
                  <a:lnTo>
                    <a:pt x="68" y="206"/>
                  </a:lnTo>
                  <a:lnTo>
                    <a:pt x="81" y="184"/>
                  </a:lnTo>
                  <a:lnTo>
                    <a:pt x="97" y="176"/>
                  </a:lnTo>
                  <a:lnTo>
                    <a:pt x="112" y="178"/>
                  </a:lnTo>
                  <a:lnTo>
                    <a:pt x="160" y="204"/>
                  </a:lnTo>
                  <a:lnTo>
                    <a:pt x="177" y="261"/>
                  </a:lnTo>
                  <a:lnTo>
                    <a:pt x="203" y="288"/>
                  </a:lnTo>
                  <a:lnTo>
                    <a:pt x="205" y="302"/>
                  </a:lnTo>
                  <a:lnTo>
                    <a:pt x="219" y="298"/>
                  </a:lnTo>
                  <a:lnTo>
                    <a:pt x="227" y="305"/>
                  </a:lnTo>
                  <a:lnTo>
                    <a:pt x="237" y="322"/>
                  </a:lnTo>
                  <a:lnTo>
                    <a:pt x="245" y="323"/>
                  </a:lnTo>
                  <a:lnTo>
                    <a:pt x="293" y="371"/>
                  </a:lnTo>
                  <a:lnTo>
                    <a:pt x="326" y="373"/>
                  </a:lnTo>
                  <a:lnTo>
                    <a:pt x="340" y="395"/>
                  </a:lnTo>
                  <a:lnTo>
                    <a:pt x="354" y="402"/>
                  </a:lnTo>
                  <a:lnTo>
                    <a:pt x="354" y="410"/>
                  </a:lnTo>
                  <a:lnTo>
                    <a:pt x="374" y="408"/>
                  </a:lnTo>
                  <a:lnTo>
                    <a:pt x="384" y="436"/>
                  </a:lnTo>
                  <a:lnTo>
                    <a:pt x="401" y="449"/>
                  </a:lnTo>
                  <a:lnTo>
                    <a:pt x="411" y="442"/>
                  </a:lnTo>
                  <a:lnTo>
                    <a:pt x="439" y="517"/>
                  </a:lnTo>
                  <a:lnTo>
                    <a:pt x="422" y="527"/>
                  </a:lnTo>
                  <a:lnTo>
                    <a:pt x="423" y="537"/>
                  </a:lnTo>
                  <a:lnTo>
                    <a:pt x="415" y="554"/>
                  </a:lnTo>
                  <a:lnTo>
                    <a:pt x="417" y="571"/>
                  </a:lnTo>
                  <a:lnTo>
                    <a:pt x="431" y="571"/>
                  </a:lnTo>
                  <a:lnTo>
                    <a:pt x="442" y="551"/>
                  </a:lnTo>
                  <a:lnTo>
                    <a:pt x="454" y="544"/>
                  </a:lnTo>
                  <a:lnTo>
                    <a:pt x="459" y="515"/>
                  </a:lnTo>
                  <a:lnTo>
                    <a:pt x="479" y="505"/>
                  </a:lnTo>
                  <a:lnTo>
                    <a:pt x="477" y="481"/>
                  </a:lnTo>
                  <a:lnTo>
                    <a:pt x="452" y="463"/>
                  </a:lnTo>
                  <a:lnTo>
                    <a:pt x="457" y="439"/>
                  </a:lnTo>
                  <a:lnTo>
                    <a:pt x="464" y="429"/>
                  </a:lnTo>
                  <a:lnTo>
                    <a:pt x="482" y="415"/>
                  </a:lnTo>
                  <a:lnTo>
                    <a:pt x="518" y="433"/>
                  </a:lnTo>
                  <a:lnTo>
                    <a:pt x="527" y="450"/>
                  </a:lnTo>
                  <a:lnTo>
                    <a:pt x="536" y="456"/>
                  </a:lnTo>
                  <a:lnTo>
                    <a:pt x="544" y="441"/>
                  </a:lnTo>
                  <a:lnTo>
                    <a:pt x="518" y="404"/>
                  </a:lnTo>
                  <a:lnTo>
                    <a:pt x="426" y="359"/>
                  </a:lnTo>
                  <a:lnTo>
                    <a:pt x="423" y="353"/>
                  </a:lnTo>
                  <a:lnTo>
                    <a:pt x="435" y="342"/>
                  </a:lnTo>
                  <a:lnTo>
                    <a:pt x="435" y="334"/>
                  </a:lnTo>
                  <a:lnTo>
                    <a:pt x="431" y="328"/>
                  </a:lnTo>
                  <a:lnTo>
                    <a:pt x="392" y="331"/>
                  </a:lnTo>
                  <a:lnTo>
                    <a:pt x="391" y="337"/>
                  </a:lnTo>
                  <a:lnTo>
                    <a:pt x="369" y="319"/>
                  </a:lnTo>
                  <a:lnTo>
                    <a:pt x="340" y="288"/>
                  </a:lnTo>
                  <a:lnTo>
                    <a:pt x="315" y="226"/>
                  </a:lnTo>
                  <a:lnTo>
                    <a:pt x="264" y="193"/>
                  </a:lnTo>
                  <a:lnTo>
                    <a:pt x="258" y="178"/>
                  </a:lnTo>
                  <a:lnTo>
                    <a:pt x="258" y="163"/>
                  </a:lnTo>
                  <a:lnTo>
                    <a:pt x="266" y="144"/>
                  </a:lnTo>
                  <a:lnTo>
                    <a:pt x="266" y="139"/>
                  </a:lnTo>
                  <a:lnTo>
                    <a:pt x="258" y="131"/>
                  </a:lnTo>
                  <a:lnTo>
                    <a:pt x="256" y="113"/>
                  </a:lnTo>
                  <a:lnTo>
                    <a:pt x="301" y="91"/>
                  </a:lnTo>
                  <a:lnTo>
                    <a:pt x="321" y="90"/>
                  </a:lnTo>
                  <a:lnTo>
                    <a:pt x="320" y="104"/>
                  </a:lnTo>
                  <a:lnTo>
                    <a:pt x="332" y="97"/>
                  </a:lnTo>
                  <a:lnTo>
                    <a:pt x="317" y="83"/>
                  </a:lnTo>
                  <a:lnTo>
                    <a:pt x="313" y="71"/>
                  </a:lnTo>
                  <a:lnTo>
                    <a:pt x="315" y="58"/>
                  </a:lnTo>
                  <a:lnTo>
                    <a:pt x="309" y="58"/>
                  </a:lnTo>
                  <a:lnTo>
                    <a:pt x="320" y="40"/>
                  </a:lnTo>
                  <a:lnTo>
                    <a:pt x="264" y="26"/>
                  </a:lnTo>
                  <a:lnTo>
                    <a:pt x="254" y="19"/>
                  </a:lnTo>
                  <a:lnTo>
                    <a:pt x="247" y="0"/>
                  </a:lnTo>
                  <a:lnTo>
                    <a:pt x="185" y="19"/>
                  </a:lnTo>
                  <a:lnTo>
                    <a:pt x="169" y="15"/>
                  </a:lnTo>
                  <a:lnTo>
                    <a:pt x="168" y="29"/>
                  </a:lnTo>
                  <a:lnTo>
                    <a:pt x="156" y="32"/>
                  </a:lnTo>
                  <a:lnTo>
                    <a:pt x="156" y="53"/>
                  </a:lnTo>
                  <a:lnTo>
                    <a:pt x="118" y="41"/>
                  </a:lnTo>
                  <a:lnTo>
                    <a:pt x="103" y="79"/>
                  </a:lnTo>
                  <a:lnTo>
                    <a:pt x="83" y="62"/>
                  </a:lnTo>
                  <a:lnTo>
                    <a:pt x="78" y="45"/>
                  </a:lnTo>
                  <a:lnTo>
                    <a:pt x="51" y="77"/>
                  </a:lnTo>
                  <a:lnTo>
                    <a:pt x="12" y="82"/>
                  </a:lnTo>
                  <a:lnTo>
                    <a:pt x="4" y="85"/>
                  </a:lnTo>
                  <a:lnTo>
                    <a:pt x="15" y="119"/>
                  </a:lnTo>
                  <a:lnTo>
                    <a:pt x="2" y="133"/>
                  </a:lnTo>
                  <a:lnTo>
                    <a:pt x="0" y="142"/>
                  </a:lnTo>
                  <a:lnTo>
                    <a:pt x="10" y="150"/>
                  </a:lnTo>
                  <a:lnTo>
                    <a:pt x="9" y="173"/>
                  </a:lnTo>
                  <a:lnTo>
                    <a:pt x="17" y="190"/>
                  </a:lnTo>
                  <a:lnTo>
                    <a:pt x="38" y="192"/>
                  </a:lnTo>
                  <a:lnTo>
                    <a:pt x="39" y="212"/>
                  </a:lnTo>
                  <a:close/>
                  <a:moveTo>
                    <a:pt x="112" y="370"/>
                  </a:moveTo>
                  <a:lnTo>
                    <a:pt x="129" y="379"/>
                  </a:lnTo>
                  <a:lnTo>
                    <a:pt x="137" y="405"/>
                  </a:lnTo>
                  <a:lnTo>
                    <a:pt x="135" y="484"/>
                  </a:lnTo>
                  <a:lnTo>
                    <a:pt x="129" y="498"/>
                  </a:lnTo>
                  <a:lnTo>
                    <a:pt x="117" y="495"/>
                  </a:lnTo>
                  <a:lnTo>
                    <a:pt x="110" y="509"/>
                  </a:lnTo>
                  <a:lnTo>
                    <a:pt x="95" y="515"/>
                  </a:lnTo>
                  <a:lnTo>
                    <a:pt x="81" y="490"/>
                  </a:lnTo>
                  <a:lnTo>
                    <a:pt x="78" y="480"/>
                  </a:lnTo>
                  <a:lnTo>
                    <a:pt x="85" y="455"/>
                  </a:lnTo>
                  <a:lnTo>
                    <a:pt x="80" y="422"/>
                  </a:lnTo>
                  <a:lnTo>
                    <a:pt x="69" y="408"/>
                  </a:lnTo>
                  <a:lnTo>
                    <a:pt x="69" y="391"/>
                  </a:lnTo>
                  <a:lnTo>
                    <a:pt x="86" y="395"/>
                  </a:lnTo>
                  <a:lnTo>
                    <a:pt x="112" y="370"/>
                  </a:lnTo>
                  <a:close/>
                  <a:moveTo>
                    <a:pt x="411" y="549"/>
                  </a:moveTo>
                  <a:lnTo>
                    <a:pt x="388" y="600"/>
                  </a:lnTo>
                  <a:lnTo>
                    <a:pt x="395" y="622"/>
                  </a:lnTo>
                  <a:lnTo>
                    <a:pt x="389" y="642"/>
                  </a:lnTo>
                  <a:lnTo>
                    <a:pt x="366" y="639"/>
                  </a:lnTo>
                  <a:lnTo>
                    <a:pt x="351" y="623"/>
                  </a:lnTo>
                  <a:lnTo>
                    <a:pt x="275" y="589"/>
                  </a:lnTo>
                  <a:lnTo>
                    <a:pt x="267" y="571"/>
                  </a:lnTo>
                  <a:lnTo>
                    <a:pt x="276" y="555"/>
                  </a:lnTo>
                  <a:lnTo>
                    <a:pt x="283" y="561"/>
                  </a:lnTo>
                  <a:lnTo>
                    <a:pt x="301" y="554"/>
                  </a:lnTo>
                  <a:lnTo>
                    <a:pt x="324" y="568"/>
                  </a:lnTo>
                  <a:lnTo>
                    <a:pt x="411" y="549"/>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33" name="Freeform 159">
              <a:extLst>
                <a:ext uri="{FF2B5EF4-FFF2-40B4-BE49-F238E27FC236}">
                  <a16:creationId xmlns:a16="http://schemas.microsoft.com/office/drawing/2014/main" id="{5151E276-7049-8842-B86D-662F5DDF0C84}"/>
                </a:ext>
              </a:extLst>
            </p:cNvPr>
            <p:cNvSpPr>
              <a:spLocks noChangeAspect="1" noEditPoints="1"/>
            </p:cNvSpPr>
            <p:nvPr/>
          </p:nvSpPr>
          <p:spPr bwMode="gray">
            <a:xfrm>
              <a:off x="4531874" y="2659123"/>
              <a:ext cx="317914" cy="379782"/>
            </a:xfrm>
            <a:custGeom>
              <a:avLst/>
              <a:gdLst>
                <a:gd name="T0" fmla="*/ 299 w 654"/>
                <a:gd name="T1" fmla="*/ 15 h 645"/>
                <a:gd name="T2" fmla="*/ 292 w 654"/>
                <a:gd name="T3" fmla="*/ 63 h 645"/>
                <a:gd name="T4" fmla="*/ 231 w 654"/>
                <a:gd name="T5" fmla="*/ 99 h 645"/>
                <a:gd name="T6" fmla="*/ 241 w 654"/>
                <a:gd name="T7" fmla="*/ 119 h 645"/>
                <a:gd name="T8" fmla="*/ 172 w 654"/>
                <a:gd name="T9" fmla="*/ 125 h 645"/>
                <a:gd name="T10" fmla="*/ 161 w 654"/>
                <a:gd name="T11" fmla="*/ 105 h 645"/>
                <a:gd name="T12" fmla="*/ 150 w 654"/>
                <a:gd name="T13" fmla="*/ 169 h 645"/>
                <a:gd name="T14" fmla="*/ 151 w 654"/>
                <a:gd name="T15" fmla="*/ 178 h 645"/>
                <a:gd name="T16" fmla="*/ 100 w 654"/>
                <a:gd name="T17" fmla="*/ 181 h 645"/>
                <a:gd name="T18" fmla="*/ 62 w 654"/>
                <a:gd name="T19" fmla="*/ 162 h 645"/>
                <a:gd name="T20" fmla="*/ 3 w 654"/>
                <a:gd name="T21" fmla="*/ 184 h 645"/>
                <a:gd name="T22" fmla="*/ 17 w 654"/>
                <a:gd name="T23" fmla="*/ 195 h 645"/>
                <a:gd name="T24" fmla="*/ 17 w 654"/>
                <a:gd name="T25" fmla="*/ 213 h 645"/>
                <a:gd name="T26" fmla="*/ 20 w 654"/>
                <a:gd name="T27" fmla="*/ 233 h 645"/>
                <a:gd name="T28" fmla="*/ 73 w 654"/>
                <a:gd name="T29" fmla="*/ 249 h 645"/>
                <a:gd name="T30" fmla="*/ 107 w 654"/>
                <a:gd name="T31" fmla="*/ 267 h 645"/>
                <a:gd name="T32" fmla="*/ 122 w 654"/>
                <a:gd name="T33" fmla="*/ 274 h 645"/>
                <a:gd name="T34" fmla="*/ 139 w 654"/>
                <a:gd name="T35" fmla="*/ 320 h 645"/>
                <a:gd name="T36" fmla="*/ 173 w 654"/>
                <a:gd name="T37" fmla="*/ 360 h 645"/>
                <a:gd name="T38" fmla="*/ 187 w 654"/>
                <a:gd name="T39" fmla="*/ 393 h 645"/>
                <a:gd name="T40" fmla="*/ 175 w 654"/>
                <a:gd name="T41" fmla="*/ 385 h 645"/>
                <a:gd name="T42" fmla="*/ 175 w 654"/>
                <a:gd name="T43" fmla="*/ 441 h 645"/>
                <a:gd name="T44" fmla="*/ 156 w 654"/>
                <a:gd name="T45" fmla="*/ 507 h 645"/>
                <a:gd name="T46" fmla="*/ 136 w 654"/>
                <a:gd name="T47" fmla="*/ 523 h 645"/>
                <a:gd name="T48" fmla="*/ 189 w 654"/>
                <a:gd name="T49" fmla="*/ 557 h 645"/>
                <a:gd name="T50" fmla="*/ 260 w 654"/>
                <a:gd name="T51" fmla="*/ 560 h 645"/>
                <a:gd name="T52" fmla="*/ 288 w 654"/>
                <a:gd name="T53" fmla="*/ 569 h 645"/>
                <a:gd name="T54" fmla="*/ 311 w 654"/>
                <a:gd name="T55" fmla="*/ 586 h 645"/>
                <a:gd name="T56" fmla="*/ 356 w 654"/>
                <a:gd name="T57" fmla="*/ 555 h 645"/>
                <a:gd name="T58" fmla="*/ 402 w 654"/>
                <a:gd name="T59" fmla="*/ 512 h 645"/>
                <a:gd name="T60" fmla="*/ 449 w 654"/>
                <a:gd name="T61" fmla="*/ 521 h 645"/>
                <a:gd name="T62" fmla="*/ 518 w 654"/>
                <a:gd name="T63" fmla="*/ 531 h 645"/>
                <a:gd name="T64" fmla="*/ 561 w 654"/>
                <a:gd name="T65" fmla="*/ 492 h 645"/>
                <a:gd name="T66" fmla="*/ 539 w 654"/>
                <a:gd name="T67" fmla="*/ 470 h 645"/>
                <a:gd name="T68" fmla="*/ 532 w 654"/>
                <a:gd name="T69" fmla="*/ 430 h 645"/>
                <a:gd name="T70" fmla="*/ 524 w 654"/>
                <a:gd name="T71" fmla="*/ 413 h 645"/>
                <a:gd name="T72" fmla="*/ 526 w 654"/>
                <a:gd name="T73" fmla="*/ 365 h 645"/>
                <a:gd name="T74" fmla="*/ 532 w 654"/>
                <a:gd name="T75" fmla="*/ 351 h 645"/>
                <a:gd name="T76" fmla="*/ 524 w 654"/>
                <a:gd name="T77" fmla="*/ 328 h 645"/>
                <a:gd name="T78" fmla="*/ 492 w 654"/>
                <a:gd name="T79" fmla="*/ 343 h 645"/>
                <a:gd name="T80" fmla="*/ 514 w 654"/>
                <a:gd name="T81" fmla="*/ 283 h 645"/>
                <a:gd name="T82" fmla="*/ 531 w 654"/>
                <a:gd name="T83" fmla="*/ 257 h 645"/>
                <a:gd name="T84" fmla="*/ 560 w 654"/>
                <a:gd name="T85" fmla="*/ 245 h 645"/>
                <a:gd name="T86" fmla="*/ 568 w 654"/>
                <a:gd name="T87" fmla="*/ 181 h 645"/>
                <a:gd name="T88" fmla="*/ 522 w 654"/>
                <a:gd name="T89" fmla="*/ 135 h 645"/>
                <a:gd name="T90" fmla="*/ 476 w 654"/>
                <a:gd name="T91" fmla="*/ 108 h 645"/>
                <a:gd name="T92" fmla="*/ 444 w 654"/>
                <a:gd name="T93" fmla="*/ 96 h 645"/>
                <a:gd name="T94" fmla="*/ 427 w 654"/>
                <a:gd name="T95" fmla="*/ 80 h 645"/>
                <a:gd name="T96" fmla="*/ 402 w 654"/>
                <a:gd name="T97" fmla="*/ 54 h 645"/>
                <a:gd name="T98" fmla="*/ 363 w 654"/>
                <a:gd name="T99" fmla="*/ 25 h 645"/>
                <a:gd name="T100" fmla="*/ 342 w 654"/>
                <a:gd name="T101" fmla="*/ 0 h 645"/>
                <a:gd name="T102" fmla="*/ 647 w 654"/>
                <a:gd name="T103" fmla="*/ 544 h 645"/>
                <a:gd name="T104" fmla="*/ 637 w 654"/>
                <a:gd name="T105" fmla="*/ 645 h 645"/>
                <a:gd name="T106" fmla="*/ 610 w 654"/>
                <a:gd name="T107" fmla="*/ 580 h 645"/>
                <a:gd name="T108" fmla="*/ 640 w 654"/>
                <a:gd name="T109" fmla="*/ 558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54" h="645">
                  <a:moveTo>
                    <a:pt x="342" y="0"/>
                  </a:moveTo>
                  <a:lnTo>
                    <a:pt x="299" y="15"/>
                  </a:lnTo>
                  <a:lnTo>
                    <a:pt x="294" y="29"/>
                  </a:lnTo>
                  <a:lnTo>
                    <a:pt x="292" y="63"/>
                  </a:lnTo>
                  <a:lnTo>
                    <a:pt x="269" y="82"/>
                  </a:lnTo>
                  <a:lnTo>
                    <a:pt x="231" y="99"/>
                  </a:lnTo>
                  <a:lnTo>
                    <a:pt x="226" y="114"/>
                  </a:lnTo>
                  <a:lnTo>
                    <a:pt x="241" y="119"/>
                  </a:lnTo>
                  <a:lnTo>
                    <a:pt x="210" y="130"/>
                  </a:lnTo>
                  <a:lnTo>
                    <a:pt x="172" y="125"/>
                  </a:lnTo>
                  <a:lnTo>
                    <a:pt x="161" y="111"/>
                  </a:lnTo>
                  <a:lnTo>
                    <a:pt x="161" y="105"/>
                  </a:lnTo>
                  <a:lnTo>
                    <a:pt x="133" y="101"/>
                  </a:lnTo>
                  <a:lnTo>
                    <a:pt x="150" y="169"/>
                  </a:lnTo>
                  <a:lnTo>
                    <a:pt x="156" y="172"/>
                  </a:lnTo>
                  <a:lnTo>
                    <a:pt x="151" y="178"/>
                  </a:lnTo>
                  <a:lnTo>
                    <a:pt x="136" y="172"/>
                  </a:lnTo>
                  <a:lnTo>
                    <a:pt x="100" y="181"/>
                  </a:lnTo>
                  <a:lnTo>
                    <a:pt x="80" y="162"/>
                  </a:lnTo>
                  <a:lnTo>
                    <a:pt x="62" y="162"/>
                  </a:lnTo>
                  <a:lnTo>
                    <a:pt x="56" y="169"/>
                  </a:lnTo>
                  <a:lnTo>
                    <a:pt x="3" y="184"/>
                  </a:lnTo>
                  <a:lnTo>
                    <a:pt x="0" y="198"/>
                  </a:lnTo>
                  <a:lnTo>
                    <a:pt x="17" y="195"/>
                  </a:lnTo>
                  <a:lnTo>
                    <a:pt x="9" y="204"/>
                  </a:lnTo>
                  <a:lnTo>
                    <a:pt x="17" y="213"/>
                  </a:lnTo>
                  <a:lnTo>
                    <a:pt x="6" y="218"/>
                  </a:lnTo>
                  <a:lnTo>
                    <a:pt x="20" y="233"/>
                  </a:lnTo>
                  <a:lnTo>
                    <a:pt x="37" y="230"/>
                  </a:lnTo>
                  <a:lnTo>
                    <a:pt x="73" y="249"/>
                  </a:lnTo>
                  <a:lnTo>
                    <a:pt x="105" y="252"/>
                  </a:lnTo>
                  <a:lnTo>
                    <a:pt x="107" y="267"/>
                  </a:lnTo>
                  <a:lnTo>
                    <a:pt x="139" y="272"/>
                  </a:lnTo>
                  <a:lnTo>
                    <a:pt x="122" y="274"/>
                  </a:lnTo>
                  <a:lnTo>
                    <a:pt x="125" y="299"/>
                  </a:lnTo>
                  <a:lnTo>
                    <a:pt x="139" y="320"/>
                  </a:lnTo>
                  <a:lnTo>
                    <a:pt x="170" y="334"/>
                  </a:lnTo>
                  <a:lnTo>
                    <a:pt x="173" y="360"/>
                  </a:lnTo>
                  <a:lnTo>
                    <a:pt x="168" y="370"/>
                  </a:lnTo>
                  <a:lnTo>
                    <a:pt x="187" y="393"/>
                  </a:lnTo>
                  <a:lnTo>
                    <a:pt x="189" y="402"/>
                  </a:lnTo>
                  <a:lnTo>
                    <a:pt x="175" y="385"/>
                  </a:lnTo>
                  <a:lnTo>
                    <a:pt x="168" y="435"/>
                  </a:lnTo>
                  <a:lnTo>
                    <a:pt x="175" y="441"/>
                  </a:lnTo>
                  <a:lnTo>
                    <a:pt x="167" y="458"/>
                  </a:lnTo>
                  <a:lnTo>
                    <a:pt x="156" y="507"/>
                  </a:lnTo>
                  <a:lnTo>
                    <a:pt x="153" y="518"/>
                  </a:lnTo>
                  <a:lnTo>
                    <a:pt x="136" y="523"/>
                  </a:lnTo>
                  <a:lnTo>
                    <a:pt x="156" y="541"/>
                  </a:lnTo>
                  <a:lnTo>
                    <a:pt x="189" y="557"/>
                  </a:lnTo>
                  <a:lnTo>
                    <a:pt x="238" y="568"/>
                  </a:lnTo>
                  <a:lnTo>
                    <a:pt x="260" y="560"/>
                  </a:lnTo>
                  <a:lnTo>
                    <a:pt x="278" y="572"/>
                  </a:lnTo>
                  <a:lnTo>
                    <a:pt x="288" y="569"/>
                  </a:lnTo>
                  <a:lnTo>
                    <a:pt x="294" y="577"/>
                  </a:lnTo>
                  <a:lnTo>
                    <a:pt x="311" y="586"/>
                  </a:lnTo>
                  <a:lnTo>
                    <a:pt x="361" y="583"/>
                  </a:lnTo>
                  <a:lnTo>
                    <a:pt x="356" y="555"/>
                  </a:lnTo>
                  <a:lnTo>
                    <a:pt x="365" y="535"/>
                  </a:lnTo>
                  <a:lnTo>
                    <a:pt x="402" y="512"/>
                  </a:lnTo>
                  <a:lnTo>
                    <a:pt x="432" y="523"/>
                  </a:lnTo>
                  <a:lnTo>
                    <a:pt x="449" y="521"/>
                  </a:lnTo>
                  <a:lnTo>
                    <a:pt x="498" y="540"/>
                  </a:lnTo>
                  <a:lnTo>
                    <a:pt x="518" y="531"/>
                  </a:lnTo>
                  <a:lnTo>
                    <a:pt x="544" y="503"/>
                  </a:lnTo>
                  <a:lnTo>
                    <a:pt x="561" y="492"/>
                  </a:lnTo>
                  <a:lnTo>
                    <a:pt x="560" y="472"/>
                  </a:lnTo>
                  <a:lnTo>
                    <a:pt x="539" y="470"/>
                  </a:lnTo>
                  <a:lnTo>
                    <a:pt x="531" y="453"/>
                  </a:lnTo>
                  <a:lnTo>
                    <a:pt x="532" y="430"/>
                  </a:lnTo>
                  <a:lnTo>
                    <a:pt x="522" y="422"/>
                  </a:lnTo>
                  <a:lnTo>
                    <a:pt x="524" y="413"/>
                  </a:lnTo>
                  <a:lnTo>
                    <a:pt x="537" y="399"/>
                  </a:lnTo>
                  <a:lnTo>
                    <a:pt x="526" y="365"/>
                  </a:lnTo>
                  <a:lnTo>
                    <a:pt x="534" y="362"/>
                  </a:lnTo>
                  <a:lnTo>
                    <a:pt x="532" y="351"/>
                  </a:lnTo>
                  <a:lnTo>
                    <a:pt x="526" y="350"/>
                  </a:lnTo>
                  <a:lnTo>
                    <a:pt x="524" y="328"/>
                  </a:lnTo>
                  <a:lnTo>
                    <a:pt x="507" y="326"/>
                  </a:lnTo>
                  <a:lnTo>
                    <a:pt x="492" y="343"/>
                  </a:lnTo>
                  <a:lnTo>
                    <a:pt x="490" y="323"/>
                  </a:lnTo>
                  <a:lnTo>
                    <a:pt x="514" y="283"/>
                  </a:lnTo>
                  <a:lnTo>
                    <a:pt x="534" y="261"/>
                  </a:lnTo>
                  <a:lnTo>
                    <a:pt x="531" y="257"/>
                  </a:lnTo>
                  <a:lnTo>
                    <a:pt x="534" y="252"/>
                  </a:lnTo>
                  <a:lnTo>
                    <a:pt x="560" y="245"/>
                  </a:lnTo>
                  <a:lnTo>
                    <a:pt x="557" y="212"/>
                  </a:lnTo>
                  <a:lnTo>
                    <a:pt x="568" y="181"/>
                  </a:lnTo>
                  <a:lnTo>
                    <a:pt x="583" y="150"/>
                  </a:lnTo>
                  <a:lnTo>
                    <a:pt x="522" y="135"/>
                  </a:lnTo>
                  <a:lnTo>
                    <a:pt x="500" y="110"/>
                  </a:lnTo>
                  <a:lnTo>
                    <a:pt x="476" y="108"/>
                  </a:lnTo>
                  <a:lnTo>
                    <a:pt x="459" y="106"/>
                  </a:lnTo>
                  <a:lnTo>
                    <a:pt x="444" y="96"/>
                  </a:lnTo>
                  <a:lnTo>
                    <a:pt x="441" y="69"/>
                  </a:lnTo>
                  <a:lnTo>
                    <a:pt x="427" y="80"/>
                  </a:lnTo>
                  <a:lnTo>
                    <a:pt x="410" y="79"/>
                  </a:lnTo>
                  <a:lnTo>
                    <a:pt x="402" y="54"/>
                  </a:lnTo>
                  <a:lnTo>
                    <a:pt x="371" y="40"/>
                  </a:lnTo>
                  <a:lnTo>
                    <a:pt x="363" y="25"/>
                  </a:lnTo>
                  <a:lnTo>
                    <a:pt x="345" y="21"/>
                  </a:lnTo>
                  <a:lnTo>
                    <a:pt x="342" y="0"/>
                  </a:lnTo>
                  <a:close/>
                  <a:moveTo>
                    <a:pt x="644" y="543"/>
                  </a:moveTo>
                  <a:lnTo>
                    <a:pt x="647" y="544"/>
                  </a:lnTo>
                  <a:lnTo>
                    <a:pt x="654" y="594"/>
                  </a:lnTo>
                  <a:lnTo>
                    <a:pt x="637" y="645"/>
                  </a:lnTo>
                  <a:lnTo>
                    <a:pt x="616" y="620"/>
                  </a:lnTo>
                  <a:lnTo>
                    <a:pt x="610" y="580"/>
                  </a:lnTo>
                  <a:lnTo>
                    <a:pt x="616" y="568"/>
                  </a:lnTo>
                  <a:lnTo>
                    <a:pt x="640" y="558"/>
                  </a:lnTo>
                  <a:lnTo>
                    <a:pt x="644" y="543"/>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434" name="Freeform 160">
              <a:extLst>
                <a:ext uri="{FF2B5EF4-FFF2-40B4-BE49-F238E27FC236}">
                  <a16:creationId xmlns:a16="http://schemas.microsoft.com/office/drawing/2014/main" id="{E31A66B0-0115-F04B-A1B1-1F0FE7170588}"/>
                </a:ext>
              </a:extLst>
            </p:cNvPr>
            <p:cNvSpPr>
              <a:spLocks noChangeAspect="1" noEditPoints="1"/>
            </p:cNvSpPr>
            <p:nvPr/>
          </p:nvSpPr>
          <p:spPr bwMode="gray">
            <a:xfrm>
              <a:off x="4937215" y="2843259"/>
              <a:ext cx="135114" cy="153445"/>
            </a:xfrm>
            <a:custGeom>
              <a:avLst/>
              <a:gdLst>
                <a:gd name="T0" fmla="*/ 203 w 273"/>
                <a:gd name="T1" fmla="*/ 53 h 261"/>
                <a:gd name="T2" fmla="*/ 143 w 273"/>
                <a:gd name="T3" fmla="*/ 6 h 261"/>
                <a:gd name="T4" fmla="*/ 127 w 273"/>
                <a:gd name="T5" fmla="*/ 0 h 261"/>
                <a:gd name="T6" fmla="*/ 96 w 273"/>
                <a:gd name="T7" fmla="*/ 24 h 261"/>
                <a:gd name="T8" fmla="*/ 101 w 273"/>
                <a:gd name="T9" fmla="*/ 37 h 261"/>
                <a:gd name="T10" fmla="*/ 79 w 273"/>
                <a:gd name="T11" fmla="*/ 62 h 261"/>
                <a:gd name="T12" fmla="*/ 76 w 273"/>
                <a:gd name="T13" fmla="*/ 83 h 261"/>
                <a:gd name="T14" fmla="*/ 58 w 273"/>
                <a:gd name="T15" fmla="*/ 80 h 261"/>
                <a:gd name="T16" fmla="*/ 39 w 273"/>
                <a:gd name="T17" fmla="*/ 77 h 261"/>
                <a:gd name="T18" fmla="*/ 2 w 273"/>
                <a:gd name="T19" fmla="*/ 73 h 261"/>
                <a:gd name="T20" fmla="*/ 16 w 273"/>
                <a:gd name="T21" fmla="*/ 113 h 261"/>
                <a:gd name="T22" fmla="*/ 39 w 273"/>
                <a:gd name="T23" fmla="*/ 83 h 261"/>
                <a:gd name="T24" fmla="*/ 61 w 273"/>
                <a:gd name="T25" fmla="*/ 100 h 261"/>
                <a:gd name="T26" fmla="*/ 88 w 273"/>
                <a:gd name="T27" fmla="*/ 147 h 261"/>
                <a:gd name="T28" fmla="*/ 78 w 273"/>
                <a:gd name="T29" fmla="*/ 158 h 261"/>
                <a:gd name="T30" fmla="*/ 115 w 273"/>
                <a:gd name="T31" fmla="*/ 198 h 261"/>
                <a:gd name="T32" fmla="*/ 186 w 273"/>
                <a:gd name="T33" fmla="*/ 230 h 261"/>
                <a:gd name="T34" fmla="*/ 192 w 273"/>
                <a:gd name="T35" fmla="*/ 227 h 261"/>
                <a:gd name="T36" fmla="*/ 172 w 273"/>
                <a:gd name="T37" fmla="*/ 197 h 261"/>
                <a:gd name="T38" fmla="*/ 121 w 273"/>
                <a:gd name="T39" fmla="*/ 131 h 261"/>
                <a:gd name="T40" fmla="*/ 102 w 273"/>
                <a:gd name="T41" fmla="*/ 110 h 261"/>
                <a:gd name="T42" fmla="*/ 118 w 273"/>
                <a:gd name="T43" fmla="*/ 83 h 261"/>
                <a:gd name="T44" fmla="*/ 139 w 273"/>
                <a:gd name="T45" fmla="*/ 83 h 261"/>
                <a:gd name="T46" fmla="*/ 160 w 273"/>
                <a:gd name="T47" fmla="*/ 80 h 261"/>
                <a:gd name="T48" fmla="*/ 209 w 273"/>
                <a:gd name="T49" fmla="*/ 88 h 261"/>
                <a:gd name="T50" fmla="*/ 248 w 273"/>
                <a:gd name="T51" fmla="*/ 108 h 261"/>
                <a:gd name="T52" fmla="*/ 262 w 273"/>
                <a:gd name="T53" fmla="*/ 85 h 261"/>
                <a:gd name="T54" fmla="*/ 251 w 273"/>
                <a:gd name="T55" fmla="*/ 74 h 261"/>
                <a:gd name="T56" fmla="*/ 246 w 273"/>
                <a:gd name="T57" fmla="*/ 63 h 261"/>
                <a:gd name="T58" fmla="*/ 240 w 273"/>
                <a:gd name="T59" fmla="*/ 43 h 261"/>
                <a:gd name="T60" fmla="*/ 44 w 273"/>
                <a:gd name="T61" fmla="*/ 125 h 261"/>
                <a:gd name="T62" fmla="*/ 36 w 273"/>
                <a:gd name="T63" fmla="*/ 96 h 261"/>
                <a:gd name="T64" fmla="*/ 56 w 273"/>
                <a:gd name="T65" fmla="*/ 105 h 261"/>
                <a:gd name="T66" fmla="*/ 48 w 273"/>
                <a:gd name="T67" fmla="*/ 90 h 261"/>
                <a:gd name="T68" fmla="*/ 155 w 273"/>
                <a:gd name="T69" fmla="*/ 210 h 261"/>
                <a:gd name="T70" fmla="*/ 136 w 273"/>
                <a:gd name="T71" fmla="*/ 212 h 261"/>
                <a:gd name="T72" fmla="*/ 186 w 273"/>
                <a:gd name="T73" fmla="*/ 234 h 261"/>
                <a:gd name="T74" fmla="*/ 178 w 273"/>
                <a:gd name="T75" fmla="*/ 229 h 261"/>
                <a:gd name="T76" fmla="*/ 164 w 273"/>
                <a:gd name="T77" fmla="*/ 229 h 261"/>
                <a:gd name="T78" fmla="*/ 190 w 273"/>
                <a:gd name="T79" fmla="*/ 241 h 261"/>
                <a:gd name="T80" fmla="*/ 229 w 273"/>
                <a:gd name="T81" fmla="*/ 261 h 261"/>
                <a:gd name="T82" fmla="*/ 226 w 273"/>
                <a:gd name="T83" fmla="*/ 254 h 261"/>
                <a:gd name="T84" fmla="*/ 219 w 273"/>
                <a:gd name="T85" fmla="*/ 249 h 261"/>
                <a:gd name="T86" fmla="*/ 205 w 273"/>
                <a:gd name="T87" fmla="*/ 241 h 261"/>
                <a:gd name="T88" fmla="*/ 198 w 273"/>
                <a:gd name="T89" fmla="*/ 232 h 261"/>
                <a:gd name="T90" fmla="*/ 186 w 273"/>
                <a:gd name="T91" fmla="*/ 234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261">
                  <a:moveTo>
                    <a:pt x="240" y="43"/>
                  </a:moveTo>
                  <a:lnTo>
                    <a:pt x="203" y="53"/>
                  </a:lnTo>
                  <a:lnTo>
                    <a:pt x="181" y="41"/>
                  </a:lnTo>
                  <a:lnTo>
                    <a:pt x="143" y="6"/>
                  </a:lnTo>
                  <a:lnTo>
                    <a:pt x="139" y="6"/>
                  </a:lnTo>
                  <a:lnTo>
                    <a:pt x="127" y="0"/>
                  </a:lnTo>
                  <a:lnTo>
                    <a:pt x="126" y="14"/>
                  </a:lnTo>
                  <a:lnTo>
                    <a:pt x="96" y="24"/>
                  </a:lnTo>
                  <a:lnTo>
                    <a:pt x="95" y="32"/>
                  </a:lnTo>
                  <a:lnTo>
                    <a:pt x="101" y="37"/>
                  </a:lnTo>
                  <a:lnTo>
                    <a:pt x="101" y="46"/>
                  </a:lnTo>
                  <a:lnTo>
                    <a:pt x="79" y="62"/>
                  </a:lnTo>
                  <a:lnTo>
                    <a:pt x="79" y="80"/>
                  </a:lnTo>
                  <a:lnTo>
                    <a:pt x="76" y="83"/>
                  </a:lnTo>
                  <a:lnTo>
                    <a:pt x="65" y="77"/>
                  </a:lnTo>
                  <a:lnTo>
                    <a:pt x="58" y="80"/>
                  </a:lnTo>
                  <a:lnTo>
                    <a:pt x="50" y="63"/>
                  </a:lnTo>
                  <a:lnTo>
                    <a:pt x="39" y="77"/>
                  </a:lnTo>
                  <a:lnTo>
                    <a:pt x="0" y="73"/>
                  </a:lnTo>
                  <a:lnTo>
                    <a:pt x="2" y="73"/>
                  </a:lnTo>
                  <a:lnTo>
                    <a:pt x="4" y="90"/>
                  </a:lnTo>
                  <a:lnTo>
                    <a:pt x="16" y="113"/>
                  </a:lnTo>
                  <a:lnTo>
                    <a:pt x="24" y="116"/>
                  </a:lnTo>
                  <a:lnTo>
                    <a:pt x="39" y="83"/>
                  </a:lnTo>
                  <a:lnTo>
                    <a:pt x="50" y="87"/>
                  </a:lnTo>
                  <a:lnTo>
                    <a:pt x="61" y="100"/>
                  </a:lnTo>
                  <a:lnTo>
                    <a:pt x="71" y="134"/>
                  </a:lnTo>
                  <a:lnTo>
                    <a:pt x="88" y="147"/>
                  </a:lnTo>
                  <a:lnTo>
                    <a:pt x="79" y="150"/>
                  </a:lnTo>
                  <a:lnTo>
                    <a:pt x="78" y="158"/>
                  </a:lnTo>
                  <a:lnTo>
                    <a:pt x="110" y="183"/>
                  </a:lnTo>
                  <a:lnTo>
                    <a:pt x="115" y="198"/>
                  </a:lnTo>
                  <a:lnTo>
                    <a:pt x="156" y="204"/>
                  </a:lnTo>
                  <a:lnTo>
                    <a:pt x="186" y="230"/>
                  </a:lnTo>
                  <a:lnTo>
                    <a:pt x="185" y="230"/>
                  </a:lnTo>
                  <a:lnTo>
                    <a:pt x="192" y="227"/>
                  </a:lnTo>
                  <a:lnTo>
                    <a:pt x="173" y="207"/>
                  </a:lnTo>
                  <a:lnTo>
                    <a:pt x="172" y="197"/>
                  </a:lnTo>
                  <a:lnTo>
                    <a:pt x="122" y="150"/>
                  </a:lnTo>
                  <a:lnTo>
                    <a:pt x="121" y="131"/>
                  </a:lnTo>
                  <a:lnTo>
                    <a:pt x="112" y="116"/>
                  </a:lnTo>
                  <a:lnTo>
                    <a:pt x="102" y="110"/>
                  </a:lnTo>
                  <a:lnTo>
                    <a:pt x="105" y="87"/>
                  </a:lnTo>
                  <a:lnTo>
                    <a:pt x="118" y="83"/>
                  </a:lnTo>
                  <a:lnTo>
                    <a:pt x="130" y="97"/>
                  </a:lnTo>
                  <a:lnTo>
                    <a:pt x="139" y="83"/>
                  </a:lnTo>
                  <a:lnTo>
                    <a:pt x="147" y="83"/>
                  </a:lnTo>
                  <a:lnTo>
                    <a:pt x="160" y="80"/>
                  </a:lnTo>
                  <a:lnTo>
                    <a:pt x="200" y="96"/>
                  </a:lnTo>
                  <a:lnTo>
                    <a:pt x="209" y="88"/>
                  </a:lnTo>
                  <a:lnTo>
                    <a:pt x="239" y="93"/>
                  </a:lnTo>
                  <a:lnTo>
                    <a:pt x="248" y="108"/>
                  </a:lnTo>
                  <a:lnTo>
                    <a:pt x="259" y="104"/>
                  </a:lnTo>
                  <a:lnTo>
                    <a:pt x="262" y="85"/>
                  </a:lnTo>
                  <a:lnTo>
                    <a:pt x="273" y="83"/>
                  </a:lnTo>
                  <a:lnTo>
                    <a:pt x="251" y="74"/>
                  </a:lnTo>
                  <a:lnTo>
                    <a:pt x="256" y="65"/>
                  </a:lnTo>
                  <a:lnTo>
                    <a:pt x="246" y="63"/>
                  </a:lnTo>
                  <a:lnTo>
                    <a:pt x="248" y="48"/>
                  </a:lnTo>
                  <a:lnTo>
                    <a:pt x="240" y="43"/>
                  </a:lnTo>
                  <a:close/>
                  <a:moveTo>
                    <a:pt x="36" y="96"/>
                  </a:moveTo>
                  <a:lnTo>
                    <a:pt x="44" y="125"/>
                  </a:lnTo>
                  <a:lnTo>
                    <a:pt x="36" y="113"/>
                  </a:lnTo>
                  <a:lnTo>
                    <a:pt x="36" y="96"/>
                  </a:lnTo>
                  <a:close/>
                  <a:moveTo>
                    <a:pt x="48" y="90"/>
                  </a:moveTo>
                  <a:lnTo>
                    <a:pt x="56" y="105"/>
                  </a:lnTo>
                  <a:lnTo>
                    <a:pt x="42" y="100"/>
                  </a:lnTo>
                  <a:lnTo>
                    <a:pt x="48" y="90"/>
                  </a:lnTo>
                  <a:close/>
                  <a:moveTo>
                    <a:pt x="134" y="206"/>
                  </a:moveTo>
                  <a:lnTo>
                    <a:pt x="155" y="210"/>
                  </a:lnTo>
                  <a:lnTo>
                    <a:pt x="152" y="214"/>
                  </a:lnTo>
                  <a:lnTo>
                    <a:pt x="136" y="212"/>
                  </a:lnTo>
                  <a:lnTo>
                    <a:pt x="134" y="206"/>
                  </a:lnTo>
                  <a:close/>
                  <a:moveTo>
                    <a:pt x="186" y="234"/>
                  </a:moveTo>
                  <a:lnTo>
                    <a:pt x="181" y="234"/>
                  </a:lnTo>
                  <a:lnTo>
                    <a:pt x="178" y="229"/>
                  </a:lnTo>
                  <a:lnTo>
                    <a:pt x="168" y="226"/>
                  </a:lnTo>
                  <a:lnTo>
                    <a:pt x="164" y="229"/>
                  </a:lnTo>
                  <a:lnTo>
                    <a:pt x="177" y="232"/>
                  </a:lnTo>
                  <a:lnTo>
                    <a:pt x="190" y="241"/>
                  </a:lnTo>
                  <a:lnTo>
                    <a:pt x="203" y="243"/>
                  </a:lnTo>
                  <a:lnTo>
                    <a:pt x="229" y="261"/>
                  </a:lnTo>
                  <a:lnTo>
                    <a:pt x="229" y="254"/>
                  </a:lnTo>
                  <a:lnTo>
                    <a:pt x="226" y="254"/>
                  </a:lnTo>
                  <a:lnTo>
                    <a:pt x="226" y="251"/>
                  </a:lnTo>
                  <a:lnTo>
                    <a:pt x="219" y="249"/>
                  </a:lnTo>
                  <a:lnTo>
                    <a:pt x="211" y="243"/>
                  </a:lnTo>
                  <a:lnTo>
                    <a:pt x="205" y="241"/>
                  </a:lnTo>
                  <a:lnTo>
                    <a:pt x="198" y="235"/>
                  </a:lnTo>
                  <a:lnTo>
                    <a:pt x="198" y="232"/>
                  </a:lnTo>
                  <a:lnTo>
                    <a:pt x="194" y="230"/>
                  </a:lnTo>
                  <a:lnTo>
                    <a:pt x="186" y="234"/>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35" name="Freeform 161">
              <a:extLst>
                <a:ext uri="{FF2B5EF4-FFF2-40B4-BE49-F238E27FC236}">
                  <a16:creationId xmlns:a16="http://schemas.microsoft.com/office/drawing/2014/main" id="{4E7753B6-2B60-3347-83D0-AE8345E874D6}"/>
                </a:ext>
              </a:extLst>
            </p:cNvPr>
            <p:cNvSpPr>
              <a:spLocks noChangeAspect="1"/>
            </p:cNvSpPr>
            <p:nvPr/>
          </p:nvSpPr>
          <p:spPr bwMode="gray">
            <a:xfrm>
              <a:off x="4085204" y="1838182"/>
              <a:ext cx="246385" cy="201400"/>
            </a:xfrm>
            <a:custGeom>
              <a:avLst/>
              <a:gdLst>
                <a:gd name="T0" fmla="*/ 154 w 507"/>
                <a:gd name="T1" fmla="*/ 295 h 346"/>
                <a:gd name="T2" fmla="*/ 83 w 507"/>
                <a:gd name="T3" fmla="*/ 273 h 346"/>
                <a:gd name="T4" fmla="*/ 125 w 507"/>
                <a:gd name="T5" fmla="*/ 262 h 346"/>
                <a:gd name="T6" fmla="*/ 110 w 507"/>
                <a:gd name="T7" fmla="*/ 248 h 346"/>
                <a:gd name="T8" fmla="*/ 111 w 507"/>
                <a:gd name="T9" fmla="*/ 229 h 346"/>
                <a:gd name="T10" fmla="*/ 26 w 507"/>
                <a:gd name="T11" fmla="*/ 197 h 346"/>
                <a:gd name="T12" fmla="*/ 79 w 507"/>
                <a:gd name="T13" fmla="*/ 168 h 346"/>
                <a:gd name="T14" fmla="*/ 128 w 507"/>
                <a:gd name="T15" fmla="*/ 151 h 346"/>
                <a:gd name="T16" fmla="*/ 93 w 507"/>
                <a:gd name="T17" fmla="*/ 157 h 346"/>
                <a:gd name="T18" fmla="*/ 105 w 507"/>
                <a:gd name="T19" fmla="*/ 123 h 346"/>
                <a:gd name="T20" fmla="*/ 74 w 507"/>
                <a:gd name="T21" fmla="*/ 106 h 346"/>
                <a:gd name="T22" fmla="*/ 0 w 507"/>
                <a:gd name="T23" fmla="*/ 123 h 346"/>
                <a:gd name="T24" fmla="*/ 26 w 507"/>
                <a:gd name="T25" fmla="*/ 107 h 346"/>
                <a:gd name="T26" fmla="*/ 17 w 507"/>
                <a:gd name="T27" fmla="*/ 84 h 346"/>
                <a:gd name="T28" fmla="*/ 59 w 507"/>
                <a:gd name="T29" fmla="*/ 101 h 346"/>
                <a:gd name="T30" fmla="*/ 57 w 507"/>
                <a:gd name="T31" fmla="*/ 85 h 346"/>
                <a:gd name="T32" fmla="*/ 43 w 507"/>
                <a:gd name="T33" fmla="*/ 75 h 346"/>
                <a:gd name="T34" fmla="*/ 43 w 507"/>
                <a:gd name="T35" fmla="*/ 64 h 346"/>
                <a:gd name="T36" fmla="*/ 49 w 507"/>
                <a:gd name="T37" fmla="*/ 55 h 346"/>
                <a:gd name="T38" fmla="*/ 64 w 507"/>
                <a:gd name="T39" fmla="*/ 50 h 346"/>
                <a:gd name="T40" fmla="*/ 77 w 507"/>
                <a:gd name="T41" fmla="*/ 59 h 346"/>
                <a:gd name="T42" fmla="*/ 91 w 507"/>
                <a:gd name="T43" fmla="*/ 70 h 346"/>
                <a:gd name="T44" fmla="*/ 100 w 507"/>
                <a:gd name="T45" fmla="*/ 68 h 346"/>
                <a:gd name="T46" fmla="*/ 74 w 507"/>
                <a:gd name="T47" fmla="*/ 39 h 346"/>
                <a:gd name="T48" fmla="*/ 94 w 507"/>
                <a:gd name="T49" fmla="*/ 33 h 346"/>
                <a:gd name="T50" fmla="*/ 64 w 507"/>
                <a:gd name="T51" fmla="*/ 24 h 346"/>
                <a:gd name="T52" fmla="*/ 96 w 507"/>
                <a:gd name="T53" fmla="*/ 14 h 346"/>
                <a:gd name="T54" fmla="*/ 137 w 507"/>
                <a:gd name="T55" fmla="*/ 68 h 346"/>
                <a:gd name="T56" fmla="*/ 147 w 507"/>
                <a:gd name="T57" fmla="*/ 85 h 346"/>
                <a:gd name="T58" fmla="*/ 142 w 507"/>
                <a:gd name="T59" fmla="*/ 106 h 346"/>
                <a:gd name="T60" fmla="*/ 147 w 507"/>
                <a:gd name="T61" fmla="*/ 109 h 346"/>
                <a:gd name="T62" fmla="*/ 144 w 507"/>
                <a:gd name="T63" fmla="*/ 124 h 346"/>
                <a:gd name="T64" fmla="*/ 152 w 507"/>
                <a:gd name="T65" fmla="*/ 148 h 346"/>
                <a:gd name="T66" fmla="*/ 169 w 507"/>
                <a:gd name="T67" fmla="*/ 127 h 346"/>
                <a:gd name="T68" fmla="*/ 186 w 507"/>
                <a:gd name="T69" fmla="*/ 118 h 346"/>
                <a:gd name="T70" fmla="*/ 196 w 507"/>
                <a:gd name="T71" fmla="*/ 84 h 346"/>
                <a:gd name="T72" fmla="*/ 196 w 507"/>
                <a:gd name="T73" fmla="*/ 50 h 346"/>
                <a:gd name="T74" fmla="*/ 238 w 507"/>
                <a:gd name="T75" fmla="*/ 75 h 346"/>
                <a:gd name="T76" fmla="*/ 267 w 507"/>
                <a:gd name="T77" fmla="*/ 39 h 346"/>
                <a:gd name="T78" fmla="*/ 298 w 507"/>
                <a:gd name="T79" fmla="*/ 76 h 346"/>
                <a:gd name="T80" fmla="*/ 303 w 507"/>
                <a:gd name="T81" fmla="*/ 45 h 346"/>
                <a:gd name="T82" fmla="*/ 329 w 507"/>
                <a:gd name="T83" fmla="*/ 56 h 346"/>
                <a:gd name="T84" fmla="*/ 372 w 507"/>
                <a:gd name="T85" fmla="*/ 45 h 346"/>
                <a:gd name="T86" fmla="*/ 382 w 507"/>
                <a:gd name="T87" fmla="*/ 0 h 346"/>
                <a:gd name="T88" fmla="*/ 402 w 507"/>
                <a:gd name="T89" fmla="*/ 33 h 346"/>
                <a:gd name="T90" fmla="*/ 456 w 507"/>
                <a:gd name="T91" fmla="*/ 17 h 346"/>
                <a:gd name="T92" fmla="*/ 433 w 507"/>
                <a:gd name="T93" fmla="*/ 51 h 346"/>
                <a:gd name="T94" fmla="*/ 452 w 507"/>
                <a:gd name="T95" fmla="*/ 55 h 346"/>
                <a:gd name="T96" fmla="*/ 450 w 507"/>
                <a:gd name="T97" fmla="*/ 93 h 346"/>
                <a:gd name="T98" fmla="*/ 470 w 507"/>
                <a:gd name="T99" fmla="*/ 106 h 346"/>
                <a:gd name="T100" fmla="*/ 485 w 507"/>
                <a:gd name="T101" fmla="*/ 99 h 346"/>
                <a:gd name="T102" fmla="*/ 492 w 507"/>
                <a:gd name="T103" fmla="*/ 141 h 346"/>
                <a:gd name="T104" fmla="*/ 506 w 507"/>
                <a:gd name="T105" fmla="*/ 148 h 346"/>
                <a:gd name="T106" fmla="*/ 498 w 507"/>
                <a:gd name="T107" fmla="*/ 183 h 346"/>
                <a:gd name="T108" fmla="*/ 461 w 507"/>
                <a:gd name="T109" fmla="*/ 214 h 346"/>
                <a:gd name="T110" fmla="*/ 444 w 507"/>
                <a:gd name="T111" fmla="*/ 253 h 346"/>
                <a:gd name="T112" fmla="*/ 422 w 507"/>
                <a:gd name="T113" fmla="*/ 246 h 346"/>
                <a:gd name="T114" fmla="*/ 345 w 507"/>
                <a:gd name="T115" fmla="*/ 288 h 346"/>
                <a:gd name="T116" fmla="*/ 272 w 507"/>
                <a:gd name="T117"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7" h="346">
                  <a:moveTo>
                    <a:pt x="210" y="329"/>
                  </a:moveTo>
                  <a:lnTo>
                    <a:pt x="154" y="295"/>
                  </a:lnTo>
                  <a:lnTo>
                    <a:pt x="86" y="300"/>
                  </a:lnTo>
                  <a:lnTo>
                    <a:pt x="83" y="273"/>
                  </a:lnTo>
                  <a:lnTo>
                    <a:pt x="94" y="282"/>
                  </a:lnTo>
                  <a:lnTo>
                    <a:pt x="125" y="262"/>
                  </a:lnTo>
                  <a:lnTo>
                    <a:pt x="125" y="245"/>
                  </a:lnTo>
                  <a:lnTo>
                    <a:pt x="110" y="248"/>
                  </a:lnTo>
                  <a:lnTo>
                    <a:pt x="127" y="219"/>
                  </a:lnTo>
                  <a:lnTo>
                    <a:pt x="111" y="229"/>
                  </a:lnTo>
                  <a:lnTo>
                    <a:pt x="91" y="192"/>
                  </a:lnTo>
                  <a:lnTo>
                    <a:pt x="26" y="197"/>
                  </a:lnTo>
                  <a:lnTo>
                    <a:pt x="29" y="186"/>
                  </a:lnTo>
                  <a:lnTo>
                    <a:pt x="79" y="168"/>
                  </a:lnTo>
                  <a:lnTo>
                    <a:pt x="120" y="172"/>
                  </a:lnTo>
                  <a:lnTo>
                    <a:pt x="128" y="151"/>
                  </a:lnTo>
                  <a:lnTo>
                    <a:pt x="119" y="161"/>
                  </a:lnTo>
                  <a:lnTo>
                    <a:pt x="93" y="157"/>
                  </a:lnTo>
                  <a:lnTo>
                    <a:pt x="125" y="124"/>
                  </a:lnTo>
                  <a:lnTo>
                    <a:pt x="105" y="123"/>
                  </a:lnTo>
                  <a:lnTo>
                    <a:pt x="93" y="107"/>
                  </a:lnTo>
                  <a:lnTo>
                    <a:pt x="74" y="106"/>
                  </a:lnTo>
                  <a:lnTo>
                    <a:pt x="40" y="126"/>
                  </a:lnTo>
                  <a:lnTo>
                    <a:pt x="0" y="123"/>
                  </a:lnTo>
                  <a:lnTo>
                    <a:pt x="6" y="104"/>
                  </a:lnTo>
                  <a:lnTo>
                    <a:pt x="26" y="107"/>
                  </a:lnTo>
                  <a:lnTo>
                    <a:pt x="30" y="101"/>
                  </a:lnTo>
                  <a:lnTo>
                    <a:pt x="17" y="84"/>
                  </a:lnTo>
                  <a:lnTo>
                    <a:pt x="43" y="104"/>
                  </a:lnTo>
                  <a:lnTo>
                    <a:pt x="59" y="101"/>
                  </a:lnTo>
                  <a:lnTo>
                    <a:pt x="52" y="95"/>
                  </a:lnTo>
                  <a:lnTo>
                    <a:pt x="57" y="85"/>
                  </a:lnTo>
                  <a:lnTo>
                    <a:pt x="34" y="78"/>
                  </a:lnTo>
                  <a:lnTo>
                    <a:pt x="43" y="75"/>
                  </a:lnTo>
                  <a:lnTo>
                    <a:pt x="30" y="56"/>
                  </a:lnTo>
                  <a:lnTo>
                    <a:pt x="43" y="64"/>
                  </a:lnTo>
                  <a:lnTo>
                    <a:pt x="38" y="51"/>
                  </a:lnTo>
                  <a:lnTo>
                    <a:pt x="49" y="55"/>
                  </a:lnTo>
                  <a:lnTo>
                    <a:pt x="42" y="45"/>
                  </a:lnTo>
                  <a:lnTo>
                    <a:pt x="64" y="50"/>
                  </a:lnTo>
                  <a:lnTo>
                    <a:pt x="68" y="65"/>
                  </a:lnTo>
                  <a:lnTo>
                    <a:pt x="77" y="59"/>
                  </a:lnTo>
                  <a:lnTo>
                    <a:pt x="88" y="81"/>
                  </a:lnTo>
                  <a:lnTo>
                    <a:pt x="91" y="70"/>
                  </a:lnTo>
                  <a:lnTo>
                    <a:pt x="94" y="81"/>
                  </a:lnTo>
                  <a:lnTo>
                    <a:pt x="100" y="68"/>
                  </a:lnTo>
                  <a:lnTo>
                    <a:pt x="94" y="51"/>
                  </a:lnTo>
                  <a:lnTo>
                    <a:pt x="74" y="39"/>
                  </a:lnTo>
                  <a:lnTo>
                    <a:pt x="79" y="30"/>
                  </a:lnTo>
                  <a:lnTo>
                    <a:pt x="94" y="33"/>
                  </a:lnTo>
                  <a:lnTo>
                    <a:pt x="85" y="22"/>
                  </a:lnTo>
                  <a:lnTo>
                    <a:pt x="64" y="24"/>
                  </a:lnTo>
                  <a:lnTo>
                    <a:pt x="66" y="9"/>
                  </a:lnTo>
                  <a:lnTo>
                    <a:pt x="96" y="14"/>
                  </a:lnTo>
                  <a:lnTo>
                    <a:pt x="145" y="61"/>
                  </a:lnTo>
                  <a:lnTo>
                    <a:pt x="137" y="68"/>
                  </a:lnTo>
                  <a:lnTo>
                    <a:pt x="147" y="73"/>
                  </a:lnTo>
                  <a:lnTo>
                    <a:pt x="147" y="85"/>
                  </a:lnTo>
                  <a:lnTo>
                    <a:pt x="139" y="97"/>
                  </a:lnTo>
                  <a:lnTo>
                    <a:pt x="142" y="106"/>
                  </a:lnTo>
                  <a:lnTo>
                    <a:pt x="142" y="114"/>
                  </a:lnTo>
                  <a:lnTo>
                    <a:pt x="147" y="109"/>
                  </a:lnTo>
                  <a:lnTo>
                    <a:pt x="148" y="119"/>
                  </a:lnTo>
                  <a:lnTo>
                    <a:pt x="144" y="124"/>
                  </a:lnTo>
                  <a:lnTo>
                    <a:pt x="152" y="127"/>
                  </a:lnTo>
                  <a:lnTo>
                    <a:pt x="152" y="148"/>
                  </a:lnTo>
                  <a:lnTo>
                    <a:pt x="159" y="129"/>
                  </a:lnTo>
                  <a:lnTo>
                    <a:pt x="169" y="127"/>
                  </a:lnTo>
                  <a:lnTo>
                    <a:pt x="173" y="101"/>
                  </a:lnTo>
                  <a:lnTo>
                    <a:pt x="186" y="118"/>
                  </a:lnTo>
                  <a:lnTo>
                    <a:pt x="191" y="109"/>
                  </a:lnTo>
                  <a:lnTo>
                    <a:pt x="196" y="84"/>
                  </a:lnTo>
                  <a:lnTo>
                    <a:pt x="191" y="51"/>
                  </a:lnTo>
                  <a:lnTo>
                    <a:pt x="196" y="50"/>
                  </a:lnTo>
                  <a:lnTo>
                    <a:pt x="232" y="92"/>
                  </a:lnTo>
                  <a:lnTo>
                    <a:pt x="238" y="75"/>
                  </a:lnTo>
                  <a:lnTo>
                    <a:pt x="235" y="58"/>
                  </a:lnTo>
                  <a:lnTo>
                    <a:pt x="267" y="39"/>
                  </a:lnTo>
                  <a:lnTo>
                    <a:pt x="295" y="101"/>
                  </a:lnTo>
                  <a:lnTo>
                    <a:pt x="298" y="76"/>
                  </a:lnTo>
                  <a:lnTo>
                    <a:pt x="289" y="45"/>
                  </a:lnTo>
                  <a:lnTo>
                    <a:pt x="303" y="45"/>
                  </a:lnTo>
                  <a:lnTo>
                    <a:pt x="318" y="61"/>
                  </a:lnTo>
                  <a:lnTo>
                    <a:pt x="329" y="56"/>
                  </a:lnTo>
                  <a:lnTo>
                    <a:pt x="334" y="42"/>
                  </a:lnTo>
                  <a:lnTo>
                    <a:pt x="372" y="45"/>
                  </a:lnTo>
                  <a:lnTo>
                    <a:pt x="368" y="7"/>
                  </a:lnTo>
                  <a:lnTo>
                    <a:pt x="382" y="0"/>
                  </a:lnTo>
                  <a:lnTo>
                    <a:pt x="405" y="17"/>
                  </a:lnTo>
                  <a:lnTo>
                    <a:pt x="402" y="33"/>
                  </a:lnTo>
                  <a:lnTo>
                    <a:pt x="416" y="42"/>
                  </a:lnTo>
                  <a:lnTo>
                    <a:pt x="456" y="17"/>
                  </a:lnTo>
                  <a:lnTo>
                    <a:pt x="461" y="21"/>
                  </a:lnTo>
                  <a:lnTo>
                    <a:pt x="433" y="51"/>
                  </a:lnTo>
                  <a:lnTo>
                    <a:pt x="435" y="58"/>
                  </a:lnTo>
                  <a:lnTo>
                    <a:pt x="452" y="55"/>
                  </a:lnTo>
                  <a:lnTo>
                    <a:pt x="455" y="72"/>
                  </a:lnTo>
                  <a:lnTo>
                    <a:pt x="450" y="93"/>
                  </a:lnTo>
                  <a:lnTo>
                    <a:pt x="470" y="90"/>
                  </a:lnTo>
                  <a:lnTo>
                    <a:pt x="470" y="106"/>
                  </a:lnTo>
                  <a:lnTo>
                    <a:pt x="484" y="110"/>
                  </a:lnTo>
                  <a:lnTo>
                    <a:pt x="485" y="99"/>
                  </a:lnTo>
                  <a:lnTo>
                    <a:pt x="499" y="126"/>
                  </a:lnTo>
                  <a:lnTo>
                    <a:pt x="492" y="141"/>
                  </a:lnTo>
                  <a:lnTo>
                    <a:pt x="498" y="153"/>
                  </a:lnTo>
                  <a:lnTo>
                    <a:pt x="506" y="148"/>
                  </a:lnTo>
                  <a:lnTo>
                    <a:pt x="507" y="161"/>
                  </a:lnTo>
                  <a:lnTo>
                    <a:pt x="498" y="183"/>
                  </a:lnTo>
                  <a:lnTo>
                    <a:pt x="462" y="205"/>
                  </a:lnTo>
                  <a:lnTo>
                    <a:pt x="461" y="214"/>
                  </a:lnTo>
                  <a:lnTo>
                    <a:pt x="476" y="209"/>
                  </a:lnTo>
                  <a:lnTo>
                    <a:pt x="444" y="253"/>
                  </a:lnTo>
                  <a:lnTo>
                    <a:pt x="423" y="234"/>
                  </a:lnTo>
                  <a:lnTo>
                    <a:pt x="422" y="246"/>
                  </a:lnTo>
                  <a:lnTo>
                    <a:pt x="377" y="287"/>
                  </a:lnTo>
                  <a:lnTo>
                    <a:pt x="345" y="288"/>
                  </a:lnTo>
                  <a:lnTo>
                    <a:pt x="300" y="334"/>
                  </a:lnTo>
                  <a:lnTo>
                    <a:pt x="272" y="346"/>
                  </a:lnTo>
                  <a:lnTo>
                    <a:pt x="210" y="329"/>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36" name="Freeform 162">
              <a:extLst>
                <a:ext uri="{FF2B5EF4-FFF2-40B4-BE49-F238E27FC236}">
                  <a16:creationId xmlns:a16="http://schemas.microsoft.com/office/drawing/2014/main" id="{C73762F8-2AD1-E44D-8E13-2D8652F49E86}"/>
                </a:ext>
              </a:extLst>
            </p:cNvPr>
            <p:cNvSpPr>
              <a:spLocks noChangeAspect="1" noEditPoints="1"/>
            </p:cNvSpPr>
            <p:nvPr/>
          </p:nvSpPr>
          <p:spPr bwMode="gray">
            <a:xfrm>
              <a:off x="5238529" y="1432635"/>
              <a:ext cx="3681923" cy="1609638"/>
            </a:xfrm>
            <a:custGeom>
              <a:avLst/>
              <a:gdLst>
                <a:gd name="T0" fmla="*/ 1973 w 7540"/>
                <a:gd name="T1" fmla="*/ 663 h 2736"/>
                <a:gd name="T2" fmla="*/ 2339 w 7540"/>
                <a:gd name="T3" fmla="*/ 571 h 2736"/>
                <a:gd name="T4" fmla="*/ 2223 w 7540"/>
                <a:gd name="T5" fmla="*/ 58 h 2736"/>
                <a:gd name="T6" fmla="*/ 2548 w 7540"/>
                <a:gd name="T7" fmla="*/ 220 h 2736"/>
                <a:gd name="T8" fmla="*/ 4889 w 7540"/>
                <a:gd name="T9" fmla="*/ 0 h 2736"/>
                <a:gd name="T10" fmla="*/ 5793 w 7540"/>
                <a:gd name="T11" fmla="*/ 148 h 2736"/>
                <a:gd name="T12" fmla="*/ 6624 w 7540"/>
                <a:gd name="T13" fmla="*/ 313 h 2736"/>
                <a:gd name="T14" fmla="*/ 7197 w 7540"/>
                <a:gd name="T15" fmla="*/ 499 h 2736"/>
                <a:gd name="T16" fmla="*/ 7316 w 7540"/>
                <a:gd name="T17" fmla="*/ 686 h 2736"/>
                <a:gd name="T18" fmla="*/ 7370 w 7540"/>
                <a:gd name="T19" fmla="*/ 634 h 2736"/>
                <a:gd name="T20" fmla="*/ 7469 w 7540"/>
                <a:gd name="T21" fmla="*/ 793 h 2736"/>
                <a:gd name="T22" fmla="*/ 7362 w 7540"/>
                <a:gd name="T23" fmla="*/ 932 h 2736"/>
                <a:gd name="T24" fmla="*/ 7293 w 7540"/>
                <a:gd name="T25" fmla="*/ 887 h 2736"/>
                <a:gd name="T26" fmla="*/ 7059 w 7540"/>
                <a:gd name="T27" fmla="*/ 734 h 2736"/>
                <a:gd name="T28" fmla="*/ 7011 w 7540"/>
                <a:gd name="T29" fmla="*/ 1067 h 2736"/>
                <a:gd name="T30" fmla="*/ 6457 w 7540"/>
                <a:gd name="T31" fmla="*/ 1322 h 2736"/>
                <a:gd name="T32" fmla="*/ 6282 w 7540"/>
                <a:gd name="T33" fmla="*/ 1656 h 2736"/>
                <a:gd name="T34" fmla="*/ 6081 w 7540"/>
                <a:gd name="T35" fmla="*/ 1955 h 2736"/>
                <a:gd name="T36" fmla="*/ 6301 w 7540"/>
                <a:gd name="T37" fmla="*/ 1257 h 2736"/>
                <a:gd name="T38" fmla="*/ 6154 w 7540"/>
                <a:gd name="T39" fmla="*/ 1174 h 2736"/>
                <a:gd name="T40" fmla="*/ 5741 w 7540"/>
                <a:gd name="T41" fmla="*/ 1401 h 2736"/>
                <a:gd name="T42" fmla="*/ 5231 w 7540"/>
                <a:gd name="T43" fmla="*/ 1556 h 2736"/>
                <a:gd name="T44" fmla="*/ 5138 w 7540"/>
                <a:gd name="T45" fmla="*/ 1905 h 2736"/>
                <a:gd name="T46" fmla="*/ 5148 w 7540"/>
                <a:gd name="T47" fmla="*/ 2377 h 2736"/>
                <a:gd name="T48" fmla="*/ 4799 w 7540"/>
                <a:gd name="T49" fmla="*/ 2526 h 2736"/>
                <a:gd name="T50" fmla="*/ 4636 w 7540"/>
                <a:gd name="T51" fmla="*/ 2174 h 2736"/>
                <a:gd name="T52" fmla="*/ 4092 w 7540"/>
                <a:gd name="T53" fmla="*/ 2174 h 2736"/>
                <a:gd name="T54" fmla="*/ 3275 w 7540"/>
                <a:gd name="T55" fmla="*/ 2159 h 2736"/>
                <a:gd name="T56" fmla="*/ 2501 w 7540"/>
                <a:gd name="T57" fmla="*/ 2083 h 2736"/>
                <a:gd name="T58" fmla="*/ 2099 w 7540"/>
                <a:gd name="T59" fmla="*/ 1854 h 2736"/>
                <a:gd name="T60" fmla="*/ 1708 w 7540"/>
                <a:gd name="T61" fmla="*/ 1848 h 2736"/>
                <a:gd name="T62" fmla="*/ 1570 w 7540"/>
                <a:gd name="T63" fmla="*/ 2057 h 2736"/>
                <a:gd name="T64" fmla="*/ 1270 w 7540"/>
                <a:gd name="T65" fmla="*/ 2120 h 2736"/>
                <a:gd name="T66" fmla="*/ 938 w 7540"/>
                <a:gd name="T67" fmla="*/ 2156 h 2736"/>
                <a:gd name="T68" fmla="*/ 964 w 7540"/>
                <a:gd name="T69" fmla="*/ 2419 h 2736"/>
                <a:gd name="T70" fmla="*/ 862 w 7540"/>
                <a:gd name="T71" fmla="*/ 2657 h 2736"/>
                <a:gd name="T72" fmla="*/ 535 w 7540"/>
                <a:gd name="T73" fmla="*/ 2391 h 2736"/>
                <a:gd name="T74" fmla="*/ 525 w 7540"/>
                <a:gd name="T75" fmla="*/ 2154 h 2736"/>
                <a:gd name="T76" fmla="*/ 246 w 7540"/>
                <a:gd name="T77" fmla="*/ 1873 h 2736"/>
                <a:gd name="T78" fmla="*/ 0 w 7540"/>
                <a:gd name="T79" fmla="*/ 1452 h 2736"/>
                <a:gd name="T80" fmla="*/ 167 w 7540"/>
                <a:gd name="T81" fmla="*/ 938 h 2736"/>
                <a:gd name="T82" fmla="*/ 178 w 7540"/>
                <a:gd name="T83" fmla="*/ 316 h 2736"/>
                <a:gd name="T84" fmla="*/ 605 w 7540"/>
                <a:gd name="T85" fmla="*/ 717 h 2736"/>
                <a:gd name="T86" fmla="*/ 479 w 7540"/>
                <a:gd name="T87" fmla="*/ 930 h 2736"/>
                <a:gd name="T88" fmla="*/ 792 w 7540"/>
                <a:gd name="T89" fmla="*/ 544 h 2736"/>
                <a:gd name="T90" fmla="*/ 1193 w 7540"/>
                <a:gd name="T91" fmla="*/ 420 h 2736"/>
                <a:gd name="T92" fmla="*/ 1484 w 7540"/>
                <a:gd name="T93" fmla="*/ 457 h 2736"/>
                <a:gd name="T94" fmla="*/ 1861 w 7540"/>
                <a:gd name="T95" fmla="*/ 246 h 2736"/>
                <a:gd name="T96" fmla="*/ 5897 w 7540"/>
                <a:gd name="T97" fmla="*/ 2191 h 2736"/>
                <a:gd name="T98" fmla="*/ 6422 w 7540"/>
                <a:gd name="T99" fmla="*/ 1765 h 2736"/>
                <a:gd name="T100" fmla="*/ 5334 w 7540"/>
                <a:gd name="T101" fmla="*/ 1840 h 2736"/>
                <a:gd name="T102" fmla="*/ 5359 w 7540"/>
                <a:gd name="T103" fmla="*/ 2221 h 2736"/>
                <a:gd name="T104" fmla="*/ 5306 w 7540"/>
                <a:gd name="T105" fmla="*/ 2257 h 2736"/>
                <a:gd name="T106" fmla="*/ 5509 w 7540"/>
                <a:gd name="T107" fmla="*/ 2552 h 2736"/>
                <a:gd name="T108" fmla="*/ 5622 w 7540"/>
                <a:gd name="T109" fmla="*/ 2472 h 2736"/>
                <a:gd name="T110" fmla="*/ 1468 w 7540"/>
                <a:gd name="T111" fmla="*/ 262 h 2736"/>
                <a:gd name="T112" fmla="*/ 1168 w 7540"/>
                <a:gd name="T113" fmla="*/ 76 h 2736"/>
                <a:gd name="T114" fmla="*/ 1231 w 7540"/>
                <a:gd name="T115" fmla="*/ 118 h 2736"/>
                <a:gd name="T116" fmla="*/ 1024 w 7540"/>
                <a:gd name="T117" fmla="*/ 322 h 2736"/>
                <a:gd name="T118" fmla="*/ 2576 w 7540"/>
                <a:gd name="T119" fmla="*/ 222 h 2736"/>
                <a:gd name="T120" fmla="*/ 6527 w 7540"/>
                <a:gd name="T121" fmla="*/ 253 h 2736"/>
                <a:gd name="T122" fmla="*/ 5780 w 7540"/>
                <a:gd name="T123" fmla="*/ 2363 h 2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540" h="2736">
                  <a:moveTo>
                    <a:pt x="1911" y="0"/>
                  </a:moveTo>
                  <a:lnTo>
                    <a:pt x="2084" y="0"/>
                  </a:lnTo>
                  <a:lnTo>
                    <a:pt x="2066" y="47"/>
                  </a:lnTo>
                  <a:lnTo>
                    <a:pt x="2103" y="90"/>
                  </a:lnTo>
                  <a:lnTo>
                    <a:pt x="2112" y="140"/>
                  </a:lnTo>
                  <a:lnTo>
                    <a:pt x="2110" y="202"/>
                  </a:lnTo>
                  <a:lnTo>
                    <a:pt x="2095" y="220"/>
                  </a:lnTo>
                  <a:lnTo>
                    <a:pt x="2108" y="276"/>
                  </a:lnTo>
                  <a:lnTo>
                    <a:pt x="2098" y="387"/>
                  </a:lnTo>
                  <a:lnTo>
                    <a:pt x="2142" y="437"/>
                  </a:lnTo>
                  <a:lnTo>
                    <a:pt x="2142" y="461"/>
                  </a:lnTo>
                  <a:lnTo>
                    <a:pt x="2127" y="497"/>
                  </a:lnTo>
                  <a:lnTo>
                    <a:pt x="2127" y="550"/>
                  </a:lnTo>
                  <a:lnTo>
                    <a:pt x="2105" y="564"/>
                  </a:lnTo>
                  <a:lnTo>
                    <a:pt x="2075" y="637"/>
                  </a:lnTo>
                  <a:lnTo>
                    <a:pt x="1973" y="663"/>
                  </a:lnTo>
                  <a:lnTo>
                    <a:pt x="1986" y="705"/>
                  </a:lnTo>
                  <a:lnTo>
                    <a:pt x="2079" y="723"/>
                  </a:lnTo>
                  <a:lnTo>
                    <a:pt x="2090" y="720"/>
                  </a:lnTo>
                  <a:lnTo>
                    <a:pt x="2093" y="683"/>
                  </a:lnTo>
                  <a:lnTo>
                    <a:pt x="2146" y="649"/>
                  </a:lnTo>
                  <a:lnTo>
                    <a:pt x="2164" y="593"/>
                  </a:lnTo>
                  <a:lnTo>
                    <a:pt x="2201" y="553"/>
                  </a:lnTo>
                  <a:lnTo>
                    <a:pt x="2203" y="516"/>
                  </a:lnTo>
                  <a:lnTo>
                    <a:pt x="2181" y="465"/>
                  </a:lnTo>
                  <a:lnTo>
                    <a:pt x="2195" y="423"/>
                  </a:lnTo>
                  <a:lnTo>
                    <a:pt x="2288" y="393"/>
                  </a:lnTo>
                  <a:lnTo>
                    <a:pt x="2322" y="454"/>
                  </a:lnTo>
                  <a:lnTo>
                    <a:pt x="2316" y="482"/>
                  </a:lnTo>
                  <a:lnTo>
                    <a:pt x="2327" y="490"/>
                  </a:lnTo>
                  <a:lnTo>
                    <a:pt x="2316" y="547"/>
                  </a:lnTo>
                  <a:lnTo>
                    <a:pt x="2339" y="571"/>
                  </a:lnTo>
                  <a:lnTo>
                    <a:pt x="2395" y="564"/>
                  </a:lnTo>
                  <a:lnTo>
                    <a:pt x="2332" y="542"/>
                  </a:lnTo>
                  <a:lnTo>
                    <a:pt x="2335" y="497"/>
                  </a:lnTo>
                  <a:lnTo>
                    <a:pt x="2361" y="482"/>
                  </a:lnTo>
                  <a:lnTo>
                    <a:pt x="2339" y="406"/>
                  </a:lnTo>
                  <a:lnTo>
                    <a:pt x="2264" y="361"/>
                  </a:lnTo>
                  <a:lnTo>
                    <a:pt x="2222" y="380"/>
                  </a:lnTo>
                  <a:lnTo>
                    <a:pt x="2157" y="363"/>
                  </a:lnTo>
                  <a:lnTo>
                    <a:pt x="2166" y="327"/>
                  </a:lnTo>
                  <a:lnTo>
                    <a:pt x="2149" y="290"/>
                  </a:lnTo>
                  <a:lnTo>
                    <a:pt x="2183" y="165"/>
                  </a:lnTo>
                  <a:lnTo>
                    <a:pt x="2124" y="39"/>
                  </a:lnTo>
                  <a:lnTo>
                    <a:pt x="2137" y="0"/>
                  </a:lnTo>
                  <a:lnTo>
                    <a:pt x="2231" y="0"/>
                  </a:lnTo>
                  <a:lnTo>
                    <a:pt x="2237" y="31"/>
                  </a:lnTo>
                  <a:lnTo>
                    <a:pt x="2223" y="58"/>
                  </a:lnTo>
                  <a:lnTo>
                    <a:pt x="2232" y="70"/>
                  </a:lnTo>
                  <a:lnTo>
                    <a:pt x="2362" y="106"/>
                  </a:lnTo>
                  <a:lnTo>
                    <a:pt x="2361" y="81"/>
                  </a:lnTo>
                  <a:lnTo>
                    <a:pt x="2277" y="39"/>
                  </a:lnTo>
                  <a:lnTo>
                    <a:pt x="2263" y="0"/>
                  </a:lnTo>
                  <a:lnTo>
                    <a:pt x="2290" y="0"/>
                  </a:lnTo>
                  <a:lnTo>
                    <a:pt x="2299" y="19"/>
                  </a:lnTo>
                  <a:lnTo>
                    <a:pt x="2344" y="0"/>
                  </a:lnTo>
                  <a:lnTo>
                    <a:pt x="2501" y="0"/>
                  </a:lnTo>
                  <a:lnTo>
                    <a:pt x="2517" y="14"/>
                  </a:lnTo>
                  <a:lnTo>
                    <a:pt x="2598" y="24"/>
                  </a:lnTo>
                  <a:lnTo>
                    <a:pt x="2584" y="65"/>
                  </a:lnTo>
                  <a:lnTo>
                    <a:pt x="2552" y="92"/>
                  </a:lnTo>
                  <a:lnTo>
                    <a:pt x="2556" y="157"/>
                  </a:lnTo>
                  <a:lnTo>
                    <a:pt x="2548" y="182"/>
                  </a:lnTo>
                  <a:lnTo>
                    <a:pt x="2548" y="220"/>
                  </a:lnTo>
                  <a:lnTo>
                    <a:pt x="2560" y="239"/>
                  </a:lnTo>
                  <a:lnTo>
                    <a:pt x="2596" y="250"/>
                  </a:lnTo>
                  <a:lnTo>
                    <a:pt x="2593" y="219"/>
                  </a:lnTo>
                  <a:lnTo>
                    <a:pt x="2618" y="208"/>
                  </a:lnTo>
                  <a:lnTo>
                    <a:pt x="2619" y="168"/>
                  </a:lnTo>
                  <a:lnTo>
                    <a:pt x="2596" y="85"/>
                  </a:lnTo>
                  <a:lnTo>
                    <a:pt x="2616" y="35"/>
                  </a:lnTo>
                  <a:lnTo>
                    <a:pt x="2607" y="0"/>
                  </a:lnTo>
                  <a:lnTo>
                    <a:pt x="4694" y="0"/>
                  </a:lnTo>
                  <a:lnTo>
                    <a:pt x="4700" y="27"/>
                  </a:lnTo>
                  <a:lnTo>
                    <a:pt x="4712" y="24"/>
                  </a:lnTo>
                  <a:lnTo>
                    <a:pt x="4751" y="112"/>
                  </a:lnTo>
                  <a:lnTo>
                    <a:pt x="4796" y="129"/>
                  </a:lnTo>
                  <a:lnTo>
                    <a:pt x="4813" y="161"/>
                  </a:lnTo>
                  <a:lnTo>
                    <a:pt x="4869" y="0"/>
                  </a:lnTo>
                  <a:lnTo>
                    <a:pt x="4889" y="0"/>
                  </a:lnTo>
                  <a:lnTo>
                    <a:pt x="4921" y="60"/>
                  </a:lnTo>
                  <a:lnTo>
                    <a:pt x="5009" y="27"/>
                  </a:lnTo>
                  <a:lnTo>
                    <a:pt x="5045" y="45"/>
                  </a:lnTo>
                  <a:lnTo>
                    <a:pt x="5119" y="97"/>
                  </a:lnTo>
                  <a:lnTo>
                    <a:pt x="5189" y="45"/>
                  </a:lnTo>
                  <a:lnTo>
                    <a:pt x="5212" y="55"/>
                  </a:lnTo>
                  <a:lnTo>
                    <a:pt x="5201" y="11"/>
                  </a:lnTo>
                  <a:lnTo>
                    <a:pt x="5205" y="0"/>
                  </a:lnTo>
                  <a:lnTo>
                    <a:pt x="5641" y="0"/>
                  </a:lnTo>
                  <a:lnTo>
                    <a:pt x="5629" y="21"/>
                  </a:lnTo>
                  <a:lnTo>
                    <a:pt x="5685" y="30"/>
                  </a:lnTo>
                  <a:lnTo>
                    <a:pt x="5707" y="64"/>
                  </a:lnTo>
                  <a:lnTo>
                    <a:pt x="5749" y="55"/>
                  </a:lnTo>
                  <a:lnTo>
                    <a:pt x="5783" y="95"/>
                  </a:lnTo>
                  <a:lnTo>
                    <a:pt x="5756" y="123"/>
                  </a:lnTo>
                  <a:lnTo>
                    <a:pt x="5793" y="148"/>
                  </a:lnTo>
                  <a:lnTo>
                    <a:pt x="5893" y="121"/>
                  </a:lnTo>
                  <a:lnTo>
                    <a:pt x="6083" y="126"/>
                  </a:lnTo>
                  <a:lnTo>
                    <a:pt x="6135" y="200"/>
                  </a:lnTo>
                  <a:lnTo>
                    <a:pt x="6122" y="282"/>
                  </a:lnTo>
                  <a:lnTo>
                    <a:pt x="6149" y="293"/>
                  </a:lnTo>
                  <a:lnTo>
                    <a:pt x="6193" y="313"/>
                  </a:lnTo>
                  <a:lnTo>
                    <a:pt x="6194" y="338"/>
                  </a:lnTo>
                  <a:lnTo>
                    <a:pt x="6321" y="285"/>
                  </a:lnTo>
                  <a:lnTo>
                    <a:pt x="6333" y="307"/>
                  </a:lnTo>
                  <a:lnTo>
                    <a:pt x="6451" y="326"/>
                  </a:lnTo>
                  <a:lnTo>
                    <a:pt x="6493" y="287"/>
                  </a:lnTo>
                  <a:lnTo>
                    <a:pt x="6513" y="312"/>
                  </a:lnTo>
                  <a:lnTo>
                    <a:pt x="6516" y="359"/>
                  </a:lnTo>
                  <a:lnTo>
                    <a:pt x="6599" y="418"/>
                  </a:lnTo>
                  <a:lnTo>
                    <a:pt x="6643" y="375"/>
                  </a:lnTo>
                  <a:lnTo>
                    <a:pt x="6624" y="313"/>
                  </a:lnTo>
                  <a:lnTo>
                    <a:pt x="6599" y="307"/>
                  </a:lnTo>
                  <a:lnTo>
                    <a:pt x="6618" y="292"/>
                  </a:lnTo>
                  <a:lnTo>
                    <a:pt x="6618" y="254"/>
                  </a:lnTo>
                  <a:lnTo>
                    <a:pt x="6624" y="250"/>
                  </a:lnTo>
                  <a:lnTo>
                    <a:pt x="6867" y="273"/>
                  </a:lnTo>
                  <a:lnTo>
                    <a:pt x="6983" y="333"/>
                  </a:lnTo>
                  <a:lnTo>
                    <a:pt x="7059" y="398"/>
                  </a:lnTo>
                  <a:lnTo>
                    <a:pt x="7059" y="399"/>
                  </a:lnTo>
                  <a:lnTo>
                    <a:pt x="7107" y="418"/>
                  </a:lnTo>
                  <a:lnTo>
                    <a:pt x="7115" y="446"/>
                  </a:lnTo>
                  <a:lnTo>
                    <a:pt x="7141" y="457"/>
                  </a:lnTo>
                  <a:lnTo>
                    <a:pt x="7144" y="482"/>
                  </a:lnTo>
                  <a:lnTo>
                    <a:pt x="7161" y="474"/>
                  </a:lnTo>
                  <a:lnTo>
                    <a:pt x="7178" y="483"/>
                  </a:lnTo>
                  <a:lnTo>
                    <a:pt x="7184" y="499"/>
                  </a:lnTo>
                  <a:lnTo>
                    <a:pt x="7197" y="499"/>
                  </a:lnTo>
                  <a:lnTo>
                    <a:pt x="7201" y="511"/>
                  </a:lnTo>
                  <a:lnTo>
                    <a:pt x="7192" y="519"/>
                  </a:lnTo>
                  <a:lnTo>
                    <a:pt x="7234" y="531"/>
                  </a:lnTo>
                  <a:lnTo>
                    <a:pt x="7233" y="542"/>
                  </a:lnTo>
                  <a:lnTo>
                    <a:pt x="7220" y="551"/>
                  </a:lnTo>
                  <a:lnTo>
                    <a:pt x="7268" y="579"/>
                  </a:lnTo>
                  <a:lnTo>
                    <a:pt x="7245" y="542"/>
                  </a:lnTo>
                  <a:lnTo>
                    <a:pt x="7270" y="551"/>
                  </a:lnTo>
                  <a:lnTo>
                    <a:pt x="7274" y="570"/>
                  </a:lnTo>
                  <a:lnTo>
                    <a:pt x="7294" y="585"/>
                  </a:lnTo>
                  <a:lnTo>
                    <a:pt x="7296" y="596"/>
                  </a:lnTo>
                  <a:lnTo>
                    <a:pt x="7287" y="587"/>
                  </a:lnTo>
                  <a:lnTo>
                    <a:pt x="7302" y="639"/>
                  </a:lnTo>
                  <a:lnTo>
                    <a:pt x="7301" y="659"/>
                  </a:lnTo>
                  <a:lnTo>
                    <a:pt x="7316" y="671"/>
                  </a:lnTo>
                  <a:lnTo>
                    <a:pt x="7316" y="686"/>
                  </a:lnTo>
                  <a:lnTo>
                    <a:pt x="7335" y="688"/>
                  </a:lnTo>
                  <a:lnTo>
                    <a:pt x="7333" y="709"/>
                  </a:lnTo>
                  <a:lnTo>
                    <a:pt x="7344" y="703"/>
                  </a:lnTo>
                  <a:lnTo>
                    <a:pt x="7345" y="686"/>
                  </a:lnTo>
                  <a:lnTo>
                    <a:pt x="7327" y="676"/>
                  </a:lnTo>
                  <a:lnTo>
                    <a:pt x="7331" y="635"/>
                  </a:lnTo>
                  <a:lnTo>
                    <a:pt x="7319" y="634"/>
                  </a:lnTo>
                  <a:lnTo>
                    <a:pt x="7310" y="626"/>
                  </a:lnTo>
                  <a:lnTo>
                    <a:pt x="7324" y="624"/>
                  </a:lnTo>
                  <a:lnTo>
                    <a:pt x="7344" y="632"/>
                  </a:lnTo>
                  <a:lnTo>
                    <a:pt x="7345" y="615"/>
                  </a:lnTo>
                  <a:lnTo>
                    <a:pt x="7368" y="629"/>
                  </a:lnTo>
                  <a:lnTo>
                    <a:pt x="7358" y="639"/>
                  </a:lnTo>
                  <a:lnTo>
                    <a:pt x="7365" y="652"/>
                  </a:lnTo>
                  <a:lnTo>
                    <a:pt x="7372" y="646"/>
                  </a:lnTo>
                  <a:lnTo>
                    <a:pt x="7370" y="634"/>
                  </a:lnTo>
                  <a:lnTo>
                    <a:pt x="7395" y="646"/>
                  </a:lnTo>
                  <a:lnTo>
                    <a:pt x="7395" y="630"/>
                  </a:lnTo>
                  <a:lnTo>
                    <a:pt x="7438" y="639"/>
                  </a:lnTo>
                  <a:lnTo>
                    <a:pt x="7457" y="676"/>
                  </a:lnTo>
                  <a:lnTo>
                    <a:pt x="7495" y="712"/>
                  </a:lnTo>
                  <a:lnTo>
                    <a:pt x="7489" y="720"/>
                  </a:lnTo>
                  <a:lnTo>
                    <a:pt x="7494" y="725"/>
                  </a:lnTo>
                  <a:lnTo>
                    <a:pt x="7502" y="715"/>
                  </a:lnTo>
                  <a:lnTo>
                    <a:pt x="7509" y="728"/>
                  </a:lnTo>
                  <a:lnTo>
                    <a:pt x="7533" y="735"/>
                  </a:lnTo>
                  <a:lnTo>
                    <a:pt x="7494" y="756"/>
                  </a:lnTo>
                  <a:lnTo>
                    <a:pt x="7491" y="791"/>
                  </a:lnTo>
                  <a:lnTo>
                    <a:pt x="7457" y="766"/>
                  </a:lnTo>
                  <a:lnTo>
                    <a:pt x="7453" y="773"/>
                  </a:lnTo>
                  <a:lnTo>
                    <a:pt x="7455" y="786"/>
                  </a:lnTo>
                  <a:lnTo>
                    <a:pt x="7469" y="793"/>
                  </a:lnTo>
                  <a:lnTo>
                    <a:pt x="7472" y="802"/>
                  </a:lnTo>
                  <a:lnTo>
                    <a:pt x="7469" y="807"/>
                  </a:lnTo>
                  <a:lnTo>
                    <a:pt x="7431" y="803"/>
                  </a:lnTo>
                  <a:lnTo>
                    <a:pt x="7419" y="813"/>
                  </a:lnTo>
                  <a:lnTo>
                    <a:pt x="7418" y="832"/>
                  </a:lnTo>
                  <a:lnTo>
                    <a:pt x="7415" y="835"/>
                  </a:lnTo>
                  <a:lnTo>
                    <a:pt x="7424" y="852"/>
                  </a:lnTo>
                  <a:lnTo>
                    <a:pt x="7376" y="881"/>
                  </a:lnTo>
                  <a:lnTo>
                    <a:pt x="7392" y="884"/>
                  </a:lnTo>
                  <a:lnTo>
                    <a:pt x="7382" y="895"/>
                  </a:lnTo>
                  <a:lnTo>
                    <a:pt x="7398" y="896"/>
                  </a:lnTo>
                  <a:lnTo>
                    <a:pt x="7410" y="920"/>
                  </a:lnTo>
                  <a:lnTo>
                    <a:pt x="7385" y="918"/>
                  </a:lnTo>
                  <a:lnTo>
                    <a:pt x="7387" y="932"/>
                  </a:lnTo>
                  <a:lnTo>
                    <a:pt x="7381" y="938"/>
                  </a:lnTo>
                  <a:lnTo>
                    <a:pt x="7362" y="932"/>
                  </a:lnTo>
                  <a:lnTo>
                    <a:pt x="7370" y="910"/>
                  </a:lnTo>
                  <a:lnTo>
                    <a:pt x="7365" y="904"/>
                  </a:lnTo>
                  <a:lnTo>
                    <a:pt x="7362" y="925"/>
                  </a:lnTo>
                  <a:lnTo>
                    <a:pt x="7355" y="930"/>
                  </a:lnTo>
                  <a:lnTo>
                    <a:pt x="7345" y="926"/>
                  </a:lnTo>
                  <a:lnTo>
                    <a:pt x="7347" y="915"/>
                  </a:lnTo>
                  <a:lnTo>
                    <a:pt x="7333" y="921"/>
                  </a:lnTo>
                  <a:lnTo>
                    <a:pt x="7322" y="904"/>
                  </a:lnTo>
                  <a:lnTo>
                    <a:pt x="7327" y="900"/>
                  </a:lnTo>
                  <a:lnTo>
                    <a:pt x="7297" y="886"/>
                  </a:lnTo>
                  <a:lnTo>
                    <a:pt x="7304" y="878"/>
                  </a:lnTo>
                  <a:lnTo>
                    <a:pt x="7305" y="864"/>
                  </a:lnTo>
                  <a:lnTo>
                    <a:pt x="7302" y="866"/>
                  </a:lnTo>
                  <a:lnTo>
                    <a:pt x="7302" y="879"/>
                  </a:lnTo>
                  <a:lnTo>
                    <a:pt x="7291" y="872"/>
                  </a:lnTo>
                  <a:lnTo>
                    <a:pt x="7293" y="887"/>
                  </a:lnTo>
                  <a:lnTo>
                    <a:pt x="7270" y="883"/>
                  </a:lnTo>
                  <a:lnTo>
                    <a:pt x="7246" y="853"/>
                  </a:lnTo>
                  <a:lnTo>
                    <a:pt x="7245" y="810"/>
                  </a:lnTo>
                  <a:lnTo>
                    <a:pt x="7218" y="793"/>
                  </a:lnTo>
                  <a:lnTo>
                    <a:pt x="7163" y="805"/>
                  </a:lnTo>
                  <a:lnTo>
                    <a:pt x="7127" y="796"/>
                  </a:lnTo>
                  <a:lnTo>
                    <a:pt x="7123" y="771"/>
                  </a:lnTo>
                  <a:lnTo>
                    <a:pt x="7118" y="769"/>
                  </a:lnTo>
                  <a:lnTo>
                    <a:pt x="7104" y="740"/>
                  </a:lnTo>
                  <a:lnTo>
                    <a:pt x="7123" y="737"/>
                  </a:lnTo>
                  <a:lnTo>
                    <a:pt x="7124" y="706"/>
                  </a:lnTo>
                  <a:lnTo>
                    <a:pt x="7106" y="731"/>
                  </a:lnTo>
                  <a:lnTo>
                    <a:pt x="7096" y="708"/>
                  </a:lnTo>
                  <a:lnTo>
                    <a:pt x="7085" y="709"/>
                  </a:lnTo>
                  <a:lnTo>
                    <a:pt x="7087" y="732"/>
                  </a:lnTo>
                  <a:lnTo>
                    <a:pt x="7059" y="734"/>
                  </a:lnTo>
                  <a:lnTo>
                    <a:pt x="7059" y="741"/>
                  </a:lnTo>
                  <a:lnTo>
                    <a:pt x="7064" y="762"/>
                  </a:lnTo>
                  <a:lnTo>
                    <a:pt x="7089" y="786"/>
                  </a:lnTo>
                  <a:lnTo>
                    <a:pt x="7089" y="799"/>
                  </a:lnTo>
                  <a:lnTo>
                    <a:pt x="7059" y="848"/>
                  </a:lnTo>
                  <a:lnTo>
                    <a:pt x="7059" y="852"/>
                  </a:lnTo>
                  <a:lnTo>
                    <a:pt x="6992" y="904"/>
                  </a:lnTo>
                  <a:lnTo>
                    <a:pt x="6938" y="889"/>
                  </a:lnTo>
                  <a:lnTo>
                    <a:pt x="6945" y="926"/>
                  </a:lnTo>
                  <a:lnTo>
                    <a:pt x="6971" y="941"/>
                  </a:lnTo>
                  <a:lnTo>
                    <a:pt x="6980" y="929"/>
                  </a:lnTo>
                  <a:lnTo>
                    <a:pt x="6991" y="960"/>
                  </a:lnTo>
                  <a:lnTo>
                    <a:pt x="6996" y="971"/>
                  </a:lnTo>
                  <a:lnTo>
                    <a:pt x="7004" y="1026"/>
                  </a:lnTo>
                  <a:lnTo>
                    <a:pt x="7031" y="1062"/>
                  </a:lnTo>
                  <a:lnTo>
                    <a:pt x="7011" y="1067"/>
                  </a:lnTo>
                  <a:lnTo>
                    <a:pt x="7034" y="1096"/>
                  </a:lnTo>
                  <a:lnTo>
                    <a:pt x="7011" y="1136"/>
                  </a:lnTo>
                  <a:lnTo>
                    <a:pt x="6938" y="1113"/>
                  </a:lnTo>
                  <a:lnTo>
                    <a:pt x="6929" y="1113"/>
                  </a:lnTo>
                  <a:lnTo>
                    <a:pt x="6830" y="1155"/>
                  </a:lnTo>
                  <a:lnTo>
                    <a:pt x="6827" y="1172"/>
                  </a:lnTo>
                  <a:lnTo>
                    <a:pt x="6774" y="1203"/>
                  </a:lnTo>
                  <a:lnTo>
                    <a:pt x="6757" y="1194"/>
                  </a:lnTo>
                  <a:lnTo>
                    <a:pt x="6742" y="1226"/>
                  </a:lnTo>
                  <a:lnTo>
                    <a:pt x="6706" y="1246"/>
                  </a:lnTo>
                  <a:lnTo>
                    <a:pt x="6706" y="1263"/>
                  </a:lnTo>
                  <a:lnTo>
                    <a:pt x="6621" y="1319"/>
                  </a:lnTo>
                  <a:lnTo>
                    <a:pt x="6612" y="1365"/>
                  </a:lnTo>
                  <a:lnTo>
                    <a:pt x="6567" y="1313"/>
                  </a:lnTo>
                  <a:lnTo>
                    <a:pt x="6511" y="1300"/>
                  </a:lnTo>
                  <a:lnTo>
                    <a:pt x="6457" y="1322"/>
                  </a:lnTo>
                  <a:lnTo>
                    <a:pt x="6420" y="1376"/>
                  </a:lnTo>
                  <a:lnTo>
                    <a:pt x="6420" y="1311"/>
                  </a:lnTo>
                  <a:lnTo>
                    <a:pt x="6371" y="1353"/>
                  </a:lnTo>
                  <a:lnTo>
                    <a:pt x="6366" y="1376"/>
                  </a:lnTo>
                  <a:lnTo>
                    <a:pt x="6346" y="1356"/>
                  </a:lnTo>
                  <a:lnTo>
                    <a:pt x="6298" y="1372"/>
                  </a:lnTo>
                  <a:lnTo>
                    <a:pt x="6281" y="1443"/>
                  </a:lnTo>
                  <a:lnTo>
                    <a:pt x="6269" y="1443"/>
                  </a:lnTo>
                  <a:lnTo>
                    <a:pt x="6240" y="1492"/>
                  </a:lnTo>
                  <a:lnTo>
                    <a:pt x="6227" y="1545"/>
                  </a:lnTo>
                  <a:lnTo>
                    <a:pt x="6242" y="1562"/>
                  </a:lnTo>
                  <a:lnTo>
                    <a:pt x="6257" y="1543"/>
                  </a:lnTo>
                  <a:lnTo>
                    <a:pt x="6282" y="1558"/>
                  </a:lnTo>
                  <a:lnTo>
                    <a:pt x="6261" y="1610"/>
                  </a:lnTo>
                  <a:lnTo>
                    <a:pt x="6262" y="1648"/>
                  </a:lnTo>
                  <a:lnTo>
                    <a:pt x="6282" y="1656"/>
                  </a:lnTo>
                  <a:lnTo>
                    <a:pt x="6286" y="1685"/>
                  </a:lnTo>
                  <a:lnTo>
                    <a:pt x="6273" y="1709"/>
                  </a:lnTo>
                  <a:lnTo>
                    <a:pt x="6257" y="1689"/>
                  </a:lnTo>
                  <a:lnTo>
                    <a:pt x="6271" y="1663"/>
                  </a:lnTo>
                  <a:lnTo>
                    <a:pt x="6239" y="1676"/>
                  </a:lnTo>
                  <a:lnTo>
                    <a:pt x="6242" y="1685"/>
                  </a:lnTo>
                  <a:lnTo>
                    <a:pt x="6244" y="1692"/>
                  </a:lnTo>
                  <a:lnTo>
                    <a:pt x="6223" y="1712"/>
                  </a:lnTo>
                  <a:lnTo>
                    <a:pt x="6211" y="1748"/>
                  </a:lnTo>
                  <a:lnTo>
                    <a:pt x="6231" y="1812"/>
                  </a:lnTo>
                  <a:lnTo>
                    <a:pt x="6208" y="1829"/>
                  </a:lnTo>
                  <a:lnTo>
                    <a:pt x="6179" y="1823"/>
                  </a:lnTo>
                  <a:lnTo>
                    <a:pt x="6131" y="1866"/>
                  </a:lnTo>
                  <a:lnTo>
                    <a:pt x="6135" y="1933"/>
                  </a:lnTo>
                  <a:lnTo>
                    <a:pt x="6122" y="1927"/>
                  </a:lnTo>
                  <a:lnTo>
                    <a:pt x="6081" y="1955"/>
                  </a:lnTo>
                  <a:lnTo>
                    <a:pt x="6066" y="1978"/>
                  </a:lnTo>
                  <a:lnTo>
                    <a:pt x="6056" y="2029"/>
                  </a:lnTo>
                  <a:lnTo>
                    <a:pt x="5990" y="2102"/>
                  </a:lnTo>
                  <a:lnTo>
                    <a:pt x="5937" y="1815"/>
                  </a:lnTo>
                  <a:lnTo>
                    <a:pt x="5934" y="1712"/>
                  </a:lnTo>
                  <a:lnTo>
                    <a:pt x="5947" y="1650"/>
                  </a:lnTo>
                  <a:lnTo>
                    <a:pt x="5988" y="1616"/>
                  </a:lnTo>
                  <a:lnTo>
                    <a:pt x="5998" y="1582"/>
                  </a:lnTo>
                  <a:lnTo>
                    <a:pt x="5993" y="1554"/>
                  </a:lnTo>
                  <a:lnTo>
                    <a:pt x="6018" y="1558"/>
                  </a:lnTo>
                  <a:lnTo>
                    <a:pt x="6063" y="1532"/>
                  </a:lnTo>
                  <a:lnTo>
                    <a:pt x="6157" y="1402"/>
                  </a:lnTo>
                  <a:lnTo>
                    <a:pt x="6220" y="1342"/>
                  </a:lnTo>
                  <a:lnTo>
                    <a:pt x="6227" y="1317"/>
                  </a:lnTo>
                  <a:lnTo>
                    <a:pt x="6307" y="1277"/>
                  </a:lnTo>
                  <a:lnTo>
                    <a:pt x="6301" y="1257"/>
                  </a:lnTo>
                  <a:lnTo>
                    <a:pt x="6313" y="1240"/>
                  </a:lnTo>
                  <a:lnTo>
                    <a:pt x="6329" y="1147"/>
                  </a:lnTo>
                  <a:lnTo>
                    <a:pt x="6366" y="1118"/>
                  </a:lnTo>
                  <a:lnTo>
                    <a:pt x="6340" y="1101"/>
                  </a:lnTo>
                  <a:lnTo>
                    <a:pt x="6290" y="1127"/>
                  </a:lnTo>
                  <a:lnTo>
                    <a:pt x="6274" y="1189"/>
                  </a:lnTo>
                  <a:lnTo>
                    <a:pt x="6286" y="1200"/>
                  </a:lnTo>
                  <a:lnTo>
                    <a:pt x="6279" y="1214"/>
                  </a:lnTo>
                  <a:lnTo>
                    <a:pt x="6265" y="1198"/>
                  </a:lnTo>
                  <a:lnTo>
                    <a:pt x="6245" y="1208"/>
                  </a:lnTo>
                  <a:lnTo>
                    <a:pt x="6146" y="1306"/>
                  </a:lnTo>
                  <a:lnTo>
                    <a:pt x="6156" y="1265"/>
                  </a:lnTo>
                  <a:lnTo>
                    <a:pt x="6129" y="1268"/>
                  </a:lnTo>
                  <a:lnTo>
                    <a:pt x="6137" y="1254"/>
                  </a:lnTo>
                  <a:lnTo>
                    <a:pt x="6132" y="1235"/>
                  </a:lnTo>
                  <a:lnTo>
                    <a:pt x="6154" y="1174"/>
                  </a:lnTo>
                  <a:lnTo>
                    <a:pt x="6129" y="1200"/>
                  </a:lnTo>
                  <a:lnTo>
                    <a:pt x="6092" y="1175"/>
                  </a:lnTo>
                  <a:lnTo>
                    <a:pt x="6008" y="1201"/>
                  </a:lnTo>
                  <a:lnTo>
                    <a:pt x="5868" y="1376"/>
                  </a:lnTo>
                  <a:lnTo>
                    <a:pt x="5874" y="1396"/>
                  </a:lnTo>
                  <a:lnTo>
                    <a:pt x="5869" y="1407"/>
                  </a:lnTo>
                  <a:lnTo>
                    <a:pt x="5910" y="1421"/>
                  </a:lnTo>
                  <a:lnTo>
                    <a:pt x="5911" y="1436"/>
                  </a:lnTo>
                  <a:lnTo>
                    <a:pt x="5900" y="1440"/>
                  </a:lnTo>
                  <a:lnTo>
                    <a:pt x="5843" y="1433"/>
                  </a:lnTo>
                  <a:lnTo>
                    <a:pt x="5807" y="1460"/>
                  </a:lnTo>
                  <a:lnTo>
                    <a:pt x="5792" y="1448"/>
                  </a:lnTo>
                  <a:lnTo>
                    <a:pt x="5741" y="1465"/>
                  </a:lnTo>
                  <a:lnTo>
                    <a:pt x="5729" y="1443"/>
                  </a:lnTo>
                  <a:lnTo>
                    <a:pt x="5776" y="1427"/>
                  </a:lnTo>
                  <a:lnTo>
                    <a:pt x="5741" y="1401"/>
                  </a:lnTo>
                  <a:lnTo>
                    <a:pt x="5717" y="1410"/>
                  </a:lnTo>
                  <a:lnTo>
                    <a:pt x="5640" y="1385"/>
                  </a:lnTo>
                  <a:lnTo>
                    <a:pt x="5631" y="1392"/>
                  </a:lnTo>
                  <a:lnTo>
                    <a:pt x="5636" y="1409"/>
                  </a:lnTo>
                  <a:lnTo>
                    <a:pt x="5617" y="1412"/>
                  </a:lnTo>
                  <a:lnTo>
                    <a:pt x="5624" y="1427"/>
                  </a:lnTo>
                  <a:lnTo>
                    <a:pt x="5612" y="1432"/>
                  </a:lnTo>
                  <a:lnTo>
                    <a:pt x="5599" y="1418"/>
                  </a:lnTo>
                  <a:lnTo>
                    <a:pt x="5561" y="1429"/>
                  </a:lnTo>
                  <a:lnTo>
                    <a:pt x="5512" y="1410"/>
                  </a:lnTo>
                  <a:lnTo>
                    <a:pt x="5495" y="1436"/>
                  </a:lnTo>
                  <a:lnTo>
                    <a:pt x="5468" y="1415"/>
                  </a:lnTo>
                  <a:lnTo>
                    <a:pt x="5360" y="1421"/>
                  </a:lnTo>
                  <a:lnTo>
                    <a:pt x="5320" y="1443"/>
                  </a:lnTo>
                  <a:lnTo>
                    <a:pt x="5253" y="1514"/>
                  </a:lnTo>
                  <a:lnTo>
                    <a:pt x="5231" y="1556"/>
                  </a:lnTo>
                  <a:lnTo>
                    <a:pt x="5141" y="1641"/>
                  </a:lnTo>
                  <a:lnTo>
                    <a:pt x="5109" y="1695"/>
                  </a:lnTo>
                  <a:lnTo>
                    <a:pt x="4997" y="1794"/>
                  </a:lnTo>
                  <a:lnTo>
                    <a:pt x="4994" y="1811"/>
                  </a:lnTo>
                  <a:lnTo>
                    <a:pt x="5017" y="1823"/>
                  </a:lnTo>
                  <a:lnTo>
                    <a:pt x="5065" y="1820"/>
                  </a:lnTo>
                  <a:lnTo>
                    <a:pt x="5067" y="1887"/>
                  </a:lnTo>
                  <a:lnTo>
                    <a:pt x="5084" y="1873"/>
                  </a:lnTo>
                  <a:lnTo>
                    <a:pt x="5085" y="1851"/>
                  </a:lnTo>
                  <a:lnTo>
                    <a:pt x="5105" y="1844"/>
                  </a:lnTo>
                  <a:lnTo>
                    <a:pt x="5092" y="1859"/>
                  </a:lnTo>
                  <a:lnTo>
                    <a:pt x="5107" y="1878"/>
                  </a:lnTo>
                  <a:lnTo>
                    <a:pt x="5088" y="1900"/>
                  </a:lnTo>
                  <a:lnTo>
                    <a:pt x="5130" y="1891"/>
                  </a:lnTo>
                  <a:lnTo>
                    <a:pt x="5145" y="1873"/>
                  </a:lnTo>
                  <a:lnTo>
                    <a:pt x="5138" y="1905"/>
                  </a:lnTo>
                  <a:lnTo>
                    <a:pt x="5153" y="1883"/>
                  </a:lnTo>
                  <a:lnTo>
                    <a:pt x="5156" y="1844"/>
                  </a:lnTo>
                  <a:lnTo>
                    <a:pt x="5204" y="1848"/>
                  </a:lnTo>
                  <a:lnTo>
                    <a:pt x="5229" y="1887"/>
                  </a:lnTo>
                  <a:lnTo>
                    <a:pt x="5278" y="1922"/>
                  </a:lnTo>
                  <a:lnTo>
                    <a:pt x="5268" y="1942"/>
                  </a:lnTo>
                  <a:lnTo>
                    <a:pt x="5210" y="1930"/>
                  </a:lnTo>
                  <a:lnTo>
                    <a:pt x="5266" y="1952"/>
                  </a:lnTo>
                  <a:lnTo>
                    <a:pt x="5272" y="1975"/>
                  </a:lnTo>
                  <a:lnTo>
                    <a:pt x="5266" y="1989"/>
                  </a:lnTo>
                  <a:lnTo>
                    <a:pt x="5282" y="2006"/>
                  </a:lnTo>
                  <a:lnTo>
                    <a:pt x="5252" y="2063"/>
                  </a:lnTo>
                  <a:lnTo>
                    <a:pt x="5236" y="2113"/>
                  </a:lnTo>
                  <a:lnTo>
                    <a:pt x="5246" y="2164"/>
                  </a:lnTo>
                  <a:lnTo>
                    <a:pt x="5227" y="2274"/>
                  </a:lnTo>
                  <a:lnTo>
                    <a:pt x="5148" y="2377"/>
                  </a:lnTo>
                  <a:lnTo>
                    <a:pt x="5111" y="2452"/>
                  </a:lnTo>
                  <a:lnTo>
                    <a:pt x="4987" y="2606"/>
                  </a:lnTo>
                  <a:lnTo>
                    <a:pt x="4906" y="2651"/>
                  </a:lnTo>
                  <a:lnTo>
                    <a:pt x="4864" y="2642"/>
                  </a:lnTo>
                  <a:lnTo>
                    <a:pt x="4862" y="2616"/>
                  </a:lnTo>
                  <a:lnTo>
                    <a:pt x="4847" y="2626"/>
                  </a:lnTo>
                  <a:lnTo>
                    <a:pt x="4839" y="2606"/>
                  </a:lnTo>
                  <a:lnTo>
                    <a:pt x="4811" y="2657"/>
                  </a:lnTo>
                  <a:lnTo>
                    <a:pt x="4788" y="2657"/>
                  </a:lnTo>
                  <a:lnTo>
                    <a:pt x="4791" y="2668"/>
                  </a:lnTo>
                  <a:lnTo>
                    <a:pt x="4784" y="2670"/>
                  </a:lnTo>
                  <a:lnTo>
                    <a:pt x="4780" y="2660"/>
                  </a:lnTo>
                  <a:lnTo>
                    <a:pt x="4780" y="2645"/>
                  </a:lnTo>
                  <a:lnTo>
                    <a:pt x="4811" y="2609"/>
                  </a:lnTo>
                  <a:lnTo>
                    <a:pt x="4811" y="2562"/>
                  </a:lnTo>
                  <a:lnTo>
                    <a:pt x="4799" y="2526"/>
                  </a:lnTo>
                  <a:lnTo>
                    <a:pt x="4839" y="2492"/>
                  </a:lnTo>
                  <a:lnTo>
                    <a:pt x="4882" y="2503"/>
                  </a:lnTo>
                  <a:lnTo>
                    <a:pt x="4887" y="2506"/>
                  </a:lnTo>
                  <a:lnTo>
                    <a:pt x="4898" y="2498"/>
                  </a:lnTo>
                  <a:lnTo>
                    <a:pt x="4927" y="2433"/>
                  </a:lnTo>
                  <a:lnTo>
                    <a:pt x="4950" y="2354"/>
                  </a:lnTo>
                  <a:lnTo>
                    <a:pt x="4970" y="2334"/>
                  </a:lnTo>
                  <a:lnTo>
                    <a:pt x="4975" y="2274"/>
                  </a:lnTo>
                  <a:lnTo>
                    <a:pt x="4867" y="2322"/>
                  </a:lnTo>
                  <a:lnTo>
                    <a:pt x="4850" y="2328"/>
                  </a:lnTo>
                  <a:lnTo>
                    <a:pt x="4805" y="2326"/>
                  </a:lnTo>
                  <a:lnTo>
                    <a:pt x="4777" y="2241"/>
                  </a:lnTo>
                  <a:lnTo>
                    <a:pt x="4728" y="2212"/>
                  </a:lnTo>
                  <a:lnTo>
                    <a:pt x="4712" y="2204"/>
                  </a:lnTo>
                  <a:lnTo>
                    <a:pt x="4636" y="2191"/>
                  </a:lnTo>
                  <a:lnTo>
                    <a:pt x="4636" y="2174"/>
                  </a:lnTo>
                  <a:lnTo>
                    <a:pt x="4621" y="2103"/>
                  </a:lnTo>
                  <a:lnTo>
                    <a:pt x="4584" y="2000"/>
                  </a:lnTo>
                  <a:lnTo>
                    <a:pt x="4550" y="1947"/>
                  </a:lnTo>
                  <a:lnTo>
                    <a:pt x="4496" y="1938"/>
                  </a:lnTo>
                  <a:lnTo>
                    <a:pt x="4457" y="1910"/>
                  </a:lnTo>
                  <a:lnTo>
                    <a:pt x="4362" y="1927"/>
                  </a:lnTo>
                  <a:lnTo>
                    <a:pt x="4332" y="1932"/>
                  </a:lnTo>
                  <a:lnTo>
                    <a:pt x="4291" y="1973"/>
                  </a:lnTo>
                  <a:lnTo>
                    <a:pt x="4291" y="1988"/>
                  </a:lnTo>
                  <a:lnTo>
                    <a:pt x="4319" y="1986"/>
                  </a:lnTo>
                  <a:lnTo>
                    <a:pt x="4324" y="2022"/>
                  </a:lnTo>
                  <a:lnTo>
                    <a:pt x="4288" y="2054"/>
                  </a:lnTo>
                  <a:lnTo>
                    <a:pt x="4254" y="2159"/>
                  </a:lnTo>
                  <a:lnTo>
                    <a:pt x="4191" y="2196"/>
                  </a:lnTo>
                  <a:lnTo>
                    <a:pt x="4121" y="2167"/>
                  </a:lnTo>
                  <a:lnTo>
                    <a:pt x="4092" y="2174"/>
                  </a:lnTo>
                  <a:lnTo>
                    <a:pt x="4039" y="2150"/>
                  </a:lnTo>
                  <a:lnTo>
                    <a:pt x="3966" y="2196"/>
                  </a:lnTo>
                  <a:lnTo>
                    <a:pt x="3868" y="2223"/>
                  </a:lnTo>
                  <a:lnTo>
                    <a:pt x="3770" y="2207"/>
                  </a:lnTo>
                  <a:lnTo>
                    <a:pt x="3736" y="2176"/>
                  </a:lnTo>
                  <a:lnTo>
                    <a:pt x="3626" y="2125"/>
                  </a:lnTo>
                  <a:lnTo>
                    <a:pt x="3602" y="2119"/>
                  </a:lnTo>
                  <a:lnTo>
                    <a:pt x="3532" y="2145"/>
                  </a:lnTo>
                  <a:lnTo>
                    <a:pt x="3505" y="2137"/>
                  </a:lnTo>
                  <a:lnTo>
                    <a:pt x="3468" y="2111"/>
                  </a:lnTo>
                  <a:lnTo>
                    <a:pt x="3456" y="2056"/>
                  </a:lnTo>
                  <a:lnTo>
                    <a:pt x="3332" y="2006"/>
                  </a:lnTo>
                  <a:lnTo>
                    <a:pt x="3270" y="2060"/>
                  </a:lnTo>
                  <a:lnTo>
                    <a:pt x="3281" y="2117"/>
                  </a:lnTo>
                  <a:lnTo>
                    <a:pt x="3273" y="2130"/>
                  </a:lnTo>
                  <a:lnTo>
                    <a:pt x="3275" y="2159"/>
                  </a:lnTo>
                  <a:lnTo>
                    <a:pt x="3267" y="2164"/>
                  </a:lnTo>
                  <a:lnTo>
                    <a:pt x="3131" y="2165"/>
                  </a:lnTo>
                  <a:lnTo>
                    <a:pt x="3102" y="2133"/>
                  </a:lnTo>
                  <a:lnTo>
                    <a:pt x="2990" y="2120"/>
                  </a:lnTo>
                  <a:lnTo>
                    <a:pt x="2830" y="2204"/>
                  </a:lnTo>
                  <a:lnTo>
                    <a:pt x="2806" y="2237"/>
                  </a:lnTo>
                  <a:lnTo>
                    <a:pt x="2789" y="2250"/>
                  </a:lnTo>
                  <a:lnTo>
                    <a:pt x="2769" y="2246"/>
                  </a:lnTo>
                  <a:lnTo>
                    <a:pt x="2775" y="2220"/>
                  </a:lnTo>
                  <a:lnTo>
                    <a:pt x="2750" y="2181"/>
                  </a:lnTo>
                  <a:lnTo>
                    <a:pt x="2732" y="2198"/>
                  </a:lnTo>
                  <a:lnTo>
                    <a:pt x="2686" y="2186"/>
                  </a:lnTo>
                  <a:lnTo>
                    <a:pt x="2607" y="2091"/>
                  </a:lnTo>
                  <a:lnTo>
                    <a:pt x="2565" y="2108"/>
                  </a:lnTo>
                  <a:lnTo>
                    <a:pt x="2511" y="2108"/>
                  </a:lnTo>
                  <a:lnTo>
                    <a:pt x="2501" y="2083"/>
                  </a:lnTo>
                  <a:lnTo>
                    <a:pt x="2479" y="2069"/>
                  </a:lnTo>
                  <a:lnTo>
                    <a:pt x="2449" y="2105"/>
                  </a:lnTo>
                  <a:lnTo>
                    <a:pt x="2349" y="1921"/>
                  </a:lnTo>
                  <a:lnTo>
                    <a:pt x="2285" y="1862"/>
                  </a:lnTo>
                  <a:lnTo>
                    <a:pt x="2282" y="1849"/>
                  </a:lnTo>
                  <a:lnTo>
                    <a:pt x="2298" y="1842"/>
                  </a:lnTo>
                  <a:lnTo>
                    <a:pt x="2294" y="1829"/>
                  </a:lnTo>
                  <a:lnTo>
                    <a:pt x="2240" y="1848"/>
                  </a:lnTo>
                  <a:lnTo>
                    <a:pt x="2188" y="1898"/>
                  </a:lnTo>
                  <a:lnTo>
                    <a:pt x="2141" y="1902"/>
                  </a:lnTo>
                  <a:lnTo>
                    <a:pt x="2135" y="1890"/>
                  </a:lnTo>
                  <a:lnTo>
                    <a:pt x="2154" y="1871"/>
                  </a:lnTo>
                  <a:lnTo>
                    <a:pt x="2152" y="1857"/>
                  </a:lnTo>
                  <a:lnTo>
                    <a:pt x="2137" y="1866"/>
                  </a:lnTo>
                  <a:lnTo>
                    <a:pt x="2107" y="1851"/>
                  </a:lnTo>
                  <a:lnTo>
                    <a:pt x="2099" y="1854"/>
                  </a:lnTo>
                  <a:lnTo>
                    <a:pt x="2107" y="1866"/>
                  </a:lnTo>
                  <a:lnTo>
                    <a:pt x="2093" y="1865"/>
                  </a:lnTo>
                  <a:lnTo>
                    <a:pt x="2095" y="1851"/>
                  </a:lnTo>
                  <a:lnTo>
                    <a:pt x="2079" y="1832"/>
                  </a:lnTo>
                  <a:lnTo>
                    <a:pt x="2078" y="1846"/>
                  </a:lnTo>
                  <a:lnTo>
                    <a:pt x="2037" y="1851"/>
                  </a:lnTo>
                  <a:lnTo>
                    <a:pt x="2030" y="1839"/>
                  </a:lnTo>
                  <a:lnTo>
                    <a:pt x="2042" y="1808"/>
                  </a:lnTo>
                  <a:lnTo>
                    <a:pt x="2032" y="1798"/>
                  </a:lnTo>
                  <a:lnTo>
                    <a:pt x="2027" y="1766"/>
                  </a:lnTo>
                  <a:lnTo>
                    <a:pt x="1937" y="1749"/>
                  </a:lnTo>
                  <a:lnTo>
                    <a:pt x="1903" y="1765"/>
                  </a:lnTo>
                  <a:lnTo>
                    <a:pt x="1900" y="1783"/>
                  </a:lnTo>
                  <a:lnTo>
                    <a:pt x="1771" y="1811"/>
                  </a:lnTo>
                  <a:lnTo>
                    <a:pt x="1744" y="1828"/>
                  </a:lnTo>
                  <a:lnTo>
                    <a:pt x="1708" y="1848"/>
                  </a:lnTo>
                  <a:lnTo>
                    <a:pt x="1691" y="1840"/>
                  </a:lnTo>
                  <a:lnTo>
                    <a:pt x="1640" y="1868"/>
                  </a:lnTo>
                  <a:lnTo>
                    <a:pt x="1566" y="1865"/>
                  </a:lnTo>
                  <a:lnTo>
                    <a:pt x="1576" y="1874"/>
                  </a:lnTo>
                  <a:lnTo>
                    <a:pt x="1570" y="1893"/>
                  </a:lnTo>
                  <a:lnTo>
                    <a:pt x="1593" y="1895"/>
                  </a:lnTo>
                  <a:lnTo>
                    <a:pt x="1576" y="1904"/>
                  </a:lnTo>
                  <a:lnTo>
                    <a:pt x="1580" y="1915"/>
                  </a:lnTo>
                  <a:lnTo>
                    <a:pt x="1623" y="1932"/>
                  </a:lnTo>
                  <a:lnTo>
                    <a:pt x="1573" y="1939"/>
                  </a:lnTo>
                  <a:lnTo>
                    <a:pt x="1555" y="1958"/>
                  </a:lnTo>
                  <a:lnTo>
                    <a:pt x="1570" y="1980"/>
                  </a:lnTo>
                  <a:lnTo>
                    <a:pt x="1566" y="1993"/>
                  </a:lnTo>
                  <a:lnTo>
                    <a:pt x="1524" y="2015"/>
                  </a:lnTo>
                  <a:lnTo>
                    <a:pt x="1539" y="2039"/>
                  </a:lnTo>
                  <a:lnTo>
                    <a:pt x="1570" y="2057"/>
                  </a:lnTo>
                  <a:lnTo>
                    <a:pt x="1595" y="2059"/>
                  </a:lnTo>
                  <a:lnTo>
                    <a:pt x="1598" y="2065"/>
                  </a:lnTo>
                  <a:lnTo>
                    <a:pt x="1587" y="2103"/>
                  </a:lnTo>
                  <a:lnTo>
                    <a:pt x="1567" y="2111"/>
                  </a:lnTo>
                  <a:lnTo>
                    <a:pt x="1526" y="2100"/>
                  </a:lnTo>
                  <a:lnTo>
                    <a:pt x="1497" y="2123"/>
                  </a:lnTo>
                  <a:lnTo>
                    <a:pt x="1468" y="2113"/>
                  </a:lnTo>
                  <a:lnTo>
                    <a:pt x="1441" y="2079"/>
                  </a:lnTo>
                  <a:lnTo>
                    <a:pt x="1417" y="2086"/>
                  </a:lnTo>
                  <a:lnTo>
                    <a:pt x="1405" y="2096"/>
                  </a:lnTo>
                  <a:lnTo>
                    <a:pt x="1372" y="2085"/>
                  </a:lnTo>
                  <a:lnTo>
                    <a:pt x="1324" y="2119"/>
                  </a:lnTo>
                  <a:lnTo>
                    <a:pt x="1284" y="2085"/>
                  </a:lnTo>
                  <a:lnTo>
                    <a:pt x="1273" y="2091"/>
                  </a:lnTo>
                  <a:lnTo>
                    <a:pt x="1277" y="2117"/>
                  </a:lnTo>
                  <a:lnTo>
                    <a:pt x="1270" y="2120"/>
                  </a:lnTo>
                  <a:lnTo>
                    <a:pt x="1255" y="2083"/>
                  </a:lnTo>
                  <a:lnTo>
                    <a:pt x="1224" y="2051"/>
                  </a:lnTo>
                  <a:lnTo>
                    <a:pt x="1179" y="2049"/>
                  </a:lnTo>
                  <a:lnTo>
                    <a:pt x="1168" y="2032"/>
                  </a:lnTo>
                  <a:lnTo>
                    <a:pt x="1150" y="2034"/>
                  </a:lnTo>
                  <a:lnTo>
                    <a:pt x="1140" y="2052"/>
                  </a:lnTo>
                  <a:lnTo>
                    <a:pt x="1117" y="2037"/>
                  </a:lnTo>
                  <a:lnTo>
                    <a:pt x="1092" y="2040"/>
                  </a:lnTo>
                  <a:lnTo>
                    <a:pt x="1070" y="2066"/>
                  </a:lnTo>
                  <a:lnTo>
                    <a:pt x="1035" y="2079"/>
                  </a:lnTo>
                  <a:lnTo>
                    <a:pt x="1029" y="2097"/>
                  </a:lnTo>
                  <a:lnTo>
                    <a:pt x="994" y="2114"/>
                  </a:lnTo>
                  <a:lnTo>
                    <a:pt x="1009" y="2161"/>
                  </a:lnTo>
                  <a:lnTo>
                    <a:pt x="986" y="2176"/>
                  </a:lnTo>
                  <a:lnTo>
                    <a:pt x="947" y="2123"/>
                  </a:lnTo>
                  <a:lnTo>
                    <a:pt x="938" y="2156"/>
                  </a:lnTo>
                  <a:lnTo>
                    <a:pt x="922" y="2167"/>
                  </a:lnTo>
                  <a:lnTo>
                    <a:pt x="914" y="2207"/>
                  </a:lnTo>
                  <a:lnTo>
                    <a:pt x="927" y="2221"/>
                  </a:lnTo>
                  <a:lnTo>
                    <a:pt x="911" y="2233"/>
                  </a:lnTo>
                  <a:lnTo>
                    <a:pt x="901" y="2271"/>
                  </a:lnTo>
                  <a:lnTo>
                    <a:pt x="925" y="2280"/>
                  </a:lnTo>
                  <a:lnTo>
                    <a:pt x="939" y="2320"/>
                  </a:lnTo>
                  <a:lnTo>
                    <a:pt x="973" y="2313"/>
                  </a:lnTo>
                  <a:lnTo>
                    <a:pt x="994" y="2339"/>
                  </a:lnTo>
                  <a:lnTo>
                    <a:pt x="1001" y="2385"/>
                  </a:lnTo>
                  <a:lnTo>
                    <a:pt x="977" y="2385"/>
                  </a:lnTo>
                  <a:lnTo>
                    <a:pt x="970" y="2397"/>
                  </a:lnTo>
                  <a:lnTo>
                    <a:pt x="1004" y="2418"/>
                  </a:lnTo>
                  <a:lnTo>
                    <a:pt x="987" y="2445"/>
                  </a:lnTo>
                  <a:lnTo>
                    <a:pt x="972" y="2447"/>
                  </a:lnTo>
                  <a:lnTo>
                    <a:pt x="964" y="2419"/>
                  </a:lnTo>
                  <a:lnTo>
                    <a:pt x="945" y="2414"/>
                  </a:lnTo>
                  <a:lnTo>
                    <a:pt x="953" y="2428"/>
                  </a:lnTo>
                  <a:lnTo>
                    <a:pt x="950" y="2455"/>
                  </a:lnTo>
                  <a:lnTo>
                    <a:pt x="944" y="2453"/>
                  </a:lnTo>
                  <a:lnTo>
                    <a:pt x="938" y="2484"/>
                  </a:lnTo>
                  <a:lnTo>
                    <a:pt x="910" y="2532"/>
                  </a:lnTo>
                  <a:lnTo>
                    <a:pt x="945" y="2589"/>
                  </a:lnTo>
                  <a:lnTo>
                    <a:pt x="952" y="2572"/>
                  </a:lnTo>
                  <a:lnTo>
                    <a:pt x="948" y="2623"/>
                  </a:lnTo>
                  <a:lnTo>
                    <a:pt x="989" y="2701"/>
                  </a:lnTo>
                  <a:lnTo>
                    <a:pt x="955" y="2736"/>
                  </a:lnTo>
                  <a:lnTo>
                    <a:pt x="935" y="2735"/>
                  </a:lnTo>
                  <a:lnTo>
                    <a:pt x="928" y="2714"/>
                  </a:lnTo>
                  <a:lnTo>
                    <a:pt x="894" y="2696"/>
                  </a:lnTo>
                  <a:lnTo>
                    <a:pt x="862" y="2676"/>
                  </a:lnTo>
                  <a:lnTo>
                    <a:pt x="862" y="2657"/>
                  </a:lnTo>
                  <a:lnTo>
                    <a:pt x="840" y="2645"/>
                  </a:lnTo>
                  <a:lnTo>
                    <a:pt x="783" y="2651"/>
                  </a:lnTo>
                  <a:lnTo>
                    <a:pt x="733" y="2614"/>
                  </a:lnTo>
                  <a:lnTo>
                    <a:pt x="678" y="2611"/>
                  </a:lnTo>
                  <a:lnTo>
                    <a:pt x="628" y="2591"/>
                  </a:lnTo>
                  <a:lnTo>
                    <a:pt x="594" y="2596"/>
                  </a:lnTo>
                  <a:lnTo>
                    <a:pt x="546" y="2554"/>
                  </a:lnTo>
                  <a:lnTo>
                    <a:pt x="481" y="2523"/>
                  </a:lnTo>
                  <a:lnTo>
                    <a:pt x="447" y="2489"/>
                  </a:lnTo>
                  <a:lnTo>
                    <a:pt x="458" y="2478"/>
                  </a:lnTo>
                  <a:lnTo>
                    <a:pt x="483" y="2478"/>
                  </a:lnTo>
                  <a:lnTo>
                    <a:pt x="508" y="2436"/>
                  </a:lnTo>
                  <a:lnTo>
                    <a:pt x="534" y="2431"/>
                  </a:lnTo>
                  <a:lnTo>
                    <a:pt x="500" y="2401"/>
                  </a:lnTo>
                  <a:lnTo>
                    <a:pt x="501" y="2393"/>
                  </a:lnTo>
                  <a:lnTo>
                    <a:pt x="535" y="2391"/>
                  </a:lnTo>
                  <a:lnTo>
                    <a:pt x="529" y="2380"/>
                  </a:lnTo>
                  <a:lnTo>
                    <a:pt x="572" y="2365"/>
                  </a:lnTo>
                  <a:lnTo>
                    <a:pt x="563" y="2354"/>
                  </a:lnTo>
                  <a:lnTo>
                    <a:pt x="520" y="2359"/>
                  </a:lnTo>
                  <a:lnTo>
                    <a:pt x="518" y="2339"/>
                  </a:lnTo>
                  <a:lnTo>
                    <a:pt x="551" y="2306"/>
                  </a:lnTo>
                  <a:lnTo>
                    <a:pt x="588" y="2311"/>
                  </a:lnTo>
                  <a:lnTo>
                    <a:pt x="596" y="2280"/>
                  </a:lnTo>
                  <a:lnTo>
                    <a:pt x="593" y="2264"/>
                  </a:lnTo>
                  <a:lnTo>
                    <a:pt x="586" y="2250"/>
                  </a:lnTo>
                  <a:lnTo>
                    <a:pt x="602" y="2240"/>
                  </a:lnTo>
                  <a:lnTo>
                    <a:pt x="588" y="2229"/>
                  </a:lnTo>
                  <a:lnTo>
                    <a:pt x="608" y="2212"/>
                  </a:lnTo>
                  <a:lnTo>
                    <a:pt x="601" y="2193"/>
                  </a:lnTo>
                  <a:lnTo>
                    <a:pt x="608" y="2190"/>
                  </a:lnTo>
                  <a:lnTo>
                    <a:pt x="525" y="2154"/>
                  </a:lnTo>
                  <a:lnTo>
                    <a:pt x="508" y="2161"/>
                  </a:lnTo>
                  <a:lnTo>
                    <a:pt x="479" y="2123"/>
                  </a:lnTo>
                  <a:lnTo>
                    <a:pt x="446" y="2137"/>
                  </a:lnTo>
                  <a:lnTo>
                    <a:pt x="398" y="2125"/>
                  </a:lnTo>
                  <a:lnTo>
                    <a:pt x="374" y="2069"/>
                  </a:lnTo>
                  <a:lnTo>
                    <a:pt x="336" y="2060"/>
                  </a:lnTo>
                  <a:lnTo>
                    <a:pt x="328" y="2035"/>
                  </a:lnTo>
                  <a:lnTo>
                    <a:pt x="342" y="2023"/>
                  </a:lnTo>
                  <a:lnTo>
                    <a:pt x="313" y="1986"/>
                  </a:lnTo>
                  <a:lnTo>
                    <a:pt x="223" y="2003"/>
                  </a:lnTo>
                  <a:lnTo>
                    <a:pt x="198" y="1927"/>
                  </a:lnTo>
                  <a:lnTo>
                    <a:pt x="212" y="1915"/>
                  </a:lnTo>
                  <a:lnTo>
                    <a:pt x="242" y="1925"/>
                  </a:lnTo>
                  <a:lnTo>
                    <a:pt x="268" y="1904"/>
                  </a:lnTo>
                  <a:lnTo>
                    <a:pt x="268" y="1891"/>
                  </a:lnTo>
                  <a:lnTo>
                    <a:pt x="246" y="1873"/>
                  </a:lnTo>
                  <a:lnTo>
                    <a:pt x="225" y="1876"/>
                  </a:lnTo>
                  <a:lnTo>
                    <a:pt x="221" y="1856"/>
                  </a:lnTo>
                  <a:lnTo>
                    <a:pt x="180" y="1797"/>
                  </a:lnTo>
                  <a:lnTo>
                    <a:pt x="187" y="1766"/>
                  </a:lnTo>
                  <a:lnTo>
                    <a:pt x="183" y="1732"/>
                  </a:lnTo>
                  <a:lnTo>
                    <a:pt x="158" y="1710"/>
                  </a:lnTo>
                  <a:lnTo>
                    <a:pt x="113" y="1723"/>
                  </a:lnTo>
                  <a:lnTo>
                    <a:pt x="115" y="1707"/>
                  </a:lnTo>
                  <a:lnTo>
                    <a:pt x="105" y="1698"/>
                  </a:lnTo>
                  <a:lnTo>
                    <a:pt x="59" y="1687"/>
                  </a:lnTo>
                  <a:lnTo>
                    <a:pt x="56" y="1653"/>
                  </a:lnTo>
                  <a:lnTo>
                    <a:pt x="32" y="1622"/>
                  </a:lnTo>
                  <a:lnTo>
                    <a:pt x="39" y="1590"/>
                  </a:lnTo>
                  <a:lnTo>
                    <a:pt x="20" y="1568"/>
                  </a:lnTo>
                  <a:lnTo>
                    <a:pt x="36" y="1541"/>
                  </a:lnTo>
                  <a:lnTo>
                    <a:pt x="0" y="1452"/>
                  </a:lnTo>
                  <a:lnTo>
                    <a:pt x="39" y="1438"/>
                  </a:lnTo>
                  <a:lnTo>
                    <a:pt x="57" y="1409"/>
                  </a:lnTo>
                  <a:lnTo>
                    <a:pt x="45" y="1396"/>
                  </a:lnTo>
                  <a:lnTo>
                    <a:pt x="47" y="1379"/>
                  </a:lnTo>
                  <a:lnTo>
                    <a:pt x="150" y="1362"/>
                  </a:lnTo>
                  <a:lnTo>
                    <a:pt x="130" y="1342"/>
                  </a:lnTo>
                  <a:lnTo>
                    <a:pt x="71" y="1326"/>
                  </a:lnTo>
                  <a:lnTo>
                    <a:pt x="68" y="1306"/>
                  </a:lnTo>
                  <a:lnTo>
                    <a:pt x="74" y="1314"/>
                  </a:lnTo>
                  <a:lnTo>
                    <a:pt x="76" y="1289"/>
                  </a:lnTo>
                  <a:lnTo>
                    <a:pt x="31" y="1304"/>
                  </a:lnTo>
                  <a:lnTo>
                    <a:pt x="135" y="1204"/>
                  </a:lnTo>
                  <a:lnTo>
                    <a:pt x="203" y="1098"/>
                  </a:lnTo>
                  <a:lnTo>
                    <a:pt x="204" y="1065"/>
                  </a:lnTo>
                  <a:lnTo>
                    <a:pt x="150" y="996"/>
                  </a:lnTo>
                  <a:lnTo>
                    <a:pt x="167" y="938"/>
                  </a:lnTo>
                  <a:lnTo>
                    <a:pt x="147" y="912"/>
                  </a:lnTo>
                  <a:lnTo>
                    <a:pt x="142" y="881"/>
                  </a:lnTo>
                  <a:lnTo>
                    <a:pt x="129" y="876"/>
                  </a:lnTo>
                  <a:lnTo>
                    <a:pt x="129" y="827"/>
                  </a:lnTo>
                  <a:lnTo>
                    <a:pt x="146" y="771"/>
                  </a:lnTo>
                  <a:lnTo>
                    <a:pt x="104" y="641"/>
                  </a:lnTo>
                  <a:lnTo>
                    <a:pt x="141" y="562"/>
                  </a:lnTo>
                  <a:lnTo>
                    <a:pt x="137" y="544"/>
                  </a:lnTo>
                  <a:lnTo>
                    <a:pt x="113" y="500"/>
                  </a:lnTo>
                  <a:lnTo>
                    <a:pt x="81" y="486"/>
                  </a:lnTo>
                  <a:lnTo>
                    <a:pt x="71" y="435"/>
                  </a:lnTo>
                  <a:lnTo>
                    <a:pt x="96" y="380"/>
                  </a:lnTo>
                  <a:lnTo>
                    <a:pt x="110" y="355"/>
                  </a:lnTo>
                  <a:lnTo>
                    <a:pt x="144" y="333"/>
                  </a:lnTo>
                  <a:lnTo>
                    <a:pt x="149" y="307"/>
                  </a:lnTo>
                  <a:lnTo>
                    <a:pt x="178" y="316"/>
                  </a:lnTo>
                  <a:lnTo>
                    <a:pt x="181" y="288"/>
                  </a:lnTo>
                  <a:lnTo>
                    <a:pt x="217" y="305"/>
                  </a:lnTo>
                  <a:lnTo>
                    <a:pt x="230" y="287"/>
                  </a:lnTo>
                  <a:lnTo>
                    <a:pt x="226" y="267"/>
                  </a:lnTo>
                  <a:lnTo>
                    <a:pt x="280" y="293"/>
                  </a:lnTo>
                  <a:lnTo>
                    <a:pt x="272" y="313"/>
                  </a:lnTo>
                  <a:lnTo>
                    <a:pt x="238" y="293"/>
                  </a:lnTo>
                  <a:lnTo>
                    <a:pt x="234" y="318"/>
                  </a:lnTo>
                  <a:lnTo>
                    <a:pt x="276" y="333"/>
                  </a:lnTo>
                  <a:lnTo>
                    <a:pt x="272" y="349"/>
                  </a:lnTo>
                  <a:lnTo>
                    <a:pt x="410" y="366"/>
                  </a:lnTo>
                  <a:lnTo>
                    <a:pt x="648" y="559"/>
                  </a:lnTo>
                  <a:lnTo>
                    <a:pt x="655" y="609"/>
                  </a:lnTo>
                  <a:lnTo>
                    <a:pt x="665" y="615"/>
                  </a:lnTo>
                  <a:lnTo>
                    <a:pt x="655" y="655"/>
                  </a:lnTo>
                  <a:lnTo>
                    <a:pt x="605" y="717"/>
                  </a:lnTo>
                  <a:lnTo>
                    <a:pt x="546" y="740"/>
                  </a:lnTo>
                  <a:lnTo>
                    <a:pt x="347" y="686"/>
                  </a:lnTo>
                  <a:lnTo>
                    <a:pt x="342" y="666"/>
                  </a:lnTo>
                  <a:lnTo>
                    <a:pt x="303" y="664"/>
                  </a:lnTo>
                  <a:lnTo>
                    <a:pt x="254" y="617"/>
                  </a:lnTo>
                  <a:lnTo>
                    <a:pt x="246" y="630"/>
                  </a:lnTo>
                  <a:lnTo>
                    <a:pt x="262" y="671"/>
                  </a:lnTo>
                  <a:lnTo>
                    <a:pt x="361" y="762"/>
                  </a:lnTo>
                  <a:lnTo>
                    <a:pt x="357" y="813"/>
                  </a:lnTo>
                  <a:lnTo>
                    <a:pt x="342" y="824"/>
                  </a:lnTo>
                  <a:lnTo>
                    <a:pt x="365" y="875"/>
                  </a:lnTo>
                  <a:lnTo>
                    <a:pt x="367" y="913"/>
                  </a:lnTo>
                  <a:lnTo>
                    <a:pt x="491" y="991"/>
                  </a:lnTo>
                  <a:lnTo>
                    <a:pt x="521" y="979"/>
                  </a:lnTo>
                  <a:lnTo>
                    <a:pt x="504" y="920"/>
                  </a:lnTo>
                  <a:lnTo>
                    <a:pt x="479" y="930"/>
                  </a:lnTo>
                  <a:lnTo>
                    <a:pt x="449" y="893"/>
                  </a:lnTo>
                  <a:lnTo>
                    <a:pt x="441" y="872"/>
                  </a:lnTo>
                  <a:lnTo>
                    <a:pt x="461" y="842"/>
                  </a:lnTo>
                  <a:lnTo>
                    <a:pt x="644" y="918"/>
                  </a:lnTo>
                  <a:lnTo>
                    <a:pt x="597" y="825"/>
                  </a:lnTo>
                  <a:lnTo>
                    <a:pt x="594" y="791"/>
                  </a:lnTo>
                  <a:lnTo>
                    <a:pt x="669" y="742"/>
                  </a:lnTo>
                  <a:lnTo>
                    <a:pt x="707" y="689"/>
                  </a:lnTo>
                  <a:lnTo>
                    <a:pt x="767" y="720"/>
                  </a:lnTo>
                  <a:lnTo>
                    <a:pt x="760" y="743"/>
                  </a:lnTo>
                  <a:lnTo>
                    <a:pt x="777" y="732"/>
                  </a:lnTo>
                  <a:lnTo>
                    <a:pt x="794" y="762"/>
                  </a:lnTo>
                  <a:lnTo>
                    <a:pt x="792" y="718"/>
                  </a:lnTo>
                  <a:lnTo>
                    <a:pt x="811" y="639"/>
                  </a:lnTo>
                  <a:lnTo>
                    <a:pt x="778" y="598"/>
                  </a:lnTo>
                  <a:lnTo>
                    <a:pt x="792" y="544"/>
                  </a:lnTo>
                  <a:lnTo>
                    <a:pt x="794" y="473"/>
                  </a:lnTo>
                  <a:lnTo>
                    <a:pt x="752" y="431"/>
                  </a:lnTo>
                  <a:lnTo>
                    <a:pt x="865" y="456"/>
                  </a:lnTo>
                  <a:lnTo>
                    <a:pt x="897" y="491"/>
                  </a:lnTo>
                  <a:lnTo>
                    <a:pt x="910" y="536"/>
                  </a:lnTo>
                  <a:lnTo>
                    <a:pt x="831" y="571"/>
                  </a:lnTo>
                  <a:lnTo>
                    <a:pt x="877" y="650"/>
                  </a:lnTo>
                  <a:lnTo>
                    <a:pt x="902" y="650"/>
                  </a:lnTo>
                  <a:lnTo>
                    <a:pt x="908" y="674"/>
                  </a:lnTo>
                  <a:lnTo>
                    <a:pt x="958" y="634"/>
                  </a:lnTo>
                  <a:lnTo>
                    <a:pt x="972" y="564"/>
                  </a:lnTo>
                  <a:lnTo>
                    <a:pt x="1137" y="456"/>
                  </a:lnTo>
                  <a:lnTo>
                    <a:pt x="1176" y="469"/>
                  </a:lnTo>
                  <a:lnTo>
                    <a:pt x="1184" y="448"/>
                  </a:lnTo>
                  <a:lnTo>
                    <a:pt x="1173" y="443"/>
                  </a:lnTo>
                  <a:lnTo>
                    <a:pt x="1193" y="420"/>
                  </a:lnTo>
                  <a:lnTo>
                    <a:pt x="1214" y="435"/>
                  </a:lnTo>
                  <a:lnTo>
                    <a:pt x="1211" y="417"/>
                  </a:lnTo>
                  <a:lnTo>
                    <a:pt x="1219" y="403"/>
                  </a:lnTo>
                  <a:lnTo>
                    <a:pt x="1270" y="390"/>
                  </a:lnTo>
                  <a:lnTo>
                    <a:pt x="1250" y="415"/>
                  </a:lnTo>
                  <a:lnTo>
                    <a:pt x="1241" y="441"/>
                  </a:lnTo>
                  <a:lnTo>
                    <a:pt x="1247" y="474"/>
                  </a:lnTo>
                  <a:lnTo>
                    <a:pt x="1256" y="488"/>
                  </a:lnTo>
                  <a:lnTo>
                    <a:pt x="1287" y="495"/>
                  </a:lnTo>
                  <a:lnTo>
                    <a:pt x="1293" y="461"/>
                  </a:lnTo>
                  <a:lnTo>
                    <a:pt x="1314" y="446"/>
                  </a:lnTo>
                  <a:lnTo>
                    <a:pt x="1402" y="448"/>
                  </a:lnTo>
                  <a:lnTo>
                    <a:pt x="1439" y="401"/>
                  </a:lnTo>
                  <a:lnTo>
                    <a:pt x="1482" y="390"/>
                  </a:lnTo>
                  <a:lnTo>
                    <a:pt x="1499" y="424"/>
                  </a:lnTo>
                  <a:lnTo>
                    <a:pt x="1484" y="457"/>
                  </a:lnTo>
                  <a:lnTo>
                    <a:pt x="1504" y="473"/>
                  </a:lnTo>
                  <a:lnTo>
                    <a:pt x="1522" y="454"/>
                  </a:lnTo>
                  <a:lnTo>
                    <a:pt x="1519" y="427"/>
                  </a:lnTo>
                  <a:lnTo>
                    <a:pt x="1563" y="401"/>
                  </a:lnTo>
                  <a:lnTo>
                    <a:pt x="1563" y="376"/>
                  </a:lnTo>
                  <a:lnTo>
                    <a:pt x="1539" y="307"/>
                  </a:lnTo>
                  <a:lnTo>
                    <a:pt x="1561" y="282"/>
                  </a:lnTo>
                  <a:lnTo>
                    <a:pt x="1714" y="321"/>
                  </a:lnTo>
                  <a:lnTo>
                    <a:pt x="1849" y="414"/>
                  </a:lnTo>
                  <a:lnTo>
                    <a:pt x="1905" y="486"/>
                  </a:lnTo>
                  <a:lnTo>
                    <a:pt x="1944" y="407"/>
                  </a:lnTo>
                  <a:lnTo>
                    <a:pt x="1915" y="390"/>
                  </a:lnTo>
                  <a:lnTo>
                    <a:pt x="1898" y="322"/>
                  </a:lnTo>
                  <a:lnTo>
                    <a:pt x="1841" y="307"/>
                  </a:lnTo>
                  <a:lnTo>
                    <a:pt x="1842" y="251"/>
                  </a:lnTo>
                  <a:lnTo>
                    <a:pt x="1861" y="246"/>
                  </a:lnTo>
                  <a:lnTo>
                    <a:pt x="1855" y="217"/>
                  </a:lnTo>
                  <a:lnTo>
                    <a:pt x="1866" y="160"/>
                  </a:lnTo>
                  <a:lnTo>
                    <a:pt x="1824" y="146"/>
                  </a:lnTo>
                  <a:lnTo>
                    <a:pt x="1847" y="112"/>
                  </a:lnTo>
                  <a:lnTo>
                    <a:pt x="1832" y="112"/>
                  </a:lnTo>
                  <a:lnTo>
                    <a:pt x="1838" y="81"/>
                  </a:lnTo>
                  <a:lnTo>
                    <a:pt x="1910" y="4"/>
                  </a:lnTo>
                  <a:lnTo>
                    <a:pt x="1911" y="0"/>
                  </a:lnTo>
                  <a:close/>
                  <a:moveTo>
                    <a:pt x="5869" y="2244"/>
                  </a:moveTo>
                  <a:lnTo>
                    <a:pt x="5865" y="2254"/>
                  </a:lnTo>
                  <a:lnTo>
                    <a:pt x="5869" y="2250"/>
                  </a:lnTo>
                  <a:lnTo>
                    <a:pt x="5869" y="2244"/>
                  </a:lnTo>
                  <a:close/>
                  <a:moveTo>
                    <a:pt x="5897" y="2191"/>
                  </a:moveTo>
                  <a:lnTo>
                    <a:pt x="5886" y="2215"/>
                  </a:lnTo>
                  <a:lnTo>
                    <a:pt x="5893" y="2212"/>
                  </a:lnTo>
                  <a:lnTo>
                    <a:pt x="5897" y="2191"/>
                  </a:lnTo>
                  <a:close/>
                  <a:moveTo>
                    <a:pt x="5956" y="2114"/>
                  </a:moveTo>
                  <a:lnTo>
                    <a:pt x="5940" y="2136"/>
                  </a:lnTo>
                  <a:lnTo>
                    <a:pt x="5922" y="2145"/>
                  </a:lnTo>
                  <a:lnTo>
                    <a:pt x="5919" y="2162"/>
                  </a:lnTo>
                  <a:lnTo>
                    <a:pt x="5953" y="2142"/>
                  </a:lnTo>
                  <a:lnTo>
                    <a:pt x="5961" y="2128"/>
                  </a:lnTo>
                  <a:lnTo>
                    <a:pt x="5956" y="2114"/>
                  </a:lnTo>
                  <a:close/>
                  <a:moveTo>
                    <a:pt x="5976" y="2106"/>
                  </a:moveTo>
                  <a:lnTo>
                    <a:pt x="5964" y="2120"/>
                  </a:lnTo>
                  <a:lnTo>
                    <a:pt x="5976" y="2106"/>
                  </a:lnTo>
                  <a:close/>
                  <a:moveTo>
                    <a:pt x="6472" y="1798"/>
                  </a:moveTo>
                  <a:lnTo>
                    <a:pt x="6499" y="1825"/>
                  </a:lnTo>
                  <a:lnTo>
                    <a:pt x="6479" y="1814"/>
                  </a:lnTo>
                  <a:lnTo>
                    <a:pt x="6472" y="1798"/>
                  </a:lnTo>
                  <a:close/>
                  <a:moveTo>
                    <a:pt x="6411" y="1763"/>
                  </a:moveTo>
                  <a:lnTo>
                    <a:pt x="6422" y="1765"/>
                  </a:lnTo>
                  <a:lnTo>
                    <a:pt x="6425" y="1785"/>
                  </a:lnTo>
                  <a:lnTo>
                    <a:pt x="6440" y="1812"/>
                  </a:lnTo>
                  <a:lnTo>
                    <a:pt x="6422" y="1800"/>
                  </a:lnTo>
                  <a:lnTo>
                    <a:pt x="6405" y="1766"/>
                  </a:lnTo>
                  <a:lnTo>
                    <a:pt x="6411" y="1763"/>
                  </a:lnTo>
                  <a:close/>
                  <a:moveTo>
                    <a:pt x="5091" y="1802"/>
                  </a:moveTo>
                  <a:lnTo>
                    <a:pt x="5088" y="1811"/>
                  </a:lnTo>
                  <a:lnTo>
                    <a:pt x="5097" y="1808"/>
                  </a:lnTo>
                  <a:lnTo>
                    <a:pt x="5109" y="1819"/>
                  </a:lnTo>
                  <a:lnTo>
                    <a:pt x="5114" y="1814"/>
                  </a:lnTo>
                  <a:lnTo>
                    <a:pt x="5130" y="1786"/>
                  </a:lnTo>
                  <a:lnTo>
                    <a:pt x="5125" y="1782"/>
                  </a:lnTo>
                  <a:lnTo>
                    <a:pt x="5111" y="1771"/>
                  </a:lnTo>
                  <a:lnTo>
                    <a:pt x="5104" y="1774"/>
                  </a:lnTo>
                  <a:lnTo>
                    <a:pt x="5091" y="1802"/>
                  </a:lnTo>
                  <a:close/>
                  <a:moveTo>
                    <a:pt x="5334" y="1840"/>
                  </a:moveTo>
                  <a:lnTo>
                    <a:pt x="5343" y="1840"/>
                  </a:lnTo>
                  <a:lnTo>
                    <a:pt x="5350" y="1856"/>
                  </a:lnTo>
                  <a:lnTo>
                    <a:pt x="5351" y="1888"/>
                  </a:lnTo>
                  <a:lnTo>
                    <a:pt x="5368" y="1959"/>
                  </a:lnTo>
                  <a:lnTo>
                    <a:pt x="5366" y="1995"/>
                  </a:lnTo>
                  <a:lnTo>
                    <a:pt x="5360" y="2000"/>
                  </a:lnTo>
                  <a:lnTo>
                    <a:pt x="5365" y="2054"/>
                  </a:lnTo>
                  <a:lnTo>
                    <a:pt x="5374" y="2066"/>
                  </a:lnTo>
                  <a:lnTo>
                    <a:pt x="5385" y="2110"/>
                  </a:lnTo>
                  <a:lnTo>
                    <a:pt x="5399" y="2161"/>
                  </a:lnTo>
                  <a:lnTo>
                    <a:pt x="5413" y="2212"/>
                  </a:lnTo>
                  <a:lnTo>
                    <a:pt x="5434" y="2255"/>
                  </a:lnTo>
                  <a:lnTo>
                    <a:pt x="5416" y="2229"/>
                  </a:lnTo>
                  <a:lnTo>
                    <a:pt x="5391" y="2215"/>
                  </a:lnTo>
                  <a:lnTo>
                    <a:pt x="5368" y="2213"/>
                  </a:lnTo>
                  <a:lnTo>
                    <a:pt x="5359" y="2221"/>
                  </a:lnTo>
                  <a:lnTo>
                    <a:pt x="5337" y="2300"/>
                  </a:lnTo>
                  <a:lnTo>
                    <a:pt x="5336" y="2330"/>
                  </a:lnTo>
                  <a:lnTo>
                    <a:pt x="5356" y="2360"/>
                  </a:lnTo>
                  <a:lnTo>
                    <a:pt x="5362" y="2379"/>
                  </a:lnTo>
                  <a:lnTo>
                    <a:pt x="5379" y="2391"/>
                  </a:lnTo>
                  <a:lnTo>
                    <a:pt x="5382" y="2427"/>
                  </a:lnTo>
                  <a:lnTo>
                    <a:pt x="5377" y="2436"/>
                  </a:lnTo>
                  <a:lnTo>
                    <a:pt x="5370" y="2405"/>
                  </a:lnTo>
                  <a:lnTo>
                    <a:pt x="5337" y="2394"/>
                  </a:lnTo>
                  <a:lnTo>
                    <a:pt x="5329" y="2402"/>
                  </a:lnTo>
                  <a:lnTo>
                    <a:pt x="5317" y="2444"/>
                  </a:lnTo>
                  <a:lnTo>
                    <a:pt x="5308" y="2438"/>
                  </a:lnTo>
                  <a:lnTo>
                    <a:pt x="5303" y="2396"/>
                  </a:lnTo>
                  <a:lnTo>
                    <a:pt x="5312" y="2313"/>
                  </a:lnTo>
                  <a:lnTo>
                    <a:pt x="5317" y="2303"/>
                  </a:lnTo>
                  <a:lnTo>
                    <a:pt x="5306" y="2257"/>
                  </a:lnTo>
                  <a:lnTo>
                    <a:pt x="5317" y="2167"/>
                  </a:lnTo>
                  <a:lnTo>
                    <a:pt x="5312" y="2114"/>
                  </a:lnTo>
                  <a:lnTo>
                    <a:pt x="5316" y="2076"/>
                  </a:lnTo>
                  <a:lnTo>
                    <a:pt x="5309" y="2057"/>
                  </a:lnTo>
                  <a:lnTo>
                    <a:pt x="5295" y="2042"/>
                  </a:lnTo>
                  <a:lnTo>
                    <a:pt x="5291" y="1997"/>
                  </a:lnTo>
                  <a:lnTo>
                    <a:pt x="5299" y="1972"/>
                  </a:lnTo>
                  <a:lnTo>
                    <a:pt x="5299" y="1919"/>
                  </a:lnTo>
                  <a:lnTo>
                    <a:pt x="5302" y="1908"/>
                  </a:lnTo>
                  <a:lnTo>
                    <a:pt x="5333" y="1910"/>
                  </a:lnTo>
                  <a:lnTo>
                    <a:pt x="5334" y="1893"/>
                  </a:lnTo>
                  <a:lnTo>
                    <a:pt x="5342" y="1891"/>
                  </a:lnTo>
                  <a:lnTo>
                    <a:pt x="5323" y="1846"/>
                  </a:lnTo>
                  <a:lnTo>
                    <a:pt x="5334" y="1840"/>
                  </a:lnTo>
                  <a:close/>
                  <a:moveTo>
                    <a:pt x="5498" y="2541"/>
                  </a:moveTo>
                  <a:lnTo>
                    <a:pt x="5509" y="2552"/>
                  </a:lnTo>
                  <a:lnTo>
                    <a:pt x="5472" y="2591"/>
                  </a:lnTo>
                  <a:lnTo>
                    <a:pt x="5468" y="2582"/>
                  </a:lnTo>
                  <a:lnTo>
                    <a:pt x="5498" y="2541"/>
                  </a:lnTo>
                  <a:close/>
                  <a:moveTo>
                    <a:pt x="5532" y="2579"/>
                  </a:moveTo>
                  <a:lnTo>
                    <a:pt x="5535" y="2580"/>
                  </a:lnTo>
                  <a:lnTo>
                    <a:pt x="5532" y="2583"/>
                  </a:lnTo>
                  <a:lnTo>
                    <a:pt x="5521" y="2586"/>
                  </a:lnTo>
                  <a:lnTo>
                    <a:pt x="5532" y="2579"/>
                  </a:lnTo>
                  <a:close/>
                  <a:moveTo>
                    <a:pt x="5625" y="2481"/>
                  </a:moveTo>
                  <a:lnTo>
                    <a:pt x="5578" y="2509"/>
                  </a:lnTo>
                  <a:lnTo>
                    <a:pt x="5546" y="2541"/>
                  </a:lnTo>
                  <a:lnTo>
                    <a:pt x="5540" y="2541"/>
                  </a:lnTo>
                  <a:lnTo>
                    <a:pt x="5549" y="2521"/>
                  </a:lnTo>
                  <a:lnTo>
                    <a:pt x="5580" y="2487"/>
                  </a:lnTo>
                  <a:lnTo>
                    <a:pt x="5597" y="2489"/>
                  </a:lnTo>
                  <a:lnTo>
                    <a:pt x="5622" y="2472"/>
                  </a:lnTo>
                  <a:lnTo>
                    <a:pt x="5625" y="2481"/>
                  </a:lnTo>
                  <a:close/>
                  <a:moveTo>
                    <a:pt x="6337" y="1435"/>
                  </a:moveTo>
                  <a:lnTo>
                    <a:pt x="6303" y="1453"/>
                  </a:lnTo>
                  <a:lnTo>
                    <a:pt x="6291" y="1498"/>
                  </a:lnTo>
                  <a:lnTo>
                    <a:pt x="6299" y="1498"/>
                  </a:lnTo>
                  <a:lnTo>
                    <a:pt x="6349" y="1455"/>
                  </a:lnTo>
                  <a:lnTo>
                    <a:pt x="6344" y="1433"/>
                  </a:lnTo>
                  <a:lnTo>
                    <a:pt x="6337" y="1435"/>
                  </a:lnTo>
                  <a:close/>
                  <a:moveTo>
                    <a:pt x="5122" y="43"/>
                  </a:moveTo>
                  <a:lnTo>
                    <a:pt x="5150" y="24"/>
                  </a:lnTo>
                  <a:lnTo>
                    <a:pt x="5165" y="48"/>
                  </a:lnTo>
                  <a:lnTo>
                    <a:pt x="5147" y="70"/>
                  </a:lnTo>
                  <a:lnTo>
                    <a:pt x="5125" y="72"/>
                  </a:lnTo>
                  <a:lnTo>
                    <a:pt x="5116" y="69"/>
                  </a:lnTo>
                  <a:lnTo>
                    <a:pt x="5122" y="43"/>
                  </a:lnTo>
                  <a:close/>
                  <a:moveTo>
                    <a:pt x="1468" y="262"/>
                  </a:moveTo>
                  <a:lnTo>
                    <a:pt x="1456" y="228"/>
                  </a:lnTo>
                  <a:lnTo>
                    <a:pt x="1471" y="229"/>
                  </a:lnTo>
                  <a:lnTo>
                    <a:pt x="1459" y="219"/>
                  </a:lnTo>
                  <a:lnTo>
                    <a:pt x="1478" y="197"/>
                  </a:lnTo>
                  <a:lnTo>
                    <a:pt x="1549" y="288"/>
                  </a:lnTo>
                  <a:lnTo>
                    <a:pt x="1543" y="301"/>
                  </a:lnTo>
                  <a:lnTo>
                    <a:pt x="1518" y="301"/>
                  </a:lnTo>
                  <a:lnTo>
                    <a:pt x="1478" y="268"/>
                  </a:lnTo>
                  <a:lnTo>
                    <a:pt x="1487" y="292"/>
                  </a:lnTo>
                  <a:lnTo>
                    <a:pt x="1468" y="262"/>
                  </a:lnTo>
                  <a:close/>
                  <a:moveTo>
                    <a:pt x="1168" y="76"/>
                  </a:moveTo>
                  <a:lnTo>
                    <a:pt x="1199" y="75"/>
                  </a:lnTo>
                  <a:lnTo>
                    <a:pt x="1209" y="92"/>
                  </a:lnTo>
                  <a:lnTo>
                    <a:pt x="1209" y="132"/>
                  </a:lnTo>
                  <a:lnTo>
                    <a:pt x="1188" y="89"/>
                  </a:lnTo>
                  <a:lnTo>
                    <a:pt x="1168" y="76"/>
                  </a:lnTo>
                  <a:close/>
                  <a:moveTo>
                    <a:pt x="1132" y="0"/>
                  </a:moveTo>
                  <a:lnTo>
                    <a:pt x="1316" y="0"/>
                  </a:lnTo>
                  <a:lnTo>
                    <a:pt x="1323" y="39"/>
                  </a:lnTo>
                  <a:lnTo>
                    <a:pt x="1344" y="92"/>
                  </a:lnTo>
                  <a:lnTo>
                    <a:pt x="1414" y="158"/>
                  </a:lnTo>
                  <a:lnTo>
                    <a:pt x="1399" y="178"/>
                  </a:lnTo>
                  <a:lnTo>
                    <a:pt x="1391" y="189"/>
                  </a:lnTo>
                  <a:lnTo>
                    <a:pt x="1366" y="166"/>
                  </a:lnTo>
                  <a:lnTo>
                    <a:pt x="1369" y="157"/>
                  </a:lnTo>
                  <a:lnTo>
                    <a:pt x="1349" y="165"/>
                  </a:lnTo>
                  <a:lnTo>
                    <a:pt x="1361" y="178"/>
                  </a:lnTo>
                  <a:lnTo>
                    <a:pt x="1314" y="161"/>
                  </a:lnTo>
                  <a:lnTo>
                    <a:pt x="1301" y="180"/>
                  </a:lnTo>
                  <a:lnTo>
                    <a:pt x="1280" y="158"/>
                  </a:lnTo>
                  <a:lnTo>
                    <a:pt x="1236" y="149"/>
                  </a:lnTo>
                  <a:lnTo>
                    <a:pt x="1231" y="118"/>
                  </a:lnTo>
                  <a:lnTo>
                    <a:pt x="1261" y="107"/>
                  </a:lnTo>
                  <a:lnTo>
                    <a:pt x="1226" y="87"/>
                  </a:lnTo>
                  <a:lnTo>
                    <a:pt x="1247" y="53"/>
                  </a:lnTo>
                  <a:lnTo>
                    <a:pt x="1221" y="81"/>
                  </a:lnTo>
                  <a:lnTo>
                    <a:pt x="1221" y="43"/>
                  </a:lnTo>
                  <a:lnTo>
                    <a:pt x="1194" y="58"/>
                  </a:lnTo>
                  <a:lnTo>
                    <a:pt x="1190" y="35"/>
                  </a:lnTo>
                  <a:lnTo>
                    <a:pt x="1184" y="30"/>
                  </a:lnTo>
                  <a:lnTo>
                    <a:pt x="1177" y="52"/>
                  </a:lnTo>
                  <a:lnTo>
                    <a:pt x="1171" y="39"/>
                  </a:lnTo>
                  <a:lnTo>
                    <a:pt x="1156" y="53"/>
                  </a:lnTo>
                  <a:lnTo>
                    <a:pt x="1137" y="39"/>
                  </a:lnTo>
                  <a:lnTo>
                    <a:pt x="1131" y="10"/>
                  </a:lnTo>
                  <a:lnTo>
                    <a:pt x="1132" y="0"/>
                  </a:lnTo>
                  <a:close/>
                  <a:moveTo>
                    <a:pt x="1001" y="329"/>
                  </a:moveTo>
                  <a:lnTo>
                    <a:pt x="1024" y="322"/>
                  </a:lnTo>
                  <a:lnTo>
                    <a:pt x="1063" y="366"/>
                  </a:lnTo>
                  <a:lnTo>
                    <a:pt x="1066" y="352"/>
                  </a:lnTo>
                  <a:lnTo>
                    <a:pt x="1077" y="376"/>
                  </a:lnTo>
                  <a:lnTo>
                    <a:pt x="1075" y="389"/>
                  </a:lnTo>
                  <a:lnTo>
                    <a:pt x="1070" y="375"/>
                  </a:lnTo>
                  <a:lnTo>
                    <a:pt x="1043" y="410"/>
                  </a:lnTo>
                  <a:lnTo>
                    <a:pt x="1016" y="426"/>
                  </a:lnTo>
                  <a:lnTo>
                    <a:pt x="1001" y="429"/>
                  </a:lnTo>
                  <a:lnTo>
                    <a:pt x="984" y="410"/>
                  </a:lnTo>
                  <a:lnTo>
                    <a:pt x="986" y="427"/>
                  </a:lnTo>
                  <a:lnTo>
                    <a:pt x="977" y="410"/>
                  </a:lnTo>
                  <a:lnTo>
                    <a:pt x="981" y="370"/>
                  </a:lnTo>
                  <a:lnTo>
                    <a:pt x="1001" y="329"/>
                  </a:lnTo>
                  <a:close/>
                  <a:moveTo>
                    <a:pt x="2552" y="202"/>
                  </a:moveTo>
                  <a:lnTo>
                    <a:pt x="2564" y="185"/>
                  </a:lnTo>
                  <a:lnTo>
                    <a:pt x="2576" y="222"/>
                  </a:lnTo>
                  <a:lnTo>
                    <a:pt x="2562" y="231"/>
                  </a:lnTo>
                  <a:lnTo>
                    <a:pt x="2552" y="202"/>
                  </a:lnTo>
                  <a:close/>
                  <a:moveTo>
                    <a:pt x="7058" y="121"/>
                  </a:moveTo>
                  <a:lnTo>
                    <a:pt x="7002" y="143"/>
                  </a:lnTo>
                  <a:lnTo>
                    <a:pt x="6988" y="114"/>
                  </a:lnTo>
                  <a:lnTo>
                    <a:pt x="7023" y="65"/>
                  </a:lnTo>
                  <a:lnTo>
                    <a:pt x="7057" y="42"/>
                  </a:lnTo>
                  <a:lnTo>
                    <a:pt x="7057" y="41"/>
                  </a:lnTo>
                  <a:lnTo>
                    <a:pt x="7057" y="39"/>
                  </a:lnTo>
                  <a:lnTo>
                    <a:pt x="7101" y="36"/>
                  </a:lnTo>
                  <a:lnTo>
                    <a:pt x="7141" y="53"/>
                  </a:lnTo>
                  <a:lnTo>
                    <a:pt x="7169" y="92"/>
                  </a:lnTo>
                  <a:lnTo>
                    <a:pt x="7098" y="131"/>
                  </a:lnTo>
                  <a:lnTo>
                    <a:pt x="7058" y="121"/>
                  </a:lnTo>
                  <a:close/>
                  <a:moveTo>
                    <a:pt x="6510" y="256"/>
                  </a:moveTo>
                  <a:lnTo>
                    <a:pt x="6527" y="253"/>
                  </a:lnTo>
                  <a:lnTo>
                    <a:pt x="6567" y="285"/>
                  </a:lnTo>
                  <a:lnTo>
                    <a:pt x="6561" y="316"/>
                  </a:lnTo>
                  <a:lnTo>
                    <a:pt x="6530" y="310"/>
                  </a:lnTo>
                  <a:lnTo>
                    <a:pt x="6496" y="271"/>
                  </a:lnTo>
                  <a:lnTo>
                    <a:pt x="6510" y="256"/>
                  </a:lnTo>
                  <a:close/>
                  <a:moveTo>
                    <a:pt x="7526" y="1065"/>
                  </a:moveTo>
                  <a:lnTo>
                    <a:pt x="7482" y="1033"/>
                  </a:lnTo>
                  <a:lnTo>
                    <a:pt x="7441" y="1034"/>
                  </a:lnTo>
                  <a:lnTo>
                    <a:pt x="7429" y="1018"/>
                  </a:lnTo>
                  <a:lnTo>
                    <a:pt x="7435" y="988"/>
                  </a:lnTo>
                  <a:lnTo>
                    <a:pt x="7472" y="1008"/>
                  </a:lnTo>
                  <a:lnTo>
                    <a:pt x="7504" y="1000"/>
                  </a:lnTo>
                  <a:lnTo>
                    <a:pt x="7540" y="1033"/>
                  </a:lnTo>
                  <a:lnTo>
                    <a:pt x="7540" y="1064"/>
                  </a:lnTo>
                  <a:lnTo>
                    <a:pt x="7526" y="1065"/>
                  </a:lnTo>
                  <a:close/>
                  <a:moveTo>
                    <a:pt x="5780" y="2363"/>
                  </a:moveTo>
                  <a:lnTo>
                    <a:pt x="5770" y="2382"/>
                  </a:lnTo>
                  <a:lnTo>
                    <a:pt x="5758" y="2385"/>
                  </a:lnTo>
                  <a:lnTo>
                    <a:pt x="5780" y="2363"/>
                  </a:lnTo>
                  <a:close/>
                  <a:moveTo>
                    <a:pt x="5700" y="2430"/>
                  </a:moveTo>
                  <a:lnTo>
                    <a:pt x="5676" y="2456"/>
                  </a:lnTo>
                  <a:lnTo>
                    <a:pt x="5657" y="2467"/>
                  </a:lnTo>
                  <a:lnTo>
                    <a:pt x="5659" y="2459"/>
                  </a:lnTo>
                  <a:lnTo>
                    <a:pt x="5678" y="2438"/>
                  </a:lnTo>
                  <a:lnTo>
                    <a:pt x="5695" y="2425"/>
                  </a:lnTo>
                  <a:lnTo>
                    <a:pt x="5700" y="243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437" name="Freeform 164">
              <a:extLst>
                <a:ext uri="{FF2B5EF4-FFF2-40B4-BE49-F238E27FC236}">
                  <a16:creationId xmlns:a16="http://schemas.microsoft.com/office/drawing/2014/main" id="{C38ABA4D-C99C-D04F-9B3F-0865942727EB}"/>
                </a:ext>
              </a:extLst>
            </p:cNvPr>
            <p:cNvSpPr>
              <a:spLocks noChangeAspect="1" noEditPoints="1"/>
            </p:cNvSpPr>
            <p:nvPr/>
          </p:nvSpPr>
          <p:spPr bwMode="gray">
            <a:xfrm>
              <a:off x="1831673" y="2730537"/>
              <a:ext cx="1301516" cy="852469"/>
            </a:xfrm>
            <a:custGeom>
              <a:avLst/>
              <a:gdLst>
                <a:gd name="T0" fmla="*/ 2491 w 2669"/>
                <a:gd name="T1" fmla="*/ 265 h 1448"/>
                <a:gd name="T2" fmla="*/ 2600 w 2669"/>
                <a:gd name="T3" fmla="*/ 141 h 1448"/>
                <a:gd name="T4" fmla="*/ 2655 w 2669"/>
                <a:gd name="T5" fmla="*/ 305 h 1448"/>
                <a:gd name="T6" fmla="*/ 2545 w 2669"/>
                <a:gd name="T7" fmla="*/ 368 h 1448"/>
                <a:gd name="T8" fmla="*/ 2490 w 2669"/>
                <a:gd name="T9" fmla="*/ 475 h 1448"/>
                <a:gd name="T10" fmla="*/ 2491 w 2669"/>
                <a:gd name="T11" fmla="*/ 506 h 1448"/>
                <a:gd name="T12" fmla="*/ 2327 w 2669"/>
                <a:gd name="T13" fmla="*/ 575 h 1448"/>
                <a:gd name="T14" fmla="*/ 2262 w 2669"/>
                <a:gd name="T15" fmla="*/ 630 h 1448"/>
                <a:gd name="T16" fmla="*/ 2244 w 2669"/>
                <a:gd name="T17" fmla="*/ 756 h 1448"/>
                <a:gd name="T18" fmla="*/ 2237 w 2669"/>
                <a:gd name="T19" fmla="*/ 663 h 1448"/>
                <a:gd name="T20" fmla="*/ 2186 w 2669"/>
                <a:gd name="T21" fmla="*/ 697 h 1448"/>
                <a:gd name="T22" fmla="*/ 2220 w 2669"/>
                <a:gd name="T23" fmla="*/ 785 h 1448"/>
                <a:gd name="T24" fmla="*/ 2216 w 2669"/>
                <a:gd name="T25" fmla="*/ 846 h 1448"/>
                <a:gd name="T26" fmla="*/ 2224 w 2669"/>
                <a:gd name="T27" fmla="*/ 882 h 1448"/>
                <a:gd name="T28" fmla="*/ 2095 w 2669"/>
                <a:gd name="T29" fmla="*/ 989 h 1448"/>
                <a:gd name="T30" fmla="*/ 1988 w 2669"/>
                <a:gd name="T31" fmla="*/ 1117 h 1448"/>
                <a:gd name="T32" fmla="*/ 2034 w 2669"/>
                <a:gd name="T33" fmla="*/ 1413 h 1448"/>
                <a:gd name="T34" fmla="*/ 1953 w 2669"/>
                <a:gd name="T35" fmla="*/ 1329 h 1448"/>
                <a:gd name="T36" fmla="*/ 1899 w 2669"/>
                <a:gd name="T37" fmla="*/ 1184 h 1448"/>
                <a:gd name="T38" fmla="*/ 1729 w 2669"/>
                <a:gd name="T39" fmla="*/ 1145 h 1448"/>
                <a:gd name="T40" fmla="*/ 1578 w 2669"/>
                <a:gd name="T41" fmla="*/ 1150 h 1448"/>
                <a:gd name="T42" fmla="*/ 1636 w 2669"/>
                <a:gd name="T43" fmla="*/ 1212 h 1448"/>
                <a:gd name="T44" fmla="*/ 1541 w 2669"/>
                <a:gd name="T45" fmla="*/ 1207 h 1448"/>
                <a:gd name="T46" fmla="*/ 1377 w 2669"/>
                <a:gd name="T47" fmla="*/ 1196 h 1448"/>
                <a:gd name="T48" fmla="*/ 1316 w 2669"/>
                <a:gd name="T49" fmla="*/ 1252 h 1448"/>
                <a:gd name="T50" fmla="*/ 1283 w 2669"/>
                <a:gd name="T51" fmla="*/ 1266 h 1448"/>
                <a:gd name="T52" fmla="*/ 1257 w 2669"/>
                <a:gd name="T53" fmla="*/ 1340 h 1448"/>
                <a:gd name="T54" fmla="*/ 1138 w 2669"/>
                <a:gd name="T55" fmla="*/ 1283 h 1448"/>
                <a:gd name="T56" fmla="*/ 932 w 2669"/>
                <a:gd name="T57" fmla="*/ 1193 h 1448"/>
                <a:gd name="T58" fmla="*/ 754 w 2669"/>
                <a:gd name="T59" fmla="*/ 1096 h 1448"/>
                <a:gd name="T60" fmla="*/ 349 w 2669"/>
                <a:gd name="T61" fmla="*/ 1034 h 1448"/>
                <a:gd name="T62" fmla="*/ 194 w 2669"/>
                <a:gd name="T63" fmla="*/ 922 h 1448"/>
                <a:gd name="T64" fmla="*/ 110 w 2669"/>
                <a:gd name="T65" fmla="*/ 775 h 1448"/>
                <a:gd name="T66" fmla="*/ 51 w 2669"/>
                <a:gd name="T67" fmla="*/ 675 h 1448"/>
                <a:gd name="T68" fmla="*/ 16 w 2669"/>
                <a:gd name="T69" fmla="*/ 407 h 1448"/>
                <a:gd name="T70" fmla="*/ 39 w 2669"/>
                <a:gd name="T71" fmla="*/ 198 h 1448"/>
                <a:gd name="T72" fmla="*/ 39 w 2669"/>
                <a:gd name="T73" fmla="*/ 81 h 1448"/>
                <a:gd name="T74" fmla="*/ 110 w 2669"/>
                <a:gd name="T75" fmla="*/ 99 h 1448"/>
                <a:gd name="T76" fmla="*/ 232 w 2669"/>
                <a:gd name="T77" fmla="*/ 28 h 1448"/>
                <a:gd name="T78" fmla="*/ 814 w 2669"/>
                <a:gd name="T79" fmla="*/ 30 h 1448"/>
                <a:gd name="T80" fmla="*/ 1368 w 2669"/>
                <a:gd name="T81" fmla="*/ 1 h 1448"/>
                <a:gd name="T82" fmla="*/ 1504 w 2669"/>
                <a:gd name="T83" fmla="*/ 190 h 1448"/>
                <a:gd name="T84" fmla="*/ 1667 w 2669"/>
                <a:gd name="T85" fmla="*/ 169 h 1448"/>
                <a:gd name="T86" fmla="*/ 1832 w 2669"/>
                <a:gd name="T87" fmla="*/ 199 h 1448"/>
                <a:gd name="T88" fmla="*/ 1772 w 2669"/>
                <a:gd name="T89" fmla="*/ 241 h 1448"/>
                <a:gd name="T90" fmla="*/ 1730 w 2669"/>
                <a:gd name="T91" fmla="*/ 289 h 1448"/>
                <a:gd name="T92" fmla="*/ 1750 w 2669"/>
                <a:gd name="T93" fmla="*/ 492 h 1448"/>
                <a:gd name="T94" fmla="*/ 1798 w 2669"/>
                <a:gd name="T95" fmla="*/ 308 h 1448"/>
                <a:gd name="T96" fmla="*/ 1905 w 2669"/>
                <a:gd name="T97" fmla="*/ 334 h 1448"/>
                <a:gd name="T98" fmla="*/ 1948 w 2669"/>
                <a:gd name="T99" fmla="*/ 418 h 1448"/>
                <a:gd name="T100" fmla="*/ 2034 w 2669"/>
                <a:gd name="T101" fmla="*/ 487 h 1448"/>
                <a:gd name="T102" fmla="*/ 2239 w 2669"/>
                <a:gd name="T103" fmla="*/ 360 h 1448"/>
                <a:gd name="T104" fmla="*/ 2666 w 2669"/>
                <a:gd name="T105" fmla="*/ 309 h 1448"/>
                <a:gd name="T106" fmla="*/ 2581 w 2669"/>
                <a:gd name="T107" fmla="*/ 350 h 1448"/>
                <a:gd name="T108" fmla="*/ 2520 w 2669"/>
                <a:gd name="T109" fmla="*/ 528 h 1448"/>
                <a:gd name="T110" fmla="*/ 2418 w 2669"/>
                <a:gd name="T111" fmla="*/ 534 h 1448"/>
                <a:gd name="T112" fmla="*/ 2408 w 2669"/>
                <a:gd name="T113" fmla="*/ 548 h 1448"/>
                <a:gd name="T114" fmla="*/ 2018 w 2669"/>
                <a:gd name="T115" fmla="*/ 1438 h 1448"/>
                <a:gd name="T116" fmla="*/ 1274 w 2669"/>
                <a:gd name="T117" fmla="*/ 1286 h 1448"/>
                <a:gd name="T118" fmla="*/ 223 w 2669"/>
                <a:gd name="T119" fmla="*/ 949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69" h="1448">
                  <a:moveTo>
                    <a:pt x="2254" y="885"/>
                  </a:moveTo>
                  <a:lnTo>
                    <a:pt x="2264" y="883"/>
                  </a:lnTo>
                  <a:lnTo>
                    <a:pt x="2268" y="861"/>
                  </a:lnTo>
                  <a:lnTo>
                    <a:pt x="2256" y="837"/>
                  </a:lnTo>
                  <a:lnTo>
                    <a:pt x="2266" y="861"/>
                  </a:lnTo>
                  <a:lnTo>
                    <a:pt x="2262" y="882"/>
                  </a:lnTo>
                  <a:lnTo>
                    <a:pt x="2254" y="885"/>
                  </a:lnTo>
                  <a:close/>
                  <a:moveTo>
                    <a:pt x="2469" y="280"/>
                  </a:moveTo>
                  <a:lnTo>
                    <a:pt x="2491" y="277"/>
                  </a:lnTo>
                  <a:lnTo>
                    <a:pt x="2491" y="265"/>
                  </a:lnTo>
                  <a:lnTo>
                    <a:pt x="2502" y="255"/>
                  </a:lnTo>
                  <a:lnTo>
                    <a:pt x="2505" y="226"/>
                  </a:lnTo>
                  <a:lnTo>
                    <a:pt x="2516" y="195"/>
                  </a:lnTo>
                  <a:lnTo>
                    <a:pt x="2520" y="177"/>
                  </a:lnTo>
                  <a:lnTo>
                    <a:pt x="2542" y="138"/>
                  </a:lnTo>
                  <a:lnTo>
                    <a:pt x="2552" y="136"/>
                  </a:lnTo>
                  <a:lnTo>
                    <a:pt x="2561" y="147"/>
                  </a:lnTo>
                  <a:lnTo>
                    <a:pt x="2562" y="150"/>
                  </a:lnTo>
                  <a:lnTo>
                    <a:pt x="2575" y="153"/>
                  </a:lnTo>
                  <a:lnTo>
                    <a:pt x="2600" y="141"/>
                  </a:lnTo>
                  <a:lnTo>
                    <a:pt x="2621" y="164"/>
                  </a:lnTo>
                  <a:lnTo>
                    <a:pt x="2621" y="207"/>
                  </a:lnTo>
                  <a:lnTo>
                    <a:pt x="2621" y="254"/>
                  </a:lnTo>
                  <a:lnTo>
                    <a:pt x="2635" y="260"/>
                  </a:lnTo>
                  <a:lnTo>
                    <a:pt x="2635" y="277"/>
                  </a:lnTo>
                  <a:lnTo>
                    <a:pt x="2646" y="285"/>
                  </a:lnTo>
                  <a:lnTo>
                    <a:pt x="2652" y="288"/>
                  </a:lnTo>
                  <a:lnTo>
                    <a:pt x="2657" y="283"/>
                  </a:lnTo>
                  <a:lnTo>
                    <a:pt x="2658" y="297"/>
                  </a:lnTo>
                  <a:lnTo>
                    <a:pt x="2655" y="305"/>
                  </a:lnTo>
                  <a:lnTo>
                    <a:pt x="2661" y="306"/>
                  </a:lnTo>
                  <a:lnTo>
                    <a:pt x="2661" y="314"/>
                  </a:lnTo>
                  <a:lnTo>
                    <a:pt x="2623" y="328"/>
                  </a:lnTo>
                  <a:lnTo>
                    <a:pt x="2600" y="345"/>
                  </a:lnTo>
                  <a:lnTo>
                    <a:pt x="2583" y="339"/>
                  </a:lnTo>
                  <a:lnTo>
                    <a:pt x="2581" y="330"/>
                  </a:lnTo>
                  <a:lnTo>
                    <a:pt x="2576" y="330"/>
                  </a:lnTo>
                  <a:lnTo>
                    <a:pt x="2562" y="360"/>
                  </a:lnTo>
                  <a:lnTo>
                    <a:pt x="2556" y="359"/>
                  </a:lnTo>
                  <a:lnTo>
                    <a:pt x="2545" y="368"/>
                  </a:lnTo>
                  <a:lnTo>
                    <a:pt x="2539" y="365"/>
                  </a:lnTo>
                  <a:lnTo>
                    <a:pt x="2533" y="377"/>
                  </a:lnTo>
                  <a:lnTo>
                    <a:pt x="2528" y="370"/>
                  </a:lnTo>
                  <a:lnTo>
                    <a:pt x="2519" y="372"/>
                  </a:lnTo>
                  <a:lnTo>
                    <a:pt x="2496" y="407"/>
                  </a:lnTo>
                  <a:lnTo>
                    <a:pt x="2485" y="418"/>
                  </a:lnTo>
                  <a:lnTo>
                    <a:pt x="2481" y="431"/>
                  </a:lnTo>
                  <a:lnTo>
                    <a:pt x="2490" y="447"/>
                  </a:lnTo>
                  <a:lnTo>
                    <a:pt x="2477" y="467"/>
                  </a:lnTo>
                  <a:lnTo>
                    <a:pt x="2490" y="475"/>
                  </a:lnTo>
                  <a:lnTo>
                    <a:pt x="2498" y="497"/>
                  </a:lnTo>
                  <a:lnTo>
                    <a:pt x="2505" y="500"/>
                  </a:lnTo>
                  <a:lnTo>
                    <a:pt x="2520" y="503"/>
                  </a:lnTo>
                  <a:lnTo>
                    <a:pt x="2524" y="492"/>
                  </a:lnTo>
                  <a:lnTo>
                    <a:pt x="2520" y="489"/>
                  </a:lnTo>
                  <a:lnTo>
                    <a:pt x="2525" y="489"/>
                  </a:lnTo>
                  <a:lnTo>
                    <a:pt x="2527" y="500"/>
                  </a:lnTo>
                  <a:lnTo>
                    <a:pt x="2515" y="509"/>
                  </a:lnTo>
                  <a:lnTo>
                    <a:pt x="2500" y="512"/>
                  </a:lnTo>
                  <a:lnTo>
                    <a:pt x="2491" y="506"/>
                  </a:lnTo>
                  <a:lnTo>
                    <a:pt x="2473" y="514"/>
                  </a:lnTo>
                  <a:lnTo>
                    <a:pt x="2465" y="504"/>
                  </a:lnTo>
                  <a:lnTo>
                    <a:pt x="2457" y="517"/>
                  </a:lnTo>
                  <a:lnTo>
                    <a:pt x="2434" y="526"/>
                  </a:lnTo>
                  <a:lnTo>
                    <a:pt x="2412" y="528"/>
                  </a:lnTo>
                  <a:lnTo>
                    <a:pt x="2389" y="528"/>
                  </a:lnTo>
                  <a:lnTo>
                    <a:pt x="2380" y="536"/>
                  </a:lnTo>
                  <a:lnTo>
                    <a:pt x="2351" y="546"/>
                  </a:lnTo>
                  <a:lnTo>
                    <a:pt x="2334" y="565"/>
                  </a:lnTo>
                  <a:lnTo>
                    <a:pt x="2327" y="575"/>
                  </a:lnTo>
                  <a:lnTo>
                    <a:pt x="2338" y="591"/>
                  </a:lnTo>
                  <a:lnTo>
                    <a:pt x="2335" y="608"/>
                  </a:lnTo>
                  <a:lnTo>
                    <a:pt x="2330" y="611"/>
                  </a:lnTo>
                  <a:lnTo>
                    <a:pt x="2327" y="627"/>
                  </a:lnTo>
                  <a:lnTo>
                    <a:pt x="2304" y="661"/>
                  </a:lnTo>
                  <a:lnTo>
                    <a:pt x="2296" y="668"/>
                  </a:lnTo>
                  <a:lnTo>
                    <a:pt x="2296" y="655"/>
                  </a:lnTo>
                  <a:lnTo>
                    <a:pt x="2276" y="647"/>
                  </a:lnTo>
                  <a:lnTo>
                    <a:pt x="2264" y="633"/>
                  </a:lnTo>
                  <a:lnTo>
                    <a:pt x="2262" y="630"/>
                  </a:lnTo>
                  <a:lnTo>
                    <a:pt x="2262" y="639"/>
                  </a:lnTo>
                  <a:lnTo>
                    <a:pt x="2284" y="678"/>
                  </a:lnTo>
                  <a:lnTo>
                    <a:pt x="2290" y="693"/>
                  </a:lnTo>
                  <a:lnTo>
                    <a:pt x="2287" y="698"/>
                  </a:lnTo>
                  <a:lnTo>
                    <a:pt x="2278" y="715"/>
                  </a:lnTo>
                  <a:lnTo>
                    <a:pt x="2278" y="722"/>
                  </a:lnTo>
                  <a:lnTo>
                    <a:pt x="2264" y="747"/>
                  </a:lnTo>
                  <a:lnTo>
                    <a:pt x="2258" y="768"/>
                  </a:lnTo>
                  <a:lnTo>
                    <a:pt x="2247" y="775"/>
                  </a:lnTo>
                  <a:lnTo>
                    <a:pt x="2244" y="756"/>
                  </a:lnTo>
                  <a:lnTo>
                    <a:pt x="2259" y="732"/>
                  </a:lnTo>
                  <a:lnTo>
                    <a:pt x="2259" y="729"/>
                  </a:lnTo>
                  <a:lnTo>
                    <a:pt x="2256" y="727"/>
                  </a:lnTo>
                  <a:lnTo>
                    <a:pt x="2250" y="710"/>
                  </a:lnTo>
                  <a:lnTo>
                    <a:pt x="2239" y="709"/>
                  </a:lnTo>
                  <a:lnTo>
                    <a:pt x="2233" y="697"/>
                  </a:lnTo>
                  <a:lnTo>
                    <a:pt x="2239" y="687"/>
                  </a:lnTo>
                  <a:lnTo>
                    <a:pt x="2239" y="675"/>
                  </a:lnTo>
                  <a:lnTo>
                    <a:pt x="2233" y="670"/>
                  </a:lnTo>
                  <a:lnTo>
                    <a:pt x="2237" y="663"/>
                  </a:lnTo>
                  <a:lnTo>
                    <a:pt x="2237" y="651"/>
                  </a:lnTo>
                  <a:lnTo>
                    <a:pt x="2245" y="641"/>
                  </a:lnTo>
                  <a:lnTo>
                    <a:pt x="2245" y="633"/>
                  </a:lnTo>
                  <a:lnTo>
                    <a:pt x="2242" y="636"/>
                  </a:lnTo>
                  <a:lnTo>
                    <a:pt x="2220" y="655"/>
                  </a:lnTo>
                  <a:lnTo>
                    <a:pt x="2224" y="698"/>
                  </a:lnTo>
                  <a:lnTo>
                    <a:pt x="2219" y="698"/>
                  </a:lnTo>
                  <a:lnTo>
                    <a:pt x="2225" y="705"/>
                  </a:lnTo>
                  <a:lnTo>
                    <a:pt x="2228" y="719"/>
                  </a:lnTo>
                  <a:lnTo>
                    <a:pt x="2186" y="697"/>
                  </a:lnTo>
                  <a:lnTo>
                    <a:pt x="2193" y="681"/>
                  </a:lnTo>
                  <a:lnTo>
                    <a:pt x="2183" y="697"/>
                  </a:lnTo>
                  <a:lnTo>
                    <a:pt x="2185" y="702"/>
                  </a:lnTo>
                  <a:lnTo>
                    <a:pt x="2230" y="729"/>
                  </a:lnTo>
                  <a:lnTo>
                    <a:pt x="2225" y="746"/>
                  </a:lnTo>
                  <a:lnTo>
                    <a:pt x="2234" y="763"/>
                  </a:lnTo>
                  <a:lnTo>
                    <a:pt x="2227" y="768"/>
                  </a:lnTo>
                  <a:lnTo>
                    <a:pt x="2234" y="778"/>
                  </a:lnTo>
                  <a:lnTo>
                    <a:pt x="2222" y="780"/>
                  </a:lnTo>
                  <a:lnTo>
                    <a:pt x="2220" y="785"/>
                  </a:lnTo>
                  <a:lnTo>
                    <a:pt x="2250" y="789"/>
                  </a:lnTo>
                  <a:lnTo>
                    <a:pt x="2250" y="802"/>
                  </a:lnTo>
                  <a:lnTo>
                    <a:pt x="2247" y="815"/>
                  </a:lnTo>
                  <a:lnTo>
                    <a:pt x="2254" y="837"/>
                  </a:lnTo>
                  <a:lnTo>
                    <a:pt x="2251" y="831"/>
                  </a:lnTo>
                  <a:lnTo>
                    <a:pt x="2241" y="828"/>
                  </a:lnTo>
                  <a:lnTo>
                    <a:pt x="2220" y="837"/>
                  </a:lnTo>
                  <a:lnTo>
                    <a:pt x="2216" y="823"/>
                  </a:lnTo>
                  <a:lnTo>
                    <a:pt x="2214" y="839"/>
                  </a:lnTo>
                  <a:lnTo>
                    <a:pt x="2216" y="846"/>
                  </a:lnTo>
                  <a:lnTo>
                    <a:pt x="2220" y="846"/>
                  </a:lnTo>
                  <a:lnTo>
                    <a:pt x="2241" y="842"/>
                  </a:lnTo>
                  <a:lnTo>
                    <a:pt x="2244" y="857"/>
                  </a:lnTo>
                  <a:lnTo>
                    <a:pt x="2253" y="845"/>
                  </a:lnTo>
                  <a:lnTo>
                    <a:pt x="2258" y="863"/>
                  </a:lnTo>
                  <a:lnTo>
                    <a:pt x="2239" y="878"/>
                  </a:lnTo>
                  <a:lnTo>
                    <a:pt x="2230" y="878"/>
                  </a:lnTo>
                  <a:lnTo>
                    <a:pt x="2224" y="868"/>
                  </a:lnTo>
                  <a:lnTo>
                    <a:pt x="2207" y="873"/>
                  </a:lnTo>
                  <a:lnTo>
                    <a:pt x="2224" y="882"/>
                  </a:lnTo>
                  <a:lnTo>
                    <a:pt x="2214" y="899"/>
                  </a:lnTo>
                  <a:lnTo>
                    <a:pt x="2225" y="899"/>
                  </a:lnTo>
                  <a:lnTo>
                    <a:pt x="2225" y="908"/>
                  </a:lnTo>
                  <a:lnTo>
                    <a:pt x="2211" y="917"/>
                  </a:lnTo>
                  <a:lnTo>
                    <a:pt x="2194" y="917"/>
                  </a:lnTo>
                  <a:lnTo>
                    <a:pt x="2180" y="925"/>
                  </a:lnTo>
                  <a:lnTo>
                    <a:pt x="2159" y="949"/>
                  </a:lnTo>
                  <a:lnTo>
                    <a:pt x="2144" y="956"/>
                  </a:lnTo>
                  <a:lnTo>
                    <a:pt x="2123" y="959"/>
                  </a:lnTo>
                  <a:lnTo>
                    <a:pt x="2095" y="989"/>
                  </a:lnTo>
                  <a:lnTo>
                    <a:pt x="2095" y="998"/>
                  </a:lnTo>
                  <a:lnTo>
                    <a:pt x="2056" y="1030"/>
                  </a:lnTo>
                  <a:lnTo>
                    <a:pt x="2026" y="1030"/>
                  </a:lnTo>
                  <a:lnTo>
                    <a:pt x="2030" y="1046"/>
                  </a:lnTo>
                  <a:lnTo>
                    <a:pt x="2018" y="1054"/>
                  </a:lnTo>
                  <a:lnTo>
                    <a:pt x="2015" y="1059"/>
                  </a:lnTo>
                  <a:lnTo>
                    <a:pt x="2009" y="1068"/>
                  </a:lnTo>
                  <a:lnTo>
                    <a:pt x="1996" y="1091"/>
                  </a:lnTo>
                  <a:lnTo>
                    <a:pt x="1996" y="1100"/>
                  </a:lnTo>
                  <a:lnTo>
                    <a:pt x="1988" y="1117"/>
                  </a:lnTo>
                  <a:lnTo>
                    <a:pt x="1988" y="1130"/>
                  </a:lnTo>
                  <a:lnTo>
                    <a:pt x="1985" y="1136"/>
                  </a:lnTo>
                  <a:lnTo>
                    <a:pt x="1995" y="1174"/>
                  </a:lnTo>
                  <a:lnTo>
                    <a:pt x="2007" y="1208"/>
                  </a:lnTo>
                  <a:lnTo>
                    <a:pt x="2027" y="1244"/>
                  </a:lnTo>
                  <a:lnTo>
                    <a:pt x="2029" y="1275"/>
                  </a:lnTo>
                  <a:lnTo>
                    <a:pt x="2051" y="1328"/>
                  </a:lnTo>
                  <a:lnTo>
                    <a:pt x="2051" y="1372"/>
                  </a:lnTo>
                  <a:lnTo>
                    <a:pt x="2041" y="1416"/>
                  </a:lnTo>
                  <a:lnTo>
                    <a:pt x="2034" y="1413"/>
                  </a:lnTo>
                  <a:lnTo>
                    <a:pt x="2018" y="1419"/>
                  </a:lnTo>
                  <a:lnTo>
                    <a:pt x="2002" y="1418"/>
                  </a:lnTo>
                  <a:lnTo>
                    <a:pt x="2002" y="1405"/>
                  </a:lnTo>
                  <a:lnTo>
                    <a:pt x="1993" y="1386"/>
                  </a:lnTo>
                  <a:lnTo>
                    <a:pt x="1976" y="1377"/>
                  </a:lnTo>
                  <a:lnTo>
                    <a:pt x="1965" y="1351"/>
                  </a:lnTo>
                  <a:lnTo>
                    <a:pt x="1968" y="1343"/>
                  </a:lnTo>
                  <a:lnTo>
                    <a:pt x="1962" y="1343"/>
                  </a:lnTo>
                  <a:lnTo>
                    <a:pt x="1961" y="1328"/>
                  </a:lnTo>
                  <a:lnTo>
                    <a:pt x="1953" y="1329"/>
                  </a:lnTo>
                  <a:lnTo>
                    <a:pt x="1937" y="1306"/>
                  </a:lnTo>
                  <a:lnTo>
                    <a:pt x="1941" y="1278"/>
                  </a:lnTo>
                  <a:lnTo>
                    <a:pt x="1934" y="1274"/>
                  </a:lnTo>
                  <a:lnTo>
                    <a:pt x="1933" y="1281"/>
                  </a:lnTo>
                  <a:lnTo>
                    <a:pt x="1929" y="1281"/>
                  </a:lnTo>
                  <a:lnTo>
                    <a:pt x="1928" y="1272"/>
                  </a:lnTo>
                  <a:lnTo>
                    <a:pt x="1931" y="1238"/>
                  </a:lnTo>
                  <a:lnTo>
                    <a:pt x="1929" y="1216"/>
                  </a:lnTo>
                  <a:lnTo>
                    <a:pt x="1899" y="1193"/>
                  </a:lnTo>
                  <a:lnTo>
                    <a:pt x="1899" y="1184"/>
                  </a:lnTo>
                  <a:lnTo>
                    <a:pt x="1880" y="1165"/>
                  </a:lnTo>
                  <a:lnTo>
                    <a:pt x="1860" y="1162"/>
                  </a:lnTo>
                  <a:lnTo>
                    <a:pt x="1854" y="1171"/>
                  </a:lnTo>
                  <a:lnTo>
                    <a:pt x="1824" y="1179"/>
                  </a:lnTo>
                  <a:lnTo>
                    <a:pt x="1814" y="1182"/>
                  </a:lnTo>
                  <a:lnTo>
                    <a:pt x="1803" y="1167"/>
                  </a:lnTo>
                  <a:lnTo>
                    <a:pt x="1764" y="1148"/>
                  </a:lnTo>
                  <a:lnTo>
                    <a:pt x="1769" y="1142"/>
                  </a:lnTo>
                  <a:lnTo>
                    <a:pt x="1763" y="1142"/>
                  </a:lnTo>
                  <a:lnTo>
                    <a:pt x="1729" y="1145"/>
                  </a:lnTo>
                  <a:lnTo>
                    <a:pt x="1730" y="1137"/>
                  </a:lnTo>
                  <a:lnTo>
                    <a:pt x="1716" y="1148"/>
                  </a:lnTo>
                  <a:lnTo>
                    <a:pt x="1690" y="1156"/>
                  </a:lnTo>
                  <a:lnTo>
                    <a:pt x="1687" y="1119"/>
                  </a:lnTo>
                  <a:lnTo>
                    <a:pt x="1680" y="1147"/>
                  </a:lnTo>
                  <a:lnTo>
                    <a:pt x="1670" y="1147"/>
                  </a:lnTo>
                  <a:lnTo>
                    <a:pt x="1642" y="1145"/>
                  </a:lnTo>
                  <a:lnTo>
                    <a:pt x="1614" y="1156"/>
                  </a:lnTo>
                  <a:lnTo>
                    <a:pt x="1589" y="1147"/>
                  </a:lnTo>
                  <a:lnTo>
                    <a:pt x="1578" y="1150"/>
                  </a:lnTo>
                  <a:lnTo>
                    <a:pt x="1577" y="1159"/>
                  </a:lnTo>
                  <a:lnTo>
                    <a:pt x="1583" y="1164"/>
                  </a:lnTo>
                  <a:lnTo>
                    <a:pt x="1603" y="1159"/>
                  </a:lnTo>
                  <a:lnTo>
                    <a:pt x="1605" y="1170"/>
                  </a:lnTo>
                  <a:lnTo>
                    <a:pt x="1609" y="1170"/>
                  </a:lnTo>
                  <a:lnTo>
                    <a:pt x="1625" y="1161"/>
                  </a:lnTo>
                  <a:lnTo>
                    <a:pt x="1628" y="1164"/>
                  </a:lnTo>
                  <a:lnTo>
                    <a:pt x="1626" y="1176"/>
                  </a:lnTo>
                  <a:lnTo>
                    <a:pt x="1612" y="1191"/>
                  </a:lnTo>
                  <a:lnTo>
                    <a:pt x="1636" y="1212"/>
                  </a:lnTo>
                  <a:lnTo>
                    <a:pt x="1631" y="1216"/>
                  </a:lnTo>
                  <a:lnTo>
                    <a:pt x="1629" y="1218"/>
                  </a:lnTo>
                  <a:lnTo>
                    <a:pt x="1625" y="1220"/>
                  </a:lnTo>
                  <a:lnTo>
                    <a:pt x="1616" y="1208"/>
                  </a:lnTo>
                  <a:lnTo>
                    <a:pt x="1600" y="1198"/>
                  </a:lnTo>
                  <a:lnTo>
                    <a:pt x="1594" y="1198"/>
                  </a:lnTo>
                  <a:lnTo>
                    <a:pt x="1589" y="1212"/>
                  </a:lnTo>
                  <a:lnTo>
                    <a:pt x="1566" y="1208"/>
                  </a:lnTo>
                  <a:lnTo>
                    <a:pt x="1560" y="1212"/>
                  </a:lnTo>
                  <a:lnTo>
                    <a:pt x="1541" y="1207"/>
                  </a:lnTo>
                  <a:lnTo>
                    <a:pt x="1531" y="1193"/>
                  </a:lnTo>
                  <a:lnTo>
                    <a:pt x="1507" y="1179"/>
                  </a:lnTo>
                  <a:lnTo>
                    <a:pt x="1499" y="1179"/>
                  </a:lnTo>
                  <a:lnTo>
                    <a:pt x="1499" y="1186"/>
                  </a:lnTo>
                  <a:lnTo>
                    <a:pt x="1492" y="1191"/>
                  </a:lnTo>
                  <a:lnTo>
                    <a:pt x="1473" y="1190"/>
                  </a:lnTo>
                  <a:lnTo>
                    <a:pt x="1444" y="1179"/>
                  </a:lnTo>
                  <a:lnTo>
                    <a:pt x="1419" y="1184"/>
                  </a:lnTo>
                  <a:lnTo>
                    <a:pt x="1404" y="1184"/>
                  </a:lnTo>
                  <a:lnTo>
                    <a:pt x="1377" y="1196"/>
                  </a:lnTo>
                  <a:lnTo>
                    <a:pt x="1382" y="1190"/>
                  </a:lnTo>
                  <a:lnTo>
                    <a:pt x="1377" y="1190"/>
                  </a:lnTo>
                  <a:lnTo>
                    <a:pt x="1376" y="1179"/>
                  </a:lnTo>
                  <a:lnTo>
                    <a:pt x="1371" y="1181"/>
                  </a:lnTo>
                  <a:lnTo>
                    <a:pt x="1367" y="1210"/>
                  </a:lnTo>
                  <a:lnTo>
                    <a:pt x="1360" y="1227"/>
                  </a:lnTo>
                  <a:lnTo>
                    <a:pt x="1350" y="1235"/>
                  </a:lnTo>
                  <a:lnTo>
                    <a:pt x="1345" y="1242"/>
                  </a:lnTo>
                  <a:lnTo>
                    <a:pt x="1326" y="1250"/>
                  </a:lnTo>
                  <a:lnTo>
                    <a:pt x="1316" y="1252"/>
                  </a:lnTo>
                  <a:lnTo>
                    <a:pt x="1336" y="1238"/>
                  </a:lnTo>
                  <a:lnTo>
                    <a:pt x="1321" y="1244"/>
                  </a:lnTo>
                  <a:lnTo>
                    <a:pt x="1320" y="1235"/>
                  </a:lnTo>
                  <a:lnTo>
                    <a:pt x="1314" y="1242"/>
                  </a:lnTo>
                  <a:lnTo>
                    <a:pt x="1309" y="1237"/>
                  </a:lnTo>
                  <a:lnTo>
                    <a:pt x="1306" y="1244"/>
                  </a:lnTo>
                  <a:lnTo>
                    <a:pt x="1299" y="1238"/>
                  </a:lnTo>
                  <a:lnTo>
                    <a:pt x="1303" y="1252"/>
                  </a:lnTo>
                  <a:lnTo>
                    <a:pt x="1291" y="1255"/>
                  </a:lnTo>
                  <a:lnTo>
                    <a:pt x="1283" y="1266"/>
                  </a:lnTo>
                  <a:lnTo>
                    <a:pt x="1272" y="1270"/>
                  </a:lnTo>
                  <a:lnTo>
                    <a:pt x="1272" y="1274"/>
                  </a:lnTo>
                  <a:lnTo>
                    <a:pt x="1277" y="1275"/>
                  </a:lnTo>
                  <a:lnTo>
                    <a:pt x="1274" y="1283"/>
                  </a:lnTo>
                  <a:lnTo>
                    <a:pt x="1262" y="1286"/>
                  </a:lnTo>
                  <a:lnTo>
                    <a:pt x="1267" y="1294"/>
                  </a:lnTo>
                  <a:lnTo>
                    <a:pt x="1265" y="1311"/>
                  </a:lnTo>
                  <a:lnTo>
                    <a:pt x="1252" y="1315"/>
                  </a:lnTo>
                  <a:lnTo>
                    <a:pt x="1260" y="1320"/>
                  </a:lnTo>
                  <a:lnTo>
                    <a:pt x="1257" y="1340"/>
                  </a:lnTo>
                  <a:lnTo>
                    <a:pt x="1263" y="1369"/>
                  </a:lnTo>
                  <a:lnTo>
                    <a:pt x="1272" y="1380"/>
                  </a:lnTo>
                  <a:lnTo>
                    <a:pt x="1257" y="1382"/>
                  </a:lnTo>
                  <a:lnTo>
                    <a:pt x="1241" y="1374"/>
                  </a:lnTo>
                  <a:lnTo>
                    <a:pt x="1218" y="1372"/>
                  </a:lnTo>
                  <a:lnTo>
                    <a:pt x="1195" y="1363"/>
                  </a:lnTo>
                  <a:lnTo>
                    <a:pt x="1181" y="1355"/>
                  </a:lnTo>
                  <a:lnTo>
                    <a:pt x="1165" y="1334"/>
                  </a:lnTo>
                  <a:lnTo>
                    <a:pt x="1153" y="1292"/>
                  </a:lnTo>
                  <a:lnTo>
                    <a:pt x="1138" y="1283"/>
                  </a:lnTo>
                  <a:lnTo>
                    <a:pt x="1131" y="1267"/>
                  </a:lnTo>
                  <a:lnTo>
                    <a:pt x="1118" y="1254"/>
                  </a:lnTo>
                  <a:lnTo>
                    <a:pt x="1101" y="1215"/>
                  </a:lnTo>
                  <a:lnTo>
                    <a:pt x="1074" y="1186"/>
                  </a:lnTo>
                  <a:lnTo>
                    <a:pt x="1065" y="1178"/>
                  </a:lnTo>
                  <a:lnTo>
                    <a:pt x="1020" y="1176"/>
                  </a:lnTo>
                  <a:lnTo>
                    <a:pt x="1009" y="1181"/>
                  </a:lnTo>
                  <a:lnTo>
                    <a:pt x="988" y="1224"/>
                  </a:lnTo>
                  <a:lnTo>
                    <a:pt x="969" y="1218"/>
                  </a:lnTo>
                  <a:lnTo>
                    <a:pt x="932" y="1193"/>
                  </a:lnTo>
                  <a:lnTo>
                    <a:pt x="920" y="1176"/>
                  </a:lnTo>
                  <a:lnTo>
                    <a:pt x="907" y="1134"/>
                  </a:lnTo>
                  <a:lnTo>
                    <a:pt x="882" y="1119"/>
                  </a:lnTo>
                  <a:lnTo>
                    <a:pt x="859" y="1093"/>
                  </a:lnTo>
                  <a:lnTo>
                    <a:pt x="848" y="1088"/>
                  </a:lnTo>
                  <a:lnTo>
                    <a:pt x="844" y="1077"/>
                  </a:lnTo>
                  <a:lnTo>
                    <a:pt x="830" y="1071"/>
                  </a:lnTo>
                  <a:lnTo>
                    <a:pt x="794" y="1071"/>
                  </a:lnTo>
                  <a:lnTo>
                    <a:pt x="755" y="1071"/>
                  </a:lnTo>
                  <a:lnTo>
                    <a:pt x="754" y="1096"/>
                  </a:lnTo>
                  <a:lnTo>
                    <a:pt x="718" y="1096"/>
                  </a:lnTo>
                  <a:lnTo>
                    <a:pt x="678" y="1096"/>
                  </a:lnTo>
                  <a:lnTo>
                    <a:pt x="630" y="1096"/>
                  </a:lnTo>
                  <a:lnTo>
                    <a:pt x="564" y="1071"/>
                  </a:lnTo>
                  <a:lnTo>
                    <a:pt x="498" y="1047"/>
                  </a:lnTo>
                  <a:lnTo>
                    <a:pt x="454" y="1030"/>
                  </a:lnTo>
                  <a:lnTo>
                    <a:pt x="454" y="1026"/>
                  </a:lnTo>
                  <a:lnTo>
                    <a:pt x="422" y="1029"/>
                  </a:lnTo>
                  <a:lnTo>
                    <a:pt x="388" y="1032"/>
                  </a:lnTo>
                  <a:lnTo>
                    <a:pt x="349" y="1034"/>
                  </a:lnTo>
                  <a:lnTo>
                    <a:pt x="346" y="1007"/>
                  </a:lnTo>
                  <a:lnTo>
                    <a:pt x="341" y="998"/>
                  </a:lnTo>
                  <a:lnTo>
                    <a:pt x="315" y="973"/>
                  </a:lnTo>
                  <a:lnTo>
                    <a:pt x="293" y="966"/>
                  </a:lnTo>
                  <a:lnTo>
                    <a:pt x="285" y="950"/>
                  </a:lnTo>
                  <a:lnTo>
                    <a:pt x="276" y="949"/>
                  </a:lnTo>
                  <a:lnTo>
                    <a:pt x="274" y="955"/>
                  </a:lnTo>
                  <a:lnTo>
                    <a:pt x="234" y="930"/>
                  </a:lnTo>
                  <a:lnTo>
                    <a:pt x="225" y="930"/>
                  </a:lnTo>
                  <a:lnTo>
                    <a:pt x="194" y="922"/>
                  </a:lnTo>
                  <a:lnTo>
                    <a:pt x="189" y="891"/>
                  </a:lnTo>
                  <a:lnTo>
                    <a:pt x="178" y="882"/>
                  </a:lnTo>
                  <a:lnTo>
                    <a:pt x="178" y="873"/>
                  </a:lnTo>
                  <a:lnTo>
                    <a:pt x="131" y="820"/>
                  </a:lnTo>
                  <a:lnTo>
                    <a:pt x="129" y="806"/>
                  </a:lnTo>
                  <a:lnTo>
                    <a:pt x="134" y="802"/>
                  </a:lnTo>
                  <a:lnTo>
                    <a:pt x="134" y="792"/>
                  </a:lnTo>
                  <a:lnTo>
                    <a:pt x="129" y="785"/>
                  </a:lnTo>
                  <a:lnTo>
                    <a:pt x="118" y="783"/>
                  </a:lnTo>
                  <a:lnTo>
                    <a:pt x="110" y="775"/>
                  </a:lnTo>
                  <a:lnTo>
                    <a:pt x="103" y="738"/>
                  </a:lnTo>
                  <a:lnTo>
                    <a:pt x="120" y="752"/>
                  </a:lnTo>
                  <a:lnTo>
                    <a:pt x="110" y="729"/>
                  </a:lnTo>
                  <a:lnTo>
                    <a:pt x="126" y="719"/>
                  </a:lnTo>
                  <a:lnTo>
                    <a:pt x="103" y="715"/>
                  </a:lnTo>
                  <a:lnTo>
                    <a:pt x="101" y="729"/>
                  </a:lnTo>
                  <a:lnTo>
                    <a:pt x="90" y="727"/>
                  </a:lnTo>
                  <a:lnTo>
                    <a:pt x="81" y="719"/>
                  </a:lnTo>
                  <a:lnTo>
                    <a:pt x="78" y="705"/>
                  </a:lnTo>
                  <a:lnTo>
                    <a:pt x="51" y="675"/>
                  </a:lnTo>
                  <a:lnTo>
                    <a:pt x="44" y="644"/>
                  </a:lnTo>
                  <a:lnTo>
                    <a:pt x="44" y="625"/>
                  </a:lnTo>
                  <a:lnTo>
                    <a:pt x="17" y="583"/>
                  </a:lnTo>
                  <a:lnTo>
                    <a:pt x="17" y="575"/>
                  </a:lnTo>
                  <a:lnTo>
                    <a:pt x="29" y="558"/>
                  </a:lnTo>
                  <a:lnTo>
                    <a:pt x="33" y="521"/>
                  </a:lnTo>
                  <a:lnTo>
                    <a:pt x="24" y="486"/>
                  </a:lnTo>
                  <a:lnTo>
                    <a:pt x="16" y="464"/>
                  </a:lnTo>
                  <a:lnTo>
                    <a:pt x="12" y="431"/>
                  </a:lnTo>
                  <a:lnTo>
                    <a:pt x="16" y="407"/>
                  </a:lnTo>
                  <a:lnTo>
                    <a:pt x="25" y="396"/>
                  </a:lnTo>
                  <a:lnTo>
                    <a:pt x="22" y="389"/>
                  </a:lnTo>
                  <a:lnTo>
                    <a:pt x="30" y="343"/>
                  </a:lnTo>
                  <a:lnTo>
                    <a:pt x="38" y="221"/>
                  </a:lnTo>
                  <a:lnTo>
                    <a:pt x="66" y="218"/>
                  </a:lnTo>
                  <a:lnTo>
                    <a:pt x="56" y="209"/>
                  </a:lnTo>
                  <a:lnTo>
                    <a:pt x="33" y="206"/>
                  </a:lnTo>
                  <a:lnTo>
                    <a:pt x="30" y="187"/>
                  </a:lnTo>
                  <a:lnTo>
                    <a:pt x="34" y="201"/>
                  </a:lnTo>
                  <a:lnTo>
                    <a:pt x="39" y="198"/>
                  </a:lnTo>
                  <a:lnTo>
                    <a:pt x="38" y="182"/>
                  </a:lnTo>
                  <a:lnTo>
                    <a:pt x="30" y="177"/>
                  </a:lnTo>
                  <a:lnTo>
                    <a:pt x="34" y="162"/>
                  </a:lnTo>
                  <a:lnTo>
                    <a:pt x="30" y="156"/>
                  </a:lnTo>
                  <a:lnTo>
                    <a:pt x="25" y="162"/>
                  </a:lnTo>
                  <a:lnTo>
                    <a:pt x="17" y="123"/>
                  </a:lnTo>
                  <a:lnTo>
                    <a:pt x="0" y="94"/>
                  </a:lnTo>
                  <a:lnTo>
                    <a:pt x="2" y="73"/>
                  </a:lnTo>
                  <a:lnTo>
                    <a:pt x="5" y="67"/>
                  </a:lnTo>
                  <a:lnTo>
                    <a:pt x="39" y="81"/>
                  </a:lnTo>
                  <a:lnTo>
                    <a:pt x="90" y="87"/>
                  </a:lnTo>
                  <a:lnTo>
                    <a:pt x="92" y="101"/>
                  </a:lnTo>
                  <a:lnTo>
                    <a:pt x="76" y="127"/>
                  </a:lnTo>
                  <a:lnTo>
                    <a:pt x="76" y="136"/>
                  </a:lnTo>
                  <a:lnTo>
                    <a:pt x="83" y="135"/>
                  </a:lnTo>
                  <a:lnTo>
                    <a:pt x="81" y="130"/>
                  </a:lnTo>
                  <a:lnTo>
                    <a:pt x="98" y="107"/>
                  </a:lnTo>
                  <a:lnTo>
                    <a:pt x="106" y="104"/>
                  </a:lnTo>
                  <a:lnTo>
                    <a:pt x="109" y="111"/>
                  </a:lnTo>
                  <a:lnTo>
                    <a:pt x="110" y="99"/>
                  </a:lnTo>
                  <a:lnTo>
                    <a:pt x="107" y="73"/>
                  </a:lnTo>
                  <a:lnTo>
                    <a:pt x="97" y="62"/>
                  </a:lnTo>
                  <a:lnTo>
                    <a:pt x="103" y="56"/>
                  </a:lnTo>
                  <a:lnTo>
                    <a:pt x="103" y="48"/>
                  </a:lnTo>
                  <a:lnTo>
                    <a:pt x="110" y="47"/>
                  </a:lnTo>
                  <a:lnTo>
                    <a:pt x="95" y="42"/>
                  </a:lnTo>
                  <a:lnTo>
                    <a:pt x="87" y="28"/>
                  </a:lnTo>
                  <a:lnTo>
                    <a:pt x="139" y="28"/>
                  </a:lnTo>
                  <a:lnTo>
                    <a:pt x="174" y="28"/>
                  </a:lnTo>
                  <a:lnTo>
                    <a:pt x="232" y="28"/>
                  </a:lnTo>
                  <a:lnTo>
                    <a:pt x="295" y="28"/>
                  </a:lnTo>
                  <a:lnTo>
                    <a:pt x="349" y="28"/>
                  </a:lnTo>
                  <a:lnTo>
                    <a:pt x="395" y="28"/>
                  </a:lnTo>
                  <a:lnTo>
                    <a:pt x="439" y="28"/>
                  </a:lnTo>
                  <a:lnTo>
                    <a:pt x="486" y="28"/>
                  </a:lnTo>
                  <a:lnTo>
                    <a:pt x="545" y="28"/>
                  </a:lnTo>
                  <a:lnTo>
                    <a:pt x="615" y="28"/>
                  </a:lnTo>
                  <a:lnTo>
                    <a:pt x="672" y="28"/>
                  </a:lnTo>
                  <a:lnTo>
                    <a:pt x="740" y="30"/>
                  </a:lnTo>
                  <a:lnTo>
                    <a:pt x="814" y="30"/>
                  </a:lnTo>
                  <a:lnTo>
                    <a:pt x="896" y="30"/>
                  </a:lnTo>
                  <a:lnTo>
                    <a:pt x="949" y="30"/>
                  </a:lnTo>
                  <a:lnTo>
                    <a:pt x="1009" y="30"/>
                  </a:lnTo>
                  <a:lnTo>
                    <a:pt x="1072" y="30"/>
                  </a:lnTo>
                  <a:lnTo>
                    <a:pt x="1135" y="30"/>
                  </a:lnTo>
                  <a:lnTo>
                    <a:pt x="1204" y="30"/>
                  </a:lnTo>
                  <a:lnTo>
                    <a:pt x="1262" y="30"/>
                  </a:lnTo>
                  <a:lnTo>
                    <a:pt x="1359" y="30"/>
                  </a:lnTo>
                  <a:lnTo>
                    <a:pt x="1359" y="0"/>
                  </a:lnTo>
                  <a:lnTo>
                    <a:pt x="1368" y="1"/>
                  </a:lnTo>
                  <a:lnTo>
                    <a:pt x="1387" y="47"/>
                  </a:lnTo>
                  <a:lnTo>
                    <a:pt x="1407" y="47"/>
                  </a:lnTo>
                  <a:lnTo>
                    <a:pt x="1431" y="57"/>
                  </a:lnTo>
                  <a:lnTo>
                    <a:pt x="1469" y="54"/>
                  </a:lnTo>
                  <a:lnTo>
                    <a:pt x="1532" y="93"/>
                  </a:lnTo>
                  <a:lnTo>
                    <a:pt x="1558" y="87"/>
                  </a:lnTo>
                  <a:lnTo>
                    <a:pt x="1609" y="99"/>
                  </a:lnTo>
                  <a:lnTo>
                    <a:pt x="1538" y="150"/>
                  </a:lnTo>
                  <a:lnTo>
                    <a:pt x="1501" y="186"/>
                  </a:lnTo>
                  <a:lnTo>
                    <a:pt x="1504" y="190"/>
                  </a:lnTo>
                  <a:lnTo>
                    <a:pt x="1523" y="189"/>
                  </a:lnTo>
                  <a:lnTo>
                    <a:pt x="1553" y="170"/>
                  </a:lnTo>
                  <a:lnTo>
                    <a:pt x="1558" y="175"/>
                  </a:lnTo>
                  <a:lnTo>
                    <a:pt x="1557" y="194"/>
                  </a:lnTo>
                  <a:lnTo>
                    <a:pt x="1577" y="192"/>
                  </a:lnTo>
                  <a:lnTo>
                    <a:pt x="1628" y="173"/>
                  </a:lnTo>
                  <a:lnTo>
                    <a:pt x="1668" y="141"/>
                  </a:lnTo>
                  <a:lnTo>
                    <a:pt x="1697" y="133"/>
                  </a:lnTo>
                  <a:lnTo>
                    <a:pt x="1697" y="136"/>
                  </a:lnTo>
                  <a:lnTo>
                    <a:pt x="1667" y="169"/>
                  </a:lnTo>
                  <a:lnTo>
                    <a:pt x="1667" y="181"/>
                  </a:lnTo>
                  <a:lnTo>
                    <a:pt x="1673" y="175"/>
                  </a:lnTo>
                  <a:lnTo>
                    <a:pt x="1690" y="173"/>
                  </a:lnTo>
                  <a:lnTo>
                    <a:pt x="1705" y="182"/>
                  </a:lnTo>
                  <a:lnTo>
                    <a:pt x="1721" y="199"/>
                  </a:lnTo>
                  <a:lnTo>
                    <a:pt x="1747" y="203"/>
                  </a:lnTo>
                  <a:lnTo>
                    <a:pt x="1773" y="187"/>
                  </a:lnTo>
                  <a:lnTo>
                    <a:pt x="1823" y="181"/>
                  </a:lnTo>
                  <a:lnTo>
                    <a:pt x="1824" y="195"/>
                  </a:lnTo>
                  <a:lnTo>
                    <a:pt x="1832" y="199"/>
                  </a:lnTo>
                  <a:lnTo>
                    <a:pt x="1849" y="199"/>
                  </a:lnTo>
                  <a:lnTo>
                    <a:pt x="1857" y="199"/>
                  </a:lnTo>
                  <a:lnTo>
                    <a:pt x="1861" y="220"/>
                  </a:lnTo>
                  <a:lnTo>
                    <a:pt x="1875" y="233"/>
                  </a:lnTo>
                  <a:lnTo>
                    <a:pt x="1854" y="238"/>
                  </a:lnTo>
                  <a:lnTo>
                    <a:pt x="1846" y="229"/>
                  </a:lnTo>
                  <a:lnTo>
                    <a:pt x="1843" y="240"/>
                  </a:lnTo>
                  <a:lnTo>
                    <a:pt x="1835" y="240"/>
                  </a:lnTo>
                  <a:lnTo>
                    <a:pt x="1812" y="226"/>
                  </a:lnTo>
                  <a:lnTo>
                    <a:pt x="1772" y="241"/>
                  </a:lnTo>
                  <a:lnTo>
                    <a:pt x="1752" y="257"/>
                  </a:lnTo>
                  <a:lnTo>
                    <a:pt x="1752" y="241"/>
                  </a:lnTo>
                  <a:lnTo>
                    <a:pt x="1736" y="248"/>
                  </a:lnTo>
                  <a:lnTo>
                    <a:pt x="1707" y="291"/>
                  </a:lnTo>
                  <a:lnTo>
                    <a:pt x="1699" y="306"/>
                  </a:lnTo>
                  <a:lnTo>
                    <a:pt x="1690" y="326"/>
                  </a:lnTo>
                  <a:lnTo>
                    <a:pt x="1716" y="308"/>
                  </a:lnTo>
                  <a:lnTo>
                    <a:pt x="1718" y="294"/>
                  </a:lnTo>
                  <a:lnTo>
                    <a:pt x="1729" y="280"/>
                  </a:lnTo>
                  <a:lnTo>
                    <a:pt x="1730" y="289"/>
                  </a:lnTo>
                  <a:lnTo>
                    <a:pt x="1712" y="328"/>
                  </a:lnTo>
                  <a:lnTo>
                    <a:pt x="1704" y="381"/>
                  </a:lnTo>
                  <a:lnTo>
                    <a:pt x="1693" y="409"/>
                  </a:lnTo>
                  <a:lnTo>
                    <a:pt x="1697" y="456"/>
                  </a:lnTo>
                  <a:lnTo>
                    <a:pt x="1697" y="469"/>
                  </a:lnTo>
                  <a:lnTo>
                    <a:pt x="1707" y="497"/>
                  </a:lnTo>
                  <a:lnTo>
                    <a:pt x="1710" y="503"/>
                  </a:lnTo>
                  <a:lnTo>
                    <a:pt x="1727" y="507"/>
                  </a:lnTo>
                  <a:lnTo>
                    <a:pt x="1738" y="498"/>
                  </a:lnTo>
                  <a:lnTo>
                    <a:pt x="1750" y="492"/>
                  </a:lnTo>
                  <a:lnTo>
                    <a:pt x="1769" y="446"/>
                  </a:lnTo>
                  <a:lnTo>
                    <a:pt x="1770" y="418"/>
                  </a:lnTo>
                  <a:lnTo>
                    <a:pt x="1769" y="407"/>
                  </a:lnTo>
                  <a:lnTo>
                    <a:pt x="1756" y="382"/>
                  </a:lnTo>
                  <a:lnTo>
                    <a:pt x="1763" y="348"/>
                  </a:lnTo>
                  <a:lnTo>
                    <a:pt x="1769" y="345"/>
                  </a:lnTo>
                  <a:lnTo>
                    <a:pt x="1769" y="317"/>
                  </a:lnTo>
                  <a:lnTo>
                    <a:pt x="1775" y="305"/>
                  </a:lnTo>
                  <a:lnTo>
                    <a:pt x="1795" y="289"/>
                  </a:lnTo>
                  <a:lnTo>
                    <a:pt x="1798" y="308"/>
                  </a:lnTo>
                  <a:lnTo>
                    <a:pt x="1806" y="300"/>
                  </a:lnTo>
                  <a:lnTo>
                    <a:pt x="1809" y="280"/>
                  </a:lnTo>
                  <a:lnTo>
                    <a:pt x="1829" y="272"/>
                  </a:lnTo>
                  <a:lnTo>
                    <a:pt x="1824" y="262"/>
                  </a:lnTo>
                  <a:lnTo>
                    <a:pt x="1827" y="252"/>
                  </a:lnTo>
                  <a:lnTo>
                    <a:pt x="1860" y="257"/>
                  </a:lnTo>
                  <a:lnTo>
                    <a:pt x="1897" y="280"/>
                  </a:lnTo>
                  <a:lnTo>
                    <a:pt x="1902" y="292"/>
                  </a:lnTo>
                  <a:lnTo>
                    <a:pt x="1899" y="296"/>
                  </a:lnTo>
                  <a:lnTo>
                    <a:pt x="1905" y="334"/>
                  </a:lnTo>
                  <a:lnTo>
                    <a:pt x="1895" y="353"/>
                  </a:lnTo>
                  <a:lnTo>
                    <a:pt x="1883" y="362"/>
                  </a:lnTo>
                  <a:lnTo>
                    <a:pt x="1877" y="377"/>
                  </a:lnTo>
                  <a:lnTo>
                    <a:pt x="1880" y="381"/>
                  </a:lnTo>
                  <a:lnTo>
                    <a:pt x="1890" y="381"/>
                  </a:lnTo>
                  <a:lnTo>
                    <a:pt x="1902" y="362"/>
                  </a:lnTo>
                  <a:lnTo>
                    <a:pt x="1924" y="356"/>
                  </a:lnTo>
                  <a:lnTo>
                    <a:pt x="1934" y="372"/>
                  </a:lnTo>
                  <a:lnTo>
                    <a:pt x="1941" y="407"/>
                  </a:lnTo>
                  <a:lnTo>
                    <a:pt x="1948" y="418"/>
                  </a:lnTo>
                  <a:lnTo>
                    <a:pt x="1941" y="446"/>
                  </a:lnTo>
                  <a:lnTo>
                    <a:pt x="1925" y="452"/>
                  </a:lnTo>
                  <a:lnTo>
                    <a:pt x="1924" y="461"/>
                  </a:lnTo>
                  <a:lnTo>
                    <a:pt x="1916" y="477"/>
                  </a:lnTo>
                  <a:lnTo>
                    <a:pt x="1914" y="486"/>
                  </a:lnTo>
                  <a:lnTo>
                    <a:pt x="1900" y="504"/>
                  </a:lnTo>
                  <a:lnTo>
                    <a:pt x="1946" y="519"/>
                  </a:lnTo>
                  <a:lnTo>
                    <a:pt x="1975" y="514"/>
                  </a:lnTo>
                  <a:lnTo>
                    <a:pt x="2005" y="495"/>
                  </a:lnTo>
                  <a:lnTo>
                    <a:pt x="2034" y="487"/>
                  </a:lnTo>
                  <a:lnTo>
                    <a:pt x="2068" y="469"/>
                  </a:lnTo>
                  <a:lnTo>
                    <a:pt x="2112" y="435"/>
                  </a:lnTo>
                  <a:lnTo>
                    <a:pt x="2103" y="409"/>
                  </a:lnTo>
                  <a:lnTo>
                    <a:pt x="2146" y="398"/>
                  </a:lnTo>
                  <a:lnTo>
                    <a:pt x="2171" y="407"/>
                  </a:lnTo>
                  <a:lnTo>
                    <a:pt x="2200" y="404"/>
                  </a:lnTo>
                  <a:lnTo>
                    <a:pt x="2236" y="389"/>
                  </a:lnTo>
                  <a:lnTo>
                    <a:pt x="2236" y="375"/>
                  </a:lnTo>
                  <a:lnTo>
                    <a:pt x="2230" y="367"/>
                  </a:lnTo>
                  <a:lnTo>
                    <a:pt x="2239" y="360"/>
                  </a:lnTo>
                  <a:lnTo>
                    <a:pt x="2228" y="355"/>
                  </a:lnTo>
                  <a:lnTo>
                    <a:pt x="2250" y="339"/>
                  </a:lnTo>
                  <a:lnTo>
                    <a:pt x="2259" y="319"/>
                  </a:lnTo>
                  <a:lnTo>
                    <a:pt x="2288" y="299"/>
                  </a:lnTo>
                  <a:lnTo>
                    <a:pt x="2364" y="299"/>
                  </a:lnTo>
                  <a:lnTo>
                    <a:pt x="2403" y="299"/>
                  </a:lnTo>
                  <a:lnTo>
                    <a:pt x="2448" y="299"/>
                  </a:lnTo>
                  <a:lnTo>
                    <a:pt x="2456" y="282"/>
                  </a:lnTo>
                  <a:lnTo>
                    <a:pt x="2469" y="280"/>
                  </a:lnTo>
                  <a:close/>
                  <a:moveTo>
                    <a:pt x="2666" y="309"/>
                  </a:moveTo>
                  <a:lnTo>
                    <a:pt x="2663" y="323"/>
                  </a:lnTo>
                  <a:lnTo>
                    <a:pt x="2669" y="319"/>
                  </a:lnTo>
                  <a:lnTo>
                    <a:pt x="2669" y="311"/>
                  </a:lnTo>
                  <a:lnTo>
                    <a:pt x="2666" y="309"/>
                  </a:lnTo>
                  <a:close/>
                  <a:moveTo>
                    <a:pt x="2581" y="356"/>
                  </a:moveTo>
                  <a:lnTo>
                    <a:pt x="2583" y="360"/>
                  </a:lnTo>
                  <a:lnTo>
                    <a:pt x="2584" y="356"/>
                  </a:lnTo>
                  <a:lnTo>
                    <a:pt x="2581" y="356"/>
                  </a:lnTo>
                  <a:close/>
                  <a:moveTo>
                    <a:pt x="2578" y="350"/>
                  </a:moveTo>
                  <a:lnTo>
                    <a:pt x="2581" y="350"/>
                  </a:lnTo>
                  <a:lnTo>
                    <a:pt x="2583" y="343"/>
                  </a:lnTo>
                  <a:lnTo>
                    <a:pt x="2578" y="350"/>
                  </a:lnTo>
                  <a:close/>
                  <a:moveTo>
                    <a:pt x="2567" y="353"/>
                  </a:moveTo>
                  <a:lnTo>
                    <a:pt x="2570" y="356"/>
                  </a:lnTo>
                  <a:lnTo>
                    <a:pt x="2576" y="355"/>
                  </a:lnTo>
                  <a:lnTo>
                    <a:pt x="2573" y="348"/>
                  </a:lnTo>
                  <a:lnTo>
                    <a:pt x="2567" y="353"/>
                  </a:lnTo>
                  <a:close/>
                  <a:moveTo>
                    <a:pt x="2507" y="529"/>
                  </a:moveTo>
                  <a:lnTo>
                    <a:pt x="2519" y="532"/>
                  </a:lnTo>
                  <a:lnTo>
                    <a:pt x="2520" y="528"/>
                  </a:lnTo>
                  <a:lnTo>
                    <a:pt x="2516" y="523"/>
                  </a:lnTo>
                  <a:lnTo>
                    <a:pt x="2515" y="528"/>
                  </a:lnTo>
                  <a:lnTo>
                    <a:pt x="2507" y="529"/>
                  </a:lnTo>
                  <a:close/>
                  <a:moveTo>
                    <a:pt x="2479" y="524"/>
                  </a:moveTo>
                  <a:lnTo>
                    <a:pt x="2498" y="526"/>
                  </a:lnTo>
                  <a:lnTo>
                    <a:pt x="2498" y="521"/>
                  </a:lnTo>
                  <a:lnTo>
                    <a:pt x="2491" y="517"/>
                  </a:lnTo>
                  <a:lnTo>
                    <a:pt x="2479" y="524"/>
                  </a:lnTo>
                  <a:close/>
                  <a:moveTo>
                    <a:pt x="2418" y="537"/>
                  </a:moveTo>
                  <a:lnTo>
                    <a:pt x="2418" y="534"/>
                  </a:lnTo>
                  <a:lnTo>
                    <a:pt x="2401" y="548"/>
                  </a:lnTo>
                  <a:lnTo>
                    <a:pt x="2351" y="557"/>
                  </a:lnTo>
                  <a:lnTo>
                    <a:pt x="2338" y="563"/>
                  </a:lnTo>
                  <a:lnTo>
                    <a:pt x="2338" y="570"/>
                  </a:lnTo>
                  <a:lnTo>
                    <a:pt x="2347" y="571"/>
                  </a:lnTo>
                  <a:lnTo>
                    <a:pt x="2420" y="549"/>
                  </a:lnTo>
                  <a:lnTo>
                    <a:pt x="2431" y="545"/>
                  </a:lnTo>
                  <a:lnTo>
                    <a:pt x="2431" y="541"/>
                  </a:lnTo>
                  <a:lnTo>
                    <a:pt x="2422" y="543"/>
                  </a:lnTo>
                  <a:lnTo>
                    <a:pt x="2408" y="548"/>
                  </a:lnTo>
                  <a:lnTo>
                    <a:pt x="2418" y="537"/>
                  </a:lnTo>
                  <a:close/>
                  <a:moveTo>
                    <a:pt x="1835" y="659"/>
                  </a:moveTo>
                  <a:lnTo>
                    <a:pt x="1832" y="663"/>
                  </a:lnTo>
                  <a:lnTo>
                    <a:pt x="1840" y="658"/>
                  </a:lnTo>
                  <a:lnTo>
                    <a:pt x="1835" y="659"/>
                  </a:lnTo>
                  <a:close/>
                  <a:moveTo>
                    <a:pt x="2041" y="1418"/>
                  </a:moveTo>
                  <a:lnTo>
                    <a:pt x="2030" y="1430"/>
                  </a:lnTo>
                  <a:lnTo>
                    <a:pt x="2041" y="1418"/>
                  </a:lnTo>
                  <a:close/>
                  <a:moveTo>
                    <a:pt x="2026" y="1431"/>
                  </a:moveTo>
                  <a:lnTo>
                    <a:pt x="2018" y="1438"/>
                  </a:lnTo>
                  <a:lnTo>
                    <a:pt x="2026" y="1431"/>
                  </a:lnTo>
                  <a:close/>
                  <a:moveTo>
                    <a:pt x="1996" y="1445"/>
                  </a:moveTo>
                  <a:lnTo>
                    <a:pt x="1973" y="1448"/>
                  </a:lnTo>
                  <a:lnTo>
                    <a:pt x="1992" y="1438"/>
                  </a:lnTo>
                  <a:lnTo>
                    <a:pt x="1996" y="1440"/>
                  </a:lnTo>
                  <a:lnTo>
                    <a:pt x="1996" y="1445"/>
                  </a:lnTo>
                  <a:close/>
                  <a:moveTo>
                    <a:pt x="1280" y="1274"/>
                  </a:moveTo>
                  <a:lnTo>
                    <a:pt x="1300" y="1258"/>
                  </a:lnTo>
                  <a:lnTo>
                    <a:pt x="1277" y="1287"/>
                  </a:lnTo>
                  <a:lnTo>
                    <a:pt x="1274" y="1286"/>
                  </a:lnTo>
                  <a:lnTo>
                    <a:pt x="1280" y="1274"/>
                  </a:lnTo>
                  <a:close/>
                  <a:moveTo>
                    <a:pt x="282" y="1007"/>
                  </a:moveTo>
                  <a:lnTo>
                    <a:pt x="295" y="1018"/>
                  </a:lnTo>
                  <a:lnTo>
                    <a:pt x="291" y="1020"/>
                  </a:lnTo>
                  <a:lnTo>
                    <a:pt x="282" y="1007"/>
                  </a:lnTo>
                  <a:close/>
                  <a:moveTo>
                    <a:pt x="208" y="955"/>
                  </a:moveTo>
                  <a:lnTo>
                    <a:pt x="215" y="950"/>
                  </a:lnTo>
                  <a:lnTo>
                    <a:pt x="219" y="958"/>
                  </a:lnTo>
                  <a:lnTo>
                    <a:pt x="208" y="955"/>
                  </a:lnTo>
                  <a:close/>
                  <a:moveTo>
                    <a:pt x="223" y="949"/>
                  </a:moveTo>
                  <a:lnTo>
                    <a:pt x="239" y="955"/>
                  </a:lnTo>
                  <a:lnTo>
                    <a:pt x="231" y="958"/>
                  </a:lnTo>
                  <a:lnTo>
                    <a:pt x="223" y="949"/>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38" name="Freeform 165">
              <a:extLst>
                <a:ext uri="{FF2B5EF4-FFF2-40B4-BE49-F238E27FC236}">
                  <a16:creationId xmlns:a16="http://schemas.microsoft.com/office/drawing/2014/main" id="{34A9240B-F298-254B-AF59-CE7D35EA4B73}"/>
                </a:ext>
              </a:extLst>
            </p:cNvPr>
            <p:cNvSpPr>
              <a:spLocks noChangeAspect="1"/>
            </p:cNvSpPr>
            <p:nvPr/>
          </p:nvSpPr>
          <p:spPr bwMode="gray">
            <a:xfrm>
              <a:off x="3177795" y="3344929"/>
              <a:ext cx="4778" cy="1920"/>
            </a:xfrm>
            <a:custGeom>
              <a:avLst/>
              <a:gdLst>
                <a:gd name="T0" fmla="*/ 9 w 9"/>
                <a:gd name="T1" fmla="*/ 0 h 4"/>
                <a:gd name="T2" fmla="*/ 5 w 9"/>
                <a:gd name="T3" fmla="*/ 0 h 4"/>
                <a:gd name="T4" fmla="*/ 2 w 9"/>
                <a:gd name="T5" fmla="*/ 1 h 4"/>
                <a:gd name="T6" fmla="*/ 1 w 9"/>
                <a:gd name="T7" fmla="*/ 2 h 4"/>
                <a:gd name="T8" fmla="*/ 0 w 9"/>
                <a:gd name="T9" fmla="*/ 3 h 4"/>
                <a:gd name="T10" fmla="*/ 3 w 9"/>
                <a:gd name="T11" fmla="*/ 4 h 4"/>
                <a:gd name="T12" fmla="*/ 6 w 9"/>
                <a:gd name="T13" fmla="*/ 3 h 4"/>
                <a:gd name="T14" fmla="*/ 9 w 9"/>
                <a:gd name="T15" fmla="*/ 2 h 4"/>
                <a:gd name="T16" fmla="*/ 9 w 9"/>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4">
                  <a:moveTo>
                    <a:pt x="9" y="0"/>
                  </a:moveTo>
                  <a:lnTo>
                    <a:pt x="5" y="0"/>
                  </a:lnTo>
                  <a:lnTo>
                    <a:pt x="2" y="1"/>
                  </a:lnTo>
                  <a:lnTo>
                    <a:pt x="1" y="2"/>
                  </a:lnTo>
                  <a:lnTo>
                    <a:pt x="0" y="3"/>
                  </a:lnTo>
                  <a:lnTo>
                    <a:pt x="3" y="4"/>
                  </a:lnTo>
                  <a:lnTo>
                    <a:pt x="6" y="3"/>
                  </a:lnTo>
                  <a:lnTo>
                    <a:pt x="9" y="2"/>
                  </a:lnTo>
                  <a:lnTo>
                    <a:pt x="9" y="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ysClr val="windowText" lastClr="000000"/>
                  </a:solidFill>
                  <a:effectLst/>
                  <a:uLnTx/>
                  <a:uFillTx/>
                  <a:latin typeface="Arial"/>
                  <a:ea typeface="+mn-ea"/>
                  <a:cs typeface="+mn-cs"/>
                </a:rPr>
                <a:t>   </a:t>
              </a:r>
            </a:p>
          </p:txBody>
        </p:sp>
        <p:sp>
          <p:nvSpPr>
            <p:cNvPr id="439" name="Freeform 167">
              <a:extLst>
                <a:ext uri="{FF2B5EF4-FFF2-40B4-BE49-F238E27FC236}">
                  <a16:creationId xmlns:a16="http://schemas.microsoft.com/office/drawing/2014/main" id="{C428EA56-7204-804A-AC59-6DE8641B68B7}"/>
                </a:ext>
              </a:extLst>
            </p:cNvPr>
            <p:cNvSpPr>
              <a:spLocks noChangeAspect="1" noEditPoints="1"/>
            </p:cNvSpPr>
            <p:nvPr/>
          </p:nvSpPr>
          <p:spPr bwMode="gray">
            <a:xfrm>
              <a:off x="826461" y="1472956"/>
              <a:ext cx="699347" cy="1111665"/>
            </a:xfrm>
            <a:custGeom>
              <a:avLst/>
              <a:gdLst>
                <a:gd name="T0" fmla="*/ 1305 w 1433"/>
                <a:gd name="T1" fmla="*/ 1263 h 1891"/>
                <a:gd name="T2" fmla="*/ 1305 w 1433"/>
                <a:gd name="T3" fmla="*/ 724 h 1891"/>
                <a:gd name="T4" fmla="*/ 1293 w 1433"/>
                <a:gd name="T5" fmla="*/ 235 h 1891"/>
                <a:gd name="T6" fmla="*/ 875 w 1433"/>
                <a:gd name="T7" fmla="*/ 132 h 1891"/>
                <a:gd name="T8" fmla="*/ 767 w 1433"/>
                <a:gd name="T9" fmla="*/ 79 h 1891"/>
                <a:gd name="T10" fmla="*/ 640 w 1433"/>
                <a:gd name="T11" fmla="*/ 60 h 1891"/>
                <a:gd name="T12" fmla="*/ 567 w 1433"/>
                <a:gd name="T13" fmla="*/ 18 h 1891"/>
                <a:gd name="T14" fmla="*/ 436 w 1433"/>
                <a:gd name="T15" fmla="*/ 85 h 1891"/>
                <a:gd name="T16" fmla="*/ 338 w 1433"/>
                <a:gd name="T17" fmla="*/ 169 h 1891"/>
                <a:gd name="T18" fmla="*/ 266 w 1433"/>
                <a:gd name="T19" fmla="*/ 299 h 1891"/>
                <a:gd name="T20" fmla="*/ 300 w 1433"/>
                <a:gd name="T21" fmla="*/ 566 h 1891"/>
                <a:gd name="T22" fmla="*/ 372 w 1433"/>
                <a:gd name="T23" fmla="*/ 599 h 1891"/>
                <a:gd name="T24" fmla="*/ 344 w 1433"/>
                <a:gd name="T25" fmla="*/ 624 h 1891"/>
                <a:gd name="T26" fmla="*/ 334 w 1433"/>
                <a:gd name="T27" fmla="*/ 670 h 1891"/>
                <a:gd name="T28" fmla="*/ 139 w 1433"/>
                <a:gd name="T29" fmla="*/ 659 h 1891"/>
                <a:gd name="T30" fmla="*/ 112 w 1433"/>
                <a:gd name="T31" fmla="*/ 768 h 1891"/>
                <a:gd name="T32" fmla="*/ 286 w 1433"/>
                <a:gd name="T33" fmla="*/ 831 h 1891"/>
                <a:gd name="T34" fmla="*/ 363 w 1433"/>
                <a:gd name="T35" fmla="*/ 843 h 1891"/>
                <a:gd name="T36" fmla="*/ 292 w 1433"/>
                <a:gd name="T37" fmla="*/ 993 h 1891"/>
                <a:gd name="T38" fmla="*/ 146 w 1433"/>
                <a:gd name="T39" fmla="*/ 1119 h 1891"/>
                <a:gd name="T40" fmla="*/ 182 w 1433"/>
                <a:gd name="T41" fmla="*/ 1157 h 1891"/>
                <a:gd name="T42" fmla="*/ 259 w 1433"/>
                <a:gd name="T43" fmla="*/ 1218 h 1891"/>
                <a:gd name="T44" fmla="*/ 318 w 1433"/>
                <a:gd name="T45" fmla="*/ 1275 h 1891"/>
                <a:gd name="T46" fmla="*/ 346 w 1433"/>
                <a:gd name="T47" fmla="*/ 1379 h 1891"/>
                <a:gd name="T48" fmla="*/ 447 w 1433"/>
                <a:gd name="T49" fmla="*/ 1388 h 1891"/>
                <a:gd name="T50" fmla="*/ 559 w 1433"/>
                <a:gd name="T51" fmla="*/ 1398 h 1891"/>
                <a:gd name="T52" fmla="*/ 495 w 1433"/>
                <a:gd name="T53" fmla="*/ 1544 h 1891"/>
                <a:gd name="T54" fmla="*/ 366 w 1433"/>
                <a:gd name="T55" fmla="*/ 1634 h 1891"/>
                <a:gd name="T56" fmla="*/ 309 w 1433"/>
                <a:gd name="T57" fmla="*/ 1713 h 1891"/>
                <a:gd name="T58" fmla="*/ 403 w 1433"/>
                <a:gd name="T59" fmla="*/ 1673 h 1891"/>
                <a:gd name="T60" fmla="*/ 499 w 1433"/>
                <a:gd name="T61" fmla="*/ 1598 h 1891"/>
                <a:gd name="T62" fmla="*/ 593 w 1433"/>
                <a:gd name="T63" fmla="*/ 1527 h 1891"/>
                <a:gd name="T64" fmla="*/ 700 w 1433"/>
                <a:gd name="T65" fmla="*/ 1433 h 1891"/>
                <a:gd name="T66" fmla="*/ 720 w 1433"/>
                <a:gd name="T67" fmla="*/ 1317 h 1891"/>
                <a:gd name="T68" fmla="*/ 804 w 1433"/>
                <a:gd name="T69" fmla="*/ 1204 h 1891"/>
                <a:gd name="T70" fmla="*/ 883 w 1433"/>
                <a:gd name="T71" fmla="*/ 1171 h 1891"/>
                <a:gd name="T72" fmla="*/ 827 w 1433"/>
                <a:gd name="T73" fmla="*/ 1218 h 1891"/>
                <a:gd name="T74" fmla="*/ 807 w 1433"/>
                <a:gd name="T75" fmla="*/ 1337 h 1891"/>
                <a:gd name="T76" fmla="*/ 879 w 1433"/>
                <a:gd name="T77" fmla="*/ 1320 h 1891"/>
                <a:gd name="T78" fmla="*/ 960 w 1433"/>
                <a:gd name="T79" fmla="*/ 1266 h 1891"/>
                <a:gd name="T80" fmla="*/ 968 w 1433"/>
                <a:gd name="T81" fmla="*/ 1196 h 1891"/>
                <a:gd name="T82" fmla="*/ 997 w 1433"/>
                <a:gd name="T83" fmla="*/ 1198 h 1891"/>
                <a:gd name="T84" fmla="*/ 1103 w 1433"/>
                <a:gd name="T85" fmla="*/ 1259 h 1891"/>
                <a:gd name="T86" fmla="*/ 1282 w 1433"/>
                <a:gd name="T87" fmla="*/ 1298 h 1891"/>
                <a:gd name="T88" fmla="*/ 1369 w 1433"/>
                <a:gd name="T89" fmla="*/ 1300 h 1891"/>
                <a:gd name="T90" fmla="*/ 376 w 1433"/>
                <a:gd name="T91" fmla="*/ 1414 h 1891"/>
                <a:gd name="T92" fmla="*/ 1038 w 1433"/>
                <a:gd name="T93" fmla="*/ 1254 h 1891"/>
                <a:gd name="T94" fmla="*/ 984 w 1433"/>
                <a:gd name="T95" fmla="*/ 1306 h 1891"/>
                <a:gd name="T96" fmla="*/ 781 w 1433"/>
                <a:gd name="T97" fmla="*/ 1427 h 1891"/>
                <a:gd name="T98" fmla="*/ 700 w 1433"/>
                <a:gd name="T99" fmla="*/ 1496 h 1891"/>
                <a:gd name="T100" fmla="*/ 716 w 1433"/>
                <a:gd name="T101" fmla="*/ 1476 h 1891"/>
                <a:gd name="T102" fmla="*/ 781 w 1433"/>
                <a:gd name="T103" fmla="*/ 1513 h 1891"/>
                <a:gd name="T104" fmla="*/ 719 w 1433"/>
                <a:gd name="T105" fmla="*/ 1564 h 1891"/>
                <a:gd name="T106" fmla="*/ 696 w 1433"/>
                <a:gd name="T107" fmla="*/ 1592 h 1891"/>
                <a:gd name="T108" fmla="*/ 183 w 1433"/>
                <a:gd name="T109" fmla="*/ 1227 h 1891"/>
                <a:gd name="T110" fmla="*/ 166 w 1433"/>
                <a:gd name="T111" fmla="*/ 1261 h 1891"/>
                <a:gd name="T112" fmla="*/ 402 w 1433"/>
                <a:gd name="T113" fmla="*/ 1702 h 1891"/>
                <a:gd name="T114" fmla="*/ 144 w 1433"/>
                <a:gd name="T115" fmla="*/ 1790 h 1891"/>
                <a:gd name="T116" fmla="*/ 95 w 1433"/>
                <a:gd name="T117" fmla="*/ 1801 h 1891"/>
                <a:gd name="T118" fmla="*/ 0 w 1433"/>
                <a:gd name="T119" fmla="*/ 1891 h 1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33" h="1891">
                  <a:moveTo>
                    <a:pt x="1433" y="1340"/>
                  </a:moveTo>
                  <a:lnTo>
                    <a:pt x="1392" y="1289"/>
                  </a:lnTo>
                  <a:lnTo>
                    <a:pt x="1387" y="1284"/>
                  </a:lnTo>
                  <a:lnTo>
                    <a:pt x="1390" y="1261"/>
                  </a:lnTo>
                  <a:lnTo>
                    <a:pt x="1362" y="1261"/>
                  </a:lnTo>
                  <a:lnTo>
                    <a:pt x="1352" y="1275"/>
                  </a:lnTo>
                  <a:lnTo>
                    <a:pt x="1335" y="1263"/>
                  </a:lnTo>
                  <a:lnTo>
                    <a:pt x="1322" y="1272"/>
                  </a:lnTo>
                  <a:lnTo>
                    <a:pt x="1305" y="1263"/>
                  </a:lnTo>
                  <a:lnTo>
                    <a:pt x="1305" y="1207"/>
                  </a:lnTo>
                  <a:lnTo>
                    <a:pt x="1305" y="1151"/>
                  </a:lnTo>
                  <a:lnTo>
                    <a:pt x="1305" y="1094"/>
                  </a:lnTo>
                  <a:lnTo>
                    <a:pt x="1305" y="1035"/>
                  </a:lnTo>
                  <a:lnTo>
                    <a:pt x="1305" y="975"/>
                  </a:lnTo>
                  <a:lnTo>
                    <a:pt x="1305" y="914"/>
                  </a:lnTo>
                  <a:lnTo>
                    <a:pt x="1305" y="853"/>
                  </a:lnTo>
                  <a:lnTo>
                    <a:pt x="1305" y="789"/>
                  </a:lnTo>
                  <a:lnTo>
                    <a:pt x="1305" y="724"/>
                  </a:lnTo>
                  <a:lnTo>
                    <a:pt x="1305" y="658"/>
                  </a:lnTo>
                  <a:lnTo>
                    <a:pt x="1305" y="591"/>
                  </a:lnTo>
                  <a:lnTo>
                    <a:pt x="1305" y="520"/>
                  </a:lnTo>
                  <a:lnTo>
                    <a:pt x="1305" y="449"/>
                  </a:lnTo>
                  <a:lnTo>
                    <a:pt x="1305" y="376"/>
                  </a:lnTo>
                  <a:lnTo>
                    <a:pt x="1305" y="301"/>
                  </a:lnTo>
                  <a:lnTo>
                    <a:pt x="1305" y="223"/>
                  </a:lnTo>
                  <a:lnTo>
                    <a:pt x="1297" y="221"/>
                  </a:lnTo>
                  <a:lnTo>
                    <a:pt x="1293" y="235"/>
                  </a:lnTo>
                  <a:lnTo>
                    <a:pt x="1204" y="169"/>
                  </a:lnTo>
                  <a:lnTo>
                    <a:pt x="1191" y="170"/>
                  </a:lnTo>
                  <a:lnTo>
                    <a:pt x="1189" y="184"/>
                  </a:lnTo>
                  <a:lnTo>
                    <a:pt x="1178" y="172"/>
                  </a:lnTo>
                  <a:lnTo>
                    <a:pt x="1107" y="187"/>
                  </a:lnTo>
                  <a:lnTo>
                    <a:pt x="1073" y="164"/>
                  </a:lnTo>
                  <a:lnTo>
                    <a:pt x="1030" y="167"/>
                  </a:lnTo>
                  <a:lnTo>
                    <a:pt x="923" y="119"/>
                  </a:lnTo>
                  <a:lnTo>
                    <a:pt x="875" y="132"/>
                  </a:lnTo>
                  <a:lnTo>
                    <a:pt x="884" y="127"/>
                  </a:lnTo>
                  <a:lnTo>
                    <a:pt x="875" y="118"/>
                  </a:lnTo>
                  <a:lnTo>
                    <a:pt x="812" y="124"/>
                  </a:lnTo>
                  <a:lnTo>
                    <a:pt x="820" y="111"/>
                  </a:lnTo>
                  <a:lnTo>
                    <a:pt x="801" y="107"/>
                  </a:lnTo>
                  <a:lnTo>
                    <a:pt x="787" y="96"/>
                  </a:lnTo>
                  <a:lnTo>
                    <a:pt x="793" y="73"/>
                  </a:lnTo>
                  <a:lnTo>
                    <a:pt x="764" y="65"/>
                  </a:lnTo>
                  <a:lnTo>
                    <a:pt x="767" y="79"/>
                  </a:lnTo>
                  <a:lnTo>
                    <a:pt x="757" y="79"/>
                  </a:lnTo>
                  <a:lnTo>
                    <a:pt x="742" y="57"/>
                  </a:lnTo>
                  <a:lnTo>
                    <a:pt x="697" y="76"/>
                  </a:lnTo>
                  <a:lnTo>
                    <a:pt x="677" y="65"/>
                  </a:lnTo>
                  <a:lnTo>
                    <a:pt x="680" y="59"/>
                  </a:lnTo>
                  <a:lnTo>
                    <a:pt x="672" y="39"/>
                  </a:lnTo>
                  <a:lnTo>
                    <a:pt x="657" y="32"/>
                  </a:lnTo>
                  <a:lnTo>
                    <a:pt x="642" y="49"/>
                  </a:lnTo>
                  <a:lnTo>
                    <a:pt x="640" y="60"/>
                  </a:lnTo>
                  <a:lnTo>
                    <a:pt x="649" y="86"/>
                  </a:lnTo>
                  <a:lnTo>
                    <a:pt x="640" y="86"/>
                  </a:lnTo>
                  <a:lnTo>
                    <a:pt x="634" y="73"/>
                  </a:lnTo>
                  <a:lnTo>
                    <a:pt x="600" y="71"/>
                  </a:lnTo>
                  <a:lnTo>
                    <a:pt x="605" y="56"/>
                  </a:lnTo>
                  <a:lnTo>
                    <a:pt x="635" y="40"/>
                  </a:lnTo>
                  <a:lnTo>
                    <a:pt x="635" y="28"/>
                  </a:lnTo>
                  <a:lnTo>
                    <a:pt x="583" y="0"/>
                  </a:lnTo>
                  <a:lnTo>
                    <a:pt x="567" y="18"/>
                  </a:lnTo>
                  <a:lnTo>
                    <a:pt x="569" y="28"/>
                  </a:lnTo>
                  <a:lnTo>
                    <a:pt x="525" y="71"/>
                  </a:lnTo>
                  <a:lnTo>
                    <a:pt x="468" y="76"/>
                  </a:lnTo>
                  <a:lnTo>
                    <a:pt x="473" y="79"/>
                  </a:lnTo>
                  <a:lnTo>
                    <a:pt x="464" y="85"/>
                  </a:lnTo>
                  <a:lnTo>
                    <a:pt x="465" y="94"/>
                  </a:lnTo>
                  <a:lnTo>
                    <a:pt x="453" y="86"/>
                  </a:lnTo>
                  <a:lnTo>
                    <a:pt x="476" y="60"/>
                  </a:lnTo>
                  <a:lnTo>
                    <a:pt x="436" y="85"/>
                  </a:lnTo>
                  <a:lnTo>
                    <a:pt x="425" y="98"/>
                  </a:lnTo>
                  <a:lnTo>
                    <a:pt x="454" y="116"/>
                  </a:lnTo>
                  <a:lnTo>
                    <a:pt x="437" y="122"/>
                  </a:lnTo>
                  <a:lnTo>
                    <a:pt x="432" y="152"/>
                  </a:lnTo>
                  <a:lnTo>
                    <a:pt x="427" y="136"/>
                  </a:lnTo>
                  <a:lnTo>
                    <a:pt x="420" y="142"/>
                  </a:lnTo>
                  <a:lnTo>
                    <a:pt x="428" y="116"/>
                  </a:lnTo>
                  <a:lnTo>
                    <a:pt x="420" y="107"/>
                  </a:lnTo>
                  <a:lnTo>
                    <a:pt x="338" y="169"/>
                  </a:lnTo>
                  <a:lnTo>
                    <a:pt x="347" y="149"/>
                  </a:lnTo>
                  <a:lnTo>
                    <a:pt x="338" y="147"/>
                  </a:lnTo>
                  <a:lnTo>
                    <a:pt x="327" y="178"/>
                  </a:lnTo>
                  <a:lnTo>
                    <a:pt x="317" y="183"/>
                  </a:lnTo>
                  <a:lnTo>
                    <a:pt x="295" y="213"/>
                  </a:lnTo>
                  <a:lnTo>
                    <a:pt x="292" y="221"/>
                  </a:lnTo>
                  <a:lnTo>
                    <a:pt x="284" y="267"/>
                  </a:lnTo>
                  <a:lnTo>
                    <a:pt x="281" y="257"/>
                  </a:lnTo>
                  <a:lnTo>
                    <a:pt x="266" y="299"/>
                  </a:lnTo>
                  <a:lnTo>
                    <a:pt x="246" y="317"/>
                  </a:lnTo>
                  <a:lnTo>
                    <a:pt x="140" y="333"/>
                  </a:lnTo>
                  <a:lnTo>
                    <a:pt x="139" y="381"/>
                  </a:lnTo>
                  <a:lnTo>
                    <a:pt x="146" y="381"/>
                  </a:lnTo>
                  <a:lnTo>
                    <a:pt x="112" y="398"/>
                  </a:lnTo>
                  <a:lnTo>
                    <a:pt x="229" y="481"/>
                  </a:lnTo>
                  <a:lnTo>
                    <a:pt x="249" y="504"/>
                  </a:lnTo>
                  <a:lnTo>
                    <a:pt x="261" y="551"/>
                  </a:lnTo>
                  <a:lnTo>
                    <a:pt x="300" y="566"/>
                  </a:lnTo>
                  <a:lnTo>
                    <a:pt x="303" y="554"/>
                  </a:lnTo>
                  <a:lnTo>
                    <a:pt x="315" y="546"/>
                  </a:lnTo>
                  <a:lnTo>
                    <a:pt x="312" y="565"/>
                  </a:lnTo>
                  <a:lnTo>
                    <a:pt x="315" y="568"/>
                  </a:lnTo>
                  <a:lnTo>
                    <a:pt x="354" y="562"/>
                  </a:lnTo>
                  <a:lnTo>
                    <a:pt x="361" y="568"/>
                  </a:lnTo>
                  <a:lnTo>
                    <a:pt x="344" y="592"/>
                  </a:lnTo>
                  <a:lnTo>
                    <a:pt x="368" y="617"/>
                  </a:lnTo>
                  <a:lnTo>
                    <a:pt x="372" y="599"/>
                  </a:lnTo>
                  <a:lnTo>
                    <a:pt x="374" y="609"/>
                  </a:lnTo>
                  <a:lnTo>
                    <a:pt x="405" y="614"/>
                  </a:lnTo>
                  <a:lnTo>
                    <a:pt x="448" y="600"/>
                  </a:lnTo>
                  <a:lnTo>
                    <a:pt x="453" y="614"/>
                  </a:lnTo>
                  <a:lnTo>
                    <a:pt x="400" y="638"/>
                  </a:lnTo>
                  <a:lnTo>
                    <a:pt x="374" y="617"/>
                  </a:lnTo>
                  <a:lnTo>
                    <a:pt x="351" y="624"/>
                  </a:lnTo>
                  <a:lnTo>
                    <a:pt x="334" y="602"/>
                  </a:lnTo>
                  <a:lnTo>
                    <a:pt x="344" y="624"/>
                  </a:lnTo>
                  <a:lnTo>
                    <a:pt x="340" y="642"/>
                  </a:lnTo>
                  <a:lnTo>
                    <a:pt x="347" y="647"/>
                  </a:lnTo>
                  <a:lnTo>
                    <a:pt x="349" y="633"/>
                  </a:lnTo>
                  <a:lnTo>
                    <a:pt x="386" y="648"/>
                  </a:lnTo>
                  <a:lnTo>
                    <a:pt x="380" y="664"/>
                  </a:lnTo>
                  <a:lnTo>
                    <a:pt x="378" y="653"/>
                  </a:lnTo>
                  <a:lnTo>
                    <a:pt x="361" y="648"/>
                  </a:lnTo>
                  <a:lnTo>
                    <a:pt x="346" y="684"/>
                  </a:lnTo>
                  <a:lnTo>
                    <a:pt x="334" y="670"/>
                  </a:lnTo>
                  <a:lnTo>
                    <a:pt x="263" y="672"/>
                  </a:lnTo>
                  <a:lnTo>
                    <a:pt x="242" y="655"/>
                  </a:lnTo>
                  <a:lnTo>
                    <a:pt x="256" y="645"/>
                  </a:lnTo>
                  <a:lnTo>
                    <a:pt x="255" y="617"/>
                  </a:lnTo>
                  <a:lnTo>
                    <a:pt x="263" y="609"/>
                  </a:lnTo>
                  <a:lnTo>
                    <a:pt x="213" y="611"/>
                  </a:lnTo>
                  <a:lnTo>
                    <a:pt x="161" y="648"/>
                  </a:lnTo>
                  <a:lnTo>
                    <a:pt x="174" y="664"/>
                  </a:lnTo>
                  <a:lnTo>
                    <a:pt x="139" y="659"/>
                  </a:lnTo>
                  <a:lnTo>
                    <a:pt x="106" y="690"/>
                  </a:lnTo>
                  <a:lnTo>
                    <a:pt x="85" y="695"/>
                  </a:lnTo>
                  <a:lnTo>
                    <a:pt x="83" y="707"/>
                  </a:lnTo>
                  <a:lnTo>
                    <a:pt x="57" y="714"/>
                  </a:lnTo>
                  <a:lnTo>
                    <a:pt x="92" y="748"/>
                  </a:lnTo>
                  <a:lnTo>
                    <a:pt x="144" y="758"/>
                  </a:lnTo>
                  <a:lnTo>
                    <a:pt x="123" y="775"/>
                  </a:lnTo>
                  <a:lnTo>
                    <a:pt x="114" y="761"/>
                  </a:lnTo>
                  <a:lnTo>
                    <a:pt x="112" y="768"/>
                  </a:lnTo>
                  <a:lnTo>
                    <a:pt x="132" y="799"/>
                  </a:lnTo>
                  <a:lnTo>
                    <a:pt x="131" y="819"/>
                  </a:lnTo>
                  <a:lnTo>
                    <a:pt x="146" y="836"/>
                  </a:lnTo>
                  <a:lnTo>
                    <a:pt x="207" y="849"/>
                  </a:lnTo>
                  <a:lnTo>
                    <a:pt x="263" y="836"/>
                  </a:lnTo>
                  <a:lnTo>
                    <a:pt x="286" y="854"/>
                  </a:lnTo>
                  <a:lnTo>
                    <a:pt x="290" y="843"/>
                  </a:lnTo>
                  <a:lnTo>
                    <a:pt x="275" y="831"/>
                  </a:lnTo>
                  <a:lnTo>
                    <a:pt x="286" y="831"/>
                  </a:lnTo>
                  <a:lnTo>
                    <a:pt x="298" y="843"/>
                  </a:lnTo>
                  <a:lnTo>
                    <a:pt x="305" y="866"/>
                  </a:lnTo>
                  <a:lnTo>
                    <a:pt x="318" y="840"/>
                  </a:lnTo>
                  <a:lnTo>
                    <a:pt x="349" y="811"/>
                  </a:lnTo>
                  <a:lnTo>
                    <a:pt x="368" y="814"/>
                  </a:lnTo>
                  <a:lnTo>
                    <a:pt x="383" y="802"/>
                  </a:lnTo>
                  <a:lnTo>
                    <a:pt x="397" y="816"/>
                  </a:lnTo>
                  <a:lnTo>
                    <a:pt x="388" y="843"/>
                  </a:lnTo>
                  <a:lnTo>
                    <a:pt x="363" y="843"/>
                  </a:lnTo>
                  <a:lnTo>
                    <a:pt x="364" y="857"/>
                  </a:lnTo>
                  <a:lnTo>
                    <a:pt x="376" y="856"/>
                  </a:lnTo>
                  <a:lnTo>
                    <a:pt x="394" y="905"/>
                  </a:lnTo>
                  <a:lnTo>
                    <a:pt x="394" y="922"/>
                  </a:lnTo>
                  <a:lnTo>
                    <a:pt x="381" y="944"/>
                  </a:lnTo>
                  <a:lnTo>
                    <a:pt x="329" y="961"/>
                  </a:lnTo>
                  <a:lnTo>
                    <a:pt x="334" y="951"/>
                  </a:lnTo>
                  <a:lnTo>
                    <a:pt x="326" y="950"/>
                  </a:lnTo>
                  <a:lnTo>
                    <a:pt x="292" y="993"/>
                  </a:lnTo>
                  <a:lnTo>
                    <a:pt x="269" y="990"/>
                  </a:lnTo>
                  <a:lnTo>
                    <a:pt x="258" y="1000"/>
                  </a:lnTo>
                  <a:lnTo>
                    <a:pt x="239" y="1010"/>
                  </a:lnTo>
                  <a:lnTo>
                    <a:pt x="239" y="1027"/>
                  </a:lnTo>
                  <a:lnTo>
                    <a:pt x="215" y="1027"/>
                  </a:lnTo>
                  <a:lnTo>
                    <a:pt x="174" y="1065"/>
                  </a:lnTo>
                  <a:lnTo>
                    <a:pt x="162" y="1091"/>
                  </a:lnTo>
                  <a:lnTo>
                    <a:pt x="162" y="1110"/>
                  </a:lnTo>
                  <a:lnTo>
                    <a:pt x="146" y="1119"/>
                  </a:lnTo>
                  <a:lnTo>
                    <a:pt x="154" y="1128"/>
                  </a:lnTo>
                  <a:lnTo>
                    <a:pt x="142" y="1136"/>
                  </a:lnTo>
                  <a:lnTo>
                    <a:pt x="140" y="1148"/>
                  </a:lnTo>
                  <a:lnTo>
                    <a:pt x="182" y="1139"/>
                  </a:lnTo>
                  <a:lnTo>
                    <a:pt x="187" y="1140"/>
                  </a:lnTo>
                  <a:lnTo>
                    <a:pt x="161" y="1148"/>
                  </a:lnTo>
                  <a:lnTo>
                    <a:pt x="154" y="1157"/>
                  </a:lnTo>
                  <a:lnTo>
                    <a:pt x="166" y="1166"/>
                  </a:lnTo>
                  <a:lnTo>
                    <a:pt x="182" y="1157"/>
                  </a:lnTo>
                  <a:lnTo>
                    <a:pt x="176" y="1171"/>
                  </a:lnTo>
                  <a:lnTo>
                    <a:pt x="187" y="1196"/>
                  </a:lnTo>
                  <a:lnTo>
                    <a:pt x="202" y="1185"/>
                  </a:lnTo>
                  <a:lnTo>
                    <a:pt x="205" y="1195"/>
                  </a:lnTo>
                  <a:lnTo>
                    <a:pt x="219" y="1193"/>
                  </a:lnTo>
                  <a:lnTo>
                    <a:pt x="210" y="1205"/>
                  </a:lnTo>
                  <a:lnTo>
                    <a:pt x="221" y="1210"/>
                  </a:lnTo>
                  <a:lnTo>
                    <a:pt x="256" y="1208"/>
                  </a:lnTo>
                  <a:lnTo>
                    <a:pt x="259" y="1218"/>
                  </a:lnTo>
                  <a:lnTo>
                    <a:pt x="241" y="1229"/>
                  </a:lnTo>
                  <a:lnTo>
                    <a:pt x="219" y="1264"/>
                  </a:lnTo>
                  <a:lnTo>
                    <a:pt x="227" y="1288"/>
                  </a:lnTo>
                  <a:lnTo>
                    <a:pt x="244" y="1283"/>
                  </a:lnTo>
                  <a:lnTo>
                    <a:pt x="242" y="1292"/>
                  </a:lnTo>
                  <a:lnTo>
                    <a:pt x="236" y="1298"/>
                  </a:lnTo>
                  <a:lnTo>
                    <a:pt x="250" y="1314"/>
                  </a:lnTo>
                  <a:lnTo>
                    <a:pt x="289" y="1320"/>
                  </a:lnTo>
                  <a:lnTo>
                    <a:pt x="318" y="1275"/>
                  </a:lnTo>
                  <a:lnTo>
                    <a:pt x="309" y="1258"/>
                  </a:lnTo>
                  <a:lnTo>
                    <a:pt x="322" y="1233"/>
                  </a:lnTo>
                  <a:lnTo>
                    <a:pt x="360" y="1210"/>
                  </a:lnTo>
                  <a:lnTo>
                    <a:pt x="317" y="1261"/>
                  </a:lnTo>
                  <a:lnTo>
                    <a:pt x="349" y="1331"/>
                  </a:lnTo>
                  <a:lnTo>
                    <a:pt x="334" y="1359"/>
                  </a:lnTo>
                  <a:lnTo>
                    <a:pt x="338" y="1371"/>
                  </a:lnTo>
                  <a:lnTo>
                    <a:pt x="354" y="1371"/>
                  </a:lnTo>
                  <a:lnTo>
                    <a:pt x="346" y="1379"/>
                  </a:lnTo>
                  <a:lnTo>
                    <a:pt x="347" y="1393"/>
                  </a:lnTo>
                  <a:lnTo>
                    <a:pt x="354" y="1396"/>
                  </a:lnTo>
                  <a:lnTo>
                    <a:pt x="329" y="1411"/>
                  </a:lnTo>
                  <a:lnTo>
                    <a:pt x="346" y="1413"/>
                  </a:lnTo>
                  <a:lnTo>
                    <a:pt x="391" y="1386"/>
                  </a:lnTo>
                  <a:lnTo>
                    <a:pt x="414" y="1354"/>
                  </a:lnTo>
                  <a:lnTo>
                    <a:pt x="414" y="1385"/>
                  </a:lnTo>
                  <a:lnTo>
                    <a:pt x="430" y="1396"/>
                  </a:lnTo>
                  <a:lnTo>
                    <a:pt x="447" y="1388"/>
                  </a:lnTo>
                  <a:lnTo>
                    <a:pt x="474" y="1431"/>
                  </a:lnTo>
                  <a:lnTo>
                    <a:pt x="482" y="1423"/>
                  </a:lnTo>
                  <a:lnTo>
                    <a:pt x="479" y="1402"/>
                  </a:lnTo>
                  <a:lnTo>
                    <a:pt x="495" y="1379"/>
                  </a:lnTo>
                  <a:lnTo>
                    <a:pt x="498" y="1383"/>
                  </a:lnTo>
                  <a:lnTo>
                    <a:pt x="495" y="1394"/>
                  </a:lnTo>
                  <a:lnTo>
                    <a:pt x="516" y="1410"/>
                  </a:lnTo>
                  <a:lnTo>
                    <a:pt x="578" y="1371"/>
                  </a:lnTo>
                  <a:lnTo>
                    <a:pt x="559" y="1398"/>
                  </a:lnTo>
                  <a:lnTo>
                    <a:pt x="563" y="1402"/>
                  </a:lnTo>
                  <a:lnTo>
                    <a:pt x="547" y="1416"/>
                  </a:lnTo>
                  <a:lnTo>
                    <a:pt x="542" y="1439"/>
                  </a:lnTo>
                  <a:lnTo>
                    <a:pt x="550" y="1440"/>
                  </a:lnTo>
                  <a:lnTo>
                    <a:pt x="539" y="1454"/>
                  </a:lnTo>
                  <a:lnTo>
                    <a:pt x="532" y="1498"/>
                  </a:lnTo>
                  <a:lnTo>
                    <a:pt x="516" y="1524"/>
                  </a:lnTo>
                  <a:lnTo>
                    <a:pt x="510" y="1521"/>
                  </a:lnTo>
                  <a:lnTo>
                    <a:pt x="495" y="1544"/>
                  </a:lnTo>
                  <a:lnTo>
                    <a:pt x="487" y="1567"/>
                  </a:lnTo>
                  <a:lnTo>
                    <a:pt x="474" y="1566"/>
                  </a:lnTo>
                  <a:lnTo>
                    <a:pt x="419" y="1605"/>
                  </a:lnTo>
                  <a:lnTo>
                    <a:pt x="402" y="1640"/>
                  </a:lnTo>
                  <a:lnTo>
                    <a:pt x="394" y="1642"/>
                  </a:lnTo>
                  <a:lnTo>
                    <a:pt x="391" y="1648"/>
                  </a:lnTo>
                  <a:lnTo>
                    <a:pt x="383" y="1640"/>
                  </a:lnTo>
                  <a:lnTo>
                    <a:pt x="386" y="1634"/>
                  </a:lnTo>
                  <a:lnTo>
                    <a:pt x="366" y="1634"/>
                  </a:lnTo>
                  <a:lnTo>
                    <a:pt x="329" y="1654"/>
                  </a:lnTo>
                  <a:lnTo>
                    <a:pt x="292" y="1697"/>
                  </a:lnTo>
                  <a:lnTo>
                    <a:pt x="273" y="1702"/>
                  </a:lnTo>
                  <a:lnTo>
                    <a:pt x="267" y="1706"/>
                  </a:lnTo>
                  <a:lnTo>
                    <a:pt x="276" y="1727"/>
                  </a:lnTo>
                  <a:lnTo>
                    <a:pt x="283" y="1718"/>
                  </a:lnTo>
                  <a:lnTo>
                    <a:pt x="281" y="1706"/>
                  </a:lnTo>
                  <a:lnTo>
                    <a:pt x="293" y="1718"/>
                  </a:lnTo>
                  <a:lnTo>
                    <a:pt x="309" y="1713"/>
                  </a:lnTo>
                  <a:lnTo>
                    <a:pt x="307" y="1694"/>
                  </a:lnTo>
                  <a:lnTo>
                    <a:pt x="314" y="1708"/>
                  </a:lnTo>
                  <a:lnTo>
                    <a:pt x="331" y="1706"/>
                  </a:lnTo>
                  <a:lnTo>
                    <a:pt x="354" y="1665"/>
                  </a:lnTo>
                  <a:lnTo>
                    <a:pt x="361" y="1664"/>
                  </a:lnTo>
                  <a:lnTo>
                    <a:pt x="357" y="1685"/>
                  </a:lnTo>
                  <a:lnTo>
                    <a:pt x="393" y="1677"/>
                  </a:lnTo>
                  <a:lnTo>
                    <a:pt x="397" y="1667"/>
                  </a:lnTo>
                  <a:lnTo>
                    <a:pt x="403" y="1673"/>
                  </a:lnTo>
                  <a:lnTo>
                    <a:pt x="434" y="1647"/>
                  </a:lnTo>
                  <a:lnTo>
                    <a:pt x="442" y="1654"/>
                  </a:lnTo>
                  <a:lnTo>
                    <a:pt x="442" y="1671"/>
                  </a:lnTo>
                  <a:lnTo>
                    <a:pt x="451" y="1642"/>
                  </a:lnTo>
                  <a:lnTo>
                    <a:pt x="471" y="1642"/>
                  </a:lnTo>
                  <a:lnTo>
                    <a:pt x="490" y="1630"/>
                  </a:lnTo>
                  <a:lnTo>
                    <a:pt x="488" y="1617"/>
                  </a:lnTo>
                  <a:lnTo>
                    <a:pt x="488" y="1609"/>
                  </a:lnTo>
                  <a:lnTo>
                    <a:pt x="499" y="1598"/>
                  </a:lnTo>
                  <a:lnTo>
                    <a:pt x="524" y="1594"/>
                  </a:lnTo>
                  <a:lnTo>
                    <a:pt x="527" y="1588"/>
                  </a:lnTo>
                  <a:lnTo>
                    <a:pt x="516" y="1589"/>
                  </a:lnTo>
                  <a:lnTo>
                    <a:pt x="530" y="1580"/>
                  </a:lnTo>
                  <a:lnTo>
                    <a:pt x="542" y="1583"/>
                  </a:lnTo>
                  <a:lnTo>
                    <a:pt x="542" y="1567"/>
                  </a:lnTo>
                  <a:lnTo>
                    <a:pt x="555" y="1567"/>
                  </a:lnTo>
                  <a:lnTo>
                    <a:pt x="588" y="1546"/>
                  </a:lnTo>
                  <a:lnTo>
                    <a:pt x="593" y="1527"/>
                  </a:lnTo>
                  <a:lnTo>
                    <a:pt x="606" y="1513"/>
                  </a:lnTo>
                  <a:lnTo>
                    <a:pt x="610" y="1501"/>
                  </a:lnTo>
                  <a:lnTo>
                    <a:pt x="620" y="1503"/>
                  </a:lnTo>
                  <a:lnTo>
                    <a:pt x="625" y="1486"/>
                  </a:lnTo>
                  <a:lnTo>
                    <a:pt x="637" y="1491"/>
                  </a:lnTo>
                  <a:lnTo>
                    <a:pt x="655" y="1467"/>
                  </a:lnTo>
                  <a:lnTo>
                    <a:pt x="697" y="1450"/>
                  </a:lnTo>
                  <a:lnTo>
                    <a:pt x="693" y="1439"/>
                  </a:lnTo>
                  <a:lnTo>
                    <a:pt x="700" y="1433"/>
                  </a:lnTo>
                  <a:lnTo>
                    <a:pt x="700" y="1422"/>
                  </a:lnTo>
                  <a:lnTo>
                    <a:pt x="725" y="1408"/>
                  </a:lnTo>
                  <a:lnTo>
                    <a:pt x="731" y="1394"/>
                  </a:lnTo>
                  <a:lnTo>
                    <a:pt x="714" y="1376"/>
                  </a:lnTo>
                  <a:lnTo>
                    <a:pt x="691" y="1374"/>
                  </a:lnTo>
                  <a:lnTo>
                    <a:pt x="697" y="1346"/>
                  </a:lnTo>
                  <a:lnTo>
                    <a:pt x="714" y="1337"/>
                  </a:lnTo>
                  <a:lnTo>
                    <a:pt x="720" y="1329"/>
                  </a:lnTo>
                  <a:lnTo>
                    <a:pt x="720" y="1317"/>
                  </a:lnTo>
                  <a:lnTo>
                    <a:pt x="742" y="1317"/>
                  </a:lnTo>
                  <a:lnTo>
                    <a:pt x="745" y="1305"/>
                  </a:lnTo>
                  <a:lnTo>
                    <a:pt x="739" y="1301"/>
                  </a:lnTo>
                  <a:lnTo>
                    <a:pt x="764" y="1288"/>
                  </a:lnTo>
                  <a:lnTo>
                    <a:pt x="762" y="1276"/>
                  </a:lnTo>
                  <a:lnTo>
                    <a:pt x="745" y="1263"/>
                  </a:lnTo>
                  <a:lnTo>
                    <a:pt x="767" y="1267"/>
                  </a:lnTo>
                  <a:lnTo>
                    <a:pt x="781" y="1252"/>
                  </a:lnTo>
                  <a:lnTo>
                    <a:pt x="804" y="1204"/>
                  </a:lnTo>
                  <a:lnTo>
                    <a:pt x="854" y="1168"/>
                  </a:lnTo>
                  <a:lnTo>
                    <a:pt x="854" y="1144"/>
                  </a:lnTo>
                  <a:lnTo>
                    <a:pt x="874" y="1097"/>
                  </a:lnTo>
                  <a:lnTo>
                    <a:pt x="877" y="1071"/>
                  </a:lnTo>
                  <a:lnTo>
                    <a:pt x="883" y="1082"/>
                  </a:lnTo>
                  <a:lnTo>
                    <a:pt x="877" y="1117"/>
                  </a:lnTo>
                  <a:lnTo>
                    <a:pt x="864" y="1145"/>
                  </a:lnTo>
                  <a:lnTo>
                    <a:pt x="861" y="1168"/>
                  </a:lnTo>
                  <a:lnTo>
                    <a:pt x="883" y="1171"/>
                  </a:lnTo>
                  <a:lnTo>
                    <a:pt x="918" y="1145"/>
                  </a:lnTo>
                  <a:lnTo>
                    <a:pt x="915" y="1157"/>
                  </a:lnTo>
                  <a:lnTo>
                    <a:pt x="886" y="1178"/>
                  </a:lnTo>
                  <a:lnTo>
                    <a:pt x="886" y="1187"/>
                  </a:lnTo>
                  <a:lnTo>
                    <a:pt x="932" y="1207"/>
                  </a:lnTo>
                  <a:lnTo>
                    <a:pt x="925" y="1216"/>
                  </a:lnTo>
                  <a:lnTo>
                    <a:pt x="881" y="1207"/>
                  </a:lnTo>
                  <a:lnTo>
                    <a:pt x="871" y="1195"/>
                  </a:lnTo>
                  <a:lnTo>
                    <a:pt x="827" y="1218"/>
                  </a:lnTo>
                  <a:lnTo>
                    <a:pt x="823" y="1225"/>
                  </a:lnTo>
                  <a:lnTo>
                    <a:pt x="825" y="1264"/>
                  </a:lnTo>
                  <a:lnTo>
                    <a:pt x="803" y="1312"/>
                  </a:lnTo>
                  <a:lnTo>
                    <a:pt x="816" y="1322"/>
                  </a:lnTo>
                  <a:lnTo>
                    <a:pt x="841" y="1310"/>
                  </a:lnTo>
                  <a:lnTo>
                    <a:pt x="833" y="1326"/>
                  </a:lnTo>
                  <a:lnTo>
                    <a:pt x="823" y="1332"/>
                  </a:lnTo>
                  <a:lnTo>
                    <a:pt x="827" y="1339"/>
                  </a:lnTo>
                  <a:lnTo>
                    <a:pt x="807" y="1337"/>
                  </a:lnTo>
                  <a:lnTo>
                    <a:pt x="798" y="1356"/>
                  </a:lnTo>
                  <a:lnTo>
                    <a:pt x="808" y="1365"/>
                  </a:lnTo>
                  <a:lnTo>
                    <a:pt x="832" y="1359"/>
                  </a:lnTo>
                  <a:lnTo>
                    <a:pt x="833" y="1349"/>
                  </a:lnTo>
                  <a:lnTo>
                    <a:pt x="846" y="1356"/>
                  </a:lnTo>
                  <a:lnTo>
                    <a:pt x="861" y="1331"/>
                  </a:lnTo>
                  <a:lnTo>
                    <a:pt x="872" y="1326"/>
                  </a:lnTo>
                  <a:lnTo>
                    <a:pt x="869" y="1348"/>
                  </a:lnTo>
                  <a:lnTo>
                    <a:pt x="879" y="1320"/>
                  </a:lnTo>
                  <a:lnTo>
                    <a:pt x="894" y="1317"/>
                  </a:lnTo>
                  <a:lnTo>
                    <a:pt x="901" y="1293"/>
                  </a:lnTo>
                  <a:lnTo>
                    <a:pt x="906" y="1317"/>
                  </a:lnTo>
                  <a:lnTo>
                    <a:pt x="912" y="1280"/>
                  </a:lnTo>
                  <a:lnTo>
                    <a:pt x="917" y="1292"/>
                  </a:lnTo>
                  <a:lnTo>
                    <a:pt x="954" y="1288"/>
                  </a:lnTo>
                  <a:lnTo>
                    <a:pt x="957" y="1276"/>
                  </a:lnTo>
                  <a:lnTo>
                    <a:pt x="971" y="1267"/>
                  </a:lnTo>
                  <a:lnTo>
                    <a:pt x="960" y="1266"/>
                  </a:lnTo>
                  <a:lnTo>
                    <a:pt x="977" y="1241"/>
                  </a:lnTo>
                  <a:lnTo>
                    <a:pt x="974" y="1233"/>
                  </a:lnTo>
                  <a:lnTo>
                    <a:pt x="952" y="1246"/>
                  </a:lnTo>
                  <a:lnTo>
                    <a:pt x="951" y="1238"/>
                  </a:lnTo>
                  <a:lnTo>
                    <a:pt x="965" y="1229"/>
                  </a:lnTo>
                  <a:lnTo>
                    <a:pt x="968" y="1221"/>
                  </a:lnTo>
                  <a:lnTo>
                    <a:pt x="948" y="1215"/>
                  </a:lnTo>
                  <a:lnTo>
                    <a:pt x="962" y="1207"/>
                  </a:lnTo>
                  <a:lnTo>
                    <a:pt x="968" y="1196"/>
                  </a:lnTo>
                  <a:lnTo>
                    <a:pt x="957" y="1195"/>
                  </a:lnTo>
                  <a:lnTo>
                    <a:pt x="965" y="1187"/>
                  </a:lnTo>
                  <a:lnTo>
                    <a:pt x="976" y="1190"/>
                  </a:lnTo>
                  <a:lnTo>
                    <a:pt x="988" y="1171"/>
                  </a:lnTo>
                  <a:lnTo>
                    <a:pt x="977" y="1202"/>
                  </a:lnTo>
                  <a:lnTo>
                    <a:pt x="982" y="1207"/>
                  </a:lnTo>
                  <a:lnTo>
                    <a:pt x="993" y="1202"/>
                  </a:lnTo>
                  <a:lnTo>
                    <a:pt x="994" y="1179"/>
                  </a:lnTo>
                  <a:lnTo>
                    <a:pt x="997" y="1198"/>
                  </a:lnTo>
                  <a:lnTo>
                    <a:pt x="1005" y="1198"/>
                  </a:lnTo>
                  <a:lnTo>
                    <a:pt x="1042" y="1188"/>
                  </a:lnTo>
                  <a:lnTo>
                    <a:pt x="1040" y="1208"/>
                  </a:lnTo>
                  <a:lnTo>
                    <a:pt x="1038" y="1222"/>
                  </a:lnTo>
                  <a:lnTo>
                    <a:pt x="1069" y="1213"/>
                  </a:lnTo>
                  <a:lnTo>
                    <a:pt x="1057" y="1229"/>
                  </a:lnTo>
                  <a:lnTo>
                    <a:pt x="1082" y="1227"/>
                  </a:lnTo>
                  <a:lnTo>
                    <a:pt x="1079" y="1239"/>
                  </a:lnTo>
                  <a:lnTo>
                    <a:pt x="1103" y="1259"/>
                  </a:lnTo>
                  <a:lnTo>
                    <a:pt x="1118" y="1244"/>
                  </a:lnTo>
                  <a:lnTo>
                    <a:pt x="1123" y="1259"/>
                  </a:lnTo>
                  <a:lnTo>
                    <a:pt x="1155" y="1275"/>
                  </a:lnTo>
                  <a:lnTo>
                    <a:pt x="1161" y="1288"/>
                  </a:lnTo>
                  <a:lnTo>
                    <a:pt x="1211" y="1280"/>
                  </a:lnTo>
                  <a:lnTo>
                    <a:pt x="1263" y="1292"/>
                  </a:lnTo>
                  <a:lnTo>
                    <a:pt x="1284" y="1286"/>
                  </a:lnTo>
                  <a:lnTo>
                    <a:pt x="1288" y="1293"/>
                  </a:lnTo>
                  <a:lnTo>
                    <a:pt x="1282" y="1298"/>
                  </a:lnTo>
                  <a:lnTo>
                    <a:pt x="1285" y="1300"/>
                  </a:lnTo>
                  <a:lnTo>
                    <a:pt x="1319" y="1312"/>
                  </a:lnTo>
                  <a:lnTo>
                    <a:pt x="1350" y="1306"/>
                  </a:lnTo>
                  <a:lnTo>
                    <a:pt x="1370" y="1281"/>
                  </a:lnTo>
                  <a:lnTo>
                    <a:pt x="1392" y="1301"/>
                  </a:lnTo>
                  <a:lnTo>
                    <a:pt x="1384" y="1308"/>
                  </a:lnTo>
                  <a:lnTo>
                    <a:pt x="1384" y="1329"/>
                  </a:lnTo>
                  <a:lnTo>
                    <a:pt x="1373" y="1292"/>
                  </a:lnTo>
                  <a:lnTo>
                    <a:pt x="1369" y="1300"/>
                  </a:lnTo>
                  <a:lnTo>
                    <a:pt x="1369" y="1323"/>
                  </a:lnTo>
                  <a:lnTo>
                    <a:pt x="1358" y="1334"/>
                  </a:lnTo>
                  <a:lnTo>
                    <a:pt x="1411" y="1368"/>
                  </a:lnTo>
                  <a:lnTo>
                    <a:pt x="1426" y="1360"/>
                  </a:lnTo>
                  <a:lnTo>
                    <a:pt x="1424" y="1343"/>
                  </a:lnTo>
                  <a:lnTo>
                    <a:pt x="1433" y="1340"/>
                  </a:lnTo>
                  <a:close/>
                  <a:moveTo>
                    <a:pt x="391" y="1394"/>
                  </a:moveTo>
                  <a:lnTo>
                    <a:pt x="385" y="1414"/>
                  </a:lnTo>
                  <a:lnTo>
                    <a:pt x="376" y="1414"/>
                  </a:lnTo>
                  <a:lnTo>
                    <a:pt x="378" y="1403"/>
                  </a:lnTo>
                  <a:lnTo>
                    <a:pt x="391" y="1394"/>
                  </a:lnTo>
                  <a:close/>
                  <a:moveTo>
                    <a:pt x="317" y="572"/>
                  </a:moveTo>
                  <a:lnTo>
                    <a:pt x="326" y="568"/>
                  </a:lnTo>
                  <a:lnTo>
                    <a:pt x="337" y="592"/>
                  </a:lnTo>
                  <a:lnTo>
                    <a:pt x="322" y="594"/>
                  </a:lnTo>
                  <a:lnTo>
                    <a:pt x="314" y="579"/>
                  </a:lnTo>
                  <a:lnTo>
                    <a:pt x="317" y="572"/>
                  </a:lnTo>
                  <a:close/>
                  <a:moveTo>
                    <a:pt x="1038" y="1254"/>
                  </a:moveTo>
                  <a:lnTo>
                    <a:pt x="1045" y="1242"/>
                  </a:lnTo>
                  <a:lnTo>
                    <a:pt x="1064" y="1250"/>
                  </a:lnTo>
                  <a:lnTo>
                    <a:pt x="1045" y="1261"/>
                  </a:lnTo>
                  <a:lnTo>
                    <a:pt x="1038" y="1254"/>
                  </a:lnTo>
                  <a:close/>
                  <a:moveTo>
                    <a:pt x="993" y="1288"/>
                  </a:moveTo>
                  <a:lnTo>
                    <a:pt x="1018" y="1254"/>
                  </a:lnTo>
                  <a:lnTo>
                    <a:pt x="1027" y="1263"/>
                  </a:lnTo>
                  <a:lnTo>
                    <a:pt x="1002" y="1300"/>
                  </a:lnTo>
                  <a:lnTo>
                    <a:pt x="984" y="1306"/>
                  </a:lnTo>
                  <a:lnTo>
                    <a:pt x="993" y="1288"/>
                  </a:lnTo>
                  <a:close/>
                  <a:moveTo>
                    <a:pt x="767" y="1411"/>
                  </a:moveTo>
                  <a:lnTo>
                    <a:pt x="778" y="1420"/>
                  </a:lnTo>
                  <a:lnTo>
                    <a:pt x="769" y="1420"/>
                  </a:lnTo>
                  <a:lnTo>
                    <a:pt x="767" y="1411"/>
                  </a:lnTo>
                  <a:close/>
                  <a:moveTo>
                    <a:pt x="762" y="1444"/>
                  </a:moveTo>
                  <a:lnTo>
                    <a:pt x="754" y="1437"/>
                  </a:lnTo>
                  <a:lnTo>
                    <a:pt x="761" y="1430"/>
                  </a:lnTo>
                  <a:lnTo>
                    <a:pt x="781" y="1427"/>
                  </a:lnTo>
                  <a:lnTo>
                    <a:pt x="778" y="1437"/>
                  </a:lnTo>
                  <a:lnTo>
                    <a:pt x="787" y="1431"/>
                  </a:lnTo>
                  <a:lnTo>
                    <a:pt x="793" y="1448"/>
                  </a:lnTo>
                  <a:lnTo>
                    <a:pt x="756" y="1462"/>
                  </a:lnTo>
                  <a:lnTo>
                    <a:pt x="744" y="1450"/>
                  </a:lnTo>
                  <a:lnTo>
                    <a:pt x="762" y="1444"/>
                  </a:lnTo>
                  <a:close/>
                  <a:moveTo>
                    <a:pt x="669" y="1521"/>
                  </a:moveTo>
                  <a:lnTo>
                    <a:pt x="683" y="1501"/>
                  </a:lnTo>
                  <a:lnTo>
                    <a:pt x="700" y="1496"/>
                  </a:lnTo>
                  <a:lnTo>
                    <a:pt x="703" y="1498"/>
                  </a:lnTo>
                  <a:lnTo>
                    <a:pt x="700" y="1504"/>
                  </a:lnTo>
                  <a:lnTo>
                    <a:pt x="706" y="1516"/>
                  </a:lnTo>
                  <a:lnTo>
                    <a:pt x="713" y="1518"/>
                  </a:lnTo>
                  <a:lnTo>
                    <a:pt x="714" y="1501"/>
                  </a:lnTo>
                  <a:lnTo>
                    <a:pt x="719" y="1499"/>
                  </a:lnTo>
                  <a:lnTo>
                    <a:pt x="708" y="1486"/>
                  </a:lnTo>
                  <a:lnTo>
                    <a:pt x="710" y="1478"/>
                  </a:lnTo>
                  <a:lnTo>
                    <a:pt x="716" y="1476"/>
                  </a:lnTo>
                  <a:lnTo>
                    <a:pt x="725" y="1495"/>
                  </a:lnTo>
                  <a:lnTo>
                    <a:pt x="745" y="1481"/>
                  </a:lnTo>
                  <a:lnTo>
                    <a:pt x="742" y="1473"/>
                  </a:lnTo>
                  <a:lnTo>
                    <a:pt x="754" y="1474"/>
                  </a:lnTo>
                  <a:lnTo>
                    <a:pt x="757" y="1487"/>
                  </a:lnTo>
                  <a:lnTo>
                    <a:pt x="773" y="1476"/>
                  </a:lnTo>
                  <a:lnTo>
                    <a:pt x="773" y="1501"/>
                  </a:lnTo>
                  <a:lnTo>
                    <a:pt x="787" y="1501"/>
                  </a:lnTo>
                  <a:lnTo>
                    <a:pt x="781" y="1513"/>
                  </a:lnTo>
                  <a:lnTo>
                    <a:pt x="754" y="1506"/>
                  </a:lnTo>
                  <a:lnTo>
                    <a:pt x="750" y="1513"/>
                  </a:lnTo>
                  <a:lnTo>
                    <a:pt x="765" y="1516"/>
                  </a:lnTo>
                  <a:lnTo>
                    <a:pt x="767" y="1527"/>
                  </a:lnTo>
                  <a:lnTo>
                    <a:pt x="761" y="1520"/>
                  </a:lnTo>
                  <a:lnTo>
                    <a:pt x="745" y="1527"/>
                  </a:lnTo>
                  <a:lnTo>
                    <a:pt x="750" y="1530"/>
                  </a:lnTo>
                  <a:lnTo>
                    <a:pt x="722" y="1546"/>
                  </a:lnTo>
                  <a:lnTo>
                    <a:pt x="719" y="1564"/>
                  </a:lnTo>
                  <a:lnTo>
                    <a:pt x="702" y="1572"/>
                  </a:lnTo>
                  <a:lnTo>
                    <a:pt x="710" y="1557"/>
                  </a:lnTo>
                  <a:lnTo>
                    <a:pt x="703" y="1552"/>
                  </a:lnTo>
                  <a:lnTo>
                    <a:pt x="703" y="1541"/>
                  </a:lnTo>
                  <a:lnTo>
                    <a:pt x="696" y="1541"/>
                  </a:lnTo>
                  <a:lnTo>
                    <a:pt x="696" y="1558"/>
                  </a:lnTo>
                  <a:lnTo>
                    <a:pt x="691" y="1563"/>
                  </a:lnTo>
                  <a:lnTo>
                    <a:pt x="669" y="1521"/>
                  </a:lnTo>
                  <a:close/>
                  <a:moveTo>
                    <a:pt x="696" y="1592"/>
                  </a:moveTo>
                  <a:lnTo>
                    <a:pt x="689" y="1591"/>
                  </a:lnTo>
                  <a:lnTo>
                    <a:pt x="696" y="1586"/>
                  </a:lnTo>
                  <a:lnTo>
                    <a:pt x="696" y="1592"/>
                  </a:lnTo>
                  <a:close/>
                  <a:moveTo>
                    <a:pt x="672" y="1591"/>
                  </a:moveTo>
                  <a:lnTo>
                    <a:pt x="677" y="1588"/>
                  </a:lnTo>
                  <a:lnTo>
                    <a:pt x="679" y="1594"/>
                  </a:lnTo>
                  <a:lnTo>
                    <a:pt x="671" y="1603"/>
                  </a:lnTo>
                  <a:lnTo>
                    <a:pt x="672" y="1591"/>
                  </a:lnTo>
                  <a:close/>
                  <a:moveTo>
                    <a:pt x="183" y="1227"/>
                  </a:moveTo>
                  <a:lnTo>
                    <a:pt x="200" y="1210"/>
                  </a:lnTo>
                  <a:lnTo>
                    <a:pt x="227" y="1218"/>
                  </a:lnTo>
                  <a:lnTo>
                    <a:pt x="230" y="1232"/>
                  </a:lnTo>
                  <a:lnTo>
                    <a:pt x="212" y="1254"/>
                  </a:lnTo>
                  <a:lnTo>
                    <a:pt x="204" y="1233"/>
                  </a:lnTo>
                  <a:lnTo>
                    <a:pt x="183" y="1227"/>
                  </a:lnTo>
                  <a:close/>
                  <a:moveTo>
                    <a:pt x="81" y="1266"/>
                  </a:moveTo>
                  <a:lnTo>
                    <a:pt x="140" y="1254"/>
                  </a:lnTo>
                  <a:lnTo>
                    <a:pt x="166" y="1261"/>
                  </a:lnTo>
                  <a:lnTo>
                    <a:pt x="166" y="1281"/>
                  </a:lnTo>
                  <a:lnTo>
                    <a:pt x="170" y="1286"/>
                  </a:lnTo>
                  <a:lnTo>
                    <a:pt x="144" y="1308"/>
                  </a:lnTo>
                  <a:lnTo>
                    <a:pt x="98" y="1289"/>
                  </a:lnTo>
                  <a:lnTo>
                    <a:pt x="81" y="1266"/>
                  </a:lnTo>
                  <a:close/>
                  <a:moveTo>
                    <a:pt x="397" y="1689"/>
                  </a:moveTo>
                  <a:lnTo>
                    <a:pt x="393" y="1684"/>
                  </a:lnTo>
                  <a:lnTo>
                    <a:pt x="402" y="1685"/>
                  </a:lnTo>
                  <a:lnTo>
                    <a:pt x="402" y="1702"/>
                  </a:lnTo>
                  <a:lnTo>
                    <a:pt x="391" y="1701"/>
                  </a:lnTo>
                  <a:lnTo>
                    <a:pt x="388" y="1685"/>
                  </a:lnTo>
                  <a:lnTo>
                    <a:pt x="397" y="1689"/>
                  </a:lnTo>
                  <a:close/>
                  <a:moveTo>
                    <a:pt x="297" y="1758"/>
                  </a:moveTo>
                  <a:lnTo>
                    <a:pt x="307" y="1762"/>
                  </a:lnTo>
                  <a:lnTo>
                    <a:pt x="297" y="1758"/>
                  </a:lnTo>
                  <a:close/>
                  <a:moveTo>
                    <a:pt x="148" y="1775"/>
                  </a:moveTo>
                  <a:lnTo>
                    <a:pt x="157" y="1787"/>
                  </a:lnTo>
                  <a:lnTo>
                    <a:pt x="144" y="1790"/>
                  </a:lnTo>
                  <a:lnTo>
                    <a:pt x="144" y="1779"/>
                  </a:lnTo>
                  <a:lnTo>
                    <a:pt x="148" y="1775"/>
                  </a:lnTo>
                  <a:close/>
                  <a:moveTo>
                    <a:pt x="69" y="1850"/>
                  </a:moveTo>
                  <a:lnTo>
                    <a:pt x="66" y="1845"/>
                  </a:lnTo>
                  <a:lnTo>
                    <a:pt x="85" y="1840"/>
                  </a:lnTo>
                  <a:lnTo>
                    <a:pt x="98" y="1818"/>
                  </a:lnTo>
                  <a:lnTo>
                    <a:pt x="106" y="1818"/>
                  </a:lnTo>
                  <a:lnTo>
                    <a:pt x="100" y="1815"/>
                  </a:lnTo>
                  <a:lnTo>
                    <a:pt x="95" y="1801"/>
                  </a:lnTo>
                  <a:lnTo>
                    <a:pt x="108" y="1798"/>
                  </a:lnTo>
                  <a:lnTo>
                    <a:pt x="117" y="1806"/>
                  </a:lnTo>
                  <a:lnTo>
                    <a:pt x="125" y="1796"/>
                  </a:lnTo>
                  <a:lnTo>
                    <a:pt x="132" y="1801"/>
                  </a:lnTo>
                  <a:lnTo>
                    <a:pt x="120" y="1818"/>
                  </a:lnTo>
                  <a:lnTo>
                    <a:pt x="128" y="1821"/>
                  </a:lnTo>
                  <a:lnTo>
                    <a:pt x="108" y="1838"/>
                  </a:lnTo>
                  <a:lnTo>
                    <a:pt x="69" y="1850"/>
                  </a:lnTo>
                  <a:close/>
                  <a:moveTo>
                    <a:pt x="0" y="1891"/>
                  </a:moveTo>
                  <a:lnTo>
                    <a:pt x="18" y="1854"/>
                  </a:lnTo>
                  <a:lnTo>
                    <a:pt x="34" y="1848"/>
                  </a:lnTo>
                  <a:lnTo>
                    <a:pt x="35" y="1838"/>
                  </a:lnTo>
                  <a:lnTo>
                    <a:pt x="57" y="1835"/>
                  </a:lnTo>
                  <a:lnTo>
                    <a:pt x="57" y="1846"/>
                  </a:lnTo>
                  <a:lnTo>
                    <a:pt x="0" y="1891"/>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440" name="Freeform 169">
              <a:extLst>
                <a:ext uri="{FF2B5EF4-FFF2-40B4-BE49-F238E27FC236}">
                  <a16:creationId xmlns:a16="http://schemas.microsoft.com/office/drawing/2014/main" id="{ADA7675E-A6AD-4843-8944-FFEC333865C3}"/>
                </a:ext>
              </a:extLst>
            </p:cNvPr>
            <p:cNvSpPr>
              <a:spLocks noChangeAspect="1"/>
            </p:cNvSpPr>
            <p:nvPr/>
          </p:nvSpPr>
          <p:spPr bwMode="gray">
            <a:xfrm>
              <a:off x="2561287" y="3776926"/>
              <a:ext cx="86025" cy="115198"/>
            </a:xfrm>
            <a:custGeom>
              <a:avLst/>
              <a:gdLst>
                <a:gd name="T0" fmla="*/ 139 w 178"/>
                <a:gd name="T1" fmla="*/ 0 h 198"/>
                <a:gd name="T2" fmla="*/ 104 w 178"/>
                <a:gd name="T3" fmla="*/ 0 h 198"/>
                <a:gd name="T4" fmla="*/ 60 w 178"/>
                <a:gd name="T5" fmla="*/ 0 h 198"/>
                <a:gd name="T6" fmla="*/ 60 w 178"/>
                <a:gd name="T7" fmla="*/ 24 h 198"/>
                <a:gd name="T8" fmla="*/ 31 w 178"/>
                <a:gd name="T9" fmla="*/ 24 h 198"/>
                <a:gd name="T10" fmla="*/ 66 w 178"/>
                <a:gd name="T11" fmla="*/ 52 h 198"/>
                <a:gd name="T12" fmla="*/ 80 w 178"/>
                <a:gd name="T13" fmla="*/ 71 h 198"/>
                <a:gd name="T14" fmla="*/ 79 w 178"/>
                <a:gd name="T15" fmla="*/ 83 h 198"/>
                <a:gd name="T16" fmla="*/ 33 w 178"/>
                <a:gd name="T17" fmla="*/ 84 h 198"/>
                <a:gd name="T18" fmla="*/ 4 w 178"/>
                <a:gd name="T19" fmla="*/ 132 h 198"/>
                <a:gd name="T20" fmla="*/ 6 w 178"/>
                <a:gd name="T21" fmla="*/ 139 h 198"/>
                <a:gd name="T22" fmla="*/ 0 w 178"/>
                <a:gd name="T23" fmla="*/ 157 h 198"/>
                <a:gd name="T24" fmla="*/ 40 w 178"/>
                <a:gd name="T25" fmla="*/ 188 h 198"/>
                <a:gd name="T26" fmla="*/ 100 w 178"/>
                <a:gd name="T27" fmla="*/ 198 h 198"/>
                <a:gd name="T28" fmla="*/ 105 w 178"/>
                <a:gd name="T29" fmla="*/ 186 h 198"/>
                <a:gd name="T30" fmla="*/ 122 w 178"/>
                <a:gd name="T31" fmla="*/ 177 h 198"/>
                <a:gd name="T32" fmla="*/ 127 w 178"/>
                <a:gd name="T33" fmla="*/ 164 h 198"/>
                <a:gd name="T34" fmla="*/ 138 w 178"/>
                <a:gd name="T35" fmla="*/ 154 h 198"/>
                <a:gd name="T36" fmla="*/ 138 w 178"/>
                <a:gd name="T37" fmla="*/ 140 h 198"/>
                <a:gd name="T38" fmla="*/ 175 w 178"/>
                <a:gd name="T39" fmla="*/ 111 h 198"/>
                <a:gd name="T40" fmla="*/ 178 w 178"/>
                <a:gd name="T41" fmla="*/ 101 h 198"/>
                <a:gd name="T42" fmla="*/ 172 w 178"/>
                <a:gd name="T43" fmla="*/ 98 h 198"/>
                <a:gd name="T44" fmla="*/ 163 w 178"/>
                <a:gd name="T45" fmla="*/ 101 h 198"/>
                <a:gd name="T46" fmla="*/ 153 w 178"/>
                <a:gd name="T47" fmla="*/ 92 h 198"/>
                <a:gd name="T48" fmla="*/ 138 w 178"/>
                <a:gd name="T49" fmla="*/ 91 h 198"/>
                <a:gd name="T50" fmla="*/ 139 w 178"/>
                <a:gd name="T51"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8" h="198">
                  <a:moveTo>
                    <a:pt x="139" y="0"/>
                  </a:moveTo>
                  <a:lnTo>
                    <a:pt x="104" y="0"/>
                  </a:lnTo>
                  <a:lnTo>
                    <a:pt x="60" y="0"/>
                  </a:lnTo>
                  <a:lnTo>
                    <a:pt x="60" y="24"/>
                  </a:lnTo>
                  <a:lnTo>
                    <a:pt x="31" y="24"/>
                  </a:lnTo>
                  <a:lnTo>
                    <a:pt x="66" y="52"/>
                  </a:lnTo>
                  <a:lnTo>
                    <a:pt x="80" y="71"/>
                  </a:lnTo>
                  <a:lnTo>
                    <a:pt x="79" y="83"/>
                  </a:lnTo>
                  <a:lnTo>
                    <a:pt x="33" y="84"/>
                  </a:lnTo>
                  <a:lnTo>
                    <a:pt x="4" y="132"/>
                  </a:lnTo>
                  <a:lnTo>
                    <a:pt x="6" y="139"/>
                  </a:lnTo>
                  <a:lnTo>
                    <a:pt x="0" y="157"/>
                  </a:lnTo>
                  <a:lnTo>
                    <a:pt x="40" y="188"/>
                  </a:lnTo>
                  <a:lnTo>
                    <a:pt x="100" y="198"/>
                  </a:lnTo>
                  <a:lnTo>
                    <a:pt x="105" y="186"/>
                  </a:lnTo>
                  <a:lnTo>
                    <a:pt x="122" y="177"/>
                  </a:lnTo>
                  <a:lnTo>
                    <a:pt x="127" y="164"/>
                  </a:lnTo>
                  <a:lnTo>
                    <a:pt x="138" y="154"/>
                  </a:lnTo>
                  <a:lnTo>
                    <a:pt x="138" y="140"/>
                  </a:lnTo>
                  <a:lnTo>
                    <a:pt x="175" y="111"/>
                  </a:lnTo>
                  <a:lnTo>
                    <a:pt x="178" y="101"/>
                  </a:lnTo>
                  <a:lnTo>
                    <a:pt x="172" y="98"/>
                  </a:lnTo>
                  <a:lnTo>
                    <a:pt x="163" y="101"/>
                  </a:lnTo>
                  <a:lnTo>
                    <a:pt x="153" y="92"/>
                  </a:lnTo>
                  <a:lnTo>
                    <a:pt x="138" y="91"/>
                  </a:lnTo>
                  <a:lnTo>
                    <a:pt x="139" y="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41" name="Freeform 170">
              <a:extLst>
                <a:ext uri="{FF2B5EF4-FFF2-40B4-BE49-F238E27FC236}">
                  <a16:creationId xmlns:a16="http://schemas.microsoft.com/office/drawing/2014/main" id="{4906C840-A7EB-C347-94FB-6E01722D642C}"/>
                </a:ext>
              </a:extLst>
            </p:cNvPr>
            <p:cNvSpPr>
              <a:spLocks noChangeAspect="1"/>
            </p:cNvSpPr>
            <p:nvPr/>
          </p:nvSpPr>
          <p:spPr bwMode="gray">
            <a:xfrm>
              <a:off x="3020083" y="3719326"/>
              <a:ext cx="76467" cy="63360"/>
            </a:xfrm>
            <a:custGeom>
              <a:avLst/>
              <a:gdLst>
                <a:gd name="T0" fmla="*/ 4 w 158"/>
                <a:gd name="T1" fmla="*/ 91 h 110"/>
                <a:gd name="T2" fmla="*/ 7 w 158"/>
                <a:gd name="T3" fmla="*/ 103 h 110"/>
                <a:gd name="T4" fmla="*/ 16 w 158"/>
                <a:gd name="T5" fmla="*/ 110 h 110"/>
                <a:gd name="T6" fmla="*/ 48 w 158"/>
                <a:gd name="T7" fmla="*/ 74 h 110"/>
                <a:gd name="T8" fmla="*/ 55 w 158"/>
                <a:gd name="T9" fmla="*/ 74 h 110"/>
                <a:gd name="T10" fmla="*/ 59 w 158"/>
                <a:gd name="T11" fmla="*/ 86 h 110"/>
                <a:gd name="T12" fmla="*/ 87 w 158"/>
                <a:gd name="T13" fmla="*/ 74 h 110"/>
                <a:gd name="T14" fmla="*/ 104 w 158"/>
                <a:gd name="T15" fmla="*/ 71 h 110"/>
                <a:gd name="T16" fmla="*/ 148 w 158"/>
                <a:gd name="T17" fmla="*/ 81 h 110"/>
                <a:gd name="T18" fmla="*/ 158 w 158"/>
                <a:gd name="T19" fmla="*/ 60 h 110"/>
                <a:gd name="T20" fmla="*/ 140 w 158"/>
                <a:gd name="T21" fmla="*/ 43 h 110"/>
                <a:gd name="T22" fmla="*/ 106 w 158"/>
                <a:gd name="T23" fmla="*/ 39 h 110"/>
                <a:gd name="T24" fmla="*/ 121 w 158"/>
                <a:gd name="T25" fmla="*/ 34 h 110"/>
                <a:gd name="T26" fmla="*/ 121 w 158"/>
                <a:gd name="T27" fmla="*/ 31 h 110"/>
                <a:gd name="T28" fmla="*/ 95 w 158"/>
                <a:gd name="T29" fmla="*/ 26 h 110"/>
                <a:gd name="T30" fmla="*/ 87 w 158"/>
                <a:gd name="T31" fmla="*/ 11 h 110"/>
                <a:gd name="T32" fmla="*/ 50 w 158"/>
                <a:gd name="T33" fmla="*/ 0 h 110"/>
                <a:gd name="T34" fmla="*/ 7 w 158"/>
                <a:gd name="T35" fmla="*/ 0 h 110"/>
                <a:gd name="T36" fmla="*/ 2 w 158"/>
                <a:gd name="T37" fmla="*/ 5 h 110"/>
                <a:gd name="T38" fmla="*/ 10 w 158"/>
                <a:gd name="T39" fmla="*/ 35 h 110"/>
                <a:gd name="T40" fmla="*/ 7 w 158"/>
                <a:gd name="T41" fmla="*/ 56 h 110"/>
                <a:gd name="T42" fmla="*/ 0 w 158"/>
                <a:gd name="T43" fmla="*/ 64 h 110"/>
                <a:gd name="T44" fmla="*/ 5 w 158"/>
                <a:gd name="T45" fmla="*/ 77 h 110"/>
                <a:gd name="T46" fmla="*/ 4 w 158"/>
                <a:gd name="T47" fmla="*/ 9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8" h="110">
                  <a:moveTo>
                    <a:pt x="4" y="91"/>
                  </a:moveTo>
                  <a:lnTo>
                    <a:pt x="7" y="103"/>
                  </a:lnTo>
                  <a:lnTo>
                    <a:pt x="16" y="110"/>
                  </a:lnTo>
                  <a:lnTo>
                    <a:pt x="48" y="74"/>
                  </a:lnTo>
                  <a:lnTo>
                    <a:pt x="55" y="74"/>
                  </a:lnTo>
                  <a:lnTo>
                    <a:pt x="59" y="86"/>
                  </a:lnTo>
                  <a:lnTo>
                    <a:pt x="87" y="74"/>
                  </a:lnTo>
                  <a:lnTo>
                    <a:pt x="104" y="71"/>
                  </a:lnTo>
                  <a:lnTo>
                    <a:pt x="148" y="81"/>
                  </a:lnTo>
                  <a:lnTo>
                    <a:pt x="158" y="60"/>
                  </a:lnTo>
                  <a:lnTo>
                    <a:pt x="140" y="43"/>
                  </a:lnTo>
                  <a:lnTo>
                    <a:pt x="106" y="39"/>
                  </a:lnTo>
                  <a:lnTo>
                    <a:pt x="121" y="34"/>
                  </a:lnTo>
                  <a:lnTo>
                    <a:pt x="121" y="31"/>
                  </a:lnTo>
                  <a:lnTo>
                    <a:pt x="95" y="26"/>
                  </a:lnTo>
                  <a:lnTo>
                    <a:pt x="87" y="11"/>
                  </a:lnTo>
                  <a:lnTo>
                    <a:pt x="50" y="0"/>
                  </a:lnTo>
                  <a:lnTo>
                    <a:pt x="7" y="0"/>
                  </a:lnTo>
                  <a:lnTo>
                    <a:pt x="2" y="5"/>
                  </a:lnTo>
                  <a:lnTo>
                    <a:pt x="10" y="35"/>
                  </a:lnTo>
                  <a:lnTo>
                    <a:pt x="7" y="56"/>
                  </a:lnTo>
                  <a:lnTo>
                    <a:pt x="0" y="64"/>
                  </a:lnTo>
                  <a:lnTo>
                    <a:pt x="5" y="77"/>
                  </a:lnTo>
                  <a:lnTo>
                    <a:pt x="4" y="91"/>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42" name="Freeform 171">
              <a:extLst>
                <a:ext uri="{FF2B5EF4-FFF2-40B4-BE49-F238E27FC236}">
                  <a16:creationId xmlns:a16="http://schemas.microsoft.com/office/drawing/2014/main" id="{C9669FFE-B8B5-6A47-B51A-F866AAE26E48}"/>
                </a:ext>
              </a:extLst>
            </p:cNvPr>
            <p:cNvSpPr>
              <a:spLocks noChangeAspect="1"/>
            </p:cNvSpPr>
            <p:nvPr/>
          </p:nvSpPr>
          <p:spPr bwMode="gray">
            <a:xfrm>
              <a:off x="2610670" y="3874844"/>
              <a:ext cx="50979" cy="32639"/>
            </a:xfrm>
            <a:custGeom>
              <a:avLst/>
              <a:gdLst>
                <a:gd name="T0" fmla="*/ 0 w 106"/>
                <a:gd name="T1" fmla="*/ 34 h 60"/>
                <a:gd name="T2" fmla="*/ 5 w 106"/>
                <a:gd name="T3" fmla="*/ 22 h 60"/>
                <a:gd name="T4" fmla="*/ 22 w 106"/>
                <a:gd name="T5" fmla="*/ 13 h 60"/>
                <a:gd name="T6" fmla="*/ 27 w 106"/>
                <a:gd name="T7" fmla="*/ 0 h 60"/>
                <a:gd name="T8" fmla="*/ 42 w 106"/>
                <a:gd name="T9" fmla="*/ 4 h 60"/>
                <a:gd name="T10" fmla="*/ 72 w 106"/>
                <a:gd name="T11" fmla="*/ 26 h 60"/>
                <a:gd name="T12" fmla="*/ 90 w 106"/>
                <a:gd name="T13" fmla="*/ 24 h 60"/>
                <a:gd name="T14" fmla="*/ 98 w 106"/>
                <a:gd name="T15" fmla="*/ 27 h 60"/>
                <a:gd name="T16" fmla="*/ 104 w 106"/>
                <a:gd name="T17" fmla="*/ 32 h 60"/>
                <a:gd name="T18" fmla="*/ 106 w 106"/>
                <a:gd name="T19" fmla="*/ 49 h 60"/>
                <a:gd name="T20" fmla="*/ 87 w 106"/>
                <a:gd name="T21" fmla="*/ 60 h 60"/>
                <a:gd name="T22" fmla="*/ 63 w 106"/>
                <a:gd name="T23" fmla="*/ 60 h 60"/>
                <a:gd name="T24" fmla="*/ 17 w 106"/>
                <a:gd name="T25" fmla="*/ 44 h 60"/>
                <a:gd name="T26" fmla="*/ 0 w 106"/>
                <a:gd name="T27"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60">
                  <a:moveTo>
                    <a:pt x="0" y="34"/>
                  </a:moveTo>
                  <a:lnTo>
                    <a:pt x="5" y="22"/>
                  </a:lnTo>
                  <a:lnTo>
                    <a:pt x="22" y="13"/>
                  </a:lnTo>
                  <a:lnTo>
                    <a:pt x="27" y="0"/>
                  </a:lnTo>
                  <a:lnTo>
                    <a:pt x="42" y="4"/>
                  </a:lnTo>
                  <a:lnTo>
                    <a:pt x="72" y="26"/>
                  </a:lnTo>
                  <a:lnTo>
                    <a:pt x="90" y="24"/>
                  </a:lnTo>
                  <a:lnTo>
                    <a:pt x="98" y="27"/>
                  </a:lnTo>
                  <a:lnTo>
                    <a:pt x="104" y="32"/>
                  </a:lnTo>
                  <a:lnTo>
                    <a:pt x="106" y="49"/>
                  </a:lnTo>
                  <a:lnTo>
                    <a:pt x="87" y="60"/>
                  </a:lnTo>
                  <a:lnTo>
                    <a:pt x="63" y="60"/>
                  </a:lnTo>
                  <a:lnTo>
                    <a:pt x="17" y="44"/>
                  </a:lnTo>
                  <a:lnTo>
                    <a:pt x="0" y="34"/>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43" name="Freeform 172">
              <a:extLst>
                <a:ext uri="{FF2B5EF4-FFF2-40B4-BE49-F238E27FC236}">
                  <a16:creationId xmlns:a16="http://schemas.microsoft.com/office/drawing/2014/main" id="{272B9827-5C9E-BF4E-90FF-76CB3267A323}"/>
                </a:ext>
              </a:extLst>
            </p:cNvPr>
            <p:cNvSpPr>
              <a:spLocks noChangeAspect="1"/>
            </p:cNvSpPr>
            <p:nvPr/>
          </p:nvSpPr>
          <p:spPr bwMode="gray">
            <a:xfrm>
              <a:off x="2666429" y="3857563"/>
              <a:ext cx="95583" cy="117118"/>
            </a:xfrm>
            <a:custGeom>
              <a:avLst/>
              <a:gdLst>
                <a:gd name="T0" fmla="*/ 82 w 197"/>
                <a:gd name="T1" fmla="*/ 186 h 200"/>
                <a:gd name="T2" fmla="*/ 93 w 197"/>
                <a:gd name="T3" fmla="*/ 181 h 200"/>
                <a:gd name="T4" fmla="*/ 119 w 197"/>
                <a:gd name="T5" fmla="*/ 189 h 200"/>
                <a:gd name="T6" fmla="*/ 138 w 197"/>
                <a:gd name="T7" fmla="*/ 188 h 200"/>
                <a:gd name="T8" fmla="*/ 158 w 197"/>
                <a:gd name="T9" fmla="*/ 200 h 200"/>
                <a:gd name="T10" fmla="*/ 178 w 197"/>
                <a:gd name="T11" fmla="*/ 193 h 200"/>
                <a:gd name="T12" fmla="*/ 172 w 197"/>
                <a:gd name="T13" fmla="*/ 167 h 200"/>
                <a:gd name="T14" fmla="*/ 176 w 197"/>
                <a:gd name="T15" fmla="*/ 152 h 200"/>
                <a:gd name="T16" fmla="*/ 184 w 197"/>
                <a:gd name="T17" fmla="*/ 70 h 200"/>
                <a:gd name="T18" fmla="*/ 195 w 197"/>
                <a:gd name="T19" fmla="*/ 36 h 200"/>
                <a:gd name="T20" fmla="*/ 197 w 197"/>
                <a:gd name="T21" fmla="*/ 0 h 200"/>
                <a:gd name="T22" fmla="*/ 187 w 197"/>
                <a:gd name="T23" fmla="*/ 0 h 200"/>
                <a:gd name="T24" fmla="*/ 151 w 197"/>
                <a:gd name="T25" fmla="*/ 19 h 200"/>
                <a:gd name="T26" fmla="*/ 136 w 197"/>
                <a:gd name="T27" fmla="*/ 17 h 200"/>
                <a:gd name="T28" fmla="*/ 125 w 197"/>
                <a:gd name="T29" fmla="*/ 10 h 200"/>
                <a:gd name="T30" fmla="*/ 111 w 197"/>
                <a:gd name="T31" fmla="*/ 36 h 200"/>
                <a:gd name="T32" fmla="*/ 104 w 197"/>
                <a:gd name="T33" fmla="*/ 36 h 200"/>
                <a:gd name="T34" fmla="*/ 82 w 197"/>
                <a:gd name="T35" fmla="*/ 53 h 200"/>
                <a:gd name="T36" fmla="*/ 65 w 197"/>
                <a:gd name="T37" fmla="*/ 45 h 200"/>
                <a:gd name="T38" fmla="*/ 57 w 197"/>
                <a:gd name="T39" fmla="*/ 61 h 200"/>
                <a:gd name="T40" fmla="*/ 37 w 197"/>
                <a:gd name="T41" fmla="*/ 61 h 200"/>
                <a:gd name="T42" fmla="*/ 36 w 197"/>
                <a:gd name="T43" fmla="*/ 79 h 200"/>
                <a:gd name="T44" fmla="*/ 25 w 197"/>
                <a:gd name="T45" fmla="*/ 93 h 200"/>
                <a:gd name="T46" fmla="*/ 9 w 197"/>
                <a:gd name="T47" fmla="*/ 95 h 200"/>
                <a:gd name="T48" fmla="*/ 0 w 197"/>
                <a:gd name="T49" fmla="*/ 95 h 200"/>
                <a:gd name="T50" fmla="*/ 0 w 197"/>
                <a:gd name="T51" fmla="*/ 102 h 200"/>
                <a:gd name="T52" fmla="*/ 82 w 197"/>
                <a:gd name="T53" fmla="*/ 18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7" h="200">
                  <a:moveTo>
                    <a:pt x="82" y="186"/>
                  </a:moveTo>
                  <a:lnTo>
                    <a:pt x="93" y="181"/>
                  </a:lnTo>
                  <a:lnTo>
                    <a:pt x="119" y="189"/>
                  </a:lnTo>
                  <a:lnTo>
                    <a:pt x="138" y="188"/>
                  </a:lnTo>
                  <a:lnTo>
                    <a:pt x="158" y="200"/>
                  </a:lnTo>
                  <a:lnTo>
                    <a:pt x="178" y="193"/>
                  </a:lnTo>
                  <a:lnTo>
                    <a:pt x="172" y="167"/>
                  </a:lnTo>
                  <a:lnTo>
                    <a:pt x="176" y="152"/>
                  </a:lnTo>
                  <a:lnTo>
                    <a:pt x="184" y="70"/>
                  </a:lnTo>
                  <a:lnTo>
                    <a:pt x="195" y="36"/>
                  </a:lnTo>
                  <a:lnTo>
                    <a:pt x="197" y="0"/>
                  </a:lnTo>
                  <a:lnTo>
                    <a:pt x="187" y="0"/>
                  </a:lnTo>
                  <a:lnTo>
                    <a:pt x="151" y="19"/>
                  </a:lnTo>
                  <a:lnTo>
                    <a:pt x="136" y="17"/>
                  </a:lnTo>
                  <a:lnTo>
                    <a:pt x="125" y="10"/>
                  </a:lnTo>
                  <a:lnTo>
                    <a:pt x="111" y="36"/>
                  </a:lnTo>
                  <a:lnTo>
                    <a:pt x="104" y="36"/>
                  </a:lnTo>
                  <a:lnTo>
                    <a:pt x="82" y="53"/>
                  </a:lnTo>
                  <a:lnTo>
                    <a:pt x="65" y="45"/>
                  </a:lnTo>
                  <a:lnTo>
                    <a:pt x="57" y="61"/>
                  </a:lnTo>
                  <a:lnTo>
                    <a:pt x="37" y="61"/>
                  </a:lnTo>
                  <a:lnTo>
                    <a:pt x="36" y="79"/>
                  </a:lnTo>
                  <a:lnTo>
                    <a:pt x="25" y="93"/>
                  </a:lnTo>
                  <a:lnTo>
                    <a:pt x="9" y="95"/>
                  </a:lnTo>
                  <a:lnTo>
                    <a:pt x="0" y="95"/>
                  </a:lnTo>
                  <a:lnTo>
                    <a:pt x="0" y="102"/>
                  </a:lnTo>
                  <a:lnTo>
                    <a:pt x="82" y="186"/>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44" name="Freeform 173">
              <a:extLst>
                <a:ext uri="{FF2B5EF4-FFF2-40B4-BE49-F238E27FC236}">
                  <a16:creationId xmlns:a16="http://schemas.microsoft.com/office/drawing/2014/main" id="{88E8756E-4E99-034C-9D72-A2F3E38A36D2}"/>
                </a:ext>
              </a:extLst>
            </p:cNvPr>
            <p:cNvSpPr>
              <a:spLocks noChangeAspect="1"/>
            </p:cNvSpPr>
            <p:nvPr/>
          </p:nvSpPr>
          <p:spPr bwMode="gray">
            <a:xfrm>
              <a:off x="2623414" y="3828763"/>
              <a:ext cx="138594" cy="84479"/>
            </a:xfrm>
            <a:custGeom>
              <a:avLst/>
              <a:gdLst>
                <a:gd name="T0" fmla="*/ 285 w 285"/>
                <a:gd name="T1" fmla="*/ 46 h 141"/>
                <a:gd name="T2" fmla="*/ 275 w 285"/>
                <a:gd name="T3" fmla="*/ 46 h 141"/>
                <a:gd name="T4" fmla="*/ 239 w 285"/>
                <a:gd name="T5" fmla="*/ 65 h 141"/>
                <a:gd name="T6" fmla="*/ 224 w 285"/>
                <a:gd name="T7" fmla="*/ 63 h 141"/>
                <a:gd name="T8" fmla="*/ 213 w 285"/>
                <a:gd name="T9" fmla="*/ 56 h 141"/>
                <a:gd name="T10" fmla="*/ 199 w 285"/>
                <a:gd name="T11" fmla="*/ 82 h 141"/>
                <a:gd name="T12" fmla="*/ 192 w 285"/>
                <a:gd name="T13" fmla="*/ 82 h 141"/>
                <a:gd name="T14" fmla="*/ 170 w 285"/>
                <a:gd name="T15" fmla="*/ 99 h 141"/>
                <a:gd name="T16" fmla="*/ 153 w 285"/>
                <a:gd name="T17" fmla="*/ 91 h 141"/>
                <a:gd name="T18" fmla="*/ 145 w 285"/>
                <a:gd name="T19" fmla="*/ 107 h 141"/>
                <a:gd name="T20" fmla="*/ 125 w 285"/>
                <a:gd name="T21" fmla="*/ 107 h 141"/>
                <a:gd name="T22" fmla="*/ 124 w 285"/>
                <a:gd name="T23" fmla="*/ 125 h 141"/>
                <a:gd name="T24" fmla="*/ 113 w 285"/>
                <a:gd name="T25" fmla="*/ 139 h 141"/>
                <a:gd name="T26" fmla="*/ 97 w 285"/>
                <a:gd name="T27" fmla="*/ 141 h 141"/>
                <a:gd name="T28" fmla="*/ 88 w 285"/>
                <a:gd name="T29" fmla="*/ 124 h 141"/>
                <a:gd name="T30" fmla="*/ 79 w 285"/>
                <a:gd name="T31" fmla="*/ 122 h 141"/>
                <a:gd name="T32" fmla="*/ 77 w 285"/>
                <a:gd name="T33" fmla="*/ 105 h 141"/>
                <a:gd name="T34" fmla="*/ 71 w 285"/>
                <a:gd name="T35" fmla="*/ 100 h 141"/>
                <a:gd name="T36" fmla="*/ 63 w 285"/>
                <a:gd name="T37" fmla="*/ 97 h 141"/>
                <a:gd name="T38" fmla="*/ 45 w 285"/>
                <a:gd name="T39" fmla="*/ 99 h 141"/>
                <a:gd name="T40" fmla="*/ 15 w 285"/>
                <a:gd name="T41" fmla="*/ 77 h 141"/>
                <a:gd name="T42" fmla="*/ 0 w 285"/>
                <a:gd name="T43" fmla="*/ 73 h 141"/>
                <a:gd name="T44" fmla="*/ 11 w 285"/>
                <a:gd name="T45" fmla="*/ 63 h 141"/>
                <a:gd name="T46" fmla="*/ 11 w 285"/>
                <a:gd name="T47" fmla="*/ 49 h 141"/>
                <a:gd name="T48" fmla="*/ 48 w 285"/>
                <a:gd name="T49" fmla="*/ 20 h 141"/>
                <a:gd name="T50" fmla="*/ 51 w 285"/>
                <a:gd name="T51" fmla="*/ 10 h 141"/>
                <a:gd name="T52" fmla="*/ 79 w 285"/>
                <a:gd name="T53" fmla="*/ 7 h 141"/>
                <a:gd name="T54" fmla="*/ 124 w 285"/>
                <a:gd name="T55" fmla="*/ 10 h 141"/>
                <a:gd name="T56" fmla="*/ 168 w 285"/>
                <a:gd name="T57" fmla="*/ 0 h 141"/>
                <a:gd name="T58" fmla="*/ 176 w 285"/>
                <a:gd name="T59" fmla="*/ 6 h 141"/>
                <a:gd name="T60" fmla="*/ 204 w 285"/>
                <a:gd name="T61" fmla="*/ 1 h 141"/>
                <a:gd name="T62" fmla="*/ 246 w 285"/>
                <a:gd name="T63" fmla="*/ 14 h 141"/>
                <a:gd name="T64" fmla="*/ 277 w 285"/>
                <a:gd name="T65" fmla="*/ 32 h 141"/>
                <a:gd name="T66" fmla="*/ 285 w 285"/>
                <a:gd name="T67" fmla="*/ 4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5" h="141">
                  <a:moveTo>
                    <a:pt x="285" y="46"/>
                  </a:moveTo>
                  <a:lnTo>
                    <a:pt x="275" y="46"/>
                  </a:lnTo>
                  <a:lnTo>
                    <a:pt x="239" y="65"/>
                  </a:lnTo>
                  <a:lnTo>
                    <a:pt x="224" y="63"/>
                  </a:lnTo>
                  <a:lnTo>
                    <a:pt x="213" y="56"/>
                  </a:lnTo>
                  <a:lnTo>
                    <a:pt x="199" y="82"/>
                  </a:lnTo>
                  <a:lnTo>
                    <a:pt x="192" y="82"/>
                  </a:lnTo>
                  <a:lnTo>
                    <a:pt x="170" y="99"/>
                  </a:lnTo>
                  <a:lnTo>
                    <a:pt x="153" y="91"/>
                  </a:lnTo>
                  <a:lnTo>
                    <a:pt x="145" y="107"/>
                  </a:lnTo>
                  <a:lnTo>
                    <a:pt x="125" y="107"/>
                  </a:lnTo>
                  <a:lnTo>
                    <a:pt x="124" y="125"/>
                  </a:lnTo>
                  <a:lnTo>
                    <a:pt x="113" y="139"/>
                  </a:lnTo>
                  <a:lnTo>
                    <a:pt x="97" y="141"/>
                  </a:lnTo>
                  <a:lnTo>
                    <a:pt x="88" y="124"/>
                  </a:lnTo>
                  <a:lnTo>
                    <a:pt x="79" y="122"/>
                  </a:lnTo>
                  <a:lnTo>
                    <a:pt x="77" y="105"/>
                  </a:lnTo>
                  <a:lnTo>
                    <a:pt x="71" y="100"/>
                  </a:lnTo>
                  <a:lnTo>
                    <a:pt x="63" y="97"/>
                  </a:lnTo>
                  <a:lnTo>
                    <a:pt x="45" y="99"/>
                  </a:lnTo>
                  <a:lnTo>
                    <a:pt x="15" y="77"/>
                  </a:lnTo>
                  <a:lnTo>
                    <a:pt x="0" y="73"/>
                  </a:lnTo>
                  <a:lnTo>
                    <a:pt x="11" y="63"/>
                  </a:lnTo>
                  <a:lnTo>
                    <a:pt x="11" y="49"/>
                  </a:lnTo>
                  <a:lnTo>
                    <a:pt x="48" y="20"/>
                  </a:lnTo>
                  <a:lnTo>
                    <a:pt x="51" y="10"/>
                  </a:lnTo>
                  <a:lnTo>
                    <a:pt x="79" y="7"/>
                  </a:lnTo>
                  <a:lnTo>
                    <a:pt x="124" y="10"/>
                  </a:lnTo>
                  <a:lnTo>
                    <a:pt x="168" y="0"/>
                  </a:lnTo>
                  <a:lnTo>
                    <a:pt x="176" y="6"/>
                  </a:lnTo>
                  <a:lnTo>
                    <a:pt x="204" y="1"/>
                  </a:lnTo>
                  <a:lnTo>
                    <a:pt x="246" y="14"/>
                  </a:lnTo>
                  <a:lnTo>
                    <a:pt x="277" y="32"/>
                  </a:lnTo>
                  <a:lnTo>
                    <a:pt x="285" y="46"/>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45" name="Freeform 174">
              <a:extLst>
                <a:ext uri="{FF2B5EF4-FFF2-40B4-BE49-F238E27FC236}">
                  <a16:creationId xmlns:a16="http://schemas.microsoft.com/office/drawing/2014/main" id="{D02FB220-1AEC-1046-A8E9-45770B6BE4AD}"/>
                </a:ext>
              </a:extLst>
            </p:cNvPr>
            <p:cNvSpPr>
              <a:spLocks noChangeAspect="1"/>
            </p:cNvSpPr>
            <p:nvPr/>
          </p:nvSpPr>
          <p:spPr bwMode="gray">
            <a:xfrm>
              <a:off x="2704659" y="3963163"/>
              <a:ext cx="73280" cy="78717"/>
            </a:xfrm>
            <a:custGeom>
              <a:avLst/>
              <a:gdLst>
                <a:gd name="T0" fmla="*/ 130 w 150"/>
                <a:gd name="T1" fmla="*/ 132 h 132"/>
                <a:gd name="T2" fmla="*/ 136 w 150"/>
                <a:gd name="T3" fmla="*/ 124 h 132"/>
                <a:gd name="T4" fmla="*/ 144 w 150"/>
                <a:gd name="T5" fmla="*/ 98 h 132"/>
                <a:gd name="T6" fmla="*/ 135 w 150"/>
                <a:gd name="T7" fmla="*/ 91 h 132"/>
                <a:gd name="T8" fmla="*/ 136 w 150"/>
                <a:gd name="T9" fmla="*/ 79 h 132"/>
                <a:gd name="T10" fmla="*/ 142 w 150"/>
                <a:gd name="T11" fmla="*/ 73 h 132"/>
                <a:gd name="T12" fmla="*/ 150 w 150"/>
                <a:gd name="T13" fmla="*/ 73 h 132"/>
                <a:gd name="T14" fmla="*/ 118 w 150"/>
                <a:gd name="T15" fmla="*/ 45 h 132"/>
                <a:gd name="T16" fmla="*/ 99 w 150"/>
                <a:gd name="T17" fmla="*/ 12 h 132"/>
                <a:gd name="T18" fmla="*/ 79 w 150"/>
                <a:gd name="T19" fmla="*/ 19 h 132"/>
                <a:gd name="T20" fmla="*/ 59 w 150"/>
                <a:gd name="T21" fmla="*/ 7 h 132"/>
                <a:gd name="T22" fmla="*/ 40 w 150"/>
                <a:gd name="T23" fmla="*/ 8 h 132"/>
                <a:gd name="T24" fmla="*/ 14 w 150"/>
                <a:gd name="T25" fmla="*/ 0 h 132"/>
                <a:gd name="T26" fmla="*/ 3 w 150"/>
                <a:gd name="T27" fmla="*/ 5 h 132"/>
                <a:gd name="T28" fmla="*/ 0 w 150"/>
                <a:gd name="T29" fmla="*/ 34 h 132"/>
                <a:gd name="T30" fmla="*/ 8 w 150"/>
                <a:gd name="T31" fmla="*/ 56 h 132"/>
                <a:gd name="T32" fmla="*/ 37 w 150"/>
                <a:gd name="T33" fmla="*/ 71 h 132"/>
                <a:gd name="T34" fmla="*/ 40 w 150"/>
                <a:gd name="T35" fmla="*/ 57 h 132"/>
                <a:gd name="T36" fmla="*/ 32 w 150"/>
                <a:gd name="T37" fmla="*/ 53 h 132"/>
                <a:gd name="T38" fmla="*/ 42 w 150"/>
                <a:gd name="T39" fmla="*/ 51 h 132"/>
                <a:gd name="T40" fmla="*/ 62 w 150"/>
                <a:gd name="T41" fmla="*/ 78 h 132"/>
                <a:gd name="T42" fmla="*/ 97 w 150"/>
                <a:gd name="T43" fmla="*/ 96 h 132"/>
                <a:gd name="T44" fmla="*/ 101 w 150"/>
                <a:gd name="T45" fmla="*/ 122 h 132"/>
                <a:gd name="T46" fmla="*/ 114 w 150"/>
                <a:gd name="T47" fmla="*/ 127 h 132"/>
                <a:gd name="T48" fmla="*/ 113 w 150"/>
                <a:gd name="T49" fmla="*/ 115 h 132"/>
                <a:gd name="T50" fmla="*/ 118 w 150"/>
                <a:gd name="T51" fmla="*/ 115 h 132"/>
                <a:gd name="T52" fmla="*/ 130 w 150"/>
                <a:gd name="T53"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0" h="132">
                  <a:moveTo>
                    <a:pt x="130" y="132"/>
                  </a:moveTo>
                  <a:lnTo>
                    <a:pt x="136" y="124"/>
                  </a:lnTo>
                  <a:lnTo>
                    <a:pt x="144" y="98"/>
                  </a:lnTo>
                  <a:lnTo>
                    <a:pt x="135" y="91"/>
                  </a:lnTo>
                  <a:lnTo>
                    <a:pt x="136" y="79"/>
                  </a:lnTo>
                  <a:lnTo>
                    <a:pt x="142" y="73"/>
                  </a:lnTo>
                  <a:lnTo>
                    <a:pt x="150" y="73"/>
                  </a:lnTo>
                  <a:lnTo>
                    <a:pt x="118" y="45"/>
                  </a:lnTo>
                  <a:lnTo>
                    <a:pt x="99" y="12"/>
                  </a:lnTo>
                  <a:lnTo>
                    <a:pt x="79" y="19"/>
                  </a:lnTo>
                  <a:lnTo>
                    <a:pt x="59" y="7"/>
                  </a:lnTo>
                  <a:lnTo>
                    <a:pt x="40" y="8"/>
                  </a:lnTo>
                  <a:lnTo>
                    <a:pt x="14" y="0"/>
                  </a:lnTo>
                  <a:lnTo>
                    <a:pt x="3" y="5"/>
                  </a:lnTo>
                  <a:lnTo>
                    <a:pt x="0" y="34"/>
                  </a:lnTo>
                  <a:lnTo>
                    <a:pt x="8" y="56"/>
                  </a:lnTo>
                  <a:lnTo>
                    <a:pt x="37" y="71"/>
                  </a:lnTo>
                  <a:lnTo>
                    <a:pt x="40" y="57"/>
                  </a:lnTo>
                  <a:lnTo>
                    <a:pt x="32" y="53"/>
                  </a:lnTo>
                  <a:lnTo>
                    <a:pt x="42" y="51"/>
                  </a:lnTo>
                  <a:lnTo>
                    <a:pt x="62" y="78"/>
                  </a:lnTo>
                  <a:lnTo>
                    <a:pt x="97" y="96"/>
                  </a:lnTo>
                  <a:lnTo>
                    <a:pt x="101" y="122"/>
                  </a:lnTo>
                  <a:lnTo>
                    <a:pt x="114" y="127"/>
                  </a:lnTo>
                  <a:lnTo>
                    <a:pt x="113" y="115"/>
                  </a:lnTo>
                  <a:lnTo>
                    <a:pt x="118" y="115"/>
                  </a:lnTo>
                  <a:lnTo>
                    <a:pt x="130" y="132"/>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46" name="Freeform 175">
              <a:extLst>
                <a:ext uri="{FF2B5EF4-FFF2-40B4-BE49-F238E27FC236}">
                  <a16:creationId xmlns:a16="http://schemas.microsoft.com/office/drawing/2014/main" id="{8904FD92-9889-D64B-AC74-CDA9E2FDFF66}"/>
                </a:ext>
              </a:extLst>
            </p:cNvPr>
            <p:cNvSpPr>
              <a:spLocks noChangeAspect="1"/>
            </p:cNvSpPr>
            <p:nvPr/>
          </p:nvSpPr>
          <p:spPr bwMode="gray">
            <a:xfrm>
              <a:off x="2628194" y="3761564"/>
              <a:ext cx="25488" cy="71039"/>
            </a:xfrm>
            <a:custGeom>
              <a:avLst/>
              <a:gdLst>
                <a:gd name="T0" fmla="*/ 15 w 51"/>
                <a:gd name="T1" fmla="*/ 119 h 119"/>
                <a:gd name="T2" fmla="*/ 0 w 51"/>
                <a:gd name="T3" fmla="*/ 118 h 119"/>
                <a:gd name="T4" fmla="*/ 1 w 51"/>
                <a:gd name="T5" fmla="*/ 27 h 119"/>
                <a:gd name="T6" fmla="*/ 17 w 51"/>
                <a:gd name="T7" fmla="*/ 25 h 119"/>
                <a:gd name="T8" fmla="*/ 30 w 51"/>
                <a:gd name="T9" fmla="*/ 2 h 119"/>
                <a:gd name="T10" fmla="*/ 37 w 51"/>
                <a:gd name="T11" fmla="*/ 0 h 119"/>
                <a:gd name="T12" fmla="*/ 51 w 51"/>
                <a:gd name="T13" fmla="*/ 10 h 119"/>
                <a:gd name="T14" fmla="*/ 43 w 51"/>
                <a:gd name="T15" fmla="*/ 34 h 119"/>
                <a:gd name="T16" fmla="*/ 42 w 51"/>
                <a:gd name="T17" fmla="*/ 74 h 119"/>
                <a:gd name="T18" fmla="*/ 37 w 51"/>
                <a:gd name="T19" fmla="*/ 91 h 119"/>
                <a:gd name="T20" fmla="*/ 17 w 51"/>
                <a:gd name="T21" fmla="*/ 110 h 119"/>
                <a:gd name="T22" fmla="*/ 15 w 51"/>
                <a:gd name="T23"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119">
                  <a:moveTo>
                    <a:pt x="15" y="119"/>
                  </a:moveTo>
                  <a:lnTo>
                    <a:pt x="0" y="118"/>
                  </a:lnTo>
                  <a:lnTo>
                    <a:pt x="1" y="27"/>
                  </a:lnTo>
                  <a:lnTo>
                    <a:pt x="17" y="25"/>
                  </a:lnTo>
                  <a:lnTo>
                    <a:pt x="30" y="2"/>
                  </a:lnTo>
                  <a:lnTo>
                    <a:pt x="37" y="0"/>
                  </a:lnTo>
                  <a:lnTo>
                    <a:pt x="51" y="10"/>
                  </a:lnTo>
                  <a:lnTo>
                    <a:pt x="43" y="34"/>
                  </a:lnTo>
                  <a:lnTo>
                    <a:pt x="42" y="74"/>
                  </a:lnTo>
                  <a:lnTo>
                    <a:pt x="37" y="91"/>
                  </a:lnTo>
                  <a:lnTo>
                    <a:pt x="17" y="110"/>
                  </a:lnTo>
                  <a:lnTo>
                    <a:pt x="15" y="119"/>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47" name="Freeform 176">
              <a:extLst>
                <a:ext uri="{FF2B5EF4-FFF2-40B4-BE49-F238E27FC236}">
                  <a16:creationId xmlns:a16="http://schemas.microsoft.com/office/drawing/2014/main" id="{E958E8DA-6AD9-984B-A479-8EB6601FCFE3}"/>
                </a:ext>
              </a:extLst>
            </p:cNvPr>
            <p:cNvSpPr>
              <a:spLocks noChangeAspect="1"/>
            </p:cNvSpPr>
            <p:nvPr/>
          </p:nvSpPr>
          <p:spPr bwMode="gray">
            <a:xfrm>
              <a:off x="2873523" y="3755803"/>
              <a:ext cx="46198" cy="24961"/>
            </a:xfrm>
            <a:custGeom>
              <a:avLst/>
              <a:gdLst>
                <a:gd name="T0" fmla="*/ 55 w 95"/>
                <a:gd name="T1" fmla="*/ 6 h 38"/>
                <a:gd name="T2" fmla="*/ 72 w 95"/>
                <a:gd name="T3" fmla="*/ 16 h 38"/>
                <a:gd name="T4" fmla="*/ 89 w 95"/>
                <a:gd name="T5" fmla="*/ 16 h 38"/>
                <a:gd name="T6" fmla="*/ 95 w 95"/>
                <a:gd name="T7" fmla="*/ 31 h 38"/>
                <a:gd name="T8" fmla="*/ 75 w 95"/>
                <a:gd name="T9" fmla="*/ 29 h 38"/>
                <a:gd name="T10" fmla="*/ 58 w 95"/>
                <a:gd name="T11" fmla="*/ 33 h 38"/>
                <a:gd name="T12" fmla="*/ 55 w 95"/>
                <a:gd name="T13" fmla="*/ 38 h 38"/>
                <a:gd name="T14" fmla="*/ 30 w 95"/>
                <a:gd name="T15" fmla="*/ 33 h 38"/>
                <a:gd name="T16" fmla="*/ 0 w 95"/>
                <a:gd name="T17" fmla="*/ 11 h 38"/>
                <a:gd name="T18" fmla="*/ 21 w 95"/>
                <a:gd name="T19" fmla="*/ 0 h 38"/>
                <a:gd name="T20" fmla="*/ 55 w 95"/>
                <a:gd name="T21" fmla="*/ 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38">
                  <a:moveTo>
                    <a:pt x="55" y="6"/>
                  </a:moveTo>
                  <a:lnTo>
                    <a:pt x="72" y="16"/>
                  </a:lnTo>
                  <a:lnTo>
                    <a:pt x="89" y="16"/>
                  </a:lnTo>
                  <a:lnTo>
                    <a:pt x="95" y="31"/>
                  </a:lnTo>
                  <a:lnTo>
                    <a:pt x="75" y="29"/>
                  </a:lnTo>
                  <a:lnTo>
                    <a:pt x="58" y="33"/>
                  </a:lnTo>
                  <a:lnTo>
                    <a:pt x="55" y="38"/>
                  </a:lnTo>
                  <a:lnTo>
                    <a:pt x="30" y="33"/>
                  </a:lnTo>
                  <a:lnTo>
                    <a:pt x="0" y="11"/>
                  </a:lnTo>
                  <a:lnTo>
                    <a:pt x="21" y="0"/>
                  </a:lnTo>
                  <a:lnTo>
                    <a:pt x="55" y="6"/>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48" name="Freeform 177">
              <a:extLst>
                <a:ext uri="{FF2B5EF4-FFF2-40B4-BE49-F238E27FC236}">
                  <a16:creationId xmlns:a16="http://schemas.microsoft.com/office/drawing/2014/main" id="{92A2CB4B-EAD8-5E42-898B-1552B01D0E9C}"/>
                </a:ext>
              </a:extLst>
            </p:cNvPr>
            <p:cNvSpPr>
              <a:spLocks noChangeAspect="1"/>
            </p:cNvSpPr>
            <p:nvPr/>
          </p:nvSpPr>
          <p:spPr bwMode="gray">
            <a:xfrm>
              <a:off x="3123631" y="3759643"/>
              <a:ext cx="33454" cy="15359"/>
            </a:xfrm>
            <a:custGeom>
              <a:avLst/>
              <a:gdLst>
                <a:gd name="T0" fmla="*/ 64 w 70"/>
                <a:gd name="T1" fmla="*/ 2 h 25"/>
                <a:gd name="T2" fmla="*/ 70 w 70"/>
                <a:gd name="T3" fmla="*/ 13 h 25"/>
                <a:gd name="T4" fmla="*/ 58 w 70"/>
                <a:gd name="T5" fmla="*/ 22 h 25"/>
                <a:gd name="T6" fmla="*/ 42 w 70"/>
                <a:gd name="T7" fmla="*/ 25 h 25"/>
                <a:gd name="T8" fmla="*/ 7 w 70"/>
                <a:gd name="T9" fmla="*/ 25 h 25"/>
                <a:gd name="T10" fmla="*/ 0 w 70"/>
                <a:gd name="T11" fmla="*/ 8 h 25"/>
                <a:gd name="T12" fmla="*/ 5 w 70"/>
                <a:gd name="T13" fmla="*/ 0 h 25"/>
                <a:gd name="T14" fmla="*/ 64 w 70"/>
                <a:gd name="T15" fmla="*/ 2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
                  <a:moveTo>
                    <a:pt x="64" y="2"/>
                  </a:moveTo>
                  <a:lnTo>
                    <a:pt x="70" y="13"/>
                  </a:lnTo>
                  <a:lnTo>
                    <a:pt x="58" y="22"/>
                  </a:lnTo>
                  <a:lnTo>
                    <a:pt x="42" y="25"/>
                  </a:lnTo>
                  <a:lnTo>
                    <a:pt x="7" y="25"/>
                  </a:lnTo>
                  <a:lnTo>
                    <a:pt x="0" y="8"/>
                  </a:lnTo>
                  <a:lnTo>
                    <a:pt x="5" y="0"/>
                  </a:lnTo>
                  <a:lnTo>
                    <a:pt x="64" y="2"/>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49" name="Freeform 178">
              <a:extLst>
                <a:ext uri="{FF2B5EF4-FFF2-40B4-BE49-F238E27FC236}">
                  <a16:creationId xmlns:a16="http://schemas.microsoft.com/office/drawing/2014/main" id="{F38FBA8C-B47B-134C-8322-B265408041EE}"/>
                </a:ext>
              </a:extLst>
            </p:cNvPr>
            <p:cNvSpPr>
              <a:spLocks noChangeAspect="1" noEditPoints="1"/>
            </p:cNvSpPr>
            <p:nvPr/>
          </p:nvSpPr>
          <p:spPr bwMode="gray">
            <a:xfrm>
              <a:off x="3381705" y="1432635"/>
              <a:ext cx="767846" cy="808310"/>
            </a:xfrm>
            <a:custGeom>
              <a:avLst/>
              <a:gdLst>
                <a:gd name="T0" fmla="*/ 27 w 1573"/>
                <a:gd name="T1" fmla="*/ 49 h 1377"/>
                <a:gd name="T2" fmla="*/ 1401 w 1573"/>
                <a:gd name="T3" fmla="*/ 168 h 1377"/>
                <a:gd name="T4" fmla="*/ 581 w 1573"/>
                <a:gd name="T5" fmla="*/ 1353 h 1377"/>
                <a:gd name="T6" fmla="*/ 544 w 1573"/>
                <a:gd name="T7" fmla="*/ 1364 h 1377"/>
                <a:gd name="T8" fmla="*/ 114 w 1573"/>
                <a:gd name="T9" fmla="*/ 348 h 1377"/>
                <a:gd name="T10" fmla="*/ 69 w 1573"/>
                <a:gd name="T11" fmla="*/ 270 h 1377"/>
                <a:gd name="T12" fmla="*/ 116 w 1573"/>
                <a:gd name="T13" fmla="*/ 0 h 1377"/>
                <a:gd name="T14" fmla="*/ 1542 w 1573"/>
                <a:gd name="T15" fmla="*/ 57 h 1377"/>
                <a:gd name="T16" fmla="*/ 1567 w 1573"/>
                <a:gd name="T17" fmla="*/ 176 h 1377"/>
                <a:gd name="T18" fmla="*/ 1489 w 1573"/>
                <a:gd name="T19" fmla="*/ 191 h 1377"/>
                <a:gd name="T20" fmla="*/ 1296 w 1573"/>
                <a:gd name="T21" fmla="*/ 3 h 1377"/>
                <a:gd name="T22" fmla="*/ 1390 w 1573"/>
                <a:gd name="T23" fmla="*/ 89 h 1377"/>
                <a:gd name="T24" fmla="*/ 1267 w 1573"/>
                <a:gd name="T25" fmla="*/ 126 h 1377"/>
                <a:gd name="T26" fmla="*/ 1347 w 1573"/>
                <a:gd name="T27" fmla="*/ 211 h 1377"/>
                <a:gd name="T28" fmla="*/ 1474 w 1573"/>
                <a:gd name="T29" fmla="*/ 244 h 1377"/>
                <a:gd name="T30" fmla="*/ 1478 w 1573"/>
                <a:gd name="T31" fmla="*/ 304 h 1377"/>
                <a:gd name="T32" fmla="*/ 1415 w 1573"/>
                <a:gd name="T33" fmla="*/ 377 h 1377"/>
                <a:gd name="T34" fmla="*/ 1288 w 1573"/>
                <a:gd name="T35" fmla="*/ 456 h 1377"/>
                <a:gd name="T36" fmla="*/ 1183 w 1573"/>
                <a:gd name="T37" fmla="*/ 493 h 1377"/>
                <a:gd name="T38" fmla="*/ 1140 w 1573"/>
                <a:gd name="T39" fmla="*/ 509 h 1377"/>
                <a:gd name="T40" fmla="*/ 1078 w 1573"/>
                <a:gd name="T41" fmla="*/ 445 h 1377"/>
                <a:gd name="T42" fmla="*/ 1087 w 1573"/>
                <a:gd name="T43" fmla="*/ 509 h 1377"/>
                <a:gd name="T44" fmla="*/ 1030 w 1573"/>
                <a:gd name="T45" fmla="*/ 590 h 1377"/>
                <a:gd name="T46" fmla="*/ 993 w 1573"/>
                <a:gd name="T47" fmla="*/ 678 h 1377"/>
                <a:gd name="T48" fmla="*/ 946 w 1573"/>
                <a:gd name="T49" fmla="*/ 719 h 1377"/>
                <a:gd name="T50" fmla="*/ 889 w 1573"/>
                <a:gd name="T51" fmla="*/ 744 h 1377"/>
                <a:gd name="T52" fmla="*/ 857 w 1573"/>
                <a:gd name="T53" fmla="*/ 711 h 1377"/>
                <a:gd name="T54" fmla="*/ 818 w 1573"/>
                <a:gd name="T55" fmla="*/ 744 h 1377"/>
                <a:gd name="T56" fmla="*/ 787 w 1573"/>
                <a:gd name="T57" fmla="*/ 793 h 1377"/>
                <a:gd name="T58" fmla="*/ 728 w 1573"/>
                <a:gd name="T59" fmla="*/ 812 h 1377"/>
                <a:gd name="T60" fmla="*/ 697 w 1573"/>
                <a:gd name="T61" fmla="*/ 917 h 1377"/>
                <a:gd name="T62" fmla="*/ 702 w 1573"/>
                <a:gd name="T63" fmla="*/ 991 h 1377"/>
                <a:gd name="T64" fmla="*/ 669 w 1573"/>
                <a:gd name="T65" fmla="*/ 1037 h 1377"/>
                <a:gd name="T66" fmla="*/ 630 w 1573"/>
                <a:gd name="T67" fmla="*/ 1053 h 1377"/>
                <a:gd name="T68" fmla="*/ 613 w 1573"/>
                <a:gd name="T69" fmla="*/ 1109 h 1377"/>
                <a:gd name="T70" fmla="*/ 542 w 1573"/>
                <a:gd name="T71" fmla="*/ 1345 h 1377"/>
                <a:gd name="T72" fmla="*/ 485 w 1573"/>
                <a:gd name="T73" fmla="*/ 1298 h 1377"/>
                <a:gd name="T74" fmla="*/ 445 w 1573"/>
                <a:gd name="T75" fmla="*/ 1282 h 1377"/>
                <a:gd name="T76" fmla="*/ 335 w 1573"/>
                <a:gd name="T77" fmla="*/ 1245 h 1377"/>
                <a:gd name="T78" fmla="*/ 295 w 1573"/>
                <a:gd name="T79" fmla="*/ 1177 h 1377"/>
                <a:gd name="T80" fmla="*/ 273 w 1573"/>
                <a:gd name="T81" fmla="*/ 1142 h 1377"/>
                <a:gd name="T82" fmla="*/ 217 w 1573"/>
                <a:gd name="T83" fmla="*/ 1042 h 1377"/>
                <a:gd name="T84" fmla="*/ 221 w 1573"/>
                <a:gd name="T85" fmla="*/ 942 h 1377"/>
                <a:gd name="T86" fmla="*/ 233 w 1573"/>
                <a:gd name="T87" fmla="*/ 880 h 1377"/>
                <a:gd name="T88" fmla="*/ 171 w 1573"/>
                <a:gd name="T89" fmla="*/ 881 h 1377"/>
                <a:gd name="T90" fmla="*/ 165 w 1573"/>
                <a:gd name="T91" fmla="*/ 813 h 1377"/>
                <a:gd name="T92" fmla="*/ 131 w 1573"/>
                <a:gd name="T93" fmla="*/ 728 h 1377"/>
                <a:gd name="T94" fmla="*/ 125 w 1573"/>
                <a:gd name="T95" fmla="*/ 663 h 1377"/>
                <a:gd name="T96" fmla="*/ 94 w 1573"/>
                <a:gd name="T97" fmla="*/ 583 h 1377"/>
                <a:gd name="T98" fmla="*/ 222 w 1573"/>
                <a:gd name="T99" fmla="*/ 502 h 1377"/>
                <a:gd name="T100" fmla="*/ 136 w 1573"/>
                <a:gd name="T101" fmla="*/ 485 h 1377"/>
                <a:gd name="T102" fmla="*/ 212 w 1573"/>
                <a:gd name="T103" fmla="*/ 399 h 1377"/>
                <a:gd name="T104" fmla="*/ 221 w 1573"/>
                <a:gd name="T105" fmla="*/ 349 h 1377"/>
                <a:gd name="T106" fmla="*/ 246 w 1573"/>
                <a:gd name="T107" fmla="*/ 269 h 1377"/>
                <a:gd name="T108" fmla="*/ 136 w 1573"/>
                <a:gd name="T109" fmla="*/ 154 h 1377"/>
                <a:gd name="T110" fmla="*/ 219 w 1573"/>
                <a:gd name="T111" fmla="*/ 174 h 1377"/>
                <a:gd name="T112" fmla="*/ 199 w 1573"/>
                <a:gd name="T113" fmla="*/ 109 h 1377"/>
                <a:gd name="T114" fmla="*/ 128 w 1573"/>
                <a:gd name="T115" fmla="*/ 61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73" h="1377">
                  <a:moveTo>
                    <a:pt x="13" y="0"/>
                  </a:moveTo>
                  <a:lnTo>
                    <a:pt x="101" y="0"/>
                  </a:lnTo>
                  <a:lnTo>
                    <a:pt x="72" y="30"/>
                  </a:lnTo>
                  <a:lnTo>
                    <a:pt x="81" y="40"/>
                  </a:lnTo>
                  <a:lnTo>
                    <a:pt x="81" y="53"/>
                  </a:lnTo>
                  <a:lnTo>
                    <a:pt x="56" y="67"/>
                  </a:lnTo>
                  <a:lnTo>
                    <a:pt x="27" y="49"/>
                  </a:lnTo>
                  <a:lnTo>
                    <a:pt x="18" y="60"/>
                  </a:lnTo>
                  <a:lnTo>
                    <a:pt x="5" y="35"/>
                  </a:lnTo>
                  <a:lnTo>
                    <a:pt x="0" y="21"/>
                  </a:lnTo>
                  <a:lnTo>
                    <a:pt x="9" y="7"/>
                  </a:lnTo>
                  <a:lnTo>
                    <a:pt x="13" y="0"/>
                  </a:lnTo>
                  <a:close/>
                  <a:moveTo>
                    <a:pt x="1398" y="138"/>
                  </a:moveTo>
                  <a:lnTo>
                    <a:pt x="1401" y="168"/>
                  </a:lnTo>
                  <a:lnTo>
                    <a:pt x="1390" y="177"/>
                  </a:lnTo>
                  <a:lnTo>
                    <a:pt x="1277" y="196"/>
                  </a:lnTo>
                  <a:lnTo>
                    <a:pt x="1280" y="170"/>
                  </a:lnTo>
                  <a:lnTo>
                    <a:pt x="1319" y="140"/>
                  </a:lnTo>
                  <a:lnTo>
                    <a:pt x="1376" y="112"/>
                  </a:lnTo>
                  <a:lnTo>
                    <a:pt x="1398" y="138"/>
                  </a:lnTo>
                  <a:close/>
                  <a:moveTo>
                    <a:pt x="581" y="1353"/>
                  </a:moveTo>
                  <a:lnTo>
                    <a:pt x="544" y="1352"/>
                  </a:lnTo>
                  <a:lnTo>
                    <a:pt x="558" y="1362"/>
                  </a:lnTo>
                  <a:lnTo>
                    <a:pt x="581" y="1353"/>
                  </a:lnTo>
                  <a:close/>
                  <a:moveTo>
                    <a:pt x="544" y="1364"/>
                  </a:moveTo>
                  <a:lnTo>
                    <a:pt x="542" y="1377"/>
                  </a:lnTo>
                  <a:lnTo>
                    <a:pt x="559" y="1369"/>
                  </a:lnTo>
                  <a:lnTo>
                    <a:pt x="544" y="1364"/>
                  </a:lnTo>
                  <a:close/>
                  <a:moveTo>
                    <a:pt x="64" y="213"/>
                  </a:moveTo>
                  <a:lnTo>
                    <a:pt x="119" y="233"/>
                  </a:lnTo>
                  <a:lnTo>
                    <a:pt x="148" y="278"/>
                  </a:lnTo>
                  <a:lnTo>
                    <a:pt x="178" y="294"/>
                  </a:lnTo>
                  <a:lnTo>
                    <a:pt x="178" y="309"/>
                  </a:lnTo>
                  <a:lnTo>
                    <a:pt x="162" y="331"/>
                  </a:lnTo>
                  <a:lnTo>
                    <a:pt x="114" y="348"/>
                  </a:lnTo>
                  <a:lnTo>
                    <a:pt x="75" y="338"/>
                  </a:lnTo>
                  <a:lnTo>
                    <a:pt x="105" y="323"/>
                  </a:lnTo>
                  <a:lnTo>
                    <a:pt x="43" y="311"/>
                  </a:lnTo>
                  <a:lnTo>
                    <a:pt x="41" y="299"/>
                  </a:lnTo>
                  <a:lnTo>
                    <a:pt x="64" y="301"/>
                  </a:lnTo>
                  <a:lnTo>
                    <a:pt x="41" y="278"/>
                  </a:lnTo>
                  <a:lnTo>
                    <a:pt x="69" y="270"/>
                  </a:lnTo>
                  <a:lnTo>
                    <a:pt x="46" y="239"/>
                  </a:lnTo>
                  <a:lnTo>
                    <a:pt x="46" y="224"/>
                  </a:lnTo>
                  <a:lnTo>
                    <a:pt x="64" y="213"/>
                  </a:lnTo>
                  <a:close/>
                  <a:moveTo>
                    <a:pt x="116" y="0"/>
                  </a:moveTo>
                  <a:lnTo>
                    <a:pt x="120" y="0"/>
                  </a:lnTo>
                  <a:lnTo>
                    <a:pt x="117" y="3"/>
                  </a:lnTo>
                  <a:lnTo>
                    <a:pt x="116" y="0"/>
                  </a:lnTo>
                  <a:close/>
                  <a:moveTo>
                    <a:pt x="128" y="0"/>
                  </a:moveTo>
                  <a:lnTo>
                    <a:pt x="1531" y="0"/>
                  </a:lnTo>
                  <a:lnTo>
                    <a:pt x="1533" y="7"/>
                  </a:lnTo>
                  <a:lnTo>
                    <a:pt x="1553" y="16"/>
                  </a:lnTo>
                  <a:lnTo>
                    <a:pt x="1529" y="55"/>
                  </a:lnTo>
                  <a:lnTo>
                    <a:pt x="1529" y="80"/>
                  </a:lnTo>
                  <a:lnTo>
                    <a:pt x="1542" y="57"/>
                  </a:lnTo>
                  <a:lnTo>
                    <a:pt x="1567" y="50"/>
                  </a:lnTo>
                  <a:lnTo>
                    <a:pt x="1562" y="104"/>
                  </a:lnTo>
                  <a:lnTo>
                    <a:pt x="1551" y="111"/>
                  </a:lnTo>
                  <a:lnTo>
                    <a:pt x="1565" y="120"/>
                  </a:lnTo>
                  <a:lnTo>
                    <a:pt x="1567" y="140"/>
                  </a:lnTo>
                  <a:lnTo>
                    <a:pt x="1562" y="145"/>
                  </a:lnTo>
                  <a:lnTo>
                    <a:pt x="1567" y="176"/>
                  </a:lnTo>
                  <a:lnTo>
                    <a:pt x="1573" y="179"/>
                  </a:lnTo>
                  <a:lnTo>
                    <a:pt x="1573" y="194"/>
                  </a:lnTo>
                  <a:lnTo>
                    <a:pt x="1542" y="191"/>
                  </a:lnTo>
                  <a:lnTo>
                    <a:pt x="1534" y="146"/>
                  </a:lnTo>
                  <a:lnTo>
                    <a:pt x="1529" y="145"/>
                  </a:lnTo>
                  <a:lnTo>
                    <a:pt x="1526" y="196"/>
                  </a:lnTo>
                  <a:lnTo>
                    <a:pt x="1489" y="191"/>
                  </a:lnTo>
                  <a:lnTo>
                    <a:pt x="1460" y="155"/>
                  </a:lnTo>
                  <a:lnTo>
                    <a:pt x="1452" y="109"/>
                  </a:lnTo>
                  <a:lnTo>
                    <a:pt x="1429" y="72"/>
                  </a:lnTo>
                  <a:lnTo>
                    <a:pt x="1412" y="74"/>
                  </a:lnTo>
                  <a:lnTo>
                    <a:pt x="1353" y="32"/>
                  </a:lnTo>
                  <a:lnTo>
                    <a:pt x="1330" y="37"/>
                  </a:lnTo>
                  <a:lnTo>
                    <a:pt x="1296" y="3"/>
                  </a:lnTo>
                  <a:lnTo>
                    <a:pt x="1301" y="26"/>
                  </a:lnTo>
                  <a:lnTo>
                    <a:pt x="1287" y="30"/>
                  </a:lnTo>
                  <a:lnTo>
                    <a:pt x="1313" y="41"/>
                  </a:lnTo>
                  <a:lnTo>
                    <a:pt x="1311" y="52"/>
                  </a:lnTo>
                  <a:lnTo>
                    <a:pt x="1376" y="52"/>
                  </a:lnTo>
                  <a:lnTo>
                    <a:pt x="1389" y="67"/>
                  </a:lnTo>
                  <a:lnTo>
                    <a:pt x="1390" y="89"/>
                  </a:lnTo>
                  <a:lnTo>
                    <a:pt x="1376" y="80"/>
                  </a:lnTo>
                  <a:lnTo>
                    <a:pt x="1384" y="94"/>
                  </a:lnTo>
                  <a:lnTo>
                    <a:pt x="1341" y="126"/>
                  </a:lnTo>
                  <a:lnTo>
                    <a:pt x="1305" y="126"/>
                  </a:lnTo>
                  <a:lnTo>
                    <a:pt x="1293" y="112"/>
                  </a:lnTo>
                  <a:lnTo>
                    <a:pt x="1291" y="129"/>
                  </a:lnTo>
                  <a:lnTo>
                    <a:pt x="1267" y="126"/>
                  </a:lnTo>
                  <a:lnTo>
                    <a:pt x="1265" y="133"/>
                  </a:lnTo>
                  <a:lnTo>
                    <a:pt x="1276" y="148"/>
                  </a:lnTo>
                  <a:lnTo>
                    <a:pt x="1268" y="170"/>
                  </a:lnTo>
                  <a:lnTo>
                    <a:pt x="1234" y="194"/>
                  </a:lnTo>
                  <a:lnTo>
                    <a:pt x="1274" y="208"/>
                  </a:lnTo>
                  <a:lnTo>
                    <a:pt x="1339" y="201"/>
                  </a:lnTo>
                  <a:lnTo>
                    <a:pt x="1347" y="211"/>
                  </a:lnTo>
                  <a:lnTo>
                    <a:pt x="1250" y="252"/>
                  </a:lnTo>
                  <a:lnTo>
                    <a:pt x="1280" y="255"/>
                  </a:lnTo>
                  <a:lnTo>
                    <a:pt x="1310" y="256"/>
                  </a:lnTo>
                  <a:lnTo>
                    <a:pt x="1318" y="235"/>
                  </a:lnTo>
                  <a:lnTo>
                    <a:pt x="1353" y="233"/>
                  </a:lnTo>
                  <a:lnTo>
                    <a:pt x="1398" y="205"/>
                  </a:lnTo>
                  <a:lnTo>
                    <a:pt x="1474" y="244"/>
                  </a:lnTo>
                  <a:lnTo>
                    <a:pt x="1550" y="238"/>
                  </a:lnTo>
                  <a:lnTo>
                    <a:pt x="1537" y="265"/>
                  </a:lnTo>
                  <a:lnTo>
                    <a:pt x="1504" y="267"/>
                  </a:lnTo>
                  <a:lnTo>
                    <a:pt x="1499" y="275"/>
                  </a:lnTo>
                  <a:lnTo>
                    <a:pt x="1495" y="277"/>
                  </a:lnTo>
                  <a:lnTo>
                    <a:pt x="1469" y="294"/>
                  </a:lnTo>
                  <a:lnTo>
                    <a:pt x="1478" y="304"/>
                  </a:lnTo>
                  <a:lnTo>
                    <a:pt x="1474" y="320"/>
                  </a:lnTo>
                  <a:lnTo>
                    <a:pt x="1446" y="316"/>
                  </a:lnTo>
                  <a:lnTo>
                    <a:pt x="1457" y="335"/>
                  </a:lnTo>
                  <a:lnTo>
                    <a:pt x="1444" y="329"/>
                  </a:lnTo>
                  <a:lnTo>
                    <a:pt x="1424" y="360"/>
                  </a:lnTo>
                  <a:lnTo>
                    <a:pt x="1415" y="363"/>
                  </a:lnTo>
                  <a:lnTo>
                    <a:pt x="1415" y="377"/>
                  </a:lnTo>
                  <a:lnTo>
                    <a:pt x="1387" y="377"/>
                  </a:lnTo>
                  <a:lnTo>
                    <a:pt x="1395" y="394"/>
                  </a:lnTo>
                  <a:lnTo>
                    <a:pt x="1358" y="417"/>
                  </a:lnTo>
                  <a:lnTo>
                    <a:pt x="1356" y="428"/>
                  </a:lnTo>
                  <a:lnTo>
                    <a:pt x="1330" y="429"/>
                  </a:lnTo>
                  <a:lnTo>
                    <a:pt x="1324" y="443"/>
                  </a:lnTo>
                  <a:lnTo>
                    <a:pt x="1288" y="456"/>
                  </a:lnTo>
                  <a:lnTo>
                    <a:pt x="1279" y="445"/>
                  </a:lnTo>
                  <a:lnTo>
                    <a:pt x="1211" y="484"/>
                  </a:lnTo>
                  <a:lnTo>
                    <a:pt x="1191" y="463"/>
                  </a:lnTo>
                  <a:lnTo>
                    <a:pt x="1184" y="473"/>
                  </a:lnTo>
                  <a:lnTo>
                    <a:pt x="1187" y="485"/>
                  </a:lnTo>
                  <a:lnTo>
                    <a:pt x="1175" y="485"/>
                  </a:lnTo>
                  <a:lnTo>
                    <a:pt x="1183" y="493"/>
                  </a:lnTo>
                  <a:lnTo>
                    <a:pt x="1175" y="502"/>
                  </a:lnTo>
                  <a:lnTo>
                    <a:pt x="1169" y="485"/>
                  </a:lnTo>
                  <a:lnTo>
                    <a:pt x="1152" y="480"/>
                  </a:lnTo>
                  <a:lnTo>
                    <a:pt x="1163" y="504"/>
                  </a:lnTo>
                  <a:lnTo>
                    <a:pt x="1138" y="490"/>
                  </a:lnTo>
                  <a:lnTo>
                    <a:pt x="1133" y="499"/>
                  </a:lnTo>
                  <a:lnTo>
                    <a:pt x="1140" y="509"/>
                  </a:lnTo>
                  <a:lnTo>
                    <a:pt x="1111" y="509"/>
                  </a:lnTo>
                  <a:lnTo>
                    <a:pt x="1101" y="487"/>
                  </a:lnTo>
                  <a:lnTo>
                    <a:pt x="1109" y="484"/>
                  </a:lnTo>
                  <a:lnTo>
                    <a:pt x="1093" y="479"/>
                  </a:lnTo>
                  <a:lnTo>
                    <a:pt x="1084" y="453"/>
                  </a:lnTo>
                  <a:lnTo>
                    <a:pt x="1079" y="463"/>
                  </a:lnTo>
                  <a:lnTo>
                    <a:pt x="1078" y="445"/>
                  </a:lnTo>
                  <a:lnTo>
                    <a:pt x="1069" y="436"/>
                  </a:lnTo>
                  <a:lnTo>
                    <a:pt x="1070" y="446"/>
                  </a:lnTo>
                  <a:lnTo>
                    <a:pt x="1061" y="448"/>
                  </a:lnTo>
                  <a:lnTo>
                    <a:pt x="1079" y="485"/>
                  </a:lnTo>
                  <a:lnTo>
                    <a:pt x="1073" y="488"/>
                  </a:lnTo>
                  <a:lnTo>
                    <a:pt x="1094" y="505"/>
                  </a:lnTo>
                  <a:lnTo>
                    <a:pt x="1087" y="509"/>
                  </a:lnTo>
                  <a:lnTo>
                    <a:pt x="1084" y="529"/>
                  </a:lnTo>
                  <a:lnTo>
                    <a:pt x="1072" y="524"/>
                  </a:lnTo>
                  <a:lnTo>
                    <a:pt x="1055" y="546"/>
                  </a:lnTo>
                  <a:lnTo>
                    <a:pt x="1038" y="550"/>
                  </a:lnTo>
                  <a:lnTo>
                    <a:pt x="1038" y="566"/>
                  </a:lnTo>
                  <a:lnTo>
                    <a:pt x="1031" y="569"/>
                  </a:lnTo>
                  <a:lnTo>
                    <a:pt x="1030" y="590"/>
                  </a:lnTo>
                  <a:lnTo>
                    <a:pt x="1022" y="590"/>
                  </a:lnTo>
                  <a:lnTo>
                    <a:pt x="1027" y="604"/>
                  </a:lnTo>
                  <a:lnTo>
                    <a:pt x="1022" y="626"/>
                  </a:lnTo>
                  <a:lnTo>
                    <a:pt x="1002" y="641"/>
                  </a:lnTo>
                  <a:lnTo>
                    <a:pt x="1006" y="656"/>
                  </a:lnTo>
                  <a:lnTo>
                    <a:pt x="999" y="651"/>
                  </a:lnTo>
                  <a:lnTo>
                    <a:pt x="993" y="678"/>
                  </a:lnTo>
                  <a:lnTo>
                    <a:pt x="984" y="663"/>
                  </a:lnTo>
                  <a:lnTo>
                    <a:pt x="969" y="708"/>
                  </a:lnTo>
                  <a:lnTo>
                    <a:pt x="955" y="710"/>
                  </a:lnTo>
                  <a:lnTo>
                    <a:pt x="952" y="699"/>
                  </a:lnTo>
                  <a:lnTo>
                    <a:pt x="946" y="710"/>
                  </a:lnTo>
                  <a:lnTo>
                    <a:pt x="952" y="720"/>
                  </a:lnTo>
                  <a:lnTo>
                    <a:pt x="946" y="719"/>
                  </a:lnTo>
                  <a:lnTo>
                    <a:pt x="918" y="700"/>
                  </a:lnTo>
                  <a:lnTo>
                    <a:pt x="917" y="708"/>
                  </a:lnTo>
                  <a:lnTo>
                    <a:pt x="926" y="724"/>
                  </a:lnTo>
                  <a:lnTo>
                    <a:pt x="909" y="759"/>
                  </a:lnTo>
                  <a:lnTo>
                    <a:pt x="892" y="756"/>
                  </a:lnTo>
                  <a:lnTo>
                    <a:pt x="894" y="744"/>
                  </a:lnTo>
                  <a:lnTo>
                    <a:pt x="889" y="744"/>
                  </a:lnTo>
                  <a:lnTo>
                    <a:pt x="881" y="768"/>
                  </a:lnTo>
                  <a:lnTo>
                    <a:pt x="855" y="737"/>
                  </a:lnTo>
                  <a:lnTo>
                    <a:pt x="853" y="759"/>
                  </a:lnTo>
                  <a:lnTo>
                    <a:pt x="847" y="754"/>
                  </a:lnTo>
                  <a:lnTo>
                    <a:pt x="852" y="770"/>
                  </a:lnTo>
                  <a:lnTo>
                    <a:pt x="828" y="747"/>
                  </a:lnTo>
                  <a:lnTo>
                    <a:pt x="857" y="711"/>
                  </a:lnTo>
                  <a:lnTo>
                    <a:pt x="835" y="716"/>
                  </a:lnTo>
                  <a:lnTo>
                    <a:pt x="827" y="702"/>
                  </a:lnTo>
                  <a:lnTo>
                    <a:pt x="823" y="711"/>
                  </a:lnTo>
                  <a:lnTo>
                    <a:pt x="815" y="707"/>
                  </a:lnTo>
                  <a:lnTo>
                    <a:pt x="828" y="722"/>
                  </a:lnTo>
                  <a:lnTo>
                    <a:pt x="810" y="737"/>
                  </a:lnTo>
                  <a:lnTo>
                    <a:pt x="818" y="744"/>
                  </a:lnTo>
                  <a:lnTo>
                    <a:pt x="816" y="754"/>
                  </a:lnTo>
                  <a:lnTo>
                    <a:pt x="798" y="750"/>
                  </a:lnTo>
                  <a:lnTo>
                    <a:pt x="796" y="762"/>
                  </a:lnTo>
                  <a:lnTo>
                    <a:pt x="810" y="771"/>
                  </a:lnTo>
                  <a:lnTo>
                    <a:pt x="804" y="790"/>
                  </a:lnTo>
                  <a:lnTo>
                    <a:pt x="782" y="787"/>
                  </a:lnTo>
                  <a:lnTo>
                    <a:pt x="787" y="793"/>
                  </a:lnTo>
                  <a:lnTo>
                    <a:pt x="767" y="796"/>
                  </a:lnTo>
                  <a:lnTo>
                    <a:pt x="757" y="785"/>
                  </a:lnTo>
                  <a:lnTo>
                    <a:pt x="754" y="798"/>
                  </a:lnTo>
                  <a:lnTo>
                    <a:pt x="739" y="787"/>
                  </a:lnTo>
                  <a:lnTo>
                    <a:pt x="731" y="804"/>
                  </a:lnTo>
                  <a:lnTo>
                    <a:pt x="716" y="805"/>
                  </a:lnTo>
                  <a:lnTo>
                    <a:pt x="728" y="812"/>
                  </a:lnTo>
                  <a:lnTo>
                    <a:pt x="733" y="830"/>
                  </a:lnTo>
                  <a:lnTo>
                    <a:pt x="719" y="858"/>
                  </a:lnTo>
                  <a:lnTo>
                    <a:pt x="674" y="849"/>
                  </a:lnTo>
                  <a:lnTo>
                    <a:pt x="668" y="869"/>
                  </a:lnTo>
                  <a:lnTo>
                    <a:pt x="676" y="866"/>
                  </a:lnTo>
                  <a:lnTo>
                    <a:pt x="694" y="898"/>
                  </a:lnTo>
                  <a:lnTo>
                    <a:pt x="697" y="917"/>
                  </a:lnTo>
                  <a:lnTo>
                    <a:pt x="711" y="925"/>
                  </a:lnTo>
                  <a:lnTo>
                    <a:pt x="657" y="934"/>
                  </a:lnTo>
                  <a:lnTo>
                    <a:pt x="660" y="945"/>
                  </a:lnTo>
                  <a:lnTo>
                    <a:pt x="693" y="949"/>
                  </a:lnTo>
                  <a:lnTo>
                    <a:pt x="697" y="957"/>
                  </a:lnTo>
                  <a:lnTo>
                    <a:pt x="691" y="966"/>
                  </a:lnTo>
                  <a:lnTo>
                    <a:pt x="702" y="991"/>
                  </a:lnTo>
                  <a:lnTo>
                    <a:pt x="662" y="986"/>
                  </a:lnTo>
                  <a:lnTo>
                    <a:pt x="689" y="998"/>
                  </a:lnTo>
                  <a:lnTo>
                    <a:pt x="693" y="1013"/>
                  </a:lnTo>
                  <a:lnTo>
                    <a:pt x="685" y="1027"/>
                  </a:lnTo>
                  <a:lnTo>
                    <a:pt x="672" y="1025"/>
                  </a:lnTo>
                  <a:lnTo>
                    <a:pt x="677" y="1037"/>
                  </a:lnTo>
                  <a:lnTo>
                    <a:pt x="669" y="1037"/>
                  </a:lnTo>
                  <a:lnTo>
                    <a:pt x="671" y="1045"/>
                  </a:lnTo>
                  <a:lnTo>
                    <a:pt x="654" y="1037"/>
                  </a:lnTo>
                  <a:lnTo>
                    <a:pt x="657" y="1045"/>
                  </a:lnTo>
                  <a:lnTo>
                    <a:pt x="651" y="1049"/>
                  </a:lnTo>
                  <a:lnTo>
                    <a:pt x="652" y="1056"/>
                  </a:lnTo>
                  <a:lnTo>
                    <a:pt x="664" y="1064"/>
                  </a:lnTo>
                  <a:lnTo>
                    <a:pt x="630" y="1053"/>
                  </a:lnTo>
                  <a:lnTo>
                    <a:pt x="651" y="1070"/>
                  </a:lnTo>
                  <a:lnTo>
                    <a:pt x="659" y="1069"/>
                  </a:lnTo>
                  <a:lnTo>
                    <a:pt x="659" y="1078"/>
                  </a:lnTo>
                  <a:lnTo>
                    <a:pt x="649" y="1084"/>
                  </a:lnTo>
                  <a:lnTo>
                    <a:pt x="615" y="1087"/>
                  </a:lnTo>
                  <a:lnTo>
                    <a:pt x="598" y="1103"/>
                  </a:lnTo>
                  <a:lnTo>
                    <a:pt x="613" y="1109"/>
                  </a:lnTo>
                  <a:lnTo>
                    <a:pt x="621" y="1129"/>
                  </a:lnTo>
                  <a:lnTo>
                    <a:pt x="630" y="1189"/>
                  </a:lnTo>
                  <a:lnTo>
                    <a:pt x="603" y="1239"/>
                  </a:lnTo>
                  <a:lnTo>
                    <a:pt x="596" y="1304"/>
                  </a:lnTo>
                  <a:lnTo>
                    <a:pt x="579" y="1319"/>
                  </a:lnTo>
                  <a:lnTo>
                    <a:pt x="586" y="1347"/>
                  </a:lnTo>
                  <a:lnTo>
                    <a:pt x="542" y="1345"/>
                  </a:lnTo>
                  <a:lnTo>
                    <a:pt x="541" y="1333"/>
                  </a:lnTo>
                  <a:lnTo>
                    <a:pt x="513" y="1355"/>
                  </a:lnTo>
                  <a:lnTo>
                    <a:pt x="490" y="1341"/>
                  </a:lnTo>
                  <a:lnTo>
                    <a:pt x="501" y="1307"/>
                  </a:lnTo>
                  <a:lnTo>
                    <a:pt x="487" y="1318"/>
                  </a:lnTo>
                  <a:lnTo>
                    <a:pt x="488" y="1298"/>
                  </a:lnTo>
                  <a:lnTo>
                    <a:pt x="485" y="1298"/>
                  </a:lnTo>
                  <a:lnTo>
                    <a:pt x="473" y="1315"/>
                  </a:lnTo>
                  <a:lnTo>
                    <a:pt x="462" y="1294"/>
                  </a:lnTo>
                  <a:lnTo>
                    <a:pt x="478" y="1281"/>
                  </a:lnTo>
                  <a:lnTo>
                    <a:pt x="478" y="1268"/>
                  </a:lnTo>
                  <a:lnTo>
                    <a:pt x="445" y="1291"/>
                  </a:lnTo>
                  <a:lnTo>
                    <a:pt x="442" y="1290"/>
                  </a:lnTo>
                  <a:lnTo>
                    <a:pt x="445" y="1282"/>
                  </a:lnTo>
                  <a:lnTo>
                    <a:pt x="470" y="1267"/>
                  </a:lnTo>
                  <a:lnTo>
                    <a:pt x="451" y="1268"/>
                  </a:lnTo>
                  <a:lnTo>
                    <a:pt x="454" y="1259"/>
                  </a:lnTo>
                  <a:lnTo>
                    <a:pt x="352" y="1282"/>
                  </a:lnTo>
                  <a:lnTo>
                    <a:pt x="378" y="1260"/>
                  </a:lnTo>
                  <a:lnTo>
                    <a:pt x="349" y="1242"/>
                  </a:lnTo>
                  <a:lnTo>
                    <a:pt x="335" y="1245"/>
                  </a:lnTo>
                  <a:lnTo>
                    <a:pt x="330" y="1240"/>
                  </a:lnTo>
                  <a:lnTo>
                    <a:pt x="330" y="1228"/>
                  </a:lnTo>
                  <a:lnTo>
                    <a:pt x="312" y="1228"/>
                  </a:lnTo>
                  <a:lnTo>
                    <a:pt x="349" y="1214"/>
                  </a:lnTo>
                  <a:lnTo>
                    <a:pt x="301" y="1217"/>
                  </a:lnTo>
                  <a:lnTo>
                    <a:pt x="315" y="1201"/>
                  </a:lnTo>
                  <a:lnTo>
                    <a:pt x="295" y="1177"/>
                  </a:lnTo>
                  <a:lnTo>
                    <a:pt x="313" y="1159"/>
                  </a:lnTo>
                  <a:lnTo>
                    <a:pt x="283" y="1169"/>
                  </a:lnTo>
                  <a:lnTo>
                    <a:pt x="279" y="1160"/>
                  </a:lnTo>
                  <a:lnTo>
                    <a:pt x="284" y="1155"/>
                  </a:lnTo>
                  <a:lnTo>
                    <a:pt x="281" y="1151"/>
                  </a:lnTo>
                  <a:lnTo>
                    <a:pt x="290" y="1146"/>
                  </a:lnTo>
                  <a:lnTo>
                    <a:pt x="273" y="1142"/>
                  </a:lnTo>
                  <a:lnTo>
                    <a:pt x="276" y="1127"/>
                  </a:lnTo>
                  <a:lnTo>
                    <a:pt x="258" y="1117"/>
                  </a:lnTo>
                  <a:lnTo>
                    <a:pt x="263" y="1089"/>
                  </a:lnTo>
                  <a:lnTo>
                    <a:pt x="255" y="1098"/>
                  </a:lnTo>
                  <a:lnTo>
                    <a:pt x="247" y="1073"/>
                  </a:lnTo>
                  <a:lnTo>
                    <a:pt x="233" y="1070"/>
                  </a:lnTo>
                  <a:lnTo>
                    <a:pt x="217" y="1042"/>
                  </a:lnTo>
                  <a:lnTo>
                    <a:pt x="213" y="1025"/>
                  </a:lnTo>
                  <a:lnTo>
                    <a:pt x="199" y="1007"/>
                  </a:lnTo>
                  <a:lnTo>
                    <a:pt x="207" y="993"/>
                  </a:lnTo>
                  <a:lnTo>
                    <a:pt x="199" y="996"/>
                  </a:lnTo>
                  <a:lnTo>
                    <a:pt x="200" y="974"/>
                  </a:lnTo>
                  <a:lnTo>
                    <a:pt x="196" y="957"/>
                  </a:lnTo>
                  <a:lnTo>
                    <a:pt x="221" y="942"/>
                  </a:lnTo>
                  <a:lnTo>
                    <a:pt x="224" y="929"/>
                  </a:lnTo>
                  <a:lnTo>
                    <a:pt x="258" y="917"/>
                  </a:lnTo>
                  <a:lnTo>
                    <a:pt x="230" y="908"/>
                  </a:lnTo>
                  <a:lnTo>
                    <a:pt x="239" y="894"/>
                  </a:lnTo>
                  <a:lnTo>
                    <a:pt x="264" y="900"/>
                  </a:lnTo>
                  <a:lnTo>
                    <a:pt x="259" y="886"/>
                  </a:lnTo>
                  <a:lnTo>
                    <a:pt x="233" y="880"/>
                  </a:lnTo>
                  <a:lnTo>
                    <a:pt x="227" y="894"/>
                  </a:lnTo>
                  <a:lnTo>
                    <a:pt x="210" y="895"/>
                  </a:lnTo>
                  <a:lnTo>
                    <a:pt x="188" y="939"/>
                  </a:lnTo>
                  <a:lnTo>
                    <a:pt x="171" y="942"/>
                  </a:lnTo>
                  <a:lnTo>
                    <a:pt x="170" y="898"/>
                  </a:lnTo>
                  <a:lnTo>
                    <a:pt x="182" y="880"/>
                  </a:lnTo>
                  <a:lnTo>
                    <a:pt x="171" y="881"/>
                  </a:lnTo>
                  <a:lnTo>
                    <a:pt x="168" y="860"/>
                  </a:lnTo>
                  <a:lnTo>
                    <a:pt x="159" y="855"/>
                  </a:lnTo>
                  <a:lnTo>
                    <a:pt x="165" y="839"/>
                  </a:lnTo>
                  <a:lnTo>
                    <a:pt x="162" y="827"/>
                  </a:lnTo>
                  <a:lnTo>
                    <a:pt x="154" y="839"/>
                  </a:lnTo>
                  <a:lnTo>
                    <a:pt x="151" y="827"/>
                  </a:lnTo>
                  <a:lnTo>
                    <a:pt x="165" y="813"/>
                  </a:lnTo>
                  <a:lnTo>
                    <a:pt x="142" y="805"/>
                  </a:lnTo>
                  <a:lnTo>
                    <a:pt x="140" y="779"/>
                  </a:lnTo>
                  <a:lnTo>
                    <a:pt x="122" y="788"/>
                  </a:lnTo>
                  <a:lnTo>
                    <a:pt x="136" y="761"/>
                  </a:lnTo>
                  <a:lnTo>
                    <a:pt x="122" y="768"/>
                  </a:lnTo>
                  <a:lnTo>
                    <a:pt x="111" y="747"/>
                  </a:lnTo>
                  <a:lnTo>
                    <a:pt x="131" y="728"/>
                  </a:lnTo>
                  <a:lnTo>
                    <a:pt x="105" y="728"/>
                  </a:lnTo>
                  <a:lnTo>
                    <a:pt x="114" y="717"/>
                  </a:lnTo>
                  <a:lnTo>
                    <a:pt x="102" y="710"/>
                  </a:lnTo>
                  <a:lnTo>
                    <a:pt x="105" y="688"/>
                  </a:lnTo>
                  <a:lnTo>
                    <a:pt x="120" y="691"/>
                  </a:lnTo>
                  <a:lnTo>
                    <a:pt x="108" y="678"/>
                  </a:lnTo>
                  <a:lnTo>
                    <a:pt x="125" y="663"/>
                  </a:lnTo>
                  <a:lnTo>
                    <a:pt x="128" y="646"/>
                  </a:lnTo>
                  <a:lnTo>
                    <a:pt x="100" y="648"/>
                  </a:lnTo>
                  <a:lnTo>
                    <a:pt x="102" y="635"/>
                  </a:lnTo>
                  <a:lnTo>
                    <a:pt x="86" y="624"/>
                  </a:lnTo>
                  <a:lnTo>
                    <a:pt x="86" y="604"/>
                  </a:lnTo>
                  <a:lnTo>
                    <a:pt x="97" y="592"/>
                  </a:lnTo>
                  <a:lnTo>
                    <a:pt x="94" y="583"/>
                  </a:lnTo>
                  <a:lnTo>
                    <a:pt x="112" y="570"/>
                  </a:lnTo>
                  <a:lnTo>
                    <a:pt x="98" y="566"/>
                  </a:lnTo>
                  <a:lnTo>
                    <a:pt x="106" y="555"/>
                  </a:lnTo>
                  <a:lnTo>
                    <a:pt x="103" y="529"/>
                  </a:lnTo>
                  <a:lnTo>
                    <a:pt x="128" y="519"/>
                  </a:lnTo>
                  <a:lnTo>
                    <a:pt x="108" y="501"/>
                  </a:lnTo>
                  <a:lnTo>
                    <a:pt x="222" y="502"/>
                  </a:lnTo>
                  <a:lnTo>
                    <a:pt x="196" y="480"/>
                  </a:lnTo>
                  <a:lnTo>
                    <a:pt x="208" y="471"/>
                  </a:lnTo>
                  <a:lnTo>
                    <a:pt x="210" y="460"/>
                  </a:lnTo>
                  <a:lnTo>
                    <a:pt x="195" y="458"/>
                  </a:lnTo>
                  <a:lnTo>
                    <a:pt x="202" y="473"/>
                  </a:lnTo>
                  <a:lnTo>
                    <a:pt x="157" y="487"/>
                  </a:lnTo>
                  <a:lnTo>
                    <a:pt x="136" y="485"/>
                  </a:lnTo>
                  <a:lnTo>
                    <a:pt x="132" y="467"/>
                  </a:lnTo>
                  <a:lnTo>
                    <a:pt x="149" y="445"/>
                  </a:lnTo>
                  <a:lnTo>
                    <a:pt x="212" y="442"/>
                  </a:lnTo>
                  <a:lnTo>
                    <a:pt x="222" y="419"/>
                  </a:lnTo>
                  <a:lnTo>
                    <a:pt x="207" y="416"/>
                  </a:lnTo>
                  <a:lnTo>
                    <a:pt x="217" y="406"/>
                  </a:lnTo>
                  <a:lnTo>
                    <a:pt x="212" y="399"/>
                  </a:lnTo>
                  <a:lnTo>
                    <a:pt x="213" y="374"/>
                  </a:lnTo>
                  <a:lnTo>
                    <a:pt x="247" y="380"/>
                  </a:lnTo>
                  <a:lnTo>
                    <a:pt x="239" y="372"/>
                  </a:lnTo>
                  <a:lnTo>
                    <a:pt x="255" y="361"/>
                  </a:lnTo>
                  <a:lnTo>
                    <a:pt x="247" y="348"/>
                  </a:lnTo>
                  <a:lnTo>
                    <a:pt x="232" y="360"/>
                  </a:lnTo>
                  <a:lnTo>
                    <a:pt x="221" y="349"/>
                  </a:lnTo>
                  <a:lnTo>
                    <a:pt x="222" y="329"/>
                  </a:lnTo>
                  <a:lnTo>
                    <a:pt x="232" y="324"/>
                  </a:lnTo>
                  <a:lnTo>
                    <a:pt x="227" y="307"/>
                  </a:lnTo>
                  <a:lnTo>
                    <a:pt x="239" y="301"/>
                  </a:lnTo>
                  <a:lnTo>
                    <a:pt x="236" y="287"/>
                  </a:lnTo>
                  <a:lnTo>
                    <a:pt x="250" y="282"/>
                  </a:lnTo>
                  <a:lnTo>
                    <a:pt x="246" y="269"/>
                  </a:lnTo>
                  <a:lnTo>
                    <a:pt x="247" y="255"/>
                  </a:lnTo>
                  <a:lnTo>
                    <a:pt x="156" y="247"/>
                  </a:lnTo>
                  <a:lnTo>
                    <a:pt x="136" y="222"/>
                  </a:lnTo>
                  <a:lnTo>
                    <a:pt x="85" y="204"/>
                  </a:lnTo>
                  <a:lnTo>
                    <a:pt x="58" y="163"/>
                  </a:lnTo>
                  <a:lnTo>
                    <a:pt x="83" y="146"/>
                  </a:lnTo>
                  <a:lnTo>
                    <a:pt x="136" y="154"/>
                  </a:lnTo>
                  <a:lnTo>
                    <a:pt x="188" y="197"/>
                  </a:lnTo>
                  <a:lnTo>
                    <a:pt x="236" y="211"/>
                  </a:lnTo>
                  <a:lnTo>
                    <a:pt x="233" y="193"/>
                  </a:lnTo>
                  <a:lnTo>
                    <a:pt x="217" y="199"/>
                  </a:lnTo>
                  <a:lnTo>
                    <a:pt x="207" y="176"/>
                  </a:lnTo>
                  <a:lnTo>
                    <a:pt x="222" y="182"/>
                  </a:lnTo>
                  <a:lnTo>
                    <a:pt x="219" y="174"/>
                  </a:lnTo>
                  <a:lnTo>
                    <a:pt x="229" y="165"/>
                  </a:lnTo>
                  <a:lnTo>
                    <a:pt x="233" y="163"/>
                  </a:lnTo>
                  <a:lnTo>
                    <a:pt x="229" y="150"/>
                  </a:lnTo>
                  <a:lnTo>
                    <a:pt x="178" y="111"/>
                  </a:lnTo>
                  <a:lnTo>
                    <a:pt x="202" y="121"/>
                  </a:lnTo>
                  <a:lnTo>
                    <a:pt x="204" y="116"/>
                  </a:lnTo>
                  <a:lnTo>
                    <a:pt x="199" y="109"/>
                  </a:lnTo>
                  <a:lnTo>
                    <a:pt x="202" y="97"/>
                  </a:lnTo>
                  <a:lnTo>
                    <a:pt x="165" y="103"/>
                  </a:lnTo>
                  <a:lnTo>
                    <a:pt x="188" y="72"/>
                  </a:lnTo>
                  <a:lnTo>
                    <a:pt x="149" y="95"/>
                  </a:lnTo>
                  <a:lnTo>
                    <a:pt x="161" y="66"/>
                  </a:lnTo>
                  <a:lnTo>
                    <a:pt x="178" y="55"/>
                  </a:lnTo>
                  <a:lnTo>
                    <a:pt x="128" y="61"/>
                  </a:lnTo>
                  <a:lnTo>
                    <a:pt x="179" y="23"/>
                  </a:lnTo>
                  <a:lnTo>
                    <a:pt x="122" y="18"/>
                  </a:lnTo>
                  <a:lnTo>
                    <a:pt x="128" y="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450" name="Freeform 179">
              <a:extLst>
                <a:ext uri="{FF2B5EF4-FFF2-40B4-BE49-F238E27FC236}">
                  <a16:creationId xmlns:a16="http://schemas.microsoft.com/office/drawing/2014/main" id="{14E8BD18-D6E6-2A49-A54A-2F8106D9634A}"/>
                </a:ext>
              </a:extLst>
            </p:cNvPr>
            <p:cNvSpPr>
              <a:spLocks noChangeAspect="1" noEditPoints="1"/>
            </p:cNvSpPr>
            <p:nvPr/>
          </p:nvSpPr>
          <p:spPr bwMode="gray">
            <a:xfrm>
              <a:off x="2857593" y="3515806"/>
              <a:ext cx="168862" cy="172798"/>
            </a:xfrm>
            <a:custGeom>
              <a:avLst/>
              <a:gdLst>
                <a:gd name="T0" fmla="*/ 52 w 343"/>
                <a:gd name="T1" fmla="*/ 105 h 293"/>
                <a:gd name="T2" fmla="*/ 43 w 343"/>
                <a:gd name="T3" fmla="*/ 124 h 293"/>
                <a:gd name="T4" fmla="*/ 32 w 343"/>
                <a:gd name="T5" fmla="*/ 83 h 293"/>
                <a:gd name="T6" fmla="*/ 41 w 343"/>
                <a:gd name="T7" fmla="*/ 88 h 293"/>
                <a:gd name="T8" fmla="*/ 318 w 343"/>
                <a:gd name="T9" fmla="*/ 240 h 293"/>
                <a:gd name="T10" fmla="*/ 320 w 343"/>
                <a:gd name="T11" fmla="*/ 245 h 293"/>
                <a:gd name="T12" fmla="*/ 313 w 343"/>
                <a:gd name="T13" fmla="*/ 243 h 293"/>
                <a:gd name="T14" fmla="*/ 284 w 343"/>
                <a:gd name="T15" fmla="*/ 220 h 293"/>
                <a:gd name="T16" fmla="*/ 288 w 343"/>
                <a:gd name="T17" fmla="*/ 225 h 293"/>
                <a:gd name="T18" fmla="*/ 273 w 343"/>
                <a:gd name="T19" fmla="*/ 286 h 293"/>
                <a:gd name="T20" fmla="*/ 247 w 343"/>
                <a:gd name="T21" fmla="*/ 282 h 293"/>
                <a:gd name="T22" fmla="*/ 275 w 343"/>
                <a:gd name="T23" fmla="*/ 271 h 293"/>
                <a:gd name="T24" fmla="*/ 204 w 343"/>
                <a:gd name="T25" fmla="*/ 143 h 293"/>
                <a:gd name="T26" fmla="*/ 212 w 343"/>
                <a:gd name="T27" fmla="*/ 134 h 293"/>
                <a:gd name="T28" fmla="*/ 171 w 343"/>
                <a:gd name="T29" fmla="*/ 163 h 293"/>
                <a:gd name="T30" fmla="*/ 178 w 343"/>
                <a:gd name="T31" fmla="*/ 186 h 293"/>
                <a:gd name="T32" fmla="*/ 227 w 343"/>
                <a:gd name="T33" fmla="*/ 210 h 293"/>
                <a:gd name="T34" fmla="*/ 232 w 343"/>
                <a:gd name="T35" fmla="*/ 208 h 293"/>
                <a:gd name="T36" fmla="*/ 219 w 343"/>
                <a:gd name="T37" fmla="*/ 231 h 293"/>
                <a:gd name="T38" fmla="*/ 227 w 343"/>
                <a:gd name="T39" fmla="*/ 214 h 293"/>
                <a:gd name="T40" fmla="*/ 165 w 343"/>
                <a:gd name="T41" fmla="*/ 126 h 293"/>
                <a:gd name="T42" fmla="*/ 159 w 343"/>
                <a:gd name="T43" fmla="*/ 134 h 293"/>
                <a:gd name="T44" fmla="*/ 148 w 343"/>
                <a:gd name="T45" fmla="*/ 103 h 293"/>
                <a:gd name="T46" fmla="*/ 54 w 343"/>
                <a:gd name="T47" fmla="*/ 143 h 293"/>
                <a:gd name="T48" fmla="*/ 63 w 343"/>
                <a:gd name="T49" fmla="*/ 152 h 293"/>
                <a:gd name="T50" fmla="*/ 54 w 343"/>
                <a:gd name="T51" fmla="*/ 143 h 293"/>
                <a:gd name="T52" fmla="*/ 51 w 343"/>
                <a:gd name="T53" fmla="*/ 138 h 293"/>
                <a:gd name="T54" fmla="*/ 56 w 343"/>
                <a:gd name="T55" fmla="*/ 127 h 293"/>
                <a:gd name="T56" fmla="*/ 129 w 343"/>
                <a:gd name="T57" fmla="*/ 107 h 293"/>
                <a:gd name="T58" fmla="*/ 128 w 343"/>
                <a:gd name="T59" fmla="*/ 81 h 293"/>
                <a:gd name="T60" fmla="*/ 78 w 343"/>
                <a:gd name="T61" fmla="*/ 87 h 293"/>
                <a:gd name="T62" fmla="*/ 66 w 343"/>
                <a:gd name="T63" fmla="*/ 90 h 293"/>
                <a:gd name="T64" fmla="*/ 86 w 343"/>
                <a:gd name="T65" fmla="*/ 24 h 293"/>
                <a:gd name="T66" fmla="*/ 75 w 343"/>
                <a:gd name="T67" fmla="*/ 37 h 293"/>
                <a:gd name="T68" fmla="*/ 83 w 343"/>
                <a:gd name="T69" fmla="*/ 11 h 293"/>
                <a:gd name="T70" fmla="*/ 43 w 343"/>
                <a:gd name="T71" fmla="*/ 0 h 293"/>
                <a:gd name="T72" fmla="*/ 41 w 343"/>
                <a:gd name="T73" fmla="*/ 5 h 293"/>
                <a:gd name="T74" fmla="*/ 4 w 343"/>
                <a:gd name="T75" fmla="*/ 11 h 293"/>
                <a:gd name="T76" fmla="*/ 43 w 343"/>
                <a:gd name="T7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3" h="293">
                  <a:moveTo>
                    <a:pt x="41" y="88"/>
                  </a:moveTo>
                  <a:lnTo>
                    <a:pt x="52" y="105"/>
                  </a:lnTo>
                  <a:lnTo>
                    <a:pt x="47" y="124"/>
                  </a:lnTo>
                  <a:lnTo>
                    <a:pt x="43" y="124"/>
                  </a:lnTo>
                  <a:lnTo>
                    <a:pt x="27" y="105"/>
                  </a:lnTo>
                  <a:lnTo>
                    <a:pt x="32" y="83"/>
                  </a:lnTo>
                  <a:lnTo>
                    <a:pt x="39" y="81"/>
                  </a:lnTo>
                  <a:lnTo>
                    <a:pt x="41" y="88"/>
                  </a:lnTo>
                  <a:close/>
                  <a:moveTo>
                    <a:pt x="313" y="243"/>
                  </a:moveTo>
                  <a:lnTo>
                    <a:pt x="318" y="240"/>
                  </a:lnTo>
                  <a:lnTo>
                    <a:pt x="343" y="256"/>
                  </a:lnTo>
                  <a:lnTo>
                    <a:pt x="320" y="245"/>
                  </a:lnTo>
                  <a:lnTo>
                    <a:pt x="304" y="252"/>
                  </a:lnTo>
                  <a:lnTo>
                    <a:pt x="313" y="243"/>
                  </a:lnTo>
                  <a:close/>
                  <a:moveTo>
                    <a:pt x="288" y="225"/>
                  </a:moveTo>
                  <a:lnTo>
                    <a:pt x="284" y="220"/>
                  </a:lnTo>
                  <a:lnTo>
                    <a:pt x="270" y="223"/>
                  </a:lnTo>
                  <a:lnTo>
                    <a:pt x="288" y="225"/>
                  </a:lnTo>
                  <a:close/>
                  <a:moveTo>
                    <a:pt x="275" y="271"/>
                  </a:moveTo>
                  <a:lnTo>
                    <a:pt x="273" y="286"/>
                  </a:lnTo>
                  <a:lnTo>
                    <a:pt x="246" y="293"/>
                  </a:lnTo>
                  <a:lnTo>
                    <a:pt x="247" y="282"/>
                  </a:lnTo>
                  <a:lnTo>
                    <a:pt x="262" y="281"/>
                  </a:lnTo>
                  <a:lnTo>
                    <a:pt x="275" y="271"/>
                  </a:lnTo>
                  <a:close/>
                  <a:moveTo>
                    <a:pt x="207" y="134"/>
                  </a:moveTo>
                  <a:lnTo>
                    <a:pt x="204" y="143"/>
                  </a:lnTo>
                  <a:lnTo>
                    <a:pt x="208" y="143"/>
                  </a:lnTo>
                  <a:lnTo>
                    <a:pt x="212" y="134"/>
                  </a:lnTo>
                  <a:lnTo>
                    <a:pt x="207" y="134"/>
                  </a:lnTo>
                  <a:close/>
                  <a:moveTo>
                    <a:pt x="171" y="163"/>
                  </a:moveTo>
                  <a:lnTo>
                    <a:pt x="188" y="197"/>
                  </a:lnTo>
                  <a:lnTo>
                    <a:pt x="178" y="186"/>
                  </a:lnTo>
                  <a:lnTo>
                    <a:pt x="171" y="163"/>
                  </a:lnTo>
                  <a:close/>
                  <a:moveTo>
                    <a:pt x="227" y="210"/>
                  </a:moveTo>
                  <a:lnTo>
                    <a:pt x="212" y="202"/>
                  </a:lnTo>
                  <a:lnTo>
                    <a:pt x="232" y="208"/>
                  </a:lnTo>
                  <a:lnTo>
                    <a:pt x="233" y="215"/>
                  </a:lnTo>
                  <a:lnTo>
                    <a:pt x="219" y="231"/>
                  </a:lnTo>
                  <a:lnTo>
                    <a:pt x="217" y="225"/>
                  </a:lnTo>
                  <a:lnTo>
                    <a:pt x="227" y="214"/>
                  </a:lnTo>
                  <a:lnTo>
                    <a:pt x="227" y="210"/>
                  </a:lnTo>
                  <a:close/>
                  <a:moveTo>
                    <a:pt x="165" y="126"/>
                  </a:moveTo>
                  <a:lnTo>
                    <a:pt x="170" y="134"/>
                  </a:lnTo>
                  <a:lnTo>
                    <a:pt x="159" y="134"/>
                  </a:lnTo>
                  <a:lnTo>
                    <a:pt x="163" y="127"/>
                  </a:lnTo>
                  <a:lnTo>
                    <a:pt x="148" y="103"/>
                  </a:lnTo>
                  <a:lnTo>
                    <a:pt x="165" y="126"/>
                  </a:lnTo>
                  <a:close/>
                  <a:moveTo>
                    <a:pt x="54" y="143"/>
                  </a:moveTo>
                  <a:lnTo>
                    <a:pt x="61" y="132"/>
                  </a:lnTo>
                  <a:lnTo>
                    <a:pt x="63" y="152"/>
                  </a:lnTo>
                  <a:lnTo>
                    <a:pt x="56" y="151"/>
                  </a:lnTo>
                  <a:lnTo>
                    <a:pt x="54" y="143"/>
                  </a:lnTo>
                  <a:close/>
                  <a:moveTo>
                    <a:pt x="56" y="127"/>
                  </a:moveTo>
                  <a:lnTo>
                    <a:pt x="51" y="138"/>
                  </a:lnTo>
                  <a:lnTo>
                    <a:pt x="60" y="129"/>
                  </a:lnTo>
                  <a:lnTo>
                    <a:pt x="56" y="127"/>
                  </a:lnTo>
                  <a:close/>
                  <a:moveTo>
                    <a:pt x="128" y="81"/>
                  </a:moveTo>
                  <a:lnTo>
                    <a:pt x="129" y="107"/>
                  </a:lnTo>
                  <a:lnTo>
                    <a:pt x="122" y="96"/>
                  </a:lnTo>
                  <a:lnTo>
                    <a:pt x="128" y="81"/>
                  </a:lnTo>
                  <a:close/>
                  <a:moveTo>
                    <a:pt x="75" y="90"/>
                  </a:moveTo>
                  <a:lnTo>
                    <a:pt x="78" y="87"/>
                  </a:lnTo>
                  <a:lnTo>
                    <a:pt x="72" y="87"/>
                  </a:lnTo>
                  <a:lnTo>
                    <a:pt x="66" y="90"/>
                  </a:lnTo>
                  <a:lnTo>
                    <a:pt x="75" y="90"/>
                  </a:lnTo>
                  <a:close/>
                  <a:moveTo>
                    <a:pt x="86" y="24"/>
                  </a:moveTo>
                  <a:lnTo>
                    <a:pt x="81" y="45"/>
                  </a:lnTo>
                  <a:lnTo>
                    <a:pt x="75" y="37"/>
                  </a:lnTo>
                  <a:lnTo>
                    <a:pt x="78" y="25"/>
                  </a:lnTo>
                  <a:lnTo>
                    <a:pt x="83" y="11"/>
                  </a:lnTo>
                  <a:lnTo>
                    <a:pt x="86" y="24"/>
                  </a:lnTo>
                  <a:close/>
                  <a:moveTo>
                    <a:pt x="43" y="0"/>
                  </a:moveTo>
                  <a:lnTo>
                    <a:pt x="49" y="11"/>
                  </a:lnTo>
                  <a:lnTo>
                    <a:pt x="41" y="5"/>
                  </a:lnTo>
                  <a:lnTo>
                    <a:pt x="13" y="11"/>
                  </a:lnTo>
                  <a:lnTo>
                    <a:pt x="4" y="11"/>
                  </a:lnTo>
                  <a:lnTo>
                    <a:pt x="0" y="5"/>
                  </a:lnTo>
                  <a:lnTo>
                    <a:pt x="43" y="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51" name="Freeform 180">
              <a:extLst>
                <a:ext uri="{FF2B5EF4-FFF2-40B4-BE49-F238E27FC236}">
                  <a16:creationId xmlns:a16="http://schemas.microsoft.com/office/drawing/2014/main" id="{ECECEEBE-4C2C-FA46-911F-E955840C48A1}"/>
                </a:ext>
              </a:extLst>
            </p:cNvPr>
            <p:cNvSpPr>
              <a:spLocks noChangeAspect="1" noEditPoints="1"/>
            </p:cNvSpPr>
            <p:nvPr/>
          </p:nvSpPr>
          <p:spPr bwMode="gray">
            <a:xfrm>
              <a:off x="2725370" y="3625247"/>
              <a:ext cx="240548" cy="95999"/>
            </a:xfrm>
            <a:custGeom>
              <a:avLst/>
              <a:gdLst>
                <a:gd name="T0" fmla="*/ 353 w 492"/>
                <a:gd name="T1" fmla="*/ 74 h 166"/>
                <a:gd name="T2" fmla="*/ 376 w 492"/>
                <a:gd name="T3" fmla="*/ 93 h 166"/>
                <a:gd name="T4" fmla="*/ 404 w 492"/>
                <a:gd name="T5" fmla="*/ 102 h 166"/>
                <a:gd name="T6" fmla="*/ 422 w 492"/>
                <a:gd name="T7" fmla="*/ 102 h 166"/>
                <a:gd name="T8" fmla="*/ 422 w 492"/>
                <a:gd name="T9" fmla="*/ 120 h 166"/>
                <a:gd name="T10" fmla="*/ 460 w 492"/>
                <a:gd name="T11" fmla="*/ 122 h 166"/>
                <a:gd name="T12" fmla="*/ 480 w 492"/>
                <a:gd name="T13" fmla="*/ 139 h 166"/>
                <a:gd name="T14" fmla="*/ 492 w 492"/>
                <a:gd name="T15" fmla="*/ 142 h 166"/>
                <a:gd name="T16" fmla="*/ 492 w 492"/>
                <a:gd name="T17" fmla="*/ 147 h 166"/>
                <a:gd name="T18" fmla="*/ 441 w 492"/>
                <a:gd name="T19" fmla="*/ 164 h 166"/>
                <a:gd name="T20" fmla="*/ 371 w 492"/>
                <a:gd name="T21" fmla="*/ 159 h 166"/>
                <a:gd name="T22" fmla="*/ 334 w 492"/>
                <a:gd name="T23" fmla="*/ 166 h 166"/>
                <a:gd name="T24" fmla="*/ 329 w 492"/>
                <a:gd name="T25" fmla="*/ 161 h 166"/>
                <a:gd name="T26" fmla="*/ 359 w 492"/>
                <a:gd name="T27" fmla="*/ 141 h 166"/>
                <a:gd name="T28" fmla="*/ 361 w 492"/>
                <a:gd name="T29" fmla="*/ 132 h 166"/>
                <a:gd name="T30" fmla="*/ 316 w 492"/>
                <a:gd name="T31" fmla="*/ 124 h 166"/>
                <a:gd name="T32" fmla="*/ 297 w 492"/>
                <a:gd name="T33" fmla="*/ 107 h 166"/>
                <a:gd name="T34" fmla="*/ 285 w 492"/>
                <a:gd name="T35" fmla="*/ 82 h 166"/>
                <a:gd name="T36" fmla="*/ 231 w 492"/>
                <a:gd name="T37" fmla="*/ 76 h 166"/>
                <a:gd name="T38" fmla="*/ 198 w 492"/>
                <a:gd name="T39" fmla="*/ 57 h 166"/>
                <a:gd name="T40" fmla="*/ 133 w 492"/>
                <a:gd name="T41" fmla="*/ 51 h 166"/>
                <a:gd name="T42" fmla="*/ 127 w 492"/>
                <a:gd name="T43" fmla="*/ 40 h 166"/>
                <a:gd name="T44" fmla="*/ 146 w 492"/>
                <a:gd name="T45" fmla="*/ 34 h 166"/>
                <a:gd name="T46" fmla="*/ 136 w 492"/>
                <a:gd name="T47" fmla="*/ 28 h 166"/>
                <a:gd name="T48" fmla="*/ 97 w 492"/>
                <a:gd name="T49" fmla="*/ 25 h 166"/>
                <a:gd name="T50" fmla="*/ 76 w 492"/>
                <a:gd name="T51" fmla="*/ 43 h 166"/>
                <a:gd name="T52" fmla="*/ 48 w 492"/>
                <a:gd name="T53" fmla="*/ 51 h 166"/>
                <a:gd name="T54" fmla="*/ 19 w 492"/>
                <a:gd name="T55" fmla="*/ 71 h 166"/>
                <a:gd name="T56" fmla="*/ 0 w 492"/>
                <a:gd name="T57" fmla="*/ 66 h 166"/>
                <a:gd name="T58" fmla="*/ 19 w 492"/>
                <a:gd name="T59" fmla="*/ 57 h 166"/>
                <a:gd name="T60" fmla="*/ 25 w 492"/>
                <a:gd name="T61" fmla="*/ 34 h 166"/>
                <a:gd name="T62" fmla="*/ 50 w 492"/>
                <a:gd name="T63" fmla="*/ 20 h 166"/>
                <a:gd name="T64" fmla="*/ 110 w 492"/>
                <a:gd name="T65" fmla="*/ 2 h 166"/>
                <a:gd name="T66" fmla="*/ 147 w 492"/>
                <a:gd name="T67" fmla="*/ 0 h 166"/>
                <a:gd name="T68" fmla="*/ 219 w 492"/>
                <a:gd name="T69" fmla="*/ 10 h 166"/>
                <a:gd name="T70" fmla="*/ 249 w 492"/>
                <a:gd name="T71" fmla="*/ 36 h 166"/>
                <a:gd name="T72" fmla="*/ 288 w 492"/>
                <a:gd name="T73" fmla="*/ 40 h 166"/>
                <a:gd name="T74" fmla="*/ 288 w 492"/>
                <a:gd name="T75" fmla="*/ 45 h 166"/>
                <a:gd name="T76" fmla="*/ 308 w 492"/>
                <a:gd name="T77" fmla="*/ 52 h 166"/>
                <a:gd name="T78" fmla="*/ 319 w 492"/>
                <a:gd name="T79" fmla="*/ 62 h 166"/>
                <a:gd name="T80" fmla="*/ 353 w 492"/>
                <a:gd name="T81" fmla="*/ 74 h 166"/>
                <a:gd name="T82" fmla="*/ 97 w 492"/>
                <a:gd name="T83" fmla="*/ 64 h 166"/>
                <a:gd name="T84" fmla="*/ 102 w 492"/>
                <a:gd name="T85" fmla="*/ 82 h 166"/>
                <a:gd name="T86" fmla="*/ 80 w 492"/>
                <a:gd name="T87" fmla="*/ 85 h 166"/>
                <a:gd name="T88" fmla="*/ 79 w 492"/>
                <a:gd name="T89" fmla="*/ 77 h 166"/>
                <a:gd name="T90" fmla="*/ 85 w 492"/>
                <a:gd name="T91" fmla="*/ 81 h 166"/>
                <a:gd name="T92" fmla="*/ 85 w 492"/>
                <a:gd name="T93" fmla="*/ 66 h 166"/>
                <a:gd name="T94" fmla="*/ 97 w 492"/>
                <a:gd name="T95" fmla="*/ 64 h 166"/>
                <a:gd name="T96" fmla="*/ 317 w 492"/>
                <a:gd name="T97" fmla="*/ 43 h 166"/>
                <a:gd name="T98" fmla="*/ 331 w 492"/>
                <a:gd name="T99" fmla="*/ 54 h 166"/>
                <a:gd name="T100" fmla="*/ 333 w 492"/>
                <a:gd name="T101" fmla="*/ 60 h 166"/>
                <a:gd name="T102" fmla="*/ 325 w 492"/>
                <a:gd name="T103" fmla="*/ 60 h 166"/>
                <a:gd name="T104" fmla="*/ 305 w 492"/>
                <a:gd name="T105" fmla="*/ 42 h 166"/>
                <a:gd name="T106" fmla="*/ 291 w 492"/>
                <a:gd name="T107" fmla="*/ 39 h 166"/>
                <a:gd name="T108" fmla="*/ 286 w 492"/>
                <a:gd name="T109" fmla="*/ 32 h 166"/>
                <a:gd name="T110" fmla="*/ 299 w 492"/>
                <a:gd name="T111" fmla="*/ 32 h 166"/>
                <a:gd name="T112" fmla="*/ 317 w 492"/>
                <a:gd name="T113" fmla="*/ 4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2" h="166">
                  <a:moveTo>
                    <a:pt x="353" y="74"/>
                  </a:moveTo>
                  <a:lnTo>
                    <a:pt x="376" y="93"/>
                  </a:lnTo>
                  <a:lnTo>
                    <a:pt x="404" y="102"/>
                  </a:lnTo>
                  <a:lnTo>
                    <a:pt x="422" y="102"/>
                  </a:lnTo>
                  <a:lnTo>
                    <a:pt x="422" y="120"/>
                  </a:lnTo>
                  <a:lnTo>
                    <a:pt x="460" y="122"/>
                  </a:lnTo>
                  <a:lnTo>
                    <a:pt x="480" y="139"/>
                  </a:lnTo>
                  <a:lnTo>
                    <a:pt x="492" y="142"/>
                  </a:lnTo>
                  <a:lnTo>
                    <a:pt x="492" y="147"/>
                  </a:lnTo>
                  <a:lnTo>
                    <a:pt x="441" y="164"/>
                  </a:lnTo>
                  <a:lnTo>
                    <a:pt x="371" y="159"/>
                  </a:lnTo>
                  <a:lnTo>
                    <a:pt x="334" y="166"/>
                  </a:lnTo>
                  <a:lnTo>
                    <a:pt x="329" y="161"/>
                  </a:lnTo>
                  <a:lnTo>
                    <a:pt x="359" y="141"/>
                  </a:lnTo>
                  <a:lnTo>
                    <a:pt x="361" y="132"/>
                  </a:lnTo>
                  <a:lnTo>
                    <a:pt x="316" y="124"/>
                  </a:lnTo>
                  <a:lnTo>
                    <a:pt x="297" y="107"/>
                  </a:lnTo>
                  <a:lnTo>
                    <a:pt x="285" y="82"/>
                  </a:lnTo>
                  <a:lnTo>
                    <a:pt x="231" y="76"/>
                  </a:lnTo>
                  <a:lnTo>
                    <a:pt x="198" y="57"/>
                  </a:lnTo>
                  <a:lnTo>
                    <a:pt x="133" y="51"/>
                  </a:lnTo>
                  <a:lnTo>
                    <a:pt x="127" y="40"/>
                  </a:lnTo>
                  <a:lnTo>
                    <a:pt x="146" y="34"/>
                  </a:lnTo>
                  <a:lnTo>
                    <a:pt x="136" y="28"/>
                  </a:lnTo>
                  <a:lnTo>
                    <a:pt x="97" y="25"/>
                  </a:lnTo>
                  <a:lnTo>
                    <a:pt x="76" y="43"/>
                  </a:lnTo>
                  <a:lnTo>
                    <a:pt x="48" y="51"/>
                  </a:lnTo>
                  <a:lnTo>
                    <a:pt x="19" y="71"/>
                  </a:lnTo>
                  <a:lnTo>
                    <a:pt x="0" y="66"/>
                  </a:lnTo>
                  <a:lnTo>
                    <a:pt x="19" y="57"/>
                  </a:lnTo>
                  <a:lnTo>
                    <a:pt x="25" y="34"/>
                  </a:lnTo>
                  <a:lnTo>
                    <a:pt x="50" y="20"/>
                  </a:lnTo>
                  <a:lnTo>
                    <a:pt x="110" y="2"/>
                  </a:lnTo>
                  <a:lnTo>
                    <a:pt x="147" y="0"/>
                  </a:lnTo>
                  <a:lnTo>
                    <a:pt x="219" y="10"/>
                  </a:lnTo>
                  <a:lnTo>
                    <a:pt x="249" y="36"/>
                  </a:lnTo>
                  <a:lnTo>
                    <a:pt x="288" y="40"/>
                  </a:lnTo>
                  <a:lnTo>
                    <a:pt x="288" y="45"/>
                  </a:lnTo>
                  <a:lnTo>
                    <a:pt x="308" y="52"/>
                  </a:lnTo>
                  <a:lnTo>
                    <a:pt x="319" y="62"/>
                  </a:lnTo>
                  <a:lnTo>
                    <a:pt x="353" y="74"/>
                  </a:lnTo>
                  <a:close/>
                  <a:moveTo>
                    <a:pt x="97" y="64"/>
                  </a:moveTo>
                  <a:lnTo>
                    <a:pt x="102" y="82"/>
                  </a:lnTo>
                  <a:lnTo>
                    <a:pt x="80" y="85"/>
                  </a:lnTo>
                  <a:lnTo>
                    <a:pt x="79" y="77"/>
                  </a:lnTo>
                  <a:lnTo>
                    <a:pt x="85" y="81"/>
                  </a:lnTo>
                  <a:lnTo>
                    <a:pt x="85" y="66"/>
                  </a:lnTo>
                  <a:lnTo>
                    <a:pt x="97" y="64"/>
                  </a:lnTo>
                  <a:close/>
                  <a:moveTo>
                    <a:pt x="317" y="43"/>
                  </a:moveTo>
                  <a:lnTo>
                    <a:pt x="331" y="54"/>
                  </a:lnTo>
                  <a:lnTo>
                    <a:pt x="333" y="60"/>
                  </a:lnTo>
                  <a:lnTo>
                    <a:pt x="325" y="60"/>
                  </a:lnTo>
                  <a:lnTo>
                    <a:pt x="305" y="42"/>
                  </a:lnTo>
                  <a:lnTo>
                    <a:pt x="291" y="39"/>
                  </a:lnTo>
                  <a:lnTo>
                    <a:pt x="286" y="32"/>
                  </a:lnTo>
                  <a:lnTo>
                    <a:pt x="299" y="32"/>
                  </a:lnTo>
                  <a:lnTo>
                    <a:pt x="317" y="43"/>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52" name="Freeform 181">
              <a:extLst>
                <a:ext uri="{FF2B5EF4-FFF2-40B4-BE49-F238E27FC236}">
                  <a16:creationId xmlns:a16="http://schemas.microsoft.com/office/drawing/2014/main" id="{0BB75599-F0B4-774A-931E-E972E782BF93}"/>
                </a:ext>
              </a:extLst>
            </p:cNvPr>
            <p:cNvSpPr>
              <a:spLocks noChangeAspect="1" noEditPoints="1"/>
            </p:cNvSpPr>
            <p:nvPr/>
          </p:nvSpPr>
          <p:spPr bwMode="gray">
            <a:xfrm>
              <a:off x="2961141" y="3711644"/>
              <a:ext cx="62129" cy="61438"/>
            </a:xfrm>
            <a:custGeom>
              <a:avLst/>
              <a:gdLst>
                <a:gd name="T0" fmla="*/ 122 w 128"/>
                <a:gd name="T1" fmla="*/ 102 h 102"/>
                <a:gd name="T2" fmla="*/ 123 w 128"/>
                <a:gd name="T3" fmla="*/ 88 h 102"/>
                <a:gd name="T4" fmla="*/ 118 w 128"/>
                <a:gd name="T5" fmla="*/ 75 h 102"/>
                <a:gd name="T6" fmla="*/ 125 w 128"/>
                <a:gd name="T7" fmla="*/ 67 h 102"/>
                <a:gd name="T8" fmla="*/ 128 w 128"/>
                <a:gd name="T9" fmla="*/ 46 h 102"/>
                <a:gd name="T10" fmla="*/ 120 w 128"/>
                <a:gd name="T11" fmla="*/ 16 h 102"/>
                <a:gd name="T12" fmla="*/ 95 w 128"/>
                <a:gd name="T13" fmla="*/ 19 h 102"/>
                <a:gd name="T14" fmla="*/ 66 w 128"/>
                <a:gd name="T15" fmla="*/ 9 h 102"/>
                <a:gd name="T16" fmla="*/ 44 w 128"/>
                <a:gd name="T17" fmla="*/ 19 h 102"/>
                <a:gd name="T18" fmla="*/ 49 w 128"/>
                <a:gd name="T19" fmla="*/ 26 h 102"/>
                <a:gd name="T20" fmla="*/ 72 w 128"/>
                <a:gd name="T21" fmla="*/ 29 h 102"/>
                <a:gd name="T22" fmla="*/ 76 w 128"/>
                <a:gd name="T23" fmla="*/ 58 h 102"/>
                <a:gd name="T24" fmla="*/ 92 w 128"/>
                <a:gd name="T25" fmla="*/ 70 h 102"/>
                <a:gd name="T26" fmla="*/ 91 w 128"/>
                <a:gd name="T27" fmla="*/ 76 h 102"/>
                <a:gd name="T28" fmla="*/ 55 w 128"/>
                <a:gd name="T29" fmla="*/ 80 h 102"/>
                <a:gd name="T30" fmla="*/ 1 w 128"/>
                <a:gd name="T31" fmla="*/ 75 h 102"/>
                <a:gd name="T32" fmla="*/ 0 w 128"/>
                <a:gd name="T33" fmla="*/ 82 h 102"/>
                <a:gd name="T34" fmla="*/ 26 w 128"/>
                <a:gd name="T35" fmla="*/ 101 h 102"/>
                <a:gd name="T36" fmla="*/ 37 w 128"/>
                <a:gd name="T37" fmla="*/ 92 h 102"/>
                <a:gd name="T38" fmla="*/ 74 w 128"/>
                <a:gd name="T39" fmla="*/ 99 h 102"/>
                <a:gd name="T40" fmla="*/ 101 w 128"/>
                <a:gd name="T41" fmla="*/ 93 h 102"/>
                <a:gd name="T42" fmla="*/ 122 w 128"/>
                <a:gd name="T43" fmla="*/ 102 h 102"/>
                <a:gd name="T44" fmla="*/ 72 w 128"/>
                <a:gd name="T45" fmla="*/ 0 h 102"/>
                <a:gd name="T46" fmla="*/ 78 w 128"/>
                <a:gd name="T47" fmla="*/ 8 h 102"/>
                <a:gd name="T48" fmla="*/ 69 w 128"/>
                <a:gd name="T49" fmla="*/ 6 h 102"/>
                <a:gd name="T50" fmla="*/ 72 w 128"/>
                <a:gd name="T51" fmla="*/ 0 h 102"/>
                <a:gd name="T52" fmla="*/ 63 w 128"/>
                <a:gd name="T53" fmla="*/ 58 h 102"/>
                <a:gd name="T54" fmla="*/ 69 w 128"/>
                <a:gd name="T55" fmla="*/ 62 h 102"/>
                <a:gd name="T56" fmla="*/ 71 w 128"/>
                <a:gd name="T57" fmla="*/ 68 h 102"/>
                <a:gd name="T58" fmla="*/ 54 w 128"/>
                <a:gd name="T59" fmla="*/ 65 h 102"/>
                <a:gd name="T60" fmla="*/ 50 w 128"/>
                <a:gd name="T61" fmla="*/ 58 h 102"/>
                <a:gd name="T62" fmla="*/ 63 w 128"/>
                <a:gd name="T63" fmla="*/ 5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8" h="102">
                  <a:moveTo>
                    <a:pt x="122" y="102"/>
                  </a:moveTo>
                  <a:lnTo>
                    <a:pt x="123" y="88"/>
                  </a:lnTo>
                  <a:lnTo>
                    <a:pt x="118" y="75"/>
                  </a:lnTo>
                  <a:lnTo>
                    <a:pt x="125" y="67"/>
                  </a:lnTo>
                  <a:lnTo>
                    <a:pt x="128" y="46"/>
                  </a:lnTo>
                  <a:lnTo>
                    <a:pt x="120" y="16"/>
                  </a:lnTo>
                  <a:lnTo>
                    <a:pt x="95" y="19"/>
                  </a:lnTo>
                  <a:lnTo>
                    <a:pt x="66" y="9"/>
                  </a:lnTo>
                  <a:lnTo>
                    <a:pt x="44" y="19"/>
                  </a:lnTo>
                  <a:lnTo>
                    <a:pt x="49" y="26"/>
                  </a:lnTo>
                  <a:lnTo>
                    <a:pt x="72" y="29"/>
                  </a:lnTo>
                  <a:lnTo>
                    <a:pt x="76" y="58"/>
                  </a:lnTo>
                  <a:lnTo>
                    <a:pt x="92" y="70"/>
                  </a:lnTo>
                  <a:lnTo>
                    <a:pt x="91" y="76"/>
                  </a:lnTo>
                  <a:lnTo>
                    <a:pt x="55" y="80"/>
                  </a:lnTo>
                  <a:lnTo>
                    <a:pt x="1" y="75"/>
                  </a:lnTo>
                  <a:lnTo>
                    <a:pt x="0" y="82"/>
                  </a:lnTo>
                  <a:lnTo>
                    <a:pt x="26" y="101"/>
                  </a:lnTo>
                  <a:lnTo>
                    <a:pt x="37" y="92"/>
                  </a:lnTo>
                  <a:lnTo>
                    <a:pt x="74" y="99"/>
                  </a:lnTo>
                  <a:lnTo>
                    <a:pt x="101" y="93"/>
                  </a:lnTo>
                  <a:lnTo>
                    <a:pt x="122" y="102"/>
                  </a:lnTo>
                  <a:close/>
                  <a:moveTo>
                    <a:pt x="72" y="0"/>
                  </a:moveTo>
                  <a:lnTo>
                    <a:pt x="78" y="8"/>
                  </a:lnTo>
                  <a:lnTo>
                    <a:pt x="69" y="6"/>
                  </a:lnTo>
                  <a:lnTo>
                    <a:pt x="72" y="0"/>
                  </a:lnTo>
                  <a:close/>
                  <a:moveTo>
                    <a:pt x="63" y="58"/>
                  </a:moveTo>
                  <a:lnTo>
                    <a:pt x="69" y="62"/>
                  </a:lnTo>
                  <a:lnTo>
                    <a:pt x="71" y="68"/>
                  </a:lnTo>
                  <a:lnTo>
                    <a:pt x="54" y="65"/>
                  </a:lnTo>
                  <a:lnTo>
                    <a:pt x="50" y="58"/>
                  </a:lnTo>
                  <a:lnTo>
                    <a:pt x="63" y="58"/>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53" name="Freeform 182">
              <a:extLst>
                <a:ext uri="{FF2B5EF4-FFF2-40B4-BE49-F238E27FC236}">
                  <a16:creationId xmlns:a16="http://schemas.microsoft.com/office/drawing/2014/main" id="{3DDE8F74-C25D-7E43-B84D-7013A6D5BC73}"/>
                </a:ext>
              </a:extLst>
            </p:cNvPr>
            <p:cNvSpPr>
              <a:spLocks noChangeAspect="1" noEditPoints="1"/>
            </p:cNvSpPr>
            <p:nvPr/>
          </p:nvSpPr>
          <p:spPr bwMode="gray">
            <a:xfrm>
              <a:off x="3220806" y="3790364"/>
              <a:ext cx="44606" cy="101759"/>
            </a:xfrm>
            <a:custGeom>
              <a:avLst/>
              <a:gdLst>
                <a:gd name="T0" fmla="*/ 89 w 92"/>
                <a:gd name="T1" fmla="*/ 164 h 178"/>
                <a:gd name="T2" fmla="*/ 86 w 92"/>
                <a:gd name="T3" fmla="*/ 177 h 178"/>
                <a:gd name="T4" fmla="*/ 89 w 92"/>
                <a:gd name="T5" fmla="*/ 178 h 178"/>
                <a:gd name="T6" fmla="*/ 89 w 92"/>
                <a:gd name="T7" fmla="*/ 164 h 178"/>
                <a:gd name="T8" fmla="*/ 4 w 92"/>
                <a:gd name="T9" fmla="*/ 0 h 178"/>
                <a:gd name="T10" fmla="*/ 0 w 92"/>
                <a:gd name="T11" fmla="*/ 0 h 178"/>
                <a:gd name="T12" fmla="*/ 3 w 92"/>
                <a:gd name="T13" fmla="*/ 8 h 178"/>
                <a:gd name="T14" fmla="*/ 4 w 92"/>
                <a:gd name="T15" fmla="*/ 0 h 178"/>
                <a:gd name="T16" fmla="*/ 49 w 92"/>
                <a:gd name="T17" fmla="*/ 14 h 178"/>
                <a:gd name="T18" fmla="*/ 49 w 92"/>
                <a:gd name="T19" fmla="*/ 23 h 178"/>
                <a:gd name="T20" fmla="*/ 54 w 92"/>
                <a:gd name="T21" fmla="*/ 17 h 178"/>
                <a:gd name="T22" fmla="*/ 49 w 92"/>
                <a:gd name="T23" fmla="*/ 14 h 178"/>
                <a:gd name="T24" fmla="*/ 67 w 92"/>
                <a:gd name="T25" fmla="*/ 45 h 178"/>
                <a:gd name="T26" fmla="*/ 60 w 92"/>
                <a:gd name="T27" fmla="*/ 53 h 178"/>
                <a:gd name="T28" fmla="*/ 52 w 92"/>
                <a:gd name="T29" fmla="*/ 51 h 178"/>
                <a:gd name="T30" fmla="*/ 51 w 92"/>
                <a:gd name="T31" fmla="*/ 68 h 178"/>
                <a:gd name="T32" fmla="*/ 57 w 92"/>
                <a:gd name="T33" fmla="*/ 68 h 178"/>
                <a:gd name="T34" fmla="*/ 63 w 92"/>
                <a:gd name="T35" fmla="*/ 60 h 178"/>
                <a:gd name="T36" fmla="*/ 74 w 92"/>
                <a:gd name="T37" fmla="*/ 57 h 178"/>
                <a:gd name="T38" fmla="*/ 67 w 92"/>
                <a:gd name="T39" fmla="*/ 45 h 178"/>
                <a:gd name="T40" fmla="*/ 72 w 92"/>
                <a:gd name="T41" fmla="*/ 87 h 178"/>
                <a:gd name="T42" fmla="*/ 69 w 92"/>
                <a:gd name="T43" fmla="*/ 101 h 178"/>
                <a:gd name="T44" fmla="*/ 75 w 92"/>
                <a:gd name="T45" fmla="*/ 105 h 178"/>
                <a:gd name="T46" fmla="*/ 75 w 92"/>
                <a:gd name="T47" fmla="*/ 90 h 178"/>
                <a:gd name="T48" fmla="*/ 72 w 92"/>
                <a:gd name="T49" fmla="*/ 87 h 178"/>
                <a:gd name="T50" fmla="*/ 77 w 92"/>
                <a:gd name="T51" fmla="*/ 121 h 178"/>
                <a:gd name="T52" fmla="*/ 86 w 92"/>
                <a:gd name="T53" fmla="*/ 128 h 178"/>
                <a:gd name="T54" fmla="*/ 92 w 92"/>
                <a:gd name="T55" fmla="*/ 143 h 178"/>
                <a:gd name="T56" fmla="*/ 84 w 92"/>
                <a:gd name="T57" fmla="*/ 141 h 178"/>
                <a:gd name="T58" fmla="*/ 77 w 92"/>
                <a:gd name="T59" fmla="*/ 121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2" h="178">
                  <a:moveTo>
                    <a:pt x="89" y="164"/>
                  </a:moveTo>
                  <a:lnTo>
                    <a:pt x="86" y="177"/>
                  </a:lnTo>
                  <a:lnTo>
                    <a:pt x="89" y="178"/>
                  </a:lnTo>
                  <a:lnTo>
                    <a:pt x="89" y="164"/>
                  </a:lnTo>
                  <a:close/>
                  <a:moveTo>
                    <a:pt x="4" y="0"/>
                  </a:moveTo>
                  <a:lnTo>
                    <a:pt x="0" y="0"/>
                  </a:lnTo>
                  <a:lnTo>
                    <a:pt x="3" y="8"/>
                  </a:lnTo>
                  <a:lnTo>
                    <a:pt x="4" y="0"/>
                  </a:lnTo>
                  <a:close/>
                  <a:moveTo>
                    <a:pt x="49" y="14"/>
                  </a:moveTo>
                  <a:lnTo>
                    <a:pt x="49" y="23"/>
                  </a:lnTo>
                  <a:lnTo>
                    <a:pt x="54" y="17"/>
                  </a:lnTo>
                  <a:lnTo>
                    <a:pt x="49" y="14"/>
                  </a:lnTo>
                  <a:close/>
                  <a:moveTo>
                    <a:pt x="67" y="45"/>
                  </a:moveTo>
                  <a:lnTo>
                    <a:pt x="60" y="53"/>
                  </a:lnTo>
                  <a:lnTo>
                    <a:pt x="52" y="51"/>
                  </a:lnTo>
                  <a:lnTo>
                    <a:pt x="51" y="68"/>
                  </a:lnTo>
                  <a:lnTo>
                    <a:pt x="57" y="68"/>
                  </a:lnTo>
                  <a:lnTo>
                    <a:pt x="63" y="60"/>
                  </a:lnTo>
                  <a:lnTo>
                    <a:pt x="74" y="57"/>
                  </a:lnTo>
                  <a:lnTo>
                    <a:pt x="67" y="45"/>
                  </a:lnTo>
                  <a:close/>
                  <a:moveTo>
                    <a:pt x="72" y="87"/>
                  </a:moveTo>
                  <a:lnTo>
                    <a:pt x="69" y="101"/>
                  </a:lnTo>
                  <a:lnTo>
                    <a:pt x="75" y="105"/>
                  </a:lnTo>
                  <a:lnTo>
                    <a:pt x="75" y="90"/>
                  </a:lnTo>
                  <a:lnTo>
                    <a:pt x="72" y="87"/>
                  </a:lnTo>
                  <a:close/>
                  <a:moveTo>
                    <a:pt x="77" y="121"/>
                  </a:moveTo>
                  <a:lnTo>
                    <a:pt x="86" y="128"/>
                  </a:lnTo>
                  <a:lnTo>
                    <a:pt x="92" y="143"/>
                  </a:lnTo>
                  <a:lnTo>
                    <a:pt x="84" y="141"/>
                  </a:lnTo>
                  <a:lnTo>
                    <a:pt x="77" y="121"/>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54" name="Freeform 183">
              <a:extLst>
                <a:ext uri="{FF2B5EF4-FFF2-40B4-BE49-F238E27FC236}">
                  <a16:creationId xmlns:a16="http://schemas.microsoft.com/office/drawing/2014/main" id="{D5C3A8F0-A9C3-C64F-8B75-148FDA43DB78}"/>
                </a:ext>
              </a:extLst>
            </p:cNvPr>
            <p:cNvSpPr>
              <a:spLocks noChangeAspect="1" noEditPoints="1"/>
            </p:cNvSpPr>
            <p:nvPr/>
          </p:nvSpPr>
          <p:spPr bwMode="gray">
            <a:xfrm>
              <a:off x="2768381" y="4005400"/>
              <a:ext cx="129037" cy="67200"/>
            </a:xfrm>
            <a:custGeom>
              <a:avLst/>
              <a:gdLst>
                <a:gd name="T0" fmla="*/ 235 w 267"/>
                <a:gd name="T1" fmla="*/ 107 h 111"/>
                <a:gd name="T2" fmla="*/ 244 w 267"/>
                <a:gd name="T3" fmla="*/ 91 h 111"/>
                <a:gd name="T4" fmla="*/ 252 w 267"/>
                <a:gd name="T5" fmla="*/ 93 h 111"/>
                <a:gd name="T6" fmla="*/ 267 w 267"/>
                <a:gd name="T7" fmla="*/ 74 h 111"/>
                <a:gd name="T8" fmla="*/ 255 w 267"/>
                <a:gd name="T9" fmla="*/ 54 h 111"/>
                <a:gd name="T10" fmla="*/ 258 w 267"/>
                <a:gd name="T11" fmla="*/ 46 h 111"/>
                <a:gd name="T12" fmla="*/ 225 w 267"/>
                <a:gd name="T13" fmla="*/ 15 h 111"/>
                <a:gd name="T14" fmla="*/ 176 w 267"/>
                <a:gd name="T15" fmla="*/ 0 h 111"/>
                <a:gd name="T16" fmla="*/ 153 w 267"/>
                <a:gd name="T17" fmla="*/ 1 h 111"/>
                <a:gd name="T18" fmla="*/ 149 w 267"/>
                <a:gd name="T19" fmla="*/ 22 h 111"/>
                <a:gd name="T20" fmla="*/ 141 w 267"/>
                <a:gd name="T21" fmla="*/ 25 h 111"/>
                <a:gd name="T22" fmla="*/ 139 w 267"/>
                <a:gd name="T23" fmla="*/ 17 h 111"/>
                <a:gd name="T24" fmla="*/ 132 w 267"/>
                <a:gd name="T25" fmla="*/ 17 h 111"/>
                <a:gd name="T26" fmla="*/ 85 w 267"/>
                <a:gd name="T27" fmla="*/ 37 h 111"/>
                <a:gd name="T28" fmla="*/ 60 w 267"/>
                <a:gd name="T29" fmla="*/ 29 h 111"/>
                <a:gd name="T30" fmla="*/ 40 w 267"/>
                <a:gd name="T31" fmla="*/ 29 h 111"/>
                <a:gd name="T32" fmla="*/ 32 w 267"/>
                <a:gd name="T33" fmla="*/ 6 h 111"/>
                <a:gd name="T34" fmla="*/ 20 w 267"/>
                <a:gd name="T35" fmla="*/ 0 h 111"/>
                <a:gd name="T36" fmla="*/ 12 w 267"/>
                <a:gd name="T37" fmla="*/ 0 h 111"/>
                <a:gd name="T38" fmla="*/ 6 w 267"/>
                <a:gd name="T39" fmla="*/ 6 h 111"/>
                <a:gd name="T40" fmla="*/ 5 w 267"/>
                <a:gd name="T41" fmla="*/ 18 h 111"/>
                <a:gd name="T42" fmla="*/ 14 w 267"/>
                <a:gd name="T43" fmla="*/ 25 h 111"/>
                <a:gd name="T44" fmla="*/ 6 w 267"/>
                <a:gd name="T45" fmla="*/ 51 h 111"/>
                <a:gd name="T46" fmla="*/ 0 w 267"/>
                <a:gd name="T47" fmla="*/ 59 h 111"/>
                <a:gd name="T48" fmla="*/ 5 w 267"/>
                <a:gd name="T49" fmla="*/ 68 h 111"/>
                <a:gd name="T50" fmla="*/ 12 w 267"/>
                <a:gd name="T51" fmla="*/ 59 h 111"/>
                <a:gd name="T52" fmla="*/ 57 w 267"/>
                <a:gd name="T53" fmla="*/ 68 h 111"/>
                <a:gd name="T54" fmla="*/ 77 w 267"/>
                <a:gd name="T55" fmla="*/ 93 h 111"/>
                <a:gd name="T56" fmla="*/ 93 w 267"/>
                <a:gd name="T57" fmla="*/ 86 h 111"/>
                <a:gd name="T58" fmla="*/ 100 w 267"/>
                <a:gd name="T59" fmla="*/ 111 h 111"/>
                <a:gd name="T60" fmla="*/ 115 w 267"/>
                <a:gd name="T61" fmla="*/ 111 h 111"/>
                <a:gd name="T62" fmla="*/ 134 w 267"/>
                <a:gd name="T63" fmla="*/ 98 h 111"/>
                <a:gd name="T64" fmla="*/ 119 w 267"/>
                <a:gd name="T65" fmla="*/ 77 h 111"/>
                <a:gd name="T66" fmla="*/ 119 w 267"/>
                <a:gd name="T67" fmla="*/ 68 h 111"/>
                <a:gd name="T68" fmla="*/ 142 w 267"/>
                <a:gd name="T69" fmla="*/ 56 h 111"/>
                <a:gd name="T70" fmla="*/ 161 w 267"/>
                <a:gd name="T71" fmla="*/ 34 h 111"/>
                <a:gd name="T72" fmla="*/ 174 w 267"/>
                <a:gd name="T73" fmla="*/ 29 h 111"/>
                <a:gd name="T74" fmla="*/ 203 w 267"/>
                <a:gd name="T75" fmla="*/ 43 h 111"/>
                <a:gd name="T76" fmla="*/ 212 w 267"/>
                <a:gd name="T77" fmla="*/ 54 h 111"/>
                <a:gd name="T78" fmla="*/ 225 w 267"/>
                <a:gd name="T79" fmla="*/ 52 h 111"/>
                <a:gd name="T80" fmla="*/ 230 w 267"/>
                <a:gd name="T81" fmla="*/ 56 h 111"/>
                <a:gd name="T82" fmla="*/ 218 w 267"/>
                <a:gd name="T83" fmla="*/ 66 h 111"/>
                <a:gd name="T84" fmla="*/ 216 w 267"/>
                <a:gd name="T85" fmla="*/ 77 h 111"/>
                <a:gd name="T86" fmla="*/ 221 w 267"/>
                <a:gd name="T87" fmla="*/ 93 h 111"/>
                <a:gd name="T88" fmla="*/ 235 w 267"/>
                <a:gd name="T89" fmla="*/ 107 h 111"/>
                <a:gd name="T90" fmla="*/ 57 w 267"/>
                <a:gd name="T91" fmla="*/ 88 h 111"/>
                <a:gd name="T92" fmla="*/ 52 w 267"/>
                <a:gd name="T93" fmla="*/ 100 h 111"/>
                <a:gd name="T94" fmla="*/ 59 w 267"/>
                <a:gd name="T95" fmla="*/ 107 h 111"/>
                <a:gd name="T96" fmla="*/ 60 w 267"/>
                <a:gd name="T97" fmla="*/ 90 h 111"/>
                <a:gd name="T98" fmla="*/ 57 w 267"/>
                <a:gd name="T9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7" h="111">
                  <a:moveTo>
                    <a:pt x="235" y="107"/>
                  </a:moveTo>
                  <a:lnTo>
                    <a:pt x="244" y="91"/>
                  </a:lnTo>
                  <a:lnTo>
                    <a:pt x="252" y="93"/>
                  </a:lnTo>
                  <a:lnTo>
                    <a:pt x="267" y="74"/>
                  </a:lnTo>
                  <a:lnTo>
                    <a:pt x="255" y="54"/>
                  </a:lnTo>
                  <a:lnTo>
                    <a:pt x="258" y="46"/>
                  </a:lnTo>
                  <a:lnTo>
                    <a:pt x="225" y="15"/>
                  </a:lnTo>
                  <a:lnTo>
                    <a:pt x="176" y="0"/>
                  </a:lnTo>
                  <a:lnTo>
                    <a:pt x="153" y="1"/>
                  </a:lnTo>
                  <a:lnTo>
                    <a:pt x="149" y="22"/>
                  </a:lnTo>
                  <a:lnTo>
                    <a:pt x="141" y="25"/>
                  </a:lnTo>
                  <a:lnTo>
                    <a:pt x="139" y="17"/>
                  </a:lnTo>
                  <a:lnTo>
                    <a:pt x="132" y="17"/>
                  </a:lnTo>
                  <a:lnTo>
                    <a:pt x="85" y="37"/>
                  </a:lnTo>
                  <a:lnTo>
                    <a:pt x="60" y="29"/>
                  </a:lnTo>
                  <a:lnTo>
                    <a:pt x="40" y="29"/>
                  </a:lnTo>
                  <a:lnTo>
                    <a:pt x="32" y="6"/>
                  </a:lnTo>
                  <a:lnTo>
                    <a:pt x="20" y="0"/>
                  </a:lnTo>
                  <a:lnTo>
                    <a:pt x="12" y="0"/>
                  </a:lnTo>
                  <a:lnTo>
                    <a:pt x="6" y="6"/>
                  </a:lnTo>
                  <a:lnTo>
                    <a:pt x="5" y="18"/>
                  </a:lnTo>
                  <a:lnTo>
                    <a:pt x="14" y="25"/>
                  </a:lnTo>
                  <a:lnTo>
                    <a:pt x="6" y="51"/>
                  </a:lnTo>
                  <a:lnTo>
                    <a:pt x="0" y="59"/>
                  </a:lnTo>
                  <a:lnTo>
                    <a:pt x="5" y="68"/>
                  </a:lnTo>
                  <a:lnTo>
                    <a:pt x="12" y="59"/>
                  </a:lnTo>
                  <a:lnTo>
                    <a:pt x="57" y="68"/>
                  </a:lnTo>
                  <a:lnTo>
                    <a:pt x="77" y="93"/>
                  </a:lnTo>
                  <a:lnTo>
                    <a:pt x="93" y="86"/>
                  </a:lnTo>
                  <a:lnTo>
                    <a:pt x="100" y="111"/>
                  </a:lnTo>
                  <a:lnTo>
                    <a:pt x="115" y="111"/>
                  </a:lnTo>
                  <a:lnTo>
                    <a:pt x="134" y="98"/>
                  </a:lnTo>
                  <a:lnTo>
                    <a:pt x="119" y="77"/>
                  </a:lnTo>
                  <a:lnTo>
                    <a:pt x="119" y="68"/>
                  </a:lnTo>
                  <a:lnTo>
                    <a:pt x="142" y="56"/>
                  </a:lnTo>
                  <a:lnTo>
                    <a:pt x="161" y="34"/>
                  </a:lnTo>
                  <a:lnTo>
                    <a:pt x="174" y="29"/>
                  </a:lnTo>
                  <a:lnTo>
                    <a:pt x="203" y="43"/>
                  </a:lnTo>
                  <a:lnTo>
                    <a:pt x="212" y="54"/>
                  </a:lnTo>
                  <a:lnTo>
                    <a:pt x="225" y="52"/>
                  </a:lnTo>
                  <a:lnTo>
                    <a:pt x="230" y="56"/>
                  </a:lnTo>
                  <a:lnTo>
                    <a:pt x="218" y="66"/>
                  </a:lnTo>
                  <a:lnTo>
                    <a:pt x="216" y="77"/>
                  </a:lnTo>
                  <a:lnTo>
                    <a:pt x="221" y="93"/>
                  </a:lnTo>
                  <a:lnTo>
                    <a:pt x="235" y="107"/>
                  </a:lnTo>
                  <a:close/>
                  <a:moveTo>
                    <a:pt x="57" y="88"/>
                  </a:moveTo>
                  <a:lnTo>
                    <a:pt x="52" y="100"/>
                  </a:lnTo>
                  <a:lnTo>
                    <a:pt x="59" y="107"/>
                  </a:lnTo>
                  <a:lnTo>
                    <a:pt x="60" y="90"/>
                  </a:lnTo>
                  <a:lnTo>
                    <a:pt x="57" y="88"/>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55" name="Freeform 184">
              <a:extLst>
                <a:ext uri="{FF2B5EF4-FFF2-40B4-BE49-F238E27FC236}">
                  <a16:creationId xmlns:a16="http://schemas.microsoft.com/office/drawing/2014/main" id="{5BDA4203-A1B6-EE4C-A9FD-BB686E06C831}"/>
                </a:ext>
              </a:extLst>
            </p:cNvPr>
            <p:cNvSpPr>
              <a:spLocks noChangeAspect="1" noEditPoints="1"/>
            </p:cNvSpPr>
            <p:nvPr/>
          </p:nvSpPr>
          <p:spPr bwMode="gray">
            <a:xfrm>
              <a:off x="1976638" y="3335330"/>
              <a:ext cx="707312" cy="533752"/>
            </a:xfrm>
            <a:custGeom>
              <a:avLst/>
              <a:gdLst>
                <a:gd name="T0" fmla="*/ 238 w 1450"/>
                <a:gd name="T1" fmla="*/ 82 h 908"/>
                <a:gd name="T2" fmla="*/ 280 w 1450"/>
                <a:gd name="T3" fmla="*/ 184 h 908"/>
                <a:gd name="T4" fmla="*/ 361 w 1450"/>
                <a:gd name="T5" fmla="*/ 285 h 908"/>
                <a:gd name="T6" fmla="*/ 412 w 1450"/>
                <a:gd name="T7" fmla="*/ 356 h 908"/>
                <a:gd name="T8" fmla="*/ 463 w 1450"/>
                <a:gd name="T9" fmla="*/ 390 h 908"/>
                <a:gd name="T10" fmla="*/ 537 w 1450"/>
                <a:gd name="T11" fmla="*/ 477 h 908"/>
                <a:gd name="T12" fmla="*/ 607 w 1450"/>
                <a:gd name="T13" fmla="*/ 590 h 908"/>
                <a:gd name="T14" fmla="*/ 597 w 1450"/>
                <a:gd name="T15" fmla="*/ 661 h 908"/>
                <a:gd name="T16" fmla="*/ 739 w 1450"/>
                <a:gd name="T17" fmla="*/ 749 h 908"/>
                <a:gd name="T18" fmla="*/ 930 w 1450"/>
                <a:gd name="T19" fmla="*/ 837 h 908"/>
                <a:gd name="T20" fmla="*/ 1071 w 1450"/>
                <a:gd name="T21" fmla="*/ 832 h 908"/>
                <a:gd name="T22" fmla="*/ 1203 w 1450"/>
                <a:gd name="T23" fmla="*/ 883 h 908"/>
                <a:gd name="T24" fmla="*/ 1230 w 1450"/>
                <a:gd name="T25" fmla="*/ 775 h 908"/>
                <a:gd name="T26" fmla="*/ 1354 w 1450"/>
                <a:gd name="T27" fmla="*/ 749 h 908"/>
                <a:gd name="T28" fmla="*/ 1389 w 1450"/>
                <a:gd name="T29" fmla="*/ 721 h 908"/>
                <a:gd name="T30" fmla="*/ 1408 w 1450"/>
                <a:gd name="T31" fmla="*/ 676 h 908"/>
                <a:gd name="T32" fmla="*/ 1443 w 1450"/>
                <a:gd name="T33" fmla="*/ 607 h 908"/>
                <a:gd name="T34" fmla="*/ 1403 w 1450"/>
                <a:gd name="T35" fmla="*/ 569 h 908"/>
                <a:gd name="T36" fmla="*/ 1276 w 1450"/>
                <a:gd name="T37" fmla="*/ 644 h 908"/>
                <a:gd name="T38" fmla="*/ 1215 w 1450"/>
                <a:gd name="T39" fmla="*/ 721 h 908"/>
                <a:gd name="T40" fmla="*/ 1125 w 1450"/>
                <a:gd name="T41" fmla="*/ 726 h 908"/>
                <a:gd name="T42" fmla="*/ 1037 w 1450"/>
                <a:gd name="T43" fmla="*/ 704 h 908"/>
                <a:gd name="T44" fmla="*/ 966 w 1450"/>
                <a:gd name="T45" fmla="*/ 594 h 908"/>
                <a:gd name="T46" fmla="*/ 950 w 1450"/>
                <a:gd name="T47" fmla="*/ 481 h 908"/>
                <a:gd name="T48" fmla="*/ 975 w 1450"/>
                <a:gd name="T49" fmla="*/ 376 h 908"/>
                <a:gd name="T50" fmla="*/ 961 w 1450"/>
                <a:gd name="T51" fmla="*/ 356 h 908"/>
                <a:gd name="T52" fmla="*/ 869 w 1450"/>
                <a:gd name="T53" fmla="*/ 308 h 908"/>
                <a:gd name="T54" fmla="*/ 805 w 1450"/>
                <a:gd name="T55" fmla="*/ 189 h 908"/>
                <a:gd name="T56" fmla="*/ 692 w 1450"/>
                <a:gd name="T57" fmla="*/ 198 h 908"/>
                <a:gd name="T58" fmla="*/ 586 w 1450"/>
                <a:gd name="T59" fmla="*/ 93 h 908"/>
                <a:gd name="T60" fmla="*/ 498 w 1450"/>
                <a:gd name="T61" fmla="*/ 45 h 908"/>
                <a:gd name="T62" fmla="*/ 268 w 1450"/>
                <a:gd name="T63" fmla="*/ 45 h 908"/>
                <a:gd name="T64" fmla="*/ 92 w 1450"/>
                <a:gd name="T65" fmla="*/ 6 h 908"/>
                <a:gd name="T66" fmla="*/ 109 w 1450"/>
                <a:gd name="T67" fmla="*/ 124 h 908"/>
                <a:gd name="T68" fmla="*/ 197 w 1450"/>
                <a:gd name="T69" fmla="*/ 224 h 908"/>
                <a:gd name="T70" fmla="*/ 173 w 1450"/>
                <a:gd name="T71" fmla="*/ 261 h 908"/>
                <a:gd name="T72" fmla="*/ 181 w 1450"/>
                <a:gd name="T73" fmla="*/ 289 h 908"/>
                <a:gd name="T74" fmla="*/ 244 w 1450"/>
                <a:gd name="T75" fmla="*/ 319 h 908"/>
                <a:gd name="T76" fmla="*/ 282 w 1450"/>
                <a:gd name="T77" fmla="*/ 416 h 908"/>
                <a:gd name="T78" fmla="*/ 311 w 1450"/>
                <a:gd name="T79" fmla="*/ 427 h 908"/>
                <a:gd name="T80" fmla="*/ 405 w 1450"/>
                <a:gd name="T81" fmla="*/ 495 h 908"/>
                <a:gd name="T82" fmla="*/ 367 w 1450"/>
                <a:gd name="T83" fmla="*/ 446 h 908"/>
                <a:gd name="T84" fmla="*/ 341 w 1450"/>
                <a:gd name="T85" fmla="*/ 379 h 908"/>
                <a:gd name="T86" fmla="*/ 305 w 1450"/>
                <a:gd name="T87" fmla="*/ 325 h 908"/>
                <a:gd name="T88" fmla="*/ 261 w 1450"/>
                <a:gd name="T89" fmla="*/ 258 h 908"/>
                <a:gd name="T90" fmla="*/ 217 w 1450"/>
                <a:gd name="T91" fmla="*/ 182 h 908"/>
                <a:gd name="T92" fmla="*/ 163 w 1450"/>
                <a:gd name="T93" fmla="*/ 84 h 908"/>
                <a:gd name="T94" fmla="*/ 1450 w 1450"/>
                <a:gd name="T95" fmla="*/ 619 h 908"/>
                <a:gd name="T96" fmla="*/ 269 w 1450"/>
                <a:gd name="T97" fmla="*/ 207 h 908"/>
                <a:gd name="T98" fmla="*/ 241 w 1450"/>
                <a:gd name="T99" fmla="*/ 198 h 908"/>
                <a:gd name="T100" fmla="*/ 144 w 1450"/>
                <a:gd name="T101" fmla="*/ 248 h 908"/>
                <a:gd name="T102" fmla="*/ 967 w 1450"/>
                <a:gd name="T103" fmla="*/ 39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50" h="908">
                  <a:moveTo>
                    <a:pt x="159" y="45"/>
                  </a:moveTo>
                  <a:lnTo>
                    <a:pt x="190" y="63"/>
                  </a:lnTo>
                  <a:lnTo>
                    <a:pt x="207" y="63"/>
                  </a:lnTo>
                  <a:lnTo>
                    <a:pt x="214" y="74"/>
                  </a:lnTo>
                  <a:lnTo>
                    <a:pt x="238" y="82"/>
                  </a:lnTo>
                  <a:lnTo>
                    <a:pt x="243" y="110"/>
                  </a:lnTo>
                  <a:lnTo>
                    <a:pt x="258" y="148"/>
                  </a:lnTo>
                  <a:lnTo>
                    <a:pt x="268" y="156"/>
                  </a:lnTo>
                  <a:lnTo>
                    <a:pt x="274" y="177"/>
                  </a:lnTo>
                  <a:lnTo>
                    <a:pt x="280" y="184"/>
                  </a:lnTo>
                  <a:lnTo>
                    <a:pt x="297" y="214"/>
                  </a:lnTo>
                  <a:lnTo>
                    <a:pt x="334" y="249"/>
                  </a:lnTo>
                  <a:lnTo>
                    <a:pt x="356" y="257"/>
                  </a:lnTo>
                  <a:lnTo>
                    <a:pt x="354" y="272"/>
                  </a:lnTo>
                  <a:lnTo>
                    <a:pt x="361" y="285"/>
                  </a:lnTo>
                  <a:lnTo>
                    <a:pt x="382" y="299"/>
                  </a:lnTo>
                  <a:lnTo>
                    <a:pt x="395" y="317"/>
                  </a:lnTo>
                  <a:lnTo>
                    <a:pt x="407" y="317"/>
                  </a:lnTo>
                  <a:lnTo>
                    <a:pt x="422" y="333"/>
                  </a:lnTo>
                  <a:lnTo>
                    <a:pt x="412" y="356"/>
                  </a:lnTo>
                  <a:lnTo>
                    <a:pt x="418" y="373"/>
                  </a:lnTo>
                  <a:lnTo>
                    <a:pt x="433" y="368"/>
                  </a:lnTo>
                  <a:lnTo>
                    <a:pt x="433" y="382"/>
                  </a:lnTo>
                  <a:lnTo>
                    <a:pt x="455" y="392"/>
                  </a:lnTo>
                  <a:lnTo>
                    <a:pt x="463" y="390"/>
                  </a:lnTo>
                  <a:lnTo>
                    <a:pt x="480" y="405"/>
                  </a:lnTo>
                  <a:lnTo>
                    <a:pt x="481" y="426"/>
                  </a:lnTo>
                  <a:lnTo>
                    <a:pt x="526" y="460"/>
                  </a:lnTo>
                  <a:lnTo>
                    <a:pt x="531" y="473"/>
                  </a:lnTo>
                  <a:lnTo>
                    <a:pt x="537" y="477"/>
                  </a:lnTo>
                  <a:lnTo>
                    <a:pt x="551" y="498"/>
                  </a:lnTo>
                  <a:lnTo>
                    <a:pt x="583" y="526"/>
                  </a:lnTo>
                  <a:lnTo>
                    <a:pt x="590" y="558"/>
                  </a:lnTo>
                  <a:lnTo>
                    <a:pt x="597" y="565"/>
                  </a:lnTo>
                  <a:lnTo>
                    <a:pt x="607" y="590"/>
                  </a:lnTo>
                  <a:lnTo>
                    <a:pt x="605" y="602"/>
                  </a:lnTo>
                  <a:lnTo>
                    <a:pt x="597" y="612"/>
                  </a:lnTo>
                  <a:lnTo>
                    <a:pt x="603" y="624"/>
                  </a:lnTo>
                  <a:lnTo>
                    <a:pt x="586" y="634"/>
                  </a:lnTo>
                  <a:lnTo>
                    <a:pt x="597" y="661"/>
                  </a:lnTo>
                  <a:lnTo>
                    <a:pt x="627" y="688"/>
                  </a:lnTo>
                  <a:lnTo>
                    <a:pt x="647" y="693"/>
                  </a:lnTo>
                  <a:lnTo>
                    <a:pt x="668" y="709"/>
                  </a:lnTo>
                  <a:lnTo>
                    <a:pt x="688" y="734"/>
                  </a:lnTo>
                  <a:lnTo>
                    <a:pt x="739" y="749"/>
                  </a:lnTo>
                  <a:lnTo>
                    <a:pt x="756" y="751"/>
                  </a:lnTo>
                  <a:lnTo>
                    <a:pt x="803" y="786"/>
                  </a:lnTo>
                  <a:lnTo>
                    <a:pt x="894" y="819"/>
                  </a:lnTo>
                  <a:lnTo>
                    <a:pt x="902" y="817"/>
                  </a:lnTo>
                  <a:lnTo>
                    <a:pt x="930" y="837"/>
                  </a:lnTo>
                  <a:lnTo>
                    <a:pt x="958" y="848"/>
                  </a:lnTo>
                  <a:lnTo>
                    <a:pt x="981" y="849"/>
                  </a:lnTo>
                  <a:lnTo>
                    <a:pt x="1004" y="859"/>
                  </a:lnTo>
                  <a:lnTo>
                    <a:pt x="1021" y="859"/>
                  </a:lnTo>
                  <a:lnTo>
                    <a:pt x="1071" y="832"/>
                  </a:lnTo>
                  <a:lnTo>
                    <a:pt x="1100" y="835"/>
                  </a:lnTo>
                  <a:lnTo>
                    <a:pt x="1139" y="852"/>
                  </a:lnTo>
                  <a:lnTo>
                    <a:pt x="1199" y="908"/>
                  </a:lnTo>
                  <a:lnTo>
                    <a:pt x="1205" y="890"/>
                  </a:lnTo>
                  <a:lnTo>
                    <a:pt x="1203" y="883"/>
                  </a:lnTo>
                  <a:lnTo>
                    <a:pt x="1232" y="835"/>
                  </a:lnTo>
                  <a:lnTo>
                    <a:pt x="1278" y="834"/>
                  </a:lnTo>
                  <a:lnTo>
                    <a:pt x="1279" y="822"/>
                  </a:lnTo>
                  <a:lnTo>
                    <a:pt x="1265" y="803"/>
                  </a:lnTo>
                  <a:lnTo>
                    <a:pt x="1230" y="775"/>
                  </a:lnTo>
                  <a:lnTo>
                    <a:pt x="1259" y="775"/>
                  </a:lnTo>
                  <a:lnTo>
                    <a:pt x="1259" y="751"/>
                  </a:lnTo>
                  <a:lnTo>
                    <a:pt x="1303" y="751"/>
                  </a:lnTo>
                  <a:lnTo>
                    <a:pt x="1338" y="751"/>
                  </a:lnTo>
                  <a:lnTo>
                    <a:pt x="1354" y="749"/>
                  </a:lnTo>
                  <a:lnTo>
                    <a:pt x="1367" y="726"/>
                  </a:lnTo>
                  <a:lnTo>
                    <a:pt x="1375" y="724"/>
                  </a:lnTo>
                  <a:lnTo>
                    <a:pt x="1386" y="705"/>
                  </a:lnTo>
                  <a:lnTo>
                    <a:pt x="1391" y="707"/>
                  </a:lnTo>
                  <a:lnTo>
                    <a:pt x="1389" y="721"/>
                  </a:lnTo>
                  <a:lnTo>
                    <a:pt x="1396" y="724"/>
                  </a:lnTo>
                  <a:lnTo>
                    <a:pt x="1396" y="744"/>
                  </a:lnTo>
                  <a:lnTo>
                    <a:pt x="1400" y="741"/>
                  </a:lnTo>
                  <a:lnTo>
                    <a:pt x="1414" y="684"/>
                  </a:lnTo>
                  <a:lnTo>
                    <a:pt x="1408" y="676"/>
                  </a:lnTo>
                  <a:lnTo>
                    <a:pt x="1414" y="671"/>
                  </a:lnTo>
                  <a:lnTo>
                    <a:pt x="1414" y="667"/>
                  </a:lnTo>
                  <a:lnTo>
                    <a:pt x="1408" y="662"/>
                  </a:lnTo>
                  <a:lnTo>
                    <a:pt x="1426" y="624"/>
                  </a:lnTo>
                  <a:lnTo>
                    <a:pt x="1443" y="607"/>
                  </a:lnTo>
                  <a:lnTo>
                    <a:pt x="1447" y="590"/>
                  </a:lnTo>
                  <a:lnTo>
                    <a:pt x="1440" y="573"/>
                  </a:lnTo>
                  <a:lnTo>
                    <a:pt x="1414" y="569"/>
                  </a:lnTo>
                  <a:lnTo>
                    <a:pt x="1403" y="580"/>
                  </a:lnTo>
                  <a:lnTo>
                    <a:pt x="1403" y="569"/>
                  </a:lnTo>
                  <a:lnTo>
                    <a:pt x="1389" y="566"/>
                  </a:lnTo>
                  <a:lnTo>
                    <a:pt x="1352" y="578"/>
                  </a:lnTo>
                  <a:lnTo>
                    <a:pt x="1312" y="582"/>
                  </a:lnTo>
                  <a:lnTo>
                    <a:pt x="1284" y="594"/>
                  </a:lnTo>
                  <a:lnTo>
                    <a:pt x="1276" y="644"/>
                  </a:lnTo>
                  <a:lnTo>
                    <a:pt x="1262" y="681"/>
                  </a:lnTo>
                  <a:lnTo>
                    <a:pt x="1241" y="696"/>
                  </a:lnTo>
                  <a:lnTo>
                    <a:pt x="1242" y="712"/>
                  </a:lnTo>
                  <a:lnTo>
                    <a:pt x="1227" y="721"/>
                  </a:lnTo>
                  <a:lnTo>
                    <a:pt x="1215" y="721"/>
                  </a:lnTo>
                  <a:lnTo>
                    <a:pt x="1211" y="712"/>
                  </a:lnTo>
                  <a:lnTo>
                    <a:pt x="1190" y="710"/>
                  </a:lnTo>
                  <a:lnTo>
                    <a:pt x="1186" y="712"/>
                  </a:lnTo>
                  <a:lnTo>
                    <a:pt x="1165" y="721"/>
                  </a:lnTo>
                  <a:lnTo>
                    <a:pt x="1125" y="726"/>
                  </a:lnTo>
                  <a:lnTo>
                    <a:pt x="1106" y="735"/>
                  </a:lnTo>
                  <a:lnTo>
                    <a:pt x="1094" y="735"/>
                  </a:lnTo>
                  <a:lnTo>
                    <a:pt x="1071" y="713"/>
                  </a:lnTo>
                  <a:lnTo>
                    <a:pt x="1057" y="713"/>
                  </a:lnTo>
                  <a:lnTo>
                    <a:pt x="1037" y="704"/>
                  </a:lnTo>
                  <a:lnTo>
                    <a:pt x="1018" y="687"/>
                  </a:lnTo>
                  <a:lnTo>
                    <a:pt x="1004" y="650"/>
                  </a:lnTo>
                  <a:lnTo>
                    <a:pt x="981" y="622"/>
                  </a:lnTo>
                  <a:lnTo>
                    <a:pt x="969" y="602"/>
                  </a:lnTo>
                  <a:lnTo>
                    <a:pt x="966" y="594"/>
                  </a:lnTo>
                  <a:lnTo>
                    <a:pt x="971" y="583"/>
                  </a:lnTo>
                  <a:lnTo>
                    <a:pt x="969" y="574"/>
                  </a:lnTo>
                  <a:lnTo>
                    <a:pt x="954" y="558"/>
                  </a:lnTo>
                  <a:lnTo>
                    <a:pt x="947" y="541"/>
                  </a:lnTo>
                  <a:lnTo>
                    <a:pt x="950" y="481"/>
                  </a:lnTo>
                  <a:lnTo>
                    <a:pt x="942" y="418"/>
                  </a:lnTo>
                  <a:lnTo>
                    <a:pt x="953" y="402"/>
                  </a:lnTo>
                  <a:lnTo>
                    <a:pt x="954" y="385"/>
                  </a:lnTo>
                  <a:lnTo>
                    <a:pt x="969" y="384"/>
                  </a:lnTo>
                  <a:lnTo>
                    <a:pt x="975" y="376"/>
                  </a:lnTo>
                  <a:lnTo>
                    <a:pt x="978" y="363"/>
                  </a:lnTo>
                  <a:lnTo>
                    <a:pt x="969" y="371"/>
                  </a:lnTo>
                  <a:lnTo>
                    <a:pt x="975" y="356"/>
                  </a:lnTo>
                  <a:lnTo>
                    <a:pt x="976" y="354"/>
                  </a:lnTo>
                  <a:lnTo>
                    <a:pt x="961" y="356"/>
                  </a:lnTo>
                  <a:lnTo>
                    <a:pt x="945" y="348"/>
                  </a:lnTo>
                  <a:lnTo>
                    <a:pt x="922" y="346"/>
                  </a:lnTo>
                  <a:lnTo>
                    <a:pt x="899" y="337"/>
                  </a:lnTo>
                  <a:lnTo>
                    <a:pt x="885" y="329"/>
                  </a:lnTo>
                  <a:lnTo>
                    <a:pt x="869" y="308"/>
                  </a:lnTo>
                  <a:lnTo>
                    <a:pt x="857" y="266"/>
                  </a:lnTo>
                  <a:lnTo>
                    <a:pt x="842" y="257"/>
                  </a:lnTo>
                  <a:lnTo>
                    <a:pt x="835" y="241"/>
                  </a:lnTo>
                  <a:lnTo>
                    <a:pt x="822" y="228"/>
                  </a:lnTo>
                  <a:lnTo>
                    <a:pt x="805" y="189"/>
                  </a:lnTo>
                  <a:lnTo>
                    <a:pt x="778" y="160"/>
                  </a:lnTo>
                  <a:lnTo>
                    <a:pt x="769" y="152"/>
                  </a:lnTo>
                  <a:lnTo>
                    <a:pt x="724" y="150"/>
                  </a:lnTo>
                  <a:lnTo>
                    <a:pt x="713" y="155"/>
                  </a:lnTo>
                  <a:lnTo>
                    <a:pt x="692" y="198"/>
                  </a:lnTo>
                  <a:lnTo>
                    <a:pt x="673" y="192"/>
                  </a:lnTo>
                  <a:lnTo>
                    <a:pt x="636" y="167"/>
                  </a:lnTo>
                  <a:lnTo>
                    <a:pt x="624" y="150"/>
                  </a:lnTo>
                  <a:lnTo>
                    <a:pt x="611" y="108"/>
                  </a:lnTo>
                  <a:lnTo>
                    <a:pt x="586" y="93"/>
                  </a:lnTo>
                  <a:lnTo>
                    <a:pt x="563" y="67"/>
                  </a:lnTo>
                  <a:lnTo>
                    <a:pt x="552" y="62"/>
                  </a:lnTo>
                  <a:lnTo>
                    <a:pt x="548" y="51"/>
                  </a:lnTo>
                  <a:lnTo>
                    <a:pt x="534" y="45"/>
                  </a:lnTo>
                  <a:lnTo>
                    <a:pt x="498" y="45"/>
                  </a:lnTo>
                  <a:lnTo>
                    <a:pt x="459" y="45"/>
                  </a:lnTo>
                  <a:lnTo>
                    <a:pt x="458" y="70"/>
                  </a:lnTo>
                  <a:lnTo>
                    <a:pt x="382" y="70"/>
                  </a:lnTo>
                  <a:lnTo>
                    <a:pt x="334" y="70"/>
                  </a:lnTo>
                  <a:lnTo>
                    <a:pt x="268" y="45"/>
                  </a:lnTo>
                  <a:lnTo>
                    <a:pt x="202" y="21"/>
                  </a:lnTo>
                  <a:lnTo>
                    <a:pt x="158" y="4"/>
                  </a:lnTo>
                  <a:lnTo>
                    <a:pt x="158" y="0"/>
                  </a:lnTo>
                  <a:lnTo>
                    <a:pt x="126" y="3"/>
                  </a:lnTo>
                  <a:lnTo>
                    <a:pt x="92" y="6"/>
                  </a:lnTo>
                  <a:lnTo>
                    <a:pt x="53" y="8"/>
                  </a:lnTo>
                  <a:lnTo>
                    <a:pt x="79" y="46"/>
                  </a:lnTo>
                  <a:lnTo>
                    <a:pt x="79" y="60"/>
                  </a:lnTo>
                  <a:lnTo>
                    <a:pt x="102" y="99"/>
                  </a:lnTo>
                  <a:lnTo>
                    <a:pt x="109" y="124"/>
                  </a:lnTo>
                  <a:lnTo>
                    <a:pt x="114" y="122"/>
                  </a:lnTo>
                  <a:lnTo>
                    <a:pt x="122" y="156"/>
                  </a:lnTo>
                  <a:lnTo>
                    <a:pt x="148" y="175"/>
                  </a:lnTo>
                  <a:lnTo>
                    <a:pt x="155" y="175"/>
                  </a:lnTo>
                  <a:lnTo>
                    <a:pt x="197" y="224"/>
                  </a:lnTo>
                  <a:lnTo>
                    <a:pt x="198" y="248"/>
                  </a:lnTo>
                  <a:lnTo>
                    <a:pt x="192" y="252"/>
                  </a:lnTo>
                  <a:lnTo>
                    <a:pt x="193" y="260"/>
                  </a:lnTo>
                  <a:lnTo>
                    <a:pt x="187" y="257"/>
                  </a:lnTo>
                  <a:lnTo>
                    <a:pt x="173" y="261"/>
                  </a:lnTo>
                  <a:lnTo>
                    <a:pt x="155" y="260"/>
                  </a:lnTo>
                  <a:lnTo>
                    <a:pt x="155" y="265"/>
                  </a:lnTo>
                  <a:lnTo>
                    <a:pt x="159" y="265"/>
                  </a:lnTo>
                  <a:lnTo>
                    <a:pt x="176" y="275"/>
                  </a:lnTo>
                  <a:lnTo>
                    <a:pt x="181" y="289"/>
                  </a:lnTo>
                  <a:lnTo>
                    <a:pt x="197" y="294"/>
                  </a:lnTo>
                  <a:lnTo>
                    <a:pt x="221" y="312"/>
                  </a:lnTo>
                  <a:lnTo>
                    <a:pt x="231" y="314"/>
                  </a:lnTo>
                  <a:lnTo>
                    <a:pt x="241" y="303"/>
                  </a:lnTo>
                  <a:lnTo>
                    <a:pt x="244" y="319"/>
                  </a:lnTo>
                  <a:lnTo>
                    <a:pt x="254" y="333"/>
                  </a:lnTo>
                  <a:lnTo>
                    <a:pt x="275" y="342"/>
                  </a:lnTo>
                  <a:lnTo>
                    <a:pt x="286" y="365"/>
                  </a:lnTo>
                  <a:lnTo>
                    <a:pt x="288" y="390"/>
                  </a:lnTo>
                  <a:lnTo>
                    <a:pt x="282" y="416"/>
                  </a:lnTo>
                  <a:lnTo>
                    <a:pt x="286" y="410"/>
                  </a:lnTo>
                  <a:lnTo>
                    <a:pt x="288" y="416"/>
                  </a:lnTo>
                  <a:lnTo>
                    <a:pt x="299" y="418"/>
                  </a:lnTo>
                  <a:lnTo>
                    <a:pt x="302" y="426"/>
                  </a:lnTo>
                  <a:lnTo>
                    <a:pt x="311" y="427"/>
                  </a:lnTo>
                  <a:lnTo>
                    <a:pt x="319" y="439"/>
                  </a:lnTo>
                  <a:lnTo>
                    <a:pt x="363" y="472"/>
                  </a:lnTo>
                  <a:lnTo>
                    <a:pt x="373" y="481"/>
                  </a:lnTo>
                  <a:lnTo>
                    <a:pt x="385" y="509"/>
                  </a:lnTo>
                  <a:lnTo>
                    <a:pt x="405" y="495"/>
                  </a:lnTo>
                  <a:lnTo>
                    <a:pt x="410" y="483"/>
                  </a:lnTo>
                  <a:lnTo>
                    <a:pt x="407" y="477"/>
                  </a:lnTo>
                  <a:lnTo>
                    <a:pt x="393" y="455"/>
                  </a:lnTo>
                  <a:lnTo>
                    <a:pt x="375" y="439"/>
                  </a:lnTo>
                  <a:lnTo>
                    <a:pt x="367" y="446"/>
                  </a:lnTo>
                  <a:lnTo>
                    <a:pt x="358" y="439"/>
                  </a:lnTo>
                  <a:lnTo>
                    <a:pt x="351" y="424"/>
                  </a:lnTo>
                  <a:lnTo>
                    <a:pt x="351" y="410"/>
                  </a:lnTo>
                  <a:lnTo>
                    <a:pt x="341" y="393"/>
                  </a:lnTo>
                  <a:lnTo>
                    <a:pt x="341" y="379"/>
                  </a:lnTo>
                  <a:lnTo>
                    <a:pt x="325" y="363"/>
                  </a:lnTo>
                  <a:lnTo>
                    <a:pt x="322" y="339"/>
                  </a:lnTo>
                  <a:lnTo>
                    <a:pt x="312" y="317"/>
                  </a:lnTo>
                  <a:lnTo>
                    <a:pt x="300" y="311"/>
                  </a:lnTo>
                  <a:lnTo>
                    <a:pt x="305" y="325"/>
                  </a:lnTo>
                  <a:lnTo>
                    <a:pt x="299" y="319"/>
                  </a:lnTo>
                  <a:lnTo>
                    <a:pt x="294" y="300"/>
                  </a:lnTo>
                  <a:lnTo>
                    <a:pt x="283" y="292"/>
                  </a:lnTo>
                  <a:lnTo>
                    <a:pt x="278" y="275"/>
                  </a:lnTo>
                  <a:lnTo>
                    <a:pt x="261" y="258"/>
                  </a:lnTo>
                  <a:lnTo>
                    <a:pt x="254" y="229"/>
                  </a:lnTo>
                  <a:lnTo>
                    <a:pt x="246" y="224"/>
                  </a:lnTo>
                  <a:lnTo>
                    <a:pt x="238" y="206"/>
                  </a:lnTo>
                  <a:lnTo>
                    <a:pt x="226" y="203"/>
                  </a:lnTo>
                  <a:lnTo>
                    <a:pt x="217" y="182"/>
                  </a:lnTo>
                  <a:lnTo>
                    <a:pt x="192" y="158"/>
                  </a:lnTo>
                  <a:lnTo>
                    <a:pt x="185" y="158"/>
                  </a:lnTo>
                  <a:lnTo>
                    <a:pt x="173" y="136"/>
                  </a:lnTo>
                  <a:lnTo>
                    <a:pt x="168" y="96"/>
                  </a:lnTo>
                  <a:lnTo>
                    <a:pt x="163" y="84"/>
                  </a:lnTo>
                  <a:lnTo>
                    <a:pt x="159" y="45"/>
                  </a:lnTo>
                  <a:close/>
                  <a:moveTo>
                    <a:pt x="1450" y="619"/>
                  </a:moveTo>
                  <a:lnTo>
                    <a:pt x="1443" y="620"/>
                  </a:lnTo>
                  <a:lnTo>
                    <a:pt x="1439" y="633"/>
                  </a:lnTo>
                  <a:lnTo>
                    <a:pt x="1450" y="619"/>
                  </a:lnTo>
                  <a:close/>
                  <a:moveTo>
                    <a:pt x="269" y="195"/>
                  </a:moveTo>
                  <a:lnTo>
                    <a:pt x="271" y="187"/>
                  </a:lnTo>
                  <a:lnTo>
                    <a:pt x="277" y="189"/>
                  </a:lnTo>
                  <a:lnTo>
                    <a:pt x="280" y="209"/>
                  </a:lnTo>
                  <a:lnTo>
                    <a:pt x="269" y="207"/>
                  </a:lnTo>
                  <a:lnTo>
                    <a:pt x="269" y="195"/>
                  </a:lnTo>
                  <a:close/>
                  <a:moveTo>
                    <a:pt x="241" y="198"/>
                  </a:moveTo>
                  <a:lnTo>
                    <a:pt x="238" y="198"/>
                  </a:lnTo>
                  <a:lnTo>
                    <a:pt x="221" y="170"/>
                  </a:lnTo>
                  <a:lnTo>
                    <a:pt x="241" y="198"/>
                  </a:lnTo>
                  <a:close/>
                  <a:moveTo>
                    <a:pt x="0" y="198"/>
                  </a:moveTo>
                  <a:lnTo>
                    <a:pt x="2" y="190"/>
                  </a:lnTo>
                  <a:lnTo>
                    <a:pt x="3" y="206"/>
                  </a:lnTo>
                  <a:lnTo>
                    <a:pt x="0" y="198"/>
                  </a:lnTo>
                  <a:close/>
                  <a:moveTo>
                    <a:pt x="144" y="248"/>
                  </a:moveTo>
                  <a:lnTo>
                    <a:pt x="139" y="243"/>
                  </a:lnTo>
                  <a:lnTo>
                    <a:pt x="146" y="231"/>
                  </a:lnTo>
                  <a:lnTo>
                    <a:pt x="144" y="248"/>
                  </a:lnTo>
                  <a:close/>
                  <a:moveTo>
                    <a:pt x="964" y="387"/>
                  </a:moveTo>
                  <a:lnTo>
                    <a:pt x="967" y="396"/>
                  </a:lnTo>
                  <a:lnTo>
                    <a:pt x="962" y="401"/>
                  </a:lnTo>
                  <a:lnTo>
                    <a:pt x="961" y="393"/>
                  </a:lnTo>
                  <a:lnTo>
                    <a:pt x="964" y="387"/>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56" name="Freeform 185">
              <a:extLst>
                <a:ext uri="{FF2B5EF4-FFF2-40B4-BE49-F238E27FC236}">
                  <a16:creationId xmlns:a16="http://schemas.microsoft.com/office/drawing/2014/main" id="{387D8DBB-7DDB-0F4C-A9E2-52EA61605D5E}"/>
                </a:ext>
              </a:extLst>
            </p:cNvPr>
            <p:cNvSpPr>
              <a:spLocks noChangeAspect="1" noEditPoints="1"/>
            </p:cNvSpPr>
            <p:nvPr/>
          </p:nvSpPr>
          <p:spPr bwMode="gray">
            <a:xfrm>
              <a:off x="1462084" y="1432635"/>
              <a:ext cx="1986526" cy="1585900"/>
            </a:xfrm>
            <a:custGeom>
              <a:avLst/>
              <a:gdLst>
                <a:gd name="T0" fmla="*/ 2734 w 4073"/>
                <a:gd name="T1" fmla="*/ 2596 h 2696"/>
                <a:gd name="T2" fmla="*/ 2599 w 4073"/>
                <a:gd name="T3" fmla="*/ 2376 h 2696"/>
                <a:gd name="T4" fmla="*/ 1705 w 4073"/>
                <a:gd name="T5" fmla="*/ 2239 h 2696"/>
                <a:gd name="T6" fmla="*/ 744 w 4073"/>
                <a:gd name="T7" fmla="*/ 2138 h 2696"/>
                <a:gd name="T8" fmla="*/ 563 w 4073"/>
                <a:gd name="T9" fmla="*/ 1965 h 2696"/>
                <a:gd name="T10" fmla="*/ 404 w 4073"/>
                <a:gd name="T11" fmla="*/ 1728 h 2696"/>
                <a:gd name="T12" fmla="*/ 249 w 4073"/>
                <a:gd name="T13" fmla="*/ 1502 h 2696"/>
                <a:gd name="T14" fmla="*/ 0 w 4073"/>
                <a:gd name="T15" fmla="*/ 1163 h 2696"/>
                <a:gd name="T16" fmla="*/ 456 w 4073"/>
                <a:gd name="T17" fmla="*/ 267 h 2696"/>
                <a:gd name="T18" fmla="*/ 701 w 4073"/>
                <a:gd name="T19" fmla="*/ 340 h 2696"/>
                <a:gd name="T20" fmla="*/ 1244 w 4073"/>
                <a:gd name="T21" fmla="*/ 453 h 2696"/>
                <a:gd name="T22" fmla="*/ 1532 w 4073"/>
                <a:gd name="T23" fmla="*/ 641 h 2696"/>
                <a:gd name="T24" fmla="*/ 1533 w 4073"/>
                <a:gd name="T25" fmla="*/ 426 h 2696"/>
                <a:gd name="T26" fmla="*/ 1980 w 4073"/>
                <a:gd name="T27" fmla="*/ 529 h 2696"/>
                <a:gd name="T28" fmla="*/ 2136 w 4073"/>
                <a:gd name="T29" fmla="*/ 504 h 2696"/>
                <a:gd name="T30" fmla="*/ 2062 w 4073"/>
                <a:gd name="T31" fmla="*/ 109 h 2696"/>
                <a:gd name="T32" fmla="*/ 2313 w 4073"/>
                <a:gd name="T33" fmla="*/ 320 h 2696"/>
                <a:gd name="T34" fmla="*/ 2597 w 4073"/>
                <a:gd name="T35" fmla="*/ 382 h 2696"/>
                <a:gd name="T36" fmla="*/ 2667 w 4073"/>
                <a:gd name="T37" fmla="*/ 703 h 2696"/>
                <a:gd name="T38" fmla="*/ 2361 w 4073"/>
                <a:gd name="T39" fmla="*/ 973 h 2696"/>
                <a:gd name="T40" fmla="*/ 2191 w 4073"/>
                <a:gd name="T41" fmla="*/ 1177 h 2696"/>
                <a:gd name="T42" fmla="*/ 2539 w 4073"/>
                <a:gd name="T43" fmla="*/ 1734 h 2696"/>
                <a:gd name="T44" fmla="*/ 2890 w 4073"/>
                <a:gd name="T45" fmla="*/ 2000 h 2696"/>
                <a:gd name="T46" fmla="*/ 2913 w 4073"/>
                <a:gd name="T47" fmla="*/ 1296 h 2696"/>
                <a:gd name="T48" fmla="*/ 3190 w 4073"/>
                <a:gd name="T49" fmla="*/ 1222 h 2696"/>
                <a:gd name="T50" fmla="*/ 3369 w 4073"/>
                <a:gd name="T51" fmla="*/ 1508 h 2696"/>
                <a:gd name="T52" fmla="*/ 3574 w 4073"/>
                <a:gd name="T53" fmla="*/ 1428 h 2696"/>
                <a:gd name="T54" fmla="*/ 3660 w 4073"/>
                <a:gd name="T55" fmla="*/ 1683 h 2696"/>
                <a:gd name="T56" fmla="*/ 3701 w 4073"/>
                <a:gd name="T57" fmla="*/ 1881 h 2696"/>
                <a:gd name="T58" fmla="*/ 3789 w 4073"/>
                <a:gd name="T59" fmla="*/ 2088 h 2696"/>
                <a:gd name="T60" fmla="*/ 3498 w 4073"/>
                <a:gd name="T61" fmla="*/ 2300 h 2696"/>
                <a:gd name="T62" fmla="*/ 3552 w 4073"/>
                <a:gd name="T63" fmla="*/ 2539 h 2696"/>
                <a:gd name="T64" fmla="*/ 3391 w 4073"/>
                <a:gd name="T65" fmla="*/ 2486 h 2696"/>
                <a:gd name="T66" fmla="*/ 3550 w 4073"/>
                <a:gd name="T67" fmla="*/ 2404 h 2696"/>
                <a:gd name="T68" fmla="*/ 401 w 4073"/>
                <a:gd name="T69" fmla="*/ 1856 h 2696"/>
                <a:gd name="T70" fmla="*/ 397 w 4073"/>
                <a:gd name="T71" fmla="*/ 1754 h 2696"/>
                <a:gd name="T72" fmla="*/ 221 w 4073"/>
                <a:gd name="T73" fmla="*/ 1539 h 2696"/>
                <a:gd name="T74" fmla="*/ 322 w 4073"/>
                <a:gd name="T75" fmla="*/ 1683 h 2696"/>
                <a:gd name="T76" fmla="*/ 266 w 4073"/>
                <a:gd name="T77" fmla="*/ 1616 h 2696"/>
                <a:gd name="T78" fmla="*/ 812 w 4073"/>
                <a:gd name="T79" fmla="*/ 2259 h 2696"/>
                <a:gd name="T80" fmla="*/ 1841 w 4073"/>
                <a:gd name="T81" fmla="*/ 1358 h 2696"/>
                <a:gd name="T82" fmla="*/ 2684 w 4073"/>
                <a:gd name="T83" fmla="*/ 1138 h 2696"/>
                <a:gd name="T84" fmla="*/ 2878 w 4073"/>
                <a:gd name="T85" fmla="*/ 341 h 2696"/>
                <a:gd name="T86" fmla="*/ 2582 w 4073"/>
                <a:gd name="T87" fmla="*/ 129 h 2696"/>
                <a:gd name="T88" fmla="*/ 3322 w 4073"/>
                <a:gd name="T89" fmla="*/ 265 h 2696"/>
                <a:gd name="T90" fmla="*/ 3544 w 4073"/>
                <a:gd name="T91" fmla="*/ 611 h 2696"/>
                <a:gd name="T92" fmla="*/ 3393 w 4073"/>
                <a:gd name="T93" fmla="*/ 688 h 2696"/>
                <a:gd name="T94" fmla="*/ 3529 w 4073"/>
                <a:gd name="T95" fmla="*/ 1042 h 2696"/>
                <a:gd name="T96" fmla="*/ 3342 w 4073"/>
                <a:gd name="T97" fmla="*/ 1140 h 2696"/>
                <a:gd name="T98" fmla="*/ 3031 w 4073"/>
                <a:gd name="T99" fmla="*/ 918 h 2696"/>
                <a:gd name="T100" fmla="*/ 3054 w 4073"/>
                <a:gd name="T101" fmla="*/ 400 h 2696"/>
                <a:gd name="T102" fmla="*/ 2485 w 4073"/>
                <a:gd name="T103" fmla="*/ 219 h 2696"/>
                <a:gd name="T104" fmla="*/ 2717 w 4073"/>
                <a:gd name="T105" fmla="*/ 996 h 2696"/>
                <a:gd name="T106" fmla="*/ 1518 w 4073"/>
                <a:gd name="T107" fmla="*/ 24 h 2696"/>
                <a:gd name="T108" fmla="*/ 1757 w 4073"/>
                <a:gd name="T109" fmla="*/ 416 h 2696"/>
                <a:gd name="T110" fmla="*/ 1055 w 4073"/>
                <a:gd name="T111" fmla="*/ 67 h 2696"/>
                <a:gd name="T112" fmla="*/ 2115 w 4073"/>
                <a:gd name="T113" fmla="*/ 411 h 2696"/>
                <a:gd name="T114" fmla="*/ 1140 w 4073"/>
                <a:gd name="T115" fmla="*/ 1262 h 2696"/>
                <a:gd name="T116" fmla="*/ 3920 w 4073"/>
                <a:gd name="T117" fmla="*/ 2158 h 2696"/>
                <a:gd name="T118" fmla="*/ 3806 w 4073"/>
                <a:gd name="T119" fmla="*/ 2271 h 2696"/>
                <a:gd name="T120" fmla="*/ 4070 w 4073"/>
                <a:gd name="T121" fmla="*/ 2324 h 2696"/>
                <a:gd name="T122" fmla="*/ 3711 w 4073"/>
                <a:gd name="T123" fmla="*/ 2374 h 2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73" h="2696">
                  <a:moveTo>
                    <a:pt x="3056" y="2508"/>
                  </a:moveTo>
                  <a:lnTo>
                    <a:pt x="3044" y="2508"/>
                  </a:lnTo>
                  <a:lnTo>
                    <a:pt x="3015" y="2528"/>
                  </a:lnTo>
                  <a:lnTo>
                    <a:pt x="3000" y="2547"/>
                  </a:lnTo>
                  <a:lnTo>
                    <a:pt x="2956" y="2565"/>
                  </a:lnTo>
                  <a:lnTo>
                    <a:pt x="2955" y="2559"/>
                  </a:lnTo>
                  <a:lnTo>
                    <a:pt x="2942" y="2560"/>
                  </a:lnTo>
                  <a:lnTo>
                    <a:pt x="2953" y="2576"/>
                  </a:lnTo>
                  <a:lnTo>
                    <a:pt x="2927" y="2571"/>
                  </a:lnTo>
                  <a:lnTo>
                    <a:pt x="2902" y="2571"/>
                  </a:lnTo>
                  <a:lnTo>
                    <a:pt x="2853" y="2584"/>
                  </a:lnTo>
                  <a:lnTo>
                    <a:pt x="2824" y="2615"/>
                  </a:lnTo>
                  <a:lnTo>
                    <a:pt x="2842" y="2619"/>
                  </a:lnTo>
                  <a:lnTo>
                    <a:pt x="2851" y="2619"/>
                  </a:lnTo>
                  <a:lnTo>
                    <a:pt x="2859" y="2618"/>
                  </a:lnTo>
                  <a:lnTo>
                    <a:pt x="2868" y="2644"/>
                  </a:lnTo>
                  <a:lnTo>
                    <a:pt x="2849" y="2640"/>
                  </a:lnTo>
                  <a:lnTo>
                    <a:pt x="2829" y="2640"/>
                  </a:lnTo>
                  <a:lnTo>
                    <a:pt x="2803" y="2647"/>
                  </a:lnTo>
                  <a:lnTo>
                    <a:pt x="2790" y="2659"/>
                  </a:lnTo>
                  <a:lnTo>
                    <a:pt x="2763" y="2652"/>
                  </a:lnTo>
                  <a:lnTo>
                    <a:pt x="2743" y="2661"/>
                  </a:lnTo>
                  <a:lnTo>
                    <a:pt x="2732" y="2676"/>
                  </a:lnTo>
                  <a:lnTo>
                    <a:pt x="2721" y="2678"/>
                  </a:lnTo>
                  <a:lnTo>
                    <a:pt x="2702" y="2696"/>
                  </a:lnTo>
                  <a:lnTo>
                    <a:pt x="2670" y="2695"/>
                  </a:lnTo>
                  <a:lnTo>
                    <a:pt x="2672" y="2686"/>
                  </a:lnTo>
                  <a:lnTo>
                    <a:pt x="2680" y="2670"/>
                  </a:lnTo>
                  <a:lnTo>
                    <a:pt x="2690" y="2676"/>
                  </a:lnTo>
                  <a:lnTo>
                    <a:pt x="2700" y="2673"/>
                  </a:lnTo>
                  <a:lnTo>
                    <a:pt x="2702" y="2667"/>
                  </a:lnTo>
                  <a:lnTo>
                    <a:pt x="2697" y="2655"/>
                  </a:lnTo>
                  <a:lnTo>
                    <a:pt x="2704" y="2627"/>
                  </a:lnTo>
                  <a:lnTo>
                    <a:pt x="2710" y="2627"/>
                  </a:lnTo>
                  <a:lnTo>
                    <a:pt x="2731" y="2610"/>
                  </a:lnTo>
                  <a:lnTo>
                    <a:pt x="2734" y="2596"/>
                  </a:lnTo>
                  <a:lnTo>
                    <a:pt x="2732" y="2560"/>
                  </a:lnTo>
                  <a:lnTo>
                    <a:pt x="2751" y="2523"/>
                  </a:lnTo>
                  <a:lnTo>
                    <a:pt x="2748" y="2506"/>
                  </a:lnTo>
                  <a:lnTo>
                    <a:pt x="2738" y="2489"/>
                  </a:lnTo>
                  <a:lnTo>
                    <a:pt x="2752" y="2491"/>
                  </a:lnTo>
                  <a:lnTo>
                    <a:pt x="2760" y="2514"/>
                  </a:lnTo>
                  <a:lnTo>
                    <a:pt x="2768" y="2508"/>
                  </a:lnTo>
                  <a:lnTo>
                    <a:pt x="2766" y="2520"/>
                  </a:lnTo>
                  <a:lnTo>
                    <a:pt x="2769" y="2520"/>
                  </a:lnTo>
                  <a:lnTo>
                    <a:pt x="2771" y="2532"/>
                  </a:lnTo>
                  <a:lnTo>
                    <a:pt x="2780" y="2523"/>
                  </a:lnTo>
                  <a:lnTo>
                    <a:pt x="2788" y="2532"/>
                  </a:lnTo>
                  <a:lnTo>
                    <a:pt x="2811" y="2537"/>
                  </a:lnTo>
                  <a:lnTo>
                    <a:pt x="2814" y="2532"/>
                  </a:lnTo>
                  <a:lnTo>
                    <a:pt x="2811" y="2515"/>
                  </a:lnTo>
                  <a:lnTo>
                    <a:pt x="2829" y="2518"/>
                  </a:lnTo>
                  <a:lnTo>
                    <a:pt x="2829" y="2514"/>
                  </a:lnTo>
                  <a:lnTo>
                    <a:pt x="2812" y="2498"/>
                  </a:lnTo>
                  <a:lnTo>
                    <a:pt x="2812" y="2483"/>
                  </a:lnTo>
                  <a:lnTo>
                    <a:pt x="2802" y="2480"/>
                  </a:lnTo>
                  <a:lnTo>
                    <a:pt x="2790" y="2466"/>
                  </a:lnTo>
                  <a:lnTo>
                    <a:pt x="2785" y="2450"/>
                  </a:lnTo>
                  <a:lnTo>
                    <a:pt x="2777" y="2446"/>
                  </a:lnTo>
                  <a:lnTo>
                    <a:pt x="2743" y="2444"/>
                  </a:lnTo>
                  <a:lnTo>
                    <a:pt x="2741" y="2435"/>
                  </a:lnTo>
                  <a:lnTo>
                    <a:pt x="2687" y="2427"/>
                  </a:lnTo>
                  <a:lnTo>
                    <a:pt x="2673" y="2430"/>
                  </a:lnTo>
                  <a:lnTo>
                    <a:pt x="2639" y="2418"/>
                  </a:lnTo>
                  <a:lnTo>
                    <a:pt x="2624" y="2421"/>
                  </a:lnTo>
                  <a:lnTo>
                    <a:pt x="2614" y="2401"/>
                  </a:lnTo>
                  <a:lnTo>
                    <a:pt x="2613" y="2408"/>
                  </a:lnTo>
                  <a:lnTo>
                    <a:pt x="2605" y="2408"/>
                  </a:lnTo>
                  <a:lnTo>
                    <a:pt x="2607" y="2393"/>
                  </a:lnTo>
                  <a:lnTo>
                    <a:pt x="2604" y="2390"/>
                  </a:lnTo>
                  <a:lnTo>
                    <a:pt x="2608" y="2382"/>
                  </a:lnTo>
                  <a:lnTo>
                    <a:pt x="2599" y="2376"/>
                  </a:lnTo>
                  <a:lnTo>
                    <a:pt x="2596" y="2364"/>
                  </a:lnTo>
                  <a:lnTo>
                    <a:pt x="2599" y="2353"/>
                  </a:lnTo>
                  <a:lnTo>
                    <a:pt x="2583" y="2330"/>
                  </a:lnTo>
                  <a:lnTo>
                    <a:pt x="2588" y="2307"/>
                  </a:lnTo>
                  <a:lnTo>
                    <a:pt x="2550" y="2310"/>
                  </a:lnTo>
                  <a:lnTo>
                    <a:pt x="2539" y="2303"/>
                  </a:lnTo>
                  <a:lnTo>
                    <a:pt x="2519" y="2256"/>
                  </a:lnTo>
                  <a:lnTo>
                    <a:pt x="2486" y="2251"/>
                  </a:lnTo>
                  <a:lnTo>
                    <a:pt x="2486" y="2285"/>
                  </a:lnTo>
                  <a:lnTo>
                    <a:pt x="2472" y="2248"/>
                  </a:lnTo>
                  <a:lnTo>
                    <a:pt x="2443" y="2237"/>
                  </a:lnTo>
                  <a:lnTo>
                    <a:pt x="2438" y="2242"/>
                  </a:lnTo>
                  <a:lnTo>
                    <a:pt x="2438" y="2259"/>
                  </a:lnTo>
                  <a:lnTo>
                    <a:pt x="2426" y="2274"/>
                  </a:lnTo>
                  <a:lnTo>
                    <a:pt x="2421" y="2269"/>
                  </a:lnTo>
                  <a:lnTo>
                    <a:pt x="2426" y="2249"/>
                  </a:lnTo>
                  <a:lnTo>
                    <a:pt x="2412" y="2280"/>
                  </a:lnTo>
                  <a:lnTo>
                    <a:pt x="2406" y="2282"/>
                  </a:lnTo>
                  <a:lnTo>
                    <a:pt x="2406" y="2266"/>
                  </a:lnTo>
                  <a:lnTo>
                    <a:pt x="2384" y="2300"/>
                  </a:lnTo>
                  <a:lnTo>
                    <a:pt x="2365" y="2308"/>
                  </a:lnTo>
                  <a:lnTo>
                    <a:pt x="2314" y="2296"/>
                  </a:lnTo>
                  <a:lnTo>
                    <a:pt x="2288" y="2302"/>
                  </a:lnTo>
                  <a:lnTo>
                    <a:pt x="2225" y="2263"/>
                  </a:lnTo>
                  <a:lnTo>
                    <a:pt x="2187" y="2266"/>
                  </a:lnTo>
                  <a:lnTo>
                    <a:pt x="2163" y="2256"/>
                  </a:lnTo>
                  <a:lnTo>
                    <a:pt x="2143" y="2256"/>
                  </a:lnTo>
                  <a:lnTo>
                    <a:pt x="2124" y="2210"/>
                  </a:lnTo>
                  <a:lnTo>
                    <a:pt x="2115" y="2209"/>
                  </a:lnTo>
                  <a:lnTo>
                    <a:pt x="2115" y="2239"/>
                  </a:lnTo>
                  <a:lnTo>
                    <a:pt x="2018" y="2239"/>
                  </a:lnTo>
                  <a:lnTo>
                    <a:pt x="1960" y="2239"/>
                  </a:lnTo>
                  <a:lnTo>
                    <a:pt x="1891" y="2239"/>
                  </a:lnTo>
                  <a:lnTo>
                    <a:pt x="1828" y="2239"/>
                  </a:lnTo>
                  <a:lnTo>
                    <a:pt x="1765" y="2239"/>
                  </a:lnTo>
                  <a:lnTo>
                    <a:pt x="1705" y="2239"/>
                  </a:lnTo>
                  <a:lnTo>
                    <a:pt x="1652" y="2239"/>
                  </a:lnTo>
                  <a:lnTo>
                    <a:pt x="1570" y="2239"/>
                  </a:lnTo>
                  <a:lnTo>
                    <a:pt x="1496" y="2239"/>
                  </a:lnTo>
                  <a:lnTo>
                    <a:pt x="1428" y="2237"/>
                  </a:lnTo>
                  <a:lnTo>
                    <a:pt x="1371" y="2237"/>
                  </a:lnTo>
                  <a:lnTo>
                    <a:pt x="1301" y="2237"/>
                  </a:lnTo>
                  <a:lnTo>
                    <a:pt x="1242" y="2237"/>
                  </a:lnTo>
                  <a:lnTo>
                    <a:pt x="1195" y="2237"/>
                  </a:lnTo>
                  <a:lnTo>
                    <a:pt x="1151" y="2237"/>
                  </a:lnTo>
                  <a:lnTo>
                    <a:pt x="1105" y="2237"/>
                  </a:lnTo>
                  <a:lnTo>
                    <a:pt x="1051" y="2237"/>
                  </a:lnTo>
                  <a:lnTo>
                    <a:pt x="988" y="2237"/>
                  </a:lnTo>
                  <a:lnTo>
                    <a:pt x="930" y="2237"/>
                  </a:lnTo>
                  <a:lnTo>
                    <a:pt x="895" y="2237"/>
                  </a:lnTo>
                  <a:lnTo>
                    <a:pt x="843" y="2237"/>
                  </a:lnTo>
                  <a:lnTo>
                    <a:pt x="832" y="2232"/>
                  </a:lnTo>
                  <a:lnTo>
                    <a:pt x="832" y="2227"/>
                  </a:lnTo>
                  <a:lnTo>
                    <a:pt x="851" y="2223"/>
                  </a:lnTo>
                  <a:lnTo>
                    <a:pt x="851" y="2218"/>
                  </a:lnTo>
                  <a:lnTo>
                    <a:pt x="826" y="2217"/>
                  </a:lnTo>
                  <a:lnTo>
                    <a:pt x="826" y="2186"/>
                  </a:lnTo>
                  <a:lnTo>
                    <a:pt x="820" y="2184"/>
                  </a:lnTo>
                  <a:lnTo>
                    <a:pt x="809" y="2205"/>
                  </a:lnTo>
                  <a:lnTo>
                    <a:pt x="803" y="2203"/>
                  </a:lnTo>
                  <a:lnTo>
                    <a:pt x="803" y="2186"/>
                  </a:lnTo>
                  <a:lnTo>
                    <a:pt x="798" y="2186"/>
                  </a:lnTo>
                  <a:lnTo>
                    <a:pt x="789" y="2163"/>
                  </a:lnTo>
                  <a:lnTo>
                    <a:pt x="789" y="2175"/>
                  </a:lnTo>
                  <a:lnTo>
                    <a:pt x="783" y="2167"/>
                  </a:lnTo>
                  <a:lnTo>
                    <a:pt x="777" y="2178"/>
                  </a:lnTo>
                  <a:lnTo>
                    <a:pt x="766" y="2178"/>
                  </a:lnTo>
                  <a:lnTo>
                    <a:pt x="751" y="2163"/>
                  </a:lnTo>
                  <a:lnTo>
                    <a:pt x="749" y="2159"/>
                  </a:lnTo>
                  <a:lnTo>
                    <a:pt x="758" y="2150"/>
                  </a:lnTo>
                  <a:lnTo>
                    <a:pt x="756" y="2133"/>
                  </a:lnTo>
                  <a:lnTo>
                    <a:pt x="744" y="2138"/>
                  </a:lnTo>
                  <a:lnTo>
                    <a:pt x="739" y="2125"/>
                  </a:lnTo>
                  <a:lnTo>
                    <a:pt x="727" y="2130"/>
                  </a:lnTo>
                  <a:lnTo>
                    <a:pt x="709" y="2125"/>
                  </a:lnTo>
                  <a:lnTo>
                    <a:pt x="704" y="2130"/>
                  </a:lnTo>
                  <a:lnTo>
                    <a:pt x="676" y="2127"/>
                  </a:lnTo>
                  <a:lnTo>
                    <a:pt x="673" y="2124"/>
                  </a:lnTo>
                  <a:lnTo>
                    <a:pt x="696" y="2115"/>
                  </a:lnTo>
                  <a:lnTo>
                    <a:pt x="687" y="2113"/>
                  </a:lnTo>
                  <a:lnTo>
                    <a:pt x="688" y="2107"/>
                  </a:lnTo>
                  <a:lnTo>
                    <a:pt x="675" y="2102"/>
                  </a:lnTo>
                  <a:lnTo>
                    <a:pt x="685" y="2098"/>
                  </a:lnTo>
                  <a:lnTo>
                    <a:pt x="682" y="2093"/>
                  </a:lnTo>
                  <a:lnTo>
                    <a:pt x="668" y="2091"/>
                  </a:lnTo>
                  <a:lnTo>
                    <a:pt x="664" y="2098"/>
                  </a:lnTo>
                  <a:lnTo>
                    <a:pt x="644" y="2093"/>
                  </a:lnTo>
                  <a:lnTo>
                    <a:pt x="647" y="2100"/>
                  </a:lnTo>
                  <a:lnTo>
                    <a:pt x="641" y="2102"/>
                  </a:lnTo>
                  <a:lnTo>
                    <a:pt x="616" y="2083"/>
                  </a:lnTo>
                  <a:lnTo>
                    <a:pt x="614" y="2073"/>
                  </a:lnTo>
                  <a:lnTo>
                    <a:pt x="630" y="2070"/>
                  </a:lnTo>
                  <a:lnTo>
                    <a:pt x="614" y="2066"/>
                  </a:lnTo>
                  <a:lnTo>
                    <a:pt x="614" y="2062"/>
                  </a:lnTo>
                  <a:lnTo>
                    <a:pt x="636" y="2057"/>
                  </a:lnTo>
                  <a:lnTo>
                    <a:pt x="625" y="2053"/>
                  </a:lnTo>
                  <a:lnTo>
                    <a:pt x="631" y="2044"/>
                  </a:lnTo>
                  <a:lnTo>
                    <a:pt x="625" y="2036"/>
                  </a:lnTo>
                  <a:lnTo>
                    <a:pt x="617" y="2048"/>
                  </a:lnTo>
                  <a:lnTo>
                    <a:pt x="611" y="2048"/>
                  </a:lnTo>
                  <a:lnTo>
                    <a:pt x="611" y="2020"/>
                  </a:lnTo>
                  <a:lnTo>
                    <a:pt x="607" y="2017"/>
                  </a:lnTo>
                  <a:lnTo>
                    <a:pt x="608" y="2003"/>
                  </a:lnTo>
                  <a:lnTo>
                    <a:pt x="604" y="1986"/>
                  </a:lnTo>
                  <a:lnTo>
                    <a:pt x="588" y="1992"/>
                  </a:lnTo>
                  <a:lnTo>
                    <a:pt x="588" y="1978"/>
                  </a:lnTo>
                  <a:lnTo>
                    <a:pt x="566" y="1980"/>
                  </a:lnTo>
                  <a:lnTo>
                    <a:pt x="563" y="1965"/>
                  </a:lnTo>
                  <a:lnTo>
                    <a:pt x="548" y="1943"/>
                  </a:lnTo>
                  <a:lnTo>
                    <a:pt x="553" y="1929"/>
                  </a:lnTo>
                  <a:lnTo>
                    <a:pt x="553" y="1909"/>
                  </a:lnTo>
                  <a:lnTo>
                    <a:pt x="541" y="1910"/>
                  </a:lnTo>
                  <a:lnTo>
                    <a:pt x="506" y="1870"/>
                  </a:lnTo>
                  <a:lnTo>
                    <a:pt x="506" y="1859"/>
                  </a:lnTo>
                  <a:lnTo>
                    <a:pt x="512" y="1855"/>
                  </a:lnTo>
                  <a:lnTo>
                    <a:pt x="512" y="1850"/>
                  </a:lnTo>
                  <a:lnTo>
                    <a:pt x="497" y="1848"/>
                  </a:lnTo>
                  <a:lnTo>
                    <a:pt x="489" y="1834"/>
                  </a:lnTo>
                  <a:lnTo>
                    <a:pt x="489" y="1822"/>
                  </a:lnTo>
                  <a:lnTo>
                    <a:pt x="494" y="1813"/>
                  </a:lnTo>
                  <a:lnTo>
                    <a:pt x="506" y="1813"/>
                  </a:lnTo>
                  <a:lnTo>
                    <a:pt x="503" y="1804"/>
                  </a:lnTo>
                  <a:lnTo>
                    <a:pt x="507" y="1791"/>
                  </a:lnTo>
                  <a:lnTo>
                    <a:pt x="504" y="1783"/>
                  </a:lnTo>
                  <a:lnTo>
                    <a:pt x="507" y="1773"/>
                  </a:lnTo>
                  <a:lnTo>
                    <a:pt x="504" y="1782"/>
                  </a:lnTo>
                  <a:lnTo>
                    <a:pt x="497" y="1780"/>
                  </a:lnTo>
                  <a:lnTo>
                    <a:pt x="486" y="1796"/>
                  </a:lnTo>
                  <a:lnTo>
                    <a:pt x="475" y="1802"/>
                  </a:lnTo>
                  <a:lnTo>
                    <a:pt x="472" y="1796"/>
                  </a:lnTo>
                  <a:lnTo>
                    <a:pt x="467" y="1804"/>
                  </a:lnTo>
                  <a:lnTo>
                    <a:pt x="464" y="1785"/>
                  </a:lnTo>
                  <a:lnTo>
                    <a:pt x="483" y="1777"/>
                  </a:lnTo>
                  <a:lnTo>
                    <a:pt x="480" y="1760"/>
                  </a:lnTo>
                  <a:lnTo>
                    <a:pt x="469" y="1760"/>
                  </a:lnTo>
                  <a:lnTo>
                    <a:pt x="467" y="1728"/>
                  </a:lnTo>
                  <a:lnTo>
                    <a:pt x="455" y="1711"/>
                  </a:lnTo>
                  <a:lnTo>
                    <a:pt x="456" y="1695"/>
                  </a:lnTo>
                  <a:lnTo>
                    <a:pt x="441" y="1711"/>
                  </a:lnTo>
                  <a:lnTo>
                    <a:pt x="426" y="1714"/>
                  </a:lnTo>
                  <a:lnTo>
                    <a:pt x="422" y="1731"/>
                  </a:lnTo>
                  <a:lnTo>
                    <a:pt x="412" y="1745"/>
                  </a:lnTo>
                  <a:lnTo>
                    <a:pt x="409" y="1742"/>
                  </a:lnTo>
                  <a:lnTo>
                    <a:pt x="404" y="1728"/>
                  </a:lnTo>
                  <a:lnTo>
                    <a:pt x="412" y="1719"/>
                  </a:lnTo>
                  <a:lnTo>
                    <a:pt x="418" y="1694"/>
                  </a:lnTo>
                  <a:lnTo>
                    <a:pt x="436" y="1687"/>
                  </a:lnTo>
                  <a:lnTo>
                    <a:pt x="407" y="1672"/>
                  </a:lnTo>
                  <a:lnTo>
                    <a:pt x="402" y="1649"/>
                  </a:lnTo>
                  <a:lnTo>
                    <a:pt x="376" y="1632"/>
                  </a:lnTo>
                  <a:lnTo>
                    <a:pt x="368" y="1618"/>
                  </a:lnTo>
                  <a:lnTo>
                    <a:pt x="382" y="1629"/>
                  </a:lnTo>
                  <a:lnTo>
                    <a:pt x="379" y="1613"/>
                  </a:lnTo>
                  <a:lnTo>
                    <a:pt x="367" y="1616"/>
                  </a:lnTo>
                  <a:lnTo>
                    <a:pt x="348" y="1606"/>
                  </a:lnTo>
                  <a:lnTo>
                    <a:pt x="348" y="1599"/>
                  </a:lnTo>
                  <a:lnTo>
                    <a:pt x="364" y="1592"/>
                  </a:lnTo>
                  <a:lnTo>
                    <a:pt x="350" y="1590"/>
                  </a:lnTo>
                  <a:lnTo>
                    <a:pt x="347" y="1577"/>
                  </a:lnTo>
                  <a:lnTo>
                    <a:pt x="342" y="1573"/>
                  </a:lnTo>
                  <a:lnTo>
                    <a:pt x="342" y="1564"/>
                  </a:lnTo>
                  <a:lnTo>
                    <a:pt x="368" y="1581"/>
                  </a:lnTo>
                  <a:lnTo>
                    <a:pt x="345" y="1550"/>
                  </a:lnTo>
                  <a:lnTo>
                    <a:pt x="339" y="1543"/>
                  </a:lnTo>
                  <a:lnTo>
                    <a:pt x="336" y="1553"/>
                  </a:lnTo>
                  <a:lnTo>
                    <a:pt x="331" y="1538"/>
                  </a:lnTo>
                  <a:lnTo>
                    <a:pt x="336" y="1533"/>
                  </a:lnTo>
                  <a:lnTo>
                    <a:pt x="342" y="1519"/>
                  </a:lnTo>
                  <a:lnTo>
                    <a:pt x="326" y="1534"/>
                  </a:lnTo>
                  <a:lnTo>
                    <a:pt x="316" y="1514"/>
                  </a:lnTo>
                  <a:lnTo>
                    <a:pt x="285" y="1500"/>
                  </a:lnTo>
                  <a:lnTo>
                    <a:pt x="255" y="1412"/>
                  </a:lnTo>
                  <a:lnTo>
                    <a:pt x="251" y="1420"/>
                  </a:lnTo>
                  <a:lnTo>
                    <a:pt x="255" y="1435"/>
                  </a:lnTo>
                  <a:lnTo>
                    <a:pt x="251" y="1431"/>
                  </a:lnTo>
                  <a:lnTo>
                    <a:pt x="271" y="1497"/>
                  </a:lnTo>
                  <a:lnTo>
                    <a:pt x="266" y="1514"/>
                  </a:lnTo>
                  <a:lnTo>
                    <a:pt x="258" y="1516"/>
                  </a:lnTo>
                  <a:lnTo>
                    <a:pt x="249" y="1494"/>
                  </a:lnTo>
                  <a:lnTo>
                    <a:pt x="249" y="1502"/>
                  </a:lnTo>
                  <a:lnTo>
                    <a:pt x="235" y="1500"/>
                  </a:lnTo>
                  <a:lnTo>
                    <a:pt x="237" y="1485"/>
                  </a:lnTo>
                  <a:lnTo>
                    <a:pt x="224" y="1455"/>
                  </a:lnTo>
                  <a:lnTo>
                    <a:pt x="215" y="1469"/>
                  </a:lnTo>
                  <a:lnTo>
                    <a:pt x="201" y="1452"/>
                  </a:lnTo>
                  <a:lnTo>
                    <a:pt x="197" y="1457"/>
                  </a:lnTo>
                  <a:lnTo>
                    <a:pt x="186" y="1446"/>
                  </a:lnTo>
                  <a:lnTo>
                    <a:pt x="189" y="1452"/>
                  </a:lnTo>
                  <a:lnTo>
                    <a:pt x="182" y="1459"/>
                  </a:lnTo>
                  <a:lnTo>
                    <a:pt x="199" y="1463"/>
                  </a:lnTo>
                  <a:lnTo>
                    <a:pt x="223" y="1492"/>
                  </a:lnTo>
                  <a:lnTo>
                    <a:pt x="223" y="1505"/>
                  </a:lnTo>
                  <a:lnTo>
                    <a:pt x="206" y="1502"/>
                  </a:lnTo>
                  <a:lnTo>
                    <a:pt x="207" y="1511"/>
                  </a:lnTo>
                  <a:lnTo>
                    <a:pt x="199" y="1514"/>
                  </a:lnTo>
                  <a:lnTo>
                    <a:pt x="153" y="1485"/>
                  </a:lnTo>
                  <a:lnTo>
                    <a:pt x="158" y="1476"/>
                  </a:lnTo>
                  <a:lnTo>
                    <a:pt x="148" y="1477"/>
                  </a:lnTo>
                  <a:lnTo>
                    <a:pt x="126" y="1448"/>
                  </a:lnTo>
                  <a:lnTo>
                    <a:pt x="130" y="1420"/>
                  </a:lnTo>
                  <a:lnTo>
                    <a:pt x="133" y="1417"/>
                  </a:lnTo>
                  <a:lnTo>
                    <a:pt x="147" y="1401"/>
                  </a:lnTo>
                  <a:lnTo>
                    <a:pt x="133" y="1391"/>
                  </a:lnTo>
                  <a:lnTo>
                    <a:pt x="143" y="1401"/>
                  </a:lnTo>
                  <a:lnTo>
                    <a:pt x="128" y="1409"/>
                  </a:lnTo>
                  <a:lnTo>
                    <a:pt x="87" y="1358"/>
                  </a:lnTo>
                  <a:lnTo>
                    <a:pt x="82" y="1353"/>
                  </a:lnTo>
                  <a:lnTo>
                    <a:pt x="85" y="1330"/>
                  </a:lnTo>
                  <a:lnTo>
                    <a:pt x="57" y="1330"/>
                  </a:lnTo>
                  <a:lnTo>
                    <a:pt x="47" y="1344"/>
                  </a:lnTo>
                  <a:lnTo>
                    <a:pt x="30" y="1332"/>
                  </a:lnTo>
                  <a:lnTo>
                    <a:pt x="17" y="1341"/>
                  </a:lnTo>
                  <a:lnTo>
                    <a:pt x="0" y="1332"/>
                  </a:lnTo>
                  <a:lnTo>
                    <a:pt x="0" y="1276"/>
                  </a:lnTo>
                  <a:lnTo>
                    <a:pt x="0" y="1220"/>
                  </a:lnTo>
                  <a:lnTo>
                    <a:pt x="0" y="1163"/>
                  </a:lnTo>
                  <a:lnTo>
                    <a:pt x="0" y="1104"/>
                  </a:lnTo>
                  <a:lnTo>
                    <a:pt x="0" y="1044"/>
                  </a:lnTo>
                  <a:lnTo>
                    <a:pt x="0" y="983"/>
                  </a:lnTo>
                  <a:lnTo>
                    <a:pt x="0" y="922"/>
                  </a:lnTo>
                  <a:lnTo>
                    <a:pt x="0" y="858"/>
                  </a:lnTo>
                  <a:lnTo>
                    <a:pt x="0" y="793"/>
                  </a:lnTo>
                  <a:lnTo>
                    <a:pt x="0" y="727"/>
                  </a:lnTo>
                  <a:lnTo>
                    <a:pt x="0" y="660"/>
                  </a:lnTo>
                  <a:lnTo>
                    <a:pt x="0" y="589"/>
                  </a:lnTo>
                  <a:lnTo>
                    <a:pt x="0" y="518"/>
                  </a:lnTo>
                  <a:lnTo>
                    <a:pt x="0" y="445"/>
                  </a:lnTo>
                  <a:lnTo>
                    <a:pt x="0" y="370"/>
                  </a:lnTo>
                  <a:lnTo>
                    <a:pt x="0" y="292"/>
                  </a:lnTo>
                  <a:lnTo>
                    <a:pt x="77" y="311"/>
                  </a:lnTo>
                  <a:lnTo>
                    <a:pt x="111" y="355"/>
                  </a:lnTo>
                  <a:lnTo>
                    <a:pt x="123" y="353"/>
                  </a:lnTo>
                  <a:lnTo>
                    <a:pt x="161" y="394"/>
                  </a:lnTo>
                  <a:lnTo>
                    <a:pt x="214" y="397"/>
                  </a:lnTo>
                  <a:lnTo>
                    <a:pt x="209" y="402"/>
                  </a:lnTo>
                  <a:lnTo>
                    <a:pt x="232" y="403"/>
                  </a:lnTo>
                  <a:lnTo>
                    <a:pt x="260" y="429"/>
                  </a:lnTo>
                  <a:lnTo>
                    <a:pt x="271" y="429"/>
                  </a:lnTo>
                  <a:lnTo>
                    <a:pt x="254" y="400"/>
                  </a:lnTo>
                  <a:lnTo>
                    <a:pt x="287" y="402"/>
                  </a:lnTo>
                  <a:lnTo>
                    <a:pt x="314" y="443"/>
                  </a:lnTo>
                  <a:lnTo>
                    <a:pt x="319" y="436"/>
                  </a:lnTo>
                  <a:lnTo>
                    <a:pt x="316" y="420"/>
                  </a:lnTo>
                  <a:lnTo>
                    <a:pt x="294" y="378"/>
                  </a:lnTo>
                  <a:lnTo>
                    <a:pt x="330" y="343"/>
                  </a:lnTo>
                  <a:lnTo>
                    <a:pt x="364" y="332"/>
                  </a:lnTo>
                  <a:lnTo>
                    <a:pt x="370" y="324"/>
                  </a:lnTo>
                  <a:lnTo>
                    <a:pt x="370" y="307"/>
                  </a:lnTo>
                  <a:lnTo>
                    <a:pt x="390" y="290"/>
                  </a:lnTo>
                  <a:lnTo>
                    <a:pt x="407" y="294"/>
                  </a:lnTo>
                  <a:lnTo>
                    <a:pt x="441" y="262"/>
                  </a:lnTo>
                  <a:lnTo>
                    <a:pt x="456" y="267"/>
                  </a:lnTo>
                  <a:lnTo>
                    <a:pt x="467" y="244"/>
                  </a:lnTo>
                  <a:lnTo>
                    <a:pt x="483" y="233"/>
                  </a:lnTo>
                  <a:lnTo>
                    <a:pt x="503" y="245"/>
                  </a:lnTo>
                  <a:lnTo>
                    <a:pt x="523" y="222"/>
                  </a:lnTo>
                  <a:lnTo>
                    <a:pt x="532" y="247"/>
                  </a:lnTo>
                  <a:lnTo>
                    <a:pt x="524" y="258"/>
                  </a:lnTo>
                  <a:lnTo>
                    <a:pt x="461" y="314"/>
                  </a:lnTo>
                  <a:lnTo>
                    <a:pt x="421" y="320"/>
                  </a:lnTo>
                  <a:lnTo>
                    <a:pt x="387" y="365"/>
                  </a:lnTo>
                  <a:lnTo>
                    <a:pt x="382" y="357"/>
                  </a:lnTo>
                  <a:lnTo>
                    <a:pt x="372" y="372"/>
                  </a:lnTo>
                  <a:lnTo>
                    <a:pt x="372" y="380"/>
                  </a:lnTo>
                  <a:lnTo>
                    <a:pt x="379" y="378"/>
                  </a:lnTo>
                  <a:lnTo>
                    <a:pt x="407" y="363"/>
                  </a:lnTo>
                  <a:lnTo>
                    <a:pt x="424" y="343"/>
                  </a:lnTo>
                  <a:lnTo>
                    <a:pt x="424" y="335"/>
                  </a:lnTo>
                  <a:lnTo>
                    <a:pt x="436" y="331"/>
                  </a:lnTo>
                  <a:lnTo>
                    <a:pt x="435" y="343"/>
                  </a:lnTo>
                  <a:lnTo>
                    <a:pt x="441" y="332"/>
                  </a:lnTo>
                  <a:lnTo>
                    <a:pt x="443" y="341"/>
                  </a:lnTo>
                  <a:lnTo>
                    <a:pt x="458" y="324"/>
                  </a:lnTo>
                  <a:lnTo>
                    <a:pt x="461" y="329"/>
                  </a:lnTo>
                  <a:lnTo>
                    <a:pt x="458" y="360"/>
                  </a:lnTo>
                  <a:lnTo>
                    <a:pt x="490" y="298"/>
                  </a:lnTo>
                  <a:lnTo>
                    <a:pt x="558" y="260"/>
                  </a:lnTo>
                  <a:lnTo>
                    <a:pt x="557" y="275"/>
                  </a:lnTo>
                  <a:lnTo>
                    <a:pt x="546" y="294"/>
                  </a:lnTo>
                  <a:lnTo>
                    <a:pt x="582" y="262"/>
                  </a:lnTo>
                  <a:lnTo>
                    <a:pt x="587" y="239"/>
                  </a:lnTo>
                  <a:lnTo>
                    <a:pt x="616" y="224"/>
                  </a:lnTo>
                  <a:lnTo>
                    <a:pt x="597" y="214"/>
                  </a:lnTo>
                  <a:lnTo>
                    <a:pt x="588" y="201"/>
                  </a:lnTo>
                  <a:lnTo>
                    <a:pt x="597" y="182"/>
                  </a:lnTo>
                  <a:lnTo>
                    <a:pt x="633" y="214"/>
                  </a:lnTo>
                  <a:lnTo>
                    <a:pt x="664" y="306"/>
                  </a:lnTo>
                  <a:lnTo>
                    <a:pt x="701" y="340"/>
                  </a:lnTo>
                  <a:lnTo>
                    <a:pt x="707" y="331"/>
                  </a:lnTo>
                  <a:lnTo>
                    <a:pt x="730" y="318"/>
                  </a:lnTo>
                  <a:lnTo>
                    <a:pt x="718" y="304"/>
                  </a:lnTo>
                  <a:lnTo>
                    <a:pt x="732" y="294"/>
                  </a:lnTo>
                  <a:lnTo>
                    <a:pt x="729" y="284"/>
                  </a:lnTo>
                  <a:lnTo>
                    <a:pt x="734" y="265"/>
                  </a:lnTo>
                  <a:lnTo>
                    <a:pt x="730" y="255"/>
                  </a:lnTo>
                  <a:lnTo>
                    <a:pt x="746" y="248"/>
                  </a:lnTo>
                  <a:lnTo>
                    <a:pt x="752" y="260"/>
                  </a:lnTo>
                  <a:lnTo>
                    <a:pt x="763" y="252"/>
                  </a:lnTo>
                  <a:lnTo>
                    <a:pt x="751" y="239"/>
                  </a:lnTo>
                  <a:lnTo>
                    <a:pt x="764" y="238"/>
                  </a:lnTo>
                  <a:lnTo>
                    <a:pt x="766" y="248"/>
                  </a:lnTo>
                  <a:lnTo>
                    <a:pt x="763" y="292"/>
                  </a:lnTo>
                  <a:lnTo>
                    <a:pt x="783" y="294"/>
                  </a:lnTo>
                  <a:lnTo>
                    <a:pt x="761" y="326"/>
                  </a:lnTo>
                  <a:lnTo>
                    <a:pt x="761" y="340"/>
                  </a:lnTo>
                  <a:lnTo>
                    <a:pt x="792" y="341"/>
                  </a:lnTo>
                  <a:lnTo>
                    <a:pt x="811" y="335"/>
                  </a:lnTo>
                  <a:lnTo>
                    <a:pt x="820" y="320"/>
                  </a:lnTo>
                  <a:lnTo>
                    <a:pt x="828" y="282"/>
                  </a:lnTo>
                  <a:lnTo>
                    <a:pt x="887" y="282"/>
                  </a:lnTo>
                  <a:lnTo>
                    <a:pt x="933" y="307"/>
                  </a:lnTo>
                  <a:lnTo>
                    <a:pt x="947" y="329"/>
                  </a:lnTo>
                  <a:lnTo>
                    <a:pt x="1029" y="357"/>
                  </a:lnTo>
                  <a:lnTo>
                    <a:pt x="1078" y="392"/>
                  </a:lnTo>
                  <a:lnTo>
                    <a:pt x="1144" y="399"/>
                  </a:lnTo>
                  <a:lnTo>
                    <a:pt x="1153" y="409"/>
                  </a:lnTo>
                  <a:lnTo>
                    <a:pt x="1156" y="402"/>
                  </a:lnTo>
                  <a:lnTo>
                    <a:pt x="1140" y="389"/>
                  </a:lnTo>
                  <a:lnTo>
                    <a:pt x="1190" y="392"/>
                  </a:lnTo>
                  <a:lnTo>
                    <a:pt x="1198" y="409"/>
                  </a:lnTo>
                  <a:lnTo>
                    <a:pt x="1207" y="406"/>
                  </a:lnTo>
                  <a:lnTo>
                    <a:pt x="1237" y="443"/>
                  </a:lnTo>
                  <a:lnTo>
                    <a:pt x="1237" y="462"/>
                  </a:lnTo>
                  <a:lnTo>
                    <a:pt x="1244" y="453"/>
                  </a:lnTo>
                  <a:lnTo>
                    <a:pt x="1244" y="475"/>
                  </a:lnTo>
                  <a:lnTo>
                    <a:pt x="1198" y="475"/>
                  </a:lnTo>
                  <a:lnTo>
                    <a:pt x="1185" y="485"/>
                  </a:lnTo>
                  <a:lnTo>
                    <a:pt x="1185" y="507"/>
                  </a:lnTo>
                  <a:lnTo>
                    <a:pt x="1173" y="516"/>
                  </a:lnTo>
                  <a:lnTo>
                    <a:pt x="1196" y="529"/>
                  </a:lnTo>
                  <a:lnTo>
                    <a:pt x="1211" y="539"/>
                  </a:lnTo>
                  <a:lnTo>
                    <a:pt x="1346" y="544"/>
                  </a:lnTo>
                  <a:lnTo>
                    <a:pt x="1347" y="535"/>
                  </a:lnTo>
                  <a:lnTo>
                    <a:pt x="1366" y="539"/>
                  </a:lnTo>
                  <a:lnTo>
                    <a:pt x="1369" y="526"/>
                  </a:lnTo>
                  <a:lnTo>
                    <a:pt x="1380" y="522"/>
                  </a:lnTo>
                  <a:lnTo>
                    <a:pt x="1377" y="539"/>
                  </a:lnTo>
                  <a:lnTo>
                    <a:pt x="1386" y="539"/>
                  </a:lnTo>
                  <a:lnTo>
                    <a:pt x="1427" y="505"/>
                  </a:lnTo>
                  <a:lnTo>
                    <a:pt x="1434" y="516"/>
                  </a:lnTo>
                  <a:lnTo>
                    <a:pt x="1430" y="522"/>
                  </a:lnTo>
                  <a:lnTo>
                    <a:pt x="1439" y="521"/>
                  </a:lnTo>
                  <a:lnTo>
                    <a:pt x="1444" y="533"/>
                  </a:lnTo>
                  <a:lnTo>
                    <a:pt x="1440" y="539"/>
                  </a:lnTo>
                  <a:lnTo>
                    <a:pt x="1478" y="539"/>
                  </a:lnTo>
                  <a:lnTo>
                    <a:pt x="1476" y="555"/>
                  </a:lnTo>
                  <a:lnTo>
                    <a:pt x="1481" y="563"/>
                  </a:lnTo>
                  <a:lnTo>
                    <a:pt x="1478" y="573"/>
                  </a:lnTo>
                  <a:lnTo>
                    <a:pt x="1482" y="580"/>
                  </a:lnTo>
                  <a:lnTo>
                    <a:pt x="1490" y="553"/>
                  </a:lnTo>
                  <a:lnTo>
                    <a:pt x="1496" y="563"/>
                  </a:lnTo>
                  <a:lnTo>
                    <a:pt x="1494" y="580"/>
                  </a:lnTo>
                  <a:lnTo>
                    <a:pt x="1505" y="577"/>
                  </a:lnTo>
                  <a:lnTo>
                    <a:pt x="1511" y="590"/>
                  </a:lnTo>
                  <a:lnTo>
                    <a:pt x="1518" y="590"/>
                  </a:lnTo>
                  <a:lnTo>
                    <a:pt x="1528" y="614"/>
                  </a:lnTo>
                  <a:lnTo>
                    <a:pt x="1502" y="620"/>
                  </a:lnTo>
                  <a:lnTo>
                    <a:pt x="1516" y="644"/>
                  </a:lnTo>
                  <a:lnTo>
                    <a:pt x="1530" y="658"/>
                  </a:lnTo>
                  <a:lnTo>
                    <a:pt x="1532" y="641"/>
                  </a:lnTo>
                  <a:lnTo>
                    <a:pt x="1558" y="637"/>
                  </a:lnTo>
                  <a:lnTo>
                    <a:pt x="1549" y="623"/>
                  </a:lnTo>
                  <a:lnTo>
                    <a:pt x="1558" y="615"/>
                  </a:lnTo>
                  <a:lnTo>
                    <a:pt x="1549" y="614"/>
                  </a:lnTo>
                  <a:lnTo>
                    <a:pt x="1533" y="581"/>
                  </a:lnTo>
                  <a:lnTo>
                    <a:pt x="1536" y="563"/>
                  </a:lnTo>
                  <a:lnTo>
                    <a:pt x="1533" y="553"/>
                  </a:lnTo>
                  <a:lnTo>
                    <a:pt x="1518" y="539"/>
                  </a:lnTo>
                  <a:lnTo>
                    <a:pt x="1536" y="518"/>
                  </a:lnTo>
                  <a:lnTo>
                    <a:pt x="1530" y="514"/>
                  </a:lnTo>
                  <a:lnTo>
                    <a:pt x="1535" y="502"/>
                  </a:lnTo>
                  <a:lnTo>
                    <a:pt x="1595" y="482"/>
                  </a:lnTo>
                  <a:lnTo>
                    <a:pt x="1592" y="468"/>
                  </a:lnTo>
                  <a:lnTo>
                    <a:pt x="1600" y="475"/>
                  </a:lnTo>
                  <a:lnTo>
                    <a:pt x="1608" y="456"/>
                  </a:lnTo>
                  <a:lnTo>
                    <a:pt x="1606" y="448"/>
                  </a:lnTo>
                  <a:lnTo>
                    <a:pt x="1618" y="443"/>
                  </a:lnTo>
                  <a:lnTo>
                    <a:pt x="1613" y="442"/>
                  </a:lnTo>
                  <a:lnTo>
                    <a:pt x="1620" y="426"/>
                  </a:lnTo>
                  <a:lnTo>
                    <a:pt x="1584" y="436"/>
                  </a:lnTo>
                  <a:lnTo>
                    <a:pt x="1591" y="446"/>
                  </a:lnTo>
                  <a:lnTo>
                    <a:pt x="1578" y="448"/>
                  </a:lnTo>
                  <a:lnTo>
                    <a:pt x="1583" y="462"/>
                  </a:lnTo>
                  <a:lnTo>
                    <a:pt x="1583" y="475"/>
                  </a:lnTo>
                  <a:lnTo>
                    <a:pt x="1576" y="462"/>
                  </a:lnTo>
                  <a:lnTo>
                    <a:pt x="1558" y="473"/>
                  </a:lnTo>
                  <a:lnTo>
                    <a:pt x="1541" y="463"/>
                  </a:lnTo>
                  <a:lnTo>
                    <a:pt x="1524" y="471"/>
                  </a:lnTo>
                  <a:lnTo>
                    <a:pt x="1536" y="485"/>
                  </a:lnTo>
                  <a:lnTo>
                    <a:pt x="1522" y="492"/>
                  </a:lnTo>
                  <a:lnTo>
                    <a:pt x="1499" y="487"/>
                  </a:lnTo>
                  <a:lnTo>
                    <a:pt x="1494" y="480"/>
                  </a:lnTo>
                  <a:lnTo>
                    <a:pt x="1485" y="479"/>
                  </a:lnTo>
                  <a:lnTo>
                    <a:pt x="1484" y="465"/>
                  </a:lnTo>
                  <a:lnTo>
                    <a:pt x="1507" y="429"/>
                  </a:lnTo>
                  <a:lnTo>
                    <a:pt x="1533" y="426"/>
                  </a:lnTo>
                  <a:lnTo>
                    <a:pt x="1604" y="386"/>
                  </a:lnTo>
                  <a:lnTo>
                    <a:pt x="1635" y="417"/>
                  </a:lnTo>
                  <a:lnTo>
                    <a:pt x="1628" y="422"/>
                  </a:lnTo>
                  <a:lnTo>
                    <a:pt x="1643" y="448"/>
                  </a:lnTo>
                  <a:lnTo>
                    <a:pt x="1632" y="453"/>
                  </a:lnTo>
                  <a:lnTo>
                    <a:pt x="1674" y="480"/>
                  </a:lnTo>
                  <a:lnTo>
                    <a:pt x="1674" y="497"/>
                  </a:lnTo>
                  <a:lnTo>
                    <a:pt x="1708" y="504"/>
                  </a:lnTo>
                  <a:lnTo>
                    <a:pt x="1714" y="507"/>
                  </a:lnTo>
                  <a:lnTo>
                    <a:pt x="1714" y="499"/>
                  </a:lnTo>
                  <a:lnTo>
                    <a:pt x="1725" y="496"/>
                  </a:lnTo>
                  <a:lnTo>
                    <a:pt x="1725" y="487"/>
                  </a:lnTo>
                  <a:lnTo>
                    <a:pt x="1740" y="493"/>
                  </a:lnTo>
                  <a:lnTo>
                    <a:pt x="1740" y="507"/>
                  </a:lnTo>
                  <a:lnTo>
                    <a:pt x="1765" y="539"/>
                  </a:lnTo>
                  <a:lnTo>
                    <a:pt x="1784" y="550"/>
                  </a:lnTo>
                  <a:lnTo>
                    <a:pt x="1799" y="539"/>
                  </a:lnTo>
                  <a:lnTo>
                    <a:pt x="1819" y="547"/>
                  </a:lnTo>
                  <a:lnTo>
                    <a:pt x="1836" y="539"/>
                  </a:lnTo>
                  <a:lnTo>
                    <a:pt x="1853" y="544"/>
                  </a:lnTo>
                  <a:lnTo>
                    <a:pt x="1875" y="527"/>
                  </a:lnTo>
                  <a:lnTo>
                    <a:pt x="1914" y="530"/>
                  </a:lnTo>
                  <a:lnTo>
                    <a:pt x="1935" y="544"/>
                  </a:lnTo>
                  <a:lnTo>
                    <a:pt x="1965" y="539"/>
                  </a:lnTo>
                  <a:lnTo>
                    <a:pt x="1951" y="507"/>
                  </a:lnTo>
                  <a:lnTo>
                    <a:pt x="1959" y="502"/>
                  </a:lnTo>
                  <a:lnTo>
                    <a:pt x="1977" y="539"/>
                  </a:lnTo>
                  <a:lnTo>
                    <a:pt x="2014" y="556"/>
                  </a:lnTo>
                  <a:lnTo>
                    <a:pt x="2023" y="547"/>
                  </a:lnTo>
                  <a:lnTo>
                    <a:pt x="2021" y="518"/>
                  </a:lnTo>
                  <a:lnTo>
                    <a:pt x="2010" y="524"/>
                  </a:lnTo>
                  <a:lnTo>
                    <a:pt x="2006" y="512"/>
                  </a:lnTo>
                  <a:lnTo>
                    <a:pt x="1988" y="514"/>
                  </a:lnTo>
                  <a:lnTo>
                    <a:pt x="1984" y="522"/>
                  </a:lnTo>
                  <a:lnTo>
                    <a:pt x="1988" y="533"/>
                  </a:lnTo>
                  <a:lnTo>
                    <a:pt x="1980" y="529"/>
                  </a:lnTo>
                  <a:lnTo>
                    <a:pt x="1963" y="496"/>
                  </a:lnTo>
                  <a:lnTo>
                    <a:pt x="1971" y="499"/>
                  </a:lnTo>
                  <a:lnTo>
                    <a:pt x="1971" y="487"/>
                  </a:lnTo>
                  <a:lnTo>
                    <a:pt x="1952" y="462"/>
                  </a:lnTo>
                  <a:lnTo>
                    <a:pt x="1963" y="470"/>
                  </a:lnTo>
                  <a:lnTo>
                    <a:pt x="1967" y="462"/>
                  </a:lnTo>
                  <a:lnTo>
                    <a:pt x="1997" y="463"/>
                  </a:lnTo>
                  <a:lnTo>
                    <a:pt x="1982" y="445"/>
                  </a:lnTo>
                  <a:lnTo>
                    <a:pt x="1989" y="442"/>
                  </a:lnTo>
                  <a:lnTo>
                    <a:pt x="2010" y="462"/>
                  </a:lnTo>
                  <a:lnTo>
                    <a:pt x="2006" y="448"/>
                  </a:lnTo>
                  <a:lnTo>
                    <a:pt x="2018" y="450"/>
                  </a:lnTo>
                  <a:lnTo>
                    <a:pt x="2036" y="468"/>
                  </a:lnTo>
                  <a:lnTo>
                    <a:pt x="2031" y="475"/>
                  </a:lnTo>
                  <a:lnTo>
                    <a:pt x="2051" y="471"/>
                  </a:lnTo>
                  <a:lnTo>
                    <a:pt x="2042" y="502"/>
                  </a:lnTo>
                  <a:lnTo>
                    <a:pt x="2045" y="507"/>
                  </a:lnTo>
                  <a:lnTo>
                    <a:pt x="2055" y="509"/>
                  </a:lnTo>
                  <a:lnTo>
                    <a:pt x="2055" y="492"/>
                  </a:lnTo>
                  <a:lnTo>
                    <a:pt x="2076" y="480"/>
                  </a:lnTo>
                  <a:lnTo>
                    <a:pt x="2073" y="512"/>
                  </a:lnTo>
                  <a:lnTo>
                    <a:pt x="2068" y="539"/>
                  </a:lnTo>
                  <a:lnTo>
                    <a:pt x="2073" y="553"/>
                  </a:lnTo>
                  <a:lnTo>
                    <a:pt x="2059" y="563"/>
                  </a:lnTo>
                  <a:lnTo>
                    <a:pt x="2062" y="577"/>
                  </a:lnTo>
                  <a:lnTo>
                    <a:pt x="2073" y="577"/>
                  </a:lnTo>
                  <a:lnTo>
                    <a:pt x="2073" y="597"/>
                  </a:lnTo>
                  <a:lnTo>
                    <a:pt x="2099" y="581"/>
                  </a:lnTo>
                  <a:lnTo>
                    <a:pt x="2094" y="595"/>
                  </a:lnTo>
                  <a:lnTo>
                    <a:pt x="2106" y="604"/>
                  </a:lnTo>
                  <a:lnTo>
                    <a:pt x="2110" y="590"/>
                  </a:lnTo>
                  <a:lnTo>
                    <a:pt x="2107" y="563"/>
                  </a:lnTo>
                  <a:lnTo>
                    <a:pt x="2092" y="544"/>
                  </a:lnTo>
                  <a:lnTo>
                    <a:pt x="2099" y="512"/>
                  </a:lnTo>
                  <a:lnTo>
                    <a:pt x="2094" y="501"/>
                  </a:lnTo>
                  <a:lnTo>
                    <a:pt x="2136" y="504"/>
                  </a:lnTo>
                  <a:lnTo>
                    <a:pt x="2155" y="482"/>
                  </a:lnTo>
                  <a:lnTo>
                    <a:pt x="2161" y="462"/>
                  </a:lnTo>
                  <a:lnTo>
                    <a:pt x="2189" y="436"/>
                  </a:lnTo>
                  <a:lnTo>
                    <a:pt x="2180" y="433"/>
                  </a:lnTo>
                  <a:lnTo>
                    <a:pt x="2177" y="391"/>
                  </a:lnTo>
                  <a:lnTo>
                    <a:pt x="2167" y="385"/>
                  </a:lnTo>
                  <a:lnTo>
                    <a:pt x="2163" y="406"/>
                  </a:lnTo>
                  <a:lnTo>
                    <a:pt x="2172" y="397"/>
                  </a:lnTo>
                  <a:lnTo>
                    <a:pt x="2161" y="417"/>
                  </a:lnTo>
                  <a:lnTo>
                    <a:pt x="2135" y="420"/>
                  </a:lnTo>
                  <a:lnTo>
                    <a:pt x="2140" y="394"/>
                  </a:lnTo>
                  <a:lnTo>
                    <a:pt x="2150" y="392"/>
                  </a:lnTo>
                  <a:lnTo>
                    <a:pt x="2155" y="375"/>
                  </a:lnTo>
                  <a:lnTo>
                    <a:pt x="2150" y="368"/>
                  </a:lnTo>
                  <a:lnTo>
                    <a:pt x="2158" y="341"/>
                  </a:lnTo>
                  <a:lnTo>
                    <a:pt x="2177" y="332"/>
                  </a:lnTo>
                  <a:lnTo>
                    <a:pt x="2172" y="358"/>
                  </a:lnTo>
                  <a:lnTo>
                    <a:pt x="2182" y="352"/>
                  </a:lnTo>
                  <a:lnTo>
                    <a:pt x="2186" y="338"/>
                  </a:lnTo>
                  <a:lnTo>
                    <a:pt x="2182" y="321"/>
                  </a:lnTo>
                  <a:lnTo>
                    <a:pt x="2150" y="329"/>
                  </a:lnTo>
                  <a:lnTo>
                    <a:pt x="2133" y="303"/>
                  </a:lnTo>
                  <a:lnTo>
                    <a:pt x="2130" y="314"/>
                  </a:lnTo>
                  <a:lnTo>
                    <a:pt x="2109" y="298"/>
                  </a:lnTo>
                  <a:lnTo>
                    <a:pt x="2107" y="287"/>
                  </a:lnTo>
                  <a:lnTo>
                    <a:pt x="2073" y="281"/>
                  </a:lnTo>
                  <a:lnTo>
                    <a:pt x="2070" y="275"/>
                  </a:lnTo>
                  <a:lnTo>
                    <a:pt x="2073" y="269"/>
                  </a:lnTo>
                  <a:lnTo>
                    <a:pt x="2050" y="245"/>
                  </a:lnTo>
                  <a:lnTo>
                    <a:pt x="2048" y="202"/>
                  </a:lnTo>
                  <a:lnTo>
                    <a:pt x="2065" y="177"/>
                  </a:lnTo>
                  <a:lnTo>
                    <a:pt x="2070" y="182"/>
                  </a:lnTo>
                  <a:lnTo>
                    <a:pt x="2073" y="165"/>
                  </a:lnTo>
                  <a:lnTo>
                    <a:pt x="2070" y="170"/>
                  </a:lnTo>
                  <a:lnTo>
                    <a:pt x="2055" y="142"/>
                  </a:lnTo>
                  <a:lnTo>
                    <a:pt x="2062" y="109"/>
                  </a:lnTo>
                  <a:lnTo>
                    <a:pt x="2062" y="80"/>
                  </a:lnTo>
                  <a:lnTo>
                    <a:pt x="2077" y="64"/>
                  </a:lnTo>
                  <a:lnTo>
                    <a:pt x="2096" y="83"/>
                  </a:lnTo>
                  <a:lnTo>
                    <a:pt x="2098" y="52"/>
                  </a:lnTo>
                  <a:lnTo>
                    <a:pt x="2085" y="35"/>
                  </a:lnTo>
                  <a:lnTo>
                    <a:pt x="2104" y="0"/>
                  </a:lnTo>
                  <a:lnTo>
                    <a:pt x="2142" y="0"/>
                  </a:lnTo>
                  <a:lnTo>
                    <a:pt x="2141" y="4"/>
                  </a:lnTo>
                  <a:lnTo>
                    <a:pt x="2149" y="4"/>
                  </a:lnTo>
                  <a:lnTo>
                    <a:pt x="2150" y="20"/>
                  </a:lnTo>
                  <a:lnTo>
                    <a:pt x="2160" y="6"/>
                  </a:lnTo>
                  <a:lnTo>
                    <a:pt x="2167" y="16"/>
                  </a:lnTo>
                  <a:lnTo>
                    <a:pt x="2182" y="10"/>
                  </a:lnTo>
                  <a:lnTo>
                    <a:pt x="2178" y="32"/>
                  </a:lnTo>
                  <a:lnTo>
                    <a:pt x="2182" y="41"/>
                  </a:lnTo>
                  <a:lnTo>
                    <a:pt x="2212" y="75"/>
                  </a:lnTo>
                  <a:lnTo>
                    <a:pt x="2217" y="103"/>
                  </a:lnTo>
                  <a:lnTo>
                    <a:pt x="2216" y="145"/>
                  </a:lnTo>
                  <a:lnTo>
                    <a:pt x="2225" y="148"/>
                  </a:lnTo>
                  <a:lnTo>
                    <a:pt x="2228" y="165"/>
                  </a:lnTo>
                  <a:lnTo>
                    <a:pt x="2246" y="172"/>
                  </a:lnTo>
                  <a:lnTo>
                    <a:pt x="2259" y="218"/>
                  </a:lnTo>
                  <a:lnTo>
                    <a:pt x="2265" y="210"/>
                  </a:lnTo>
                  <a:lnTo>
                    <a:pt x="2282" y="238"/>
                  </a:lnTo>
                  <a:lnTo>
                    <a:pt x="2242" y="233"/>
                  </a:lnTo>
                  <a:lnTo>
                    <a:pt x="2238" y="245"/>
                  </a:lnTo>
                  <a:lnTo>
                    <a:pt x="2262" y="260"/>
                  </a:lnTo>
                  <a:lnTo>
                    <a:pt x="2234" y="278"/>
                  </a:lnTo>
                  <a:lnTo>
                    <a:pt x="2228" y="290"/>
                  </a:lnTo>
                  <a:lnTo>
                    <a:pt x="2228" y="299"/>
                  </a:lnTo>
                  <a:lnTo>
                    <a:pt x="2245" y="299"/>
                  </a:lnTo>
                  <a:lnTo>
                    <a:pt x="2265" y="323"/>
                  </a:lnTo>
                  <a:lnTo>
                    <a:pt x="2291" y="306"/>
                  </a:lnTo>
                  <a:lnTo>
                    <a:pt x="2287" y="320"/>
                  </a:lnTo>
                  <a:lnTo>
                    <a:pt x="2309" y="328"/>
                  </a:lnTo>
                  <a:lnTo>
                    <a:pt x="2313" y="320"/>
                  </a:lnTo>
                  <a:lnTo>
                    <a:pt x="2314" y="332"/>
                  </a:lnTo>
                  <a:lnTo>
                    <a:pt x="2307" y="348"/>
                  </a:lnTo>
                  <a:lnTo>
                    <a:pt x="2288" y="341"/>
                  </a:lnTo>
                  <a:lnTo>
                    <a:pt x="2316" y="374"/>
                  </a:lnTo>
                  <a:lnTo>
                    <a:pt x="2333" y="411"/>
                  </a:lnTo>
                  <a:lnTo>
                    <a:pt x="2325" y="448"/>
                  </a:lnTo>
                  <a:lnTo>
                    <a:pt x="2338" y="475"/>
                  </a:lnTo>
                  <a:lnTo>
                    <a:pt x="2345" y="468"/>
                  </a:lnTo>
                  <a:lnTo>
                    <a:pt x="2353" y="448"/>
                  </a:lnTo>
                  <a:lnTo>
                    <a:pt x="2355" y="426"/>
                  </a:lnTo>
                  <a:lnTo>
                    <a:pt x="2359" y="426"/>
                  </a:lnTo>
                  <a:lnTo>
                    <a:pt x="2359" y="382"/>
                  </a:lnTo>
                  <a:lnTo>
                    <a:pt x="2376" y="355"/>
                  </a:lnTo>
                  <a:lnTo>
                    <a:pt x="2398" y="352"/>
                  </a:lnTo>
                  <a:lnTo>
                    <a:pt x="2412" y="382"/>
                  </a:lnTo>
                  <a:lnTo>
                    <a:pt x="2436" y="403"/>
                  </a:lnTo>
                  <a:lnTo>
                    <a:pt x="2452" y="476"/>
                  </a:lnTo>
                  <a:lnTo>
                    <a:pt x="2436" y="480"/>
                  </a:lnTo>
                  <a:lnTo>
                    <a:pt x="2435" y="462"/>
                  </a:lnTo>
                  <a:lnTo>
                    <a:pt x="2426" y="482"/>
                  </a:lnTo>
                  <a:lnTo>
                    <a:pt x="2427" y="496"/>
                  </a:lnTo>
                  <a:lnTo>
                    <a:pt x="2426" y="518"/>
                  </a:lnTo>
                  <a:lnTo>
                    <a:pt x="2475" y="606"/>
                  </a:lnTo>
                  <a:lnTo>
                    <a:pt x="2485" y="600"/>
                  </a:lnTo>
                  <a:lnTo>
                    <a:pt x="2489" y="586"/>
                  </a:lnTo>
                  <a:lnTo>
                    <a:pt x="2509" y="586"/>
                  </a:lnTo>
                  <a:lnTo>
                    <a:pt x="2514" y="544"/>
                  </a:lnTo>
                  <a:lnTo>
                    <a:pt x="2531" y="516"/>
                  </a:lnTo>
                  <a:lnTo>
                    <a:pt x="2546" y="470"/>
                  </a:lnTo>
                  <a:lnTo>
                    <a:pt x="2548" y="431"/>
                  </a:lnTo>
                  <a:lnTo>
                    <a:pt x="2565" y="417"/>
                  </a:lnTo>
                  <a:lnTo>
                    <a:pt x="2597" y="417"/>
                  </a:lnTo>
                  <a:lnTo>
                    <a:pt x="2577" y="406"/>
                  </a:lnTo>
                  <a:lnTo>
                    <a:pt x="2585" y="389"/>
                  </a:lnTo>
                  <a:lnTo>
                    <a:pt x="2599" y="389"/>
                  </a:lnTo>
                  <a:lnTo>
                    <a:pt x="2597" y="382"/>
                  </a:lnTo>
                  <a:lnTo>
                    <a:pt x="2573" y="370"/>
                  </a:lnTo>
                  <a:lnTo>
                    <a:pt x="2563" y="349"/>
                  </a:lnTo>
                  <a:lnTo>
                    <a:pt x="2565" y="338"/>
                  </a:lnTo>
                  <a:lnTo>
                    <a:pt x="2560" y="303"/>
                  </a:lnTo>
                  <a:lnTo>
                    <a:pt x="2563" y="282"/>
                  </a:lnTo>
                  <a:lnTo>
                    <a:pt x="2605" y="277"/>
                  </a:lnTo>
                  <a:lnTo>
                    <a:pt x="2650" y="301"/>
                  </a:lnTo>
                  <a:lnTo>
                    <a:pt x="2692" y="295"/>
                  </a:lnTo>
                  <a:lnTo>
                    <a:pt x="2697" y="324"/>
                  </a:lnTo>
                  <a:lnTo>
                    <a:pt x="2690" y="328"/>
                  </a:lnTo>
                  <a:lnTo>
                    <a:pt x="2706" y="341"/>
                  </a:lnTo>
                  <a:lnTo>
                    <a:pt x="2712" y="353"/>
                  </a:lnTo>
                  <a:lnTo>
                    <a:pt x="2709" y="358"/>
                  </a:lnTo>
                  <a:lnTo>
                    <a:pt x="2734" y="358"/>
                  </a:lnTo>
                  <a:lnTo>
                    <a:pt x="2752" y="374"/>
                  </a:lnTo>
                  <a:lnTo>
                    <a:pt x="2726" y="406"/>
                  </a:lnTo>
                  <a:lnTo>
                    <a:pt x="2751" y="411"/>
                  </a:lnTo>
                  <a:lnTo>
                    <a:pt x="2757" y="433"/>
                  </a:lnTo>
                  <a:lnTo>
                    <a:pt x="2727" y="463"/>
                  </a:lnTo>
                  <a:lnTo>
                    <a:pt x="2718" y="446"/>
                  </a:lnTo>
                  <a:lnTo>
                    <a:pt x="2698" y="448"/>
                  </a:lnTo>
                  <a:lnTo>
                    <a:pt x="2697" y="456"/>
                  </a:lnTo>
                  <a:lnTo>
                    <a:pt x="2709" y="473"/>
                  </a:lnTo>
                  <a:lnTo>
                    <a:pt x="2704" y="480"/>
                  </a:lnTo>
                  <a:lnTo>
                    <a:pt x="2710" y="480"/>
                  </a:lnTo>
                  <a:lnTo>
                    <a:pt x="2709" y="493"/>
                  </a:lnTo>
                  <a:lnTo>
                    <a:pt x="2724" y="487"/>
                  </a:lnTo>
                  <a:lnTo>
                    <a:pt x="2718" y="526"/>
                  </a:lnTo>
                  <a:lnTo>
                    <a:pt x="2754" y="577"/>
                  </a:lnTo>
                  <a:lnTo>
                    <a:pt x="2751" y="587"/>
                  </a:lnTo>
                  <a:lnTo>
                    <a:pt x="2754" y="607"/>
                  </a:lnTo>
                  <a:lnTo>
                    <a:pt x="2749" y="620"/>
                  </a:lnTo>
                  <a:lnTo>
                    <a:pt x="2732" y="631"/>
                  </a:lnTo>
                  <a:lnTo>
                    <a:pt x="2693" y="680"/>
                  </a:lnTo>
                  <a:lnTo>
                    <a:pt x="2678" y="685"/>
                  </a:lnTo>
                  <a:lnTo>
                    <a:pt x="2667" y="703"/>
                  </a:lnTo>
                  <a:lnTo>
                    <a:pt x="2629" y="666"/>
                  </a:lnTo>
                  <a:lnTo>
                    <a:pt x="2624" y="674"/>
                  </a:lnTo>
                  <a:lnTo>
                    <a:pt x="2624" y="682"/>
                  </a:lnTo>
                  <a:lnTo>
                    <a:pt x="2634" y="697"/>
                  </a:lnTo>
                  <a:lnTo>
                    <a:pt x="2641" y="727"/>
                  </a:lnTo>
                  <a:lnTo>
                    <a:pt x="2610" y="703"/>
                  </a:lnTo>
                  <a:lnTo>
                    <a:pt x="2607" y="703"/>
                  </a:lnTo>
                  <a:lnTo>
                    <a:pt x="2607" y="724"/>
                  </a:lnTo>
                  <a:lnTo>
                    <a:pt x="2577" y="717"/>
                  </a:lnTo>
                  <a:lnTo>
                    <a:pt x="2568" y="682"/>
                  </a:lnTo>
                  <a:lnTo>
                    <a:pt x="2546" y="691"/>
                  </a:lnTo>
                  <a:lnTo>
                    <a:pt x="2516" y="682"/>
                  </a:lnTo>
                  <a:lnTo>
                    <a:pt x="2503" y="697"/>
                  </a:lnTo>
                  <a:lnTo>
                    <a:pt x="2508" y="705"/>
                  </a:lnTo>
                  <a:lnTo>
                    <a:pt x="2534" y="716"/>
                  </a:lnTo>
                  <a:lnTo>
                    <a:pt x="2537" y="724"/>
                  </a:lnTo>
                  <a:lnTo>
                    <a:pt x="2536" y="739"/>
                  </a:lnTo>
                  <a:lnTo>
                    <a:pt x="2486" y="817"/>
                  </a:lnTo>
                  <a:lnTo>
                    <a:pt x="2446" y="821"/>
                  </a:lnTo>
                  <a:lnTo>
                    <a:pt x="2412" y="781"/>
                  </a:lnTo>
                  <a:lnTo>
                    <a:pt x="2376" y="761"/>
                  </a:lnTo>
                  <a:lnTo>
                    <a:pt x="2350" y="758"/>
                  </a:lnTo>
                  <a:lnTo>
                    <a:pt x="2347" y="768"/>
                  </a:lnTo>
                  <a:lnTo>
                    <a:pt x="2361" y="778"/>
                  </a:lnTo>
                  <a:lnTo>
                    <a:pt x="2398" y="821"/>
                  </a:lnTo>
                  <a:lnTo>
                    <a:pt x="2497" y="835"/>
                  </a:lnTo>
                  <a:lnTo>
                    <a:pt x="2491" y="861"/>
                  </a:lnTo>
                  <a:lnTo>
                    <a:pt x="2465" y="906"/>
                  </a:lnTo>
                  <a:lnTo>
                    <a:pt x="2455" y="912"/>
                  </a:lnTo>
                  <a:lnTo>
                    <a:pt x="2455" y="923"/>
                  </a:lnTo>
                  <a:lnTo>
                    <a:pt x="2441" y="948"/>
                  </a:lnTo>
                  <a:lnTo>
                    <a:pt x="2416" y="966"/>
                  </a:lnTo>
                  <a:lnTo>
                    <a:pt x="2398" y="960"/>
                  </a:lnTo>
                  <a:lnTo>
                    <a:pt x="2395" y="968"/>
                  </a:lnTo>
                  <a:lnTo>
                    <a:pt x="2359" y="949"/>
                  </a:lnTo>
                  <a:lnTo>
                    <a:pt x="2361" y="973"/>
                  </a:lnTo>
                  <a:lnTo>
                    <a:pt x="2351" y="968"/>
                  </a:lnTo>
                  <a:lnTo>
                    <a:pt x="2351" y="977"/>
                  </a:lnTo>
                  <a:lnTo>
                    <a:pt x="2355" y="985"/>
                  </a:lnTo>
                  <a:lnTo>
                    <a:pt x="2350" y="999"/>
                  </a:lnTo>
                  <a:lnTo>
                    <a:pt x="2324" y="1019"/>
                  </a:lnTo>
                  <a:lnTo>
                    <a:pt x="2285" y="994"/>
                  </a:lnTo>
                  <a:lnTo>
                    <a:pt x="2284" y="983"/>
                  </a:lnTo>
                  <a:lnTo>
                    <a:pt x="2253" y="991"/>
                  </a:lnTo>
                  <a:lnTo>
                    <a:pt x="2194" y="962"/>
                  </a:lnTo>
                  <a:lnTo>
                    <a:pt x="2187" y="973"/>
                  </a:lnTo>
                  <a:lnTo>
                    <a:pt x="2195" y="983"/>
                  </a:lnTo>
                  <a:lnTo>
                    <a:pt x="2203" y="979"/>
                  </a:lnTo>
                  <a:lnTo>
                    <a:pt x="2200" y="971"/>
                  </a:lnTo>
                  <a:lnTo>
                    <a:pt x="2233" y="986"/>
                  </a:lnTo>
                  <a:lnTo>
                    <a:pt x="2234" y="996"/>
                  </a:lnTo>
                  <a:lnTo>
                    <a:pt x="2240" y="990"/>
                  </a:lnTo>
                  <a:lnTo>
                    <a:pt x="2257" y="994"/>
                  </a:lnTo>
                  <a:lnTo>
                    <a:pt x="2248" y="1010"/>
                  </a:lnTo>
                  <a:lnTo>
                    <a:pt x="2271" y="996"/>
                  </a:lnTo>
                  <a:lnTo>
                    <a:pt x="2304" y="1022"/>
                  </a:lnTo>
                  <a:lnTo>
                    <a:pt x="2313" y="1020"/>
                  </a:lnTo>
                  <a:lnTo>
                    <a:pt x="2321" y="1041"/>
                  </a:lnTo>
                  <a:lnTo>
                    <a:pt x="2324" y="1069"/>
                  </a:lnTo>
                  <a:lnTo>
                    <a:pt x="2319" y="1079"/>
                  </a:lnTo>
                  <a:lnTo>
                    <a:pt x="2287" y="1089"/>
                  </a:lnTo>
                  <a:lnTo>
                    <a:pt x="2242" y="1087"/>
                  </a:lnTo>
                  <a:lnTo>
                    <a:pt x="2238" y="1093"/>
                  </a:lnTo>
                  <a:lnTo>
                    <a:pt x="2246" y="1106"/>
                  </a:lnTo>
                  <a:lnTo>
                    <a:pt x="2262" y="1112"/>
                  </a:lnTo>
                  <a:lnTo>
                    <a:pt x="2233" y="1113"/>
                  </a:lnTo>
                  <a:lnTo>
                    <a:pt x="2229" y="1138"/>
                  </a:lnTo>
                  <a:lnTo>
                    <a:pt x="2234" y="1164"/>
                  </a:lnTo>
                  <a:lnTo>
                    <a:pt x="2221" y="1147"/>
                  </a:lnTo>
                  <a:lnTo>
                    <a:pt x="2214" y="1151"/>
                  </a:lnTo>
                  <a:lnTo>
                    <a:pt x="2204" y="1177"/>
                  </a:lnTo>
                  <a:lnTo>
                    <a:pt x="2191" y="1177"/>
                  </a:lnTo>
                  <a:lnTo>
                    <a:pt x="2197" y="1189"/>
                  </a:lnTo>
                  <a:lnTo>
                    <a:pt x="2191" y="1205"/>
                  </a:lnTo>
                  <a:lnTo>
                    <a:pt x="2167" y="1225"/>
                  </a:lnTo>
                  <a:lnTo>
                    <a:pt x="2141" y="1230"/>
                  </a:lnTo>
                  <a:lnTo>
                    <a:pt x="2160" y="1250"/>
                  </a:lnTo>
                  <a:lnTo>
                    <a:pt x="2153" y="1276"/>
                  </a:lnTo>
                  <a:lnTo>
                    <a:pt x="2144" y="1279"/>
                  </a:lnTo>
                  <a:lnTo>
                    <a:pt x="2143" y="1310"/>
                  </a:lnTo>
                  <a:lnTo>
                    <a:pt x="2135" y="1315"/>
                  </a:lnTo>
                  <a:lnTo>
                    <a:pt x="2135" y="1358"/>
                  </a:lnTo>
                  <a:lnTo>
                    <a:pt x="2132" y="1431"/>
                  </a:lnTo>
                  <a:lnTo>
                    <a:pt x="2124" y="1446"/>
                  </a:lnTo>
                  <a:lnTo>
                    <a:pt x="2132" y="1448"/>
                  </a:lnTo>
                  <a:lnTo>
                    <a:pt x="2146" y="1472"/>
                  </a:lnTo>
                  <a:lnTo>
                    <a:pt x="2152" y="1469"/>
                  </a:lnTo>
                  <a:lnTo>
                    <a:pt x="2155" y="1492"/>
                  </a:lnTo>
                  <a:lnTo>
                    <a:pt x="2160" y="1469"/>
                  </a:lnTo>
                  <a:lnTo>
                    <a:pt x="2206" y="1474"/>
                  </a:lnTo>
                  <a:lnTo>
                    <a:pt x="2211" y="1500"/>
                  </a:lnTo>
                  <a:lnTo>
                    <a:pt x="2226" y="1538"/>
                  </a:lnTo>
                  <a:lnTo>
                    <a:pt x="2228" y="1568"/>
                  </a:lnTo>
                  <a:lnTo>
                    <a:pt x="2238" y="1584"/>
                  </a:lnTo>
                  <a:lnTo>
                    <a:pt x="2238" y="1613"/>
                  </a:lnTo>
                  <a:lnTo>
                    <a:pt x="2226" y="1633"/>
                  </a:lnTo>
                  <a:lnTo>
                    <a:pt x="2243" y="1623"/>
                  </a:lnTo>
                  <a:lnTo>
                    <a:pt x="2246" y="1629"/>
                  </a:lnTo>
                  <a:lnTo>
                    <a:pt x="2299" y="1601"/>
                  </a:lnTo>
                  <a:lnTo>
                    <a:pt x="2317" y="1606"/>
                  </a:lnTo>
                  <a:lnTo>
                    <a:pt x="2338" y="1623"/>
                  </a:lnTo>
                  <a:lnTo>
                    <a:pt x="2373" y="1640"/>
                  </a:lnTo>
                  <a:lnTo>
                    <a:pt x="2393" y="1643"/>
                  </a:lnTo>
                  <a:lnTo>
                    <a:pt x="2438" y="1670"/>
                  </a:lnTo>
                  <a:lnTo>
                    <a:pt x="2461" y="1708"/>
                  </a:lnTo>
                  <a:lnTo>
                    <a:pt x="2463" y="1711"/>
                  </a:lnTo>
                  <a:lnTo>
                    <a:pt x="2495" y="1716"/>
                  </a:lnTo>
                  <a:lnTo>
                    <a:pt x="2539" y="1734"/>
                  </a:lnTo>
                  <a:lnTo>
                    <a:pt x="2567" y="1757"/>
                  </a:lnTo>
                  <a:lnTo>
                    <a:pt x="2551" y="1802"/>
                  </a:lnTo>
                  <a:lnTo>
                    <a:pt x="2570" y="1766"/>
                  </a:lnTo>
                  <a:lnTo>
                    <a:pt x="2668" y="1766"/>
                  </a:lnTo>
                  <a:lnTo>
                    <a:pt x="2700" y="1782"/>
                  </a:lnTo>
                  <a:lnTo>
                    <a:pt x="2706" y="1779"/>
                  </a:lnTo>
                  <a:lnTo>
                    <a:pt x="2709" y="1799"/>
                  </a:lnTo>
                  <a:lnTo>
                    <a:pt x="2704" y="1858"/>
                  </a:lnTo>
                  <a:lnTo>
                    <a:pt x="2710" y="1876"/>
                  </a:lnTo>
                  <a:lnTo>
                    <a:pt x="2712" y="1924"/>
                  </a:lnTo>
                  <a:lnTo>
                    <a:pt x="2709" y="1931"/>
                  </a:lnTo>
                  <a:lnTo>
                    <a:pt x="2707" y="1946"/>
                  </a:lnTo>
                  <a:lnTo>
                    <a:pt x="2748" y="1999"/>
                  </a:lnTo>
                  <a:lnTo>
                    <a:pt x="2715" y="2016"/>
                  </a:lnTo>
                  <a:lnTo>
                    <a:pt x="2751" y="2011"/>
                  </a:lnTo>
                  <a:lnTo>
                    <a:pt x="2782" y="2037"/>
                  </a:lnTo>
                  <a:lnTo>
                    <a:pt x="2790" y="2061"/>
                  </a:lnTo>
                  <a:lnTo>
                    <a:pt x="2766" y="2091"/>
                  </a:lnTo>
                  <a:lnTo>
                    <a:pt x="2795" y="2070"/>
                  </a:lnTo>
                  <a:lnTo>
                    <a:pt x="2825" y="2090"/>
                  </a:lnTo>
                  <a:lnTo>
                    <a:pt x="2829" y="2088"/>
                  </a:lnTo>
                  <a:lnTo>
                    <a:pt x="2825" y="2065"/>
                  </a:lnTo>
                  <a:lnTo>
                    <a:pt x="2834" y="2059"/>
                  </a:lnTo>
                  <a:lnTo>
                    <a:pt x="2836" y="2049"/>
                  </a:lnTo>
                  <a:lnTo>
                    <a:pt x="2848" y="2048"/>
                  </a:lnTo>
                  <a:lnTo>
                    <a:pt x="2859" y="2059"/>
                  </a:lnTo>
                  <a:lnTo>
                    <a:pt x="2861" y="2076"/>
                  </a:lnTo>
                  <a:lnTo>
                    <a:pt x="2866" y="2074"/>
                  </a:lnTo>
                  <a:lnTo>
                    <a:pt x="2873" y="2070"/>
                  </a:lnTo>
                  <a:lnTo>
                    <a:pt x="2876" y="2054"/>
                  </a:lnTo>
                  <a:lnTo>
                    <a:pt x="2859" y="2033"/>
                  </a:lnTo>
                  <a:lnTo>
                    <a:pt x="2870" y="2031"/>
                  </a:lnTo>
                  <a:lnTo>
                    <a:pt x="2888" y="2003"/>
                  </a:lnTo>
                  <a:lnTo>
                    <a:pt x="2905" y="2005"/>
                  </a:lnTo>
                  <a:lnTo>
                    <a:pt x="2910" y="2000"/>
                  </a:lnTo>
                  <a:lnTo>
                    <a:pt x="2890" y="2000"/>
                  </a:lnTo>
                  <a:lnTo>
                    <a:pt x="2874" y="1982"/>
                  </a:lnTo>
                  <a:lnTo>
                    <a:pt x="2870" y="1966"/>
                  </a:lnTo>
                  <a:lnTo>
                    <a:pt x="2873" y="1958"/>
                  </a:lnTo>
                  <a:lnTo>
                    <a:pt x="2870" y="1957"/>
                  </a:lnTo>
                  <a:lnTo>
                    <a:pt x="2861" y="1872"/>
                  </a:lnTo>
                  <a:lnTo>
                    <a:pt x="2842" y="1833"/>
                  </a:lnTo>
                  <a:lnTo>
                    <a:pt x="2828" y="1824"/>
                  </a:lnTo>
                  <a:lnTo>
                    <a:pt x="2912" y="1771"/>
                  </a:lnTo>
                  <a:lnTo>
                    <a:pt x="2924" y="1754"/>
                  </a:lnTo>
                  <a:lnTo>
                    <a:pt x="2959" y="1694"/>
                  </a:lnTo>
                  <a:lnTo>
                    <a:pt x="2978" y="1697"/>
                  </a:lnTo>
                  <a:lnTo>
                    <a:pt x="2990" y="1687"/>
                  </a:lnTo>
                  <a:lnTo>
                    <a:pt x="2984" y="1686"/>
                  </a:lnTo>
                  <a:lnTo>
                    <a:pt x="2978" y="1660"/>
                  </a:lnTo>
                  <a:lnTo>
                    <a:pt x="2964" y="1682"/>
                  </a:lnTo>
                  <a:lnTo>
                    <a:pt x="2959" y="1626"/>
                  </a:lnTo>
                  <a:lnTo>
                    <a:pt x="2929" y="1513"/>
                  </a:lnTo>
                  <a:lnTo>
                    <a:pt x="2905" y="1505"/>
                  </a:lnTo>
                  <a:lnTo>
                    <a:pt x="2870" y="1467"/>
                  </a:lnTo>
                  <a:lnTo>
                    <a:pt x="2873" y="1463"/>
                  </a:lnTo>
                  <a:lnTo>
                    <a:pt x="2871" y="1442"/>
                  </a:lnTo>
                  <a:lnTo>
                    <a:pt x="2919" y="1426"/>
                  </a:lnTo>
                  <a:lnTo>
                    <a:pt x="2913" y="1403"/>
                  </a:lnTo>
                  <a:lnTo>
                    <a:pt x="2919" y="1392"/>
                  </a:lnTo>
                  <a:lnTo>
                    <a:pt x="2933" y="1401"/>
                  </a:lnTo>
                  <a:lnTo>
                    <a:pt x="2949" y="1395"/>
                  </a:lnTo>
                  <a:lnTo>
                    <a:pt x="2932" y="1387"/>
                  </a:lnTo>
                  <a:lnTo>
                    <a:pt x="2933" y="1372"/>
                  </a:lnTo>
                  <a:lnTo>
                    <a:pt x="2944" y="1361"/>
                  </a:lnTo>
                  <a:lnTo>
                    <a:pt x="2919" y="1361"/>
                  </a:lnTo>
                  <a:lnTo>
                    <a:pt x="2919" y="1353"/>
                  </a:lnTo>
                  <a:lnTo>
                    <a:pt x="2929" y="1352"/>
                  </a:lnTo>
                  <a:lnTo>
                    <a:pt x="2930" y="1345"/>
                  </a:lnTo>
                  <a:lnTo>
                    <a:pt x="2915" y="1321"/>
                  </a:lnTo>
                  <a:lnTo>
                    <a:pt x="2921" y="1304"/>
                  </a:lnTo>
                  <a:lnTo>
                    <a:pt x="2913" y="1296"/>
                  </a:lnTo>
                  <a:lnTo>
                    <a:pt x="2929" y="1291"/>
                  </a:lnTo>
                  <a:lnTo>
                    <a:pt x="2904" y="1290"/>
                  </a:lnTo>
                  <a:lnTo>
                    <a:pt x="2899" y="1282"/>
                  </a:lnTo>
                  <a:lnTo>
                    <a:pt x="2899" y="1273"/>
                  </a:lnTo>
                  <a:lnTo>
                    <a:pt x="2917" y="1239"/>
                  </a:lnTo>
                  <a:lnTo>
                    <a:pt x="2915" y="1228"/>
                  </a:lnTo>
                  <a:lnTo>
                    <a:pt x="2930" y="1209"/>
                  </a:lnTo>
                  <a:lnTo>
                    <a:pt x="2932" y="1194"/>
                  </a:lnTo>
                  <a:lnTo>
                    <a:pt x="2921" y="1203"/>
                  </a:lnTo>
                  <a:lnTo>
                    <a:pt x="2902" y="1189"/>
                  </a:lnTo>
                  <a:lnTo>
                    <a:pt x="2895" y="1171"/>
                  </a:lnTo>
                  <a:lnTo>
                    <a:pt x="2895" y="1149"/>
                  </a:lnTo>
                  <a:lnTo>
                    <a:pt x="2927" y="1112"/>
                  </a:lnTo>
                  <a:lnTo>
                    <a:pt x="2929" y="1118"/>
                  </a:lnTo>
                  <a:lnTo>
                    <a:pt x="2983" y="1123"/>
                  </a:lnTo>
                  <a:lnTo>
                    <a:pt x="3017" y="1138"/>
                  </a:lnTo>
                  <a:lnTo>
                    <a:pt x="3015" y="1147"/>
                  </a:lnTo>
                  <a:lnTo>
                    <a:pt x="3039" y="1140"/>
                  </a:lnTo>
                  <a:lnTo>
                    <a:pt x="3043" y="1146"/>
                  </a:lnTo>
                  <a:lnTo>
                    <a:pt x="3039" y="1152"/>
                  </a:lnTo>
                  <a:lnTo>
                    <a:pt x="3056" y="1152"/>
                  </a:lnTo>
                  <a:lnTo>
                    <a:pt x="3060" y="1142"/>
                  </a:lnTo>
                  <a:lnTo>
                    <a:pt x="3097" y="1121"/>
                  </a:lnTo>
                  <a:lnTo>
                    <a:pt x="3153" y="1154"/>
                  </a:lnTo>
                  <a:lnTo>
                    <a:pt x="3156" y="1166"/>
                  </a:lnTo>
                  <a:lnTo>
                    <a:pt x="3145" y="1188"/>
                  </a:lnTo>
                  <a:lnTo>
                    <a:pt x="3154" y="1186"/>
                  </a:lnTo>
                  <a:lnTo>
                    <a:pt x="3157" y="1174"/>
                  </a:lnTo>
                  <a:lnTo>
                    <a:pt x="3170" y="1176"/>
                  </a:lnTo>
                  <a:lnTo>
                    <a:pt x="3170" y="1189"/>
                  </a:lnTo>
                  <a:lnTo>
                    <a:pt x="3178" y="1201"/>
                  </a:lnTo>
                  <a:lnTo>
                    <a:pt x="3171" y="1206"/>
                  </a:lnTo>
                  <a:lnTo>
                    <a:pt x="3173" y="1213"/>
                  </a:lnTo>
                  <a:lnTo>
                    <a:pt x="3190" y="1203"/>
                  </a:lnTo>
                  <a:lnTo>
                    <a:pt x="3201" y="1208"/>
                  </a:lnTo>
                  <a:lnTo>
                    <a:pt x="3190" y="1222"/>
                  </a:lnTo>
                  <a:lnTo>
                    <a:pt x="3191" y="1235"/>
                  </a:lnTo>
                  <a:lnTo>
                    <a:pt x="3204" y="1242"/>
                  </a:lnTo>
                  <a:lnTo>
                    <a:pt x="3201" y="1251"/>
                  </a:lnTo>
                  <a:lnTo>
                    <a:pt x="3225" y="1250"/>
                  </a:lnTo>
                  <a:lnTo>
                    <a:pt x="3232" y="1265"/>
                  </a:lnTo>
                  <a:lnTo>
                    <a:pt x="3261" y="1259"/>
                  </a:lnTo>
                  <a:lnTo>
                    <a:pt x="3271" y="1277"/>
                  </a:lnTo>
                  <a:lnTo>
                    <a:pt x="3288" y="1268"/>
                  </a:lnTo>
                  <a:lnTo>
                    <a:pt x="3286" y="1264"/>
                  </a:lnTo>
                  <a:lnTo>
                    <a:pt x="3293" y="1260"/>
                  </a:lnTo>
                  <a:lnTo>
                    <a:pt x="3303" y="1279"/>
                  </a:lnTo>
                  <a:lnTo>
                    <a:pt x="3289" y="1296"/>
                  </a:lnTo>
                  <a:lnTo>
                    <a:pt x="3289" y="1321"/>
                  </a:lnTo>
                  <a:lnTo>
                    <a:pt x="3303" y="1350"/>
                  </a:lnTo>
                  <a:lnTo>
                    <a:pt x="3286" y="1358"/>
                  </a:lnTo>
                  <a:lnTo>
                    <a:pt x="3280" y="1364"/>
                  </a:lnTo>
                  <a:lnTo>
                    <a:pt x="3301" y="1377"/>
                  </a:lnTo>
                  <a:lnTo>
                    <a:pt x="3303" y="1392"/>
                  </a:lnTo>
                  <a:lnTo>
                    <a:pt x="3292" y="1418"/>
                  </a:lnTo>
                  <a:lnTo>
                    <a:pt x="3312" y="1421"/>
                  </a:lnTo>
                  <a:lnTo>
                    <a:pt x="3300" y="1434"/>
                  </a:lnTo>
                  <a:lnTo>
                    <a:pt x="3310" y="1438"/>
                  </a:lnTo>
                  <a:lnTo>
                    <a:pt x="3312" y="1448"/>
                  </a:lnTo>
                  <a:lnTo>
                    <a:pt x="3292" y="1462"/>
                  </a:lnTo>
                  <a:lnTo>
                    <a:pt x="3283" y="1448"/>
                  </a:lnTo>
                  <a:lnTo>
                    <a:pt x="3275" y="1451"/>
                  </a:lnTo>
                  <a:lnTo>
                    <a:pt x="3280" y="1467"/>
                  </a:lnTo>
                  <a:lnTo>
                    <a:pt x="3264" y="1471"/>
                  </a:lnTo>
                  <a:lnTo>
                    <a:pt x="3286" y="1480"/>
                  </a:lnTo>
                  <a:lnTo>
                    <a:pt x="3306" y="1462"/>
                  </a:lnTo>
                  <a:lnTo>
                    <a:pt x="3348" y="1462"/>
                  </a:lnTo>
                  <a:lnTo>
                    <a:pt x="3357" y="1499"/>
                  </a:lnTo>
                  <a:lnTo>
                    <a:pt x="3354" y="1523"/>
                  </a:lnTo>
                  <a:lnTo>
                    <a:pt x="3354" y="1528"/>
                  </a:lnTo>
                  <a:lnTo>
                    <a:pt x="3371" y="1483"/>
                  </a:lnTo>
                  <a:lnTo>
                    <a:pt x="3369" y="1508"/>
                  </a:lnTo>
                  <a:lnTo>
                    <a:pt x="3377" y="1497"/>
                  </a:lnTo>
                  <a:lnTo>
                    <a:pt x="3382" y="1528"/>
                  </a:lnTo>
                  <a:lnTo>
                    <a:pt x="3386" y="1514"/>
                  </a:lnTo>
                  <a:lnTo>
                    <a:pt x="3430" y="1494"/>
                  </a:lnTo>
                  <a:lnTo>
                    <a:pt x="3440" y="1463"/>
                  </a:lnTo>
                  <a:lnTo>
                    <a:pt x="3459" y="1476"/>
                  </a:lnTo>
                  <a:lnTo>
                    <a:pt x="3461" y="1483"/>
                  </a:lnTo>
                  <a:lnTo>
                    <a:pt x="3457" y="1499"/>
                  </a:lnTo>
                  <a:lnTo>
                    <a:pt x="3467" y="1477"/>
                  </a:lnTo>
                  <a:lnTo>
                    <a:pt x="3454" y="1457"/>
                  </a:lnTo>
                  <a:lnTo>
                    <a:pt x="3462" y="1463"/>
                  </a:lnTo>
                  <a:lnTo>
                    <a:pt x="3471" y="1457"/>
                  </a:lnTo>
                  <a:lnTo>
                    <a:pt x="3467" y="1454"/>
                  </a:lnTo>
                  <a:lnTo>
                    <a:pt x="3469" y="1446"/>
                  </a:lnTo>
                  <a:lnTo>
                    <a:pt x="3476" y="1446"/>
                  </a:lnTo>
                  <a:lnTo>
                    <a:pt x="3479" y="1435"/>
                  </a:lnTo>
                  <a:lnTo>
                    <a:pt x="3474" y="1423"/>
                  </a:lnTo>
                  <a:lnTo>
                    <a:pt x="3479" y="1429"/>
                  </a:lnTo>
                  <a:lnTo>
                    <a:pt x="3498" y="1406"/>
                  </a:lnTo>
                  <a:lnTo>
                    <a:pt x="3481" y="1383"/>
                  </a:lnTo>
                  <a:lnTo>
                    <a:pt x="3513" y="1330"/>
                  </a:lnTo>
                  <a:lnTo>
                    <a:pt x="3529" y="1332"/>
                  </a:lnTo>
                  <a:lnTo>
                    <a:pt x="3532" y="1336"/>
                  </a:lnTo>
                  <a:lnTo>
                    <a:pt x="3527" y="1340"/>
                  </a:lnTo>
                  <a:lnTo>
                    <a:pt x="3533" y="1341"/>
                  </a:lnTo>
                  <a:lnTo>
                    <a:pt x="3535" y="1355"/>
                  </a:lnTo>
                  <a:lnTo>
                    <a:pt x="3532" y="1370"/>
                  </a:lnTo>
                  <a:lnTo>
                    <a:pt x="3544" y="1370"/>
                  </a:lnTo>
                  <a:lnTo>
                    <a:pt x="3542" y="1389"/>
                  </a:lnTo>
                  <a:lnTo>
                    <a:pt x="3552" y="1391"/>
                  </a:lnTo>
                  <a:lnTo>
                    <a:pt x="3549" y="1400"/>
                  </a:lnTo>
                  <a:lnTo>
                    <a:pt x="3566" y="1401"/>
                  </a:lnTo>
                  <a:lnTo>
                    <a:pt x="3554" y="1415"/>
                  </a:lnTo>
                  <a:lnTo>
                    <a:pt x="3566" y="1423"/>
                  </a:lnTo>
                  <a:lnTo>
                    <a:pt x="3574" y="1418"/>
                  </a:lnTo>
                  <a:lnTo>
                    <a:pt x="3574" y="1428"/>
                  </a:lnTo>
                  <a:lnTo>
                    <a:pt x="3583" y="1428"/>
                  </a:lnTo>
                  <a:lnTo>
                    <a:pt x="3583" y="1437"/>
                  </a:lnTo>
                  <a:lnTo>
                    <a:pt x="3572" y="1442"/>
                  </a:lnTo>
                  <a:lnTo>
                    <a:pt x="3555" y="1442"/>
                  </a:lnTo>
                  <a:lnTo>
                    <a:pt x="3542" y="1452"/>
                  </a:lnTo>
                  <a:lnTo>
                    <a:pt x="3591" y="1443"/>
                  </a:lnTo>
                  <a:lnTo>
                    <a:pt x="3588" y="1467"/>
                  </a:lnTo>
                  <a:lnTo>
                    <a:pt x="3601" y="1467"/>
                  </a:lnTo>
                  <a:lnTo>
                    <a:pt x="3600" y="1476"/>
                  </a:lnTo>
                  <a:lnTo>
                    <a:pt x="3608" y="1480"/>
                  </a:lnTo>
                  <a:lnTo>
                    <a:pt x="3575" y="1494"/>
                  </a:lnTo>
                  <a:lnTo>
                    <a:pt x="3618" y="1494"/>
                  </a:lnTo>
                  <a:lnTo>
                    <a:pt x="3620" y="1505"/>
                  </a:lnTo>
                  <a:lnTo>
                    <a:pt x="3611" y="1513"/>
                  </a:lnTo>
                  <a:lnTo>
                    <a:pt x="3617" y="1514"/>
                  </a:lnTo>
                  <a:lnTo>
                    <a:pt x="3591" y="1534"/>
                  </a:lnTo>
                  <a:lnTo>
                    <a:pt x="3620" y="1523"/>
                  </a:lnTo>
                  <a:lnTo>
                    <a:pt x="3630" y="1534"/>
                  </a:lnTo>
                  <a:lnTo>
                    <a:pt x="3620" y="1547"/>
                  </a:lnTo>
                  <a:lnTo>
                    <a:pt x="3635" y="1547"/>
                  </a:lnTo>
                  <a:lnTo>
                    <a:pt x="3652" y="1570"/>
                  </a:lnTo>
                  <a:lnTo>
                    <a:pt x="3626" y="1587"/>
                  </a:lnTo>
                  <a:lnTo>
                    <a:pt x="3651" y="1587"/>
                  </a:lnTo>
                  <a:lnTo>
                    <a:pt x="3656" y="1593"/>
                  </a:lnTo>
                  <a:lnTo>
                    <a:pt x="3652" y="1602"/>
                  </a:lnTo>
                  <a:lnTo>
                    <a:pt x="3671" y="1609"/>
                  </a:lnTo>
                  <a:lnTo>
                    <a:pt x="3674" y="1621"/>
                  </a:lnTo>
                  <a:lnTo>
                    <a:pt x="3656" y="1638"/>
                  </a:lnTo>
                  <a:lnTo>
                    <a:pt x="3659" y="1649"/>
                  </a:lnTo>
                  <a:lnTo>
                    <a:pt x="3630" y="1636"/>
                  </a:lnTo>
                  <a:lnTo>
                    <a:pt x="3626" y="1641"/>
                  </a:lnTo>
                  <a:lnTo>
                    <a:pt x="3639" y="1649"/>
                  </a:lnTo>
                  <a:lnTo>
                    <a:pt x="3657" y="1658"/>
                  </a:lnTo>
                  <a:lnTo>
                    <a:pt x="3659" y="1661"/>
                  </a:lnTo>
                  <a:lnTo>
                    <a:pt x="3645" y="1669"/>
                  </a:lnTo>
                  <a:lnTo>
                    <a:pt x="3660" y="1683"/>
                  </a:lnTo>
                  <a:lnTo>
                    <a:pt x="3652" y="1682"/>
                  </a:lnTo>
                  <a:lnTo>
                    <a:pt x="3648" y="1691"/>
                  </a:lnTo>
                  <a:lnTo>
                    <a:pt x="3676" y="1687"/>
                  </a:lnTo>
                  <a:lnTo>
                    <a:pt x="3682" y="1711"/>
                  </a:lnTo>
                  <a:lnTo>
                    <a:pt x="3679" y="1714"/>
                  </a:lnTo>
                  <a:lnTo>
                    <a:pt x="3705" y="1717"/>
                  </a:lnTo>
                  <a:lnTo>
                    <a:pt x="3711" y="1729"/>
                  </a:lnTo>
                  <a:lnTo>
                    <a:pt x="3723" y="1726"/>
                  </a:lnTo>
                  <a:lnTo>
                    <a:pt x="3722" y="1742"/>
                  </a:lnTo>
                  <a:lnTo>
                    <a:pt x="3728" y="1753"/>
                  </a:lnTo>
                  <a:lnTo>
                    <a:pt x="3718" y="1765"/>
                  </a:lnTo>
                  <a:lnTo>
                    <a:pt x="3728" y="1760"/>
                  </a:lnTo>
                  <a:lnTo>
                    <a:pt x="3740" y="1768"/>
                  </a:lnTo>
                  <a:lnTo>
                    <a:pt x="3753" y="1760"/>
                  </a:lnTo>
                  <a:lnTo>
                    <a:pt x="3753" y="1768"/>
                  </a:lnTo>
                  <a:lnTo>
                    <a:pt x="3762" y="1770"/>
                  </a:lnTo>
                  <a:lnTo>
                    <a:pt x="3752" y="1796"/>
                  </a:lnTo>
                  <a:lnTo>
                    <a:pt x="3778" y="1770"/>
                  </a:lnTo>
                  <a:lnTo>
                    <a:pt x="3776" y="1780"/>
                  </a:lnTo>
                  <a:lnTo>
                    <a:pt x="3784" y="1775"/>
                  </a:lnTo>
                  <a:lnTo>
                    <a:pt x="3789" y="1794"/>
                  </a:lnTo>
                  <a:lnTo>
                    <a:pt x="3795" y="1797"/>
                  </a:lnTo>
                  <a:lnTo>
                    <a:pt x="3815" y="1805"/>
                  </a:lnTo>
                  <a:lnTo>
                    <a:pt x="3829" y="1790"/>
                  </a:lnTo>
                  <a:lnTo>
                    <a:pt x="3835" y="1799"/>
                  </a:lnTo>
                  <a:lnTo>
                    <a:pt x="3833" y="1805"/>
                  </a:lnTo>
                  <a:lnTo>
                    <a:pt x="3854" y="1814"/>
                  </a:lnTo>
                  <a:lnTo>
                    <a:pt x="3858" y="1821"/>
                  </a:lnTo>
                  <a:lnTo>
                    <a:pt x="3854" y="1833"/>
                  </a:lnTo>
                  <a:lnTo>
                    <a:pt x="3833" y="1834"/>
                  </a:lnTo>
                  <a:lnTo>
                    <a:pt x="3804" y="1851"/>
                  </a:lnTo>
                  <a:lnTo>
                    <a:pt x="3765" y="1859"/>
                  </a:lnTo>
                  <a:lnTo>
                    <a:pt x="3759" y="1867"/>
                  </a:lnTo>
                  <a:lnTo>
                    <a:pt x="3745" y="1875"/>
                  </a:lnTo>
                  <a:lnTo>
                    <a:pt x="3731" y="1895"/>
                  </a:lnTo>
                  <a:lnTo>
                    <a:pt x="3701" y="1881"/>
                  </a:lnTo>
                  <a:lnTo>
                    <a:pt x="3689" y="1881"/>
                  </a:lnTo>
                  <a:lnTo>
                    <a:pt x="3689" y="1889"/>
                  </a:lnTo>
                  <a:lnTo>
                    <a:pt x="3727" y="1902"/>
                  </a:lnTo>
                  <a:lnTo>
                    <a:pt x="3723" y="1924"/>
                  </a:lnTo>
                  <a:lnTo>
                    <a:pt x="3801" y="1865"/>
                  </a:lnTo>
                  <a:lnTo>
                    <a:pt x="3809" y="1856"/>
                  </a:lnTo>
                  <a:lnTo>
                    <a:pt x="3832" y="1850"/>
                  </a:lnTo>
                  <a:lnTo>
                    <a:pt x="3864" y="1851"/>
                  </a:lnTo>
                  <a:lnTo>
                    <a:pt x="3867" y="1881"/>
                  </a:lnTo>
                  <a:lnTo>
                    <a:pt x="3862" y="1890"/>
                  </a:lnTo>
                  <a:lnTo>
                    <a:pt x="3864" y="1912"/>
                  </a:lnTo>
                  <a:lnTo>
                    <a:pt x="3883" y="1885"/>
                  </a:lnTo>
                  <a:lnTo>
                    <a:pt x="3900" y="1885"/>
                  </a:lnTo>
                  <a:lnTo>
                    <a:pt x="3897" y="1890"/>
                  </a:lnTo>
                  <a:lnTo>
                    <a:pt x="3928" y="1901"/>
                  </a:lnTo>
                  <a:lnTo>
                    <a:pt x="3922" y="1907"/>
                  </a:lnTo>
                  <a:lnTo>
                    <a:pt x="3937" y="1924"/>
                  </a:lnTo>
                  <a:lnTo>
                    <a:pt x="3937" y="1931"/>
                  </a:lnTo>
                  <a:lnTo>
                    <a:pt x="3928" y="1938"/>
                  </a:lnTo>
                  <a:lnTo>
                    <a:pt x="3909" y="1929"/>
                  </a:lnTo>
                  <a:lnTo>
                    <a:pt x="3916" y="1941"/>
                  </a:lnTo>
                  <a:lnTo>
                    <a:pt x="3926" y="1943"/>
                  </a:lnTo>
                  <a:lnTo>
                    <a:pt x="3929" y="1952"/>
                  </a:lnTo>
                  <a:lnTo>
                    <a:pt x="3926" y="1960"/>
                  </a:lnTo>
                  <a:lnTo>
                    <a:pt x="3934" y="1974"/>
                  </a:lnTo>
                  <a:lnTo>
                    <a:pt x="3923" y="1977"/>
                  </a:lnTo>
                  <a:lnTo>
                    <a:pt x="3937" y="1982"/>
                  </a:lnTo>
                  <a:lnTo>
                    <a:pt x="3942" y="1992"/>
                  </a:lnTo>
                  <a:lnTo>
                    <a:pt x="3923" y="1988"/>
                  </a:lnTo>
                  <a:lnTo>
                    <a:pt x="3940" y="2007"/>
                  </a:lnTo>
                  <a:lnTo>
                    <a:pt x="3896" y="2054"/>
                  </a:lnTo>
                  <a:lnTo>
                    <a:pt x="3883" y="2059"/>
                  </a:lnTo>
                  <a:lnTo>
                    <a:pt x="3871" y="2059"/>
                  </a:lnTo>
                  <a:lnTo>
                    <a:pt x="3813" y="2070"/>
                  </a:lnTo>
                  <a:lnTo>
                    <a:pt x="3795" y="2090"/>
                  </a:lnTo>
                  <a:lnTo>
                    <a:pt x="3789" y="2088"/>
                  </a:lnTo>
                  <a:lnTo>
                    <a:pt x="3765" y="2125"/>
                  </a:lnTo>
                  <a:lnTo>
                    <a:pt x="3757" y="2130"/>
                  </a:lnTo>
                  <a:lnTo>
                    <a:pt x="3739" y="2147"/>
                  </a:lnTo>
                  <a:lnTo>
                    <a:pt x="3728" y="2142"/>
                  </a:lnTo>
                  <a:lnTo>
                    <a:pt x="3733" y="2133"/>
                  </a:lnTo>
                  <a:lnTo>
                    <a:pt x="3722" y="2146"/>
                  </a:lnTo>
                  <a:lnTo>
                    <a:pt x="3665" y="2158"/>
                  </a:lnTo>
                  <a:lnTo>
                    <a:pt x="3652" y="2146"/>
                  </a:lnTo>
                  <a:lnTo>
                    <a:pt x="3533" y="2141"/>
                  </a:lnTo>
                  <a:lnTo>
                    <a:pt x="3448" y="2147"/>
                  </a:lnTo>
                  <a:lnTo>
                    <a:pt x="3444" y="2156"/>
                  </a:lnTo>
                  <a:lnTo>
                    <a:pt x="3433" y="2158"/>
                  </a:lnTo>
                  <a:lnTo>
                    <a:pt x="3427" y="2161"/>
                  </a:lnTo>
                  <a:lnTo>
                    <a:pt x="3413" y="2178"/>
                  </a:lnTo>
                  <a:lnTo>
                    <a:pt x="3403" y="2210"/>
                  </a:lnTo>
                  <a:lnTo>
                    <a:pt x="3368" y="2214"/>
                  </a:lnTo>
                  <a:lnTo>
                    <a:pt x="3354" y="2223"/>
                  </a:lnTo>
                  <a:lnTo>
                    <a:pt x="3329" y="2246"/>
                  </a:lnTo>
                  <a:lnTo>
                    <a:pt x="3305" y="2283"/>
                  </a:lnTo>
                  <a:lnTo>
                    <a:pt x="3286" y="2291"/>
                  </a:lnTo>
                  <a:lnTo>
                    <a:pt x="3288" y="2307"/>
                  </a:lnTo>
                  <a:lnTo>
                    <a:pt x="3269" y="2340"/>
                  </a:lnTo>
                  <a:lnTo>
                    <a:pt x="3225" y="2382"/>
                  </a:lnTo>
                  <a:lnTo>
                    <a:pt x="3246" y="2374"/>
                  </a:lnTo>
                  <a:lnTo>
                    <a:pt x="3286" y="2327"/>
                  </a:lnTo>
                  <a:lnTo>
                    <a:pt x="3298" y="2307"/>
                  </a:lnTo>
                  <a:lnTo>
                    <a:pt x="3329" y="2277"/>
                  </a:lnTo>
                  <a:lnTo>
                    <a:pt x="3436" y="2223"/>
                  </a:lnTo>
                  <a:lnTo>
                    <a:pt x="3481" y="2215"/>
                  </a:lnTo>
                  <a:lnTo>
                    <a:pt x="3507" y="2218"/>
                  </a:lnTo>
                  <a:lnTo>
                    <a:pt x="3538" y="2235"/>
                  </a:lnTo>
                  <a:lnTo>
                    <a:pt x="3546" y="2249"/>
                  </a:lnTo>
                  <a:lnTo>
                    <a:pt x="3537" y="2248"/>
                  </a:lnTo>
                  <a:lnTo>
                    <a:pt x="3542" y="2254"/>
                  </a:lnTo>
                  <a:lnTo>
                    <a:pt x="3542" y="2268"/>
                  </a:lnTo>
                  <a:lnTo>
                    <a:pt x="3498" y="2300"/>
                  </a:lnTo>
                  <a:lnTo>
                    <a:pt x="3471" y="2291"/>
                  </a:lnTo>
                  <a:lnTo>
                    <a:pt x="3471" y="2310"/>
                  </a:lnTo>
                  <a:lnTo>
                    <a:pt x="3479" y="2325"/>
                  </a:lnTo>
                  <a:lnTo>
                    <a:pt x="3504" y="2311"/>
                  </a:lnTo>
                  <a:lnTo>
                    <a:pt x="3518" y="2322"/>
                  </a:lnTo>
                  <a:lnTo>
                    <a:pt x="3518" y="2330"/>
                  </a:lnTo>
                  <a:lnTo>
                    <a:pt x="3510" y="2350"/>
                  </a:lnTo>
                  <a:lnTo>
                    <a:pt x="3496" y="2365"/>
                  </a:lnTo>
                  <a:lnTo>
                    <a:pt x="3516" y="2367"/>
                  </a:lnTo>
                  <a:lnTo>
                    <a:pt x="3516" y="2391"/>
                  </a:lnTo>
                  <a:lnTo>
                    <a:pt x="3532" y="2421"/>
                  </a:lnTo>
                  <a:lnTo>
                    <a:pt x="3564" y="2430"/>
                  </a:lnTo>
                  <a:lnTo>
                    <a:pt x="3567" y="2433"/>
                  </a:lnTo>
                  <a:lnTo>
                    <a:pt x="3558" y="2438"/>
                  </a:lnTo>
                  <a:lnTo>
                    <a:pt x="3557" y="2444"/>
                  </a:lnTo>
                  <a:lnTo>
                    <a:pt x="3611" y="2455"/>
                  </a:lnTo>
                  <a:lnTo>
                    <a:pt x="3615" y="2461"/>
                  </a:lnTo>
                  <a:lnTo>
                    <a:pt x="3634" y="2458"/>
                  </a:lnTo>
                  <a:lnTo>
                    <a:pt x="3651" y="2447"/>
                  </a:lnTo>
                  <a:lnTo>
                    <a:pt x="3654" y="2455"/>
                  </a:lnTo>
                  <a:lnTo>
                    <a:pt x="3652" y="2463"/>
                  </a:lnTo>
                  <a:lnTo>
                    <a:pt x="3674" y="2461"/>
                  </a:lnTo>
                  <a:lnTo>
                    <a:pt x="3679" y="2467"/>
                  </a:lnTo>
                  <a:lnTo>
                    <a:pt x="3682" y="2472"/>
                  </a:lnTo>
                  <a:lnTo>
                    <a:pt x="3676" y="2481"/>
                  </a:lnTo>
                  <a:lnTo>
                    <a:pt x="3689" y="2481"/>
                  </a:lnTo>
                  <a:lnTo>
                    <a:pt x="3693" y="2484"/>
                  </a:lnTo>
                  <a:lnTo>
                    <a:pt x="3688" y="2488"/>
                  </a:lnTo>
                  <a:lnTo>
                    <a:pt x="3665" y="2489"/>
                  </a:lnTo>
                  <a:lnTo>
                    <a:pt x="3608" y="2522"/>
                  </a:lnTo>
                  <a:lnTo>
                    <a:pt x="3584" y="2528"/>
                  </a:lnTo>
                  <a:lnTo>
                    <a:pt x="3574" y="2523"/>
                  </a:lnTo>
                  <a:lnTo>
                    <a:pt x="3575" y="2539"/>
                  </a:lnTo>
                  <a:lnTo>
                    <a:pt x="3566" y="2539"/>
                  </a:lnTo>
                  <a:lnTo>
                    <a:pt x="3558" y="2526"/>
                  </a:lnTo>
                  <a:lnTo>
                    <a:pt x="3552" y="2539"/>
                  </a:lnTo>
                  <a:lnTo>
                    <a:pt x="3550" y="2532"/>
                  </a:lnTo>
                  <a:lnTo>
                    <a:pt x="3544" y="2551"/>
                  </a:lnTo>
                  <a:lnTo>
                    <a:pt x="3507" y="2588"/>
                  </a:lnTo>
                  <a:lnTo>
                    <a:pt x="3496" y="2588"/>
                  </a:lnTo>
                  <a:lnTo>
                    <a:pt x="3490" y="2601"/>
                  </a:lnTo>
                  <a:lnTo>
                    <a:pt x="3478" y="2598"/>
                  </a:lnTo>
                  <a:lnTo>
                    <a:pt x="3469" y="2581"/>
                  </a:lnTo>
                  <a:lnTo>
                    <a:pt x="3462" y="2581"/>
                  </a:lnTo>
                  <a:lnTo>
                    <a:pt x="3457" y="2568"/>
                  </a:lnTo>
                  <a:lnTo>
                    <a:pt x="3459" y="2547"/>
                  </a:lnTo>
                  <a:lnTo>
                    <a:pt x="3469" y="2532"/>
                  </a:lnTo>
                  <a:lnTo>
                    <a:pt x="3456" y="2542"/>
                  </a:lnTo>
                  <a:lnTo>
                    <a:pt x="3471" y="2525"/>
                  </a:lnTo>
                  <a:lnTo>
                    <a:pt x="3484" y="2522"/>
                  </a:lnTo>
                  <a:lnTo>
                    <a:pt x="3484" y="2518"/>
                  </a:lnTo>
                  <a:lnTo>
                    <a:pt x="3535" y="2486"/>
                  </a:lnTo>
                  <a:lnTo>
                    <a:pt x="3547" y="2500"/>
                  </a:lnTo>
                  <a:lnTo>
                    <a:pt x="3564" y="2486"/>
                  </a:lnTo>
                  <a:lnTo>
                    <a:pt x="3584" y="2483"/>
                  </a:lnTo>
                  <a:lnTo>
                    <a:pt x="3584" y="2478"/>
                  </a:lnTo>
                  <a:lnTo>
                    <a:pt x="3538" y="2475"/>
                  </a:lnTo>
                  <a:lnTo>
                    <a:pt x="3518" y="2483"/>
                  </a:lnTo>
                  <a:lnTo>
                    <a:pt x="3516" y="2472"/>
                  </a:lnTo>
                  <a:lnTo>
                    <a:pt x="3538" y="2452"/>
                  </a:lnTo>
                  <a:lnTo>
                    <a:pt x="3532" y="2452"/>
                  </a:lnTo>
                  <a:lnTo>
                    <a:pt x="3530" y="2446"/>
                  </a:lnTo>
                  <a:lnTo>
                    <a:pt x="3521" y="2461"/>
                  </a:lnTo>
                  <a:lnTo>
                    <a:pt x="3478" y="2488"/>
                  </a:lnTo>
                  <a:lnTo>
                    <a:pt x="3462" y="2486"/>
                  </a:lnTo>
                  <a:lnTo>
                    <a:pt x="3457" y="2492"/>
                  </a:lnTo>
                  <a:lnTo>
                    <a:pt x="3450" y="2497"/>
                  </a:lnTo>
                  <a:lnTo>
                    <a:pt x="3431" y="2500"/>
                  </a:lnTo>
                  <a:lnTo>
                    <a:pt x="3413" y="2492"/>
                  </a:lnTo>
                  <a:lnTo>
                    <a:pt x="3408" y="2497"/>
                  </a:lnTo>
                  <a:lnTo>
                    <a:pt x="3402" y="2494"/>
                  </a:lnTo>
                  <a:lnTo>
                    <a:pt x="3391" y="2486"/>
                  </a:lnTo>
                  <a:lnTo>
                    <a:pt x="3391" y="2469"/>
                  </a:lnTo>
                  <a:lnTo>
                    <a:pt x="3377" y="2463"/>
                  </a:lnTo>
                  <a:lnTo>
                    <a:pt x="3377" y="2416"/>
                  </a:lnTo>
                  <a:lnTo>
                    <a:pt x="3377" y="2373"/>
                  </a:lnTo>
                  <a:lnTo>
                    <a:pt x="3356" y="2350"/>
                  </a:lnTo>
                  <a:lnTo>
                    <a:pt x="3331" y="2362"/>
                  </a:lnTo>
                  <a:lnTo>
                    <a:pt x="3318" y="2359"/>
                  </a:lnTo>
                  <a:lnTo>
                    <a:pt x="3317" y="2356"/>
                  </a:lnTo>
                  <a:lnTo>
                    <a:pt x="3308" y="2345"/>
                  </a:lnTo>
                  <a:lnTo>
                    <a:pt x="3298" y="2347"/>
                  </a:lnTo>
                  <a:lnTo>
                    <a:pt x="3276" y="2386"/>
                  </a:lnTo>
                  <a:lnTo>
                    <a:pt x="3272" y="2404"/>
                  </a:lnTo>
                  <a:lnTo>
                    <a:pt x="3261" y="2435"/>
                  </a:lnTo>
                  <a:lnTo>
                    <a:pt x="3258" y="2464"/>
                  </a:lnTo>
                  <a:lnTo>
                    <a:pt x="3247" y="2474"/>
                  </a:lnTo>
                  <a:lnTo>
                    <a:pt x="3247" y="2486"/>
                  </a:lnTo>
                  <a:lnTo>
                    <a:pt x="3225" y="2489"/>
                  </a:lnTo>
                  <a:lnTo>
                    <a:pt x="3212" y="2491"/>
                  </a:lnTo>
                  <a:lnTo>
                    <a:pt x="3204" y="2508"/>
                  </a:lnTo>
                  <a:lnTo>
                    <a:pt x="3159" y="2508"/>
                  </a:lnTo>
                  <a:lnTo>
                    <a:pt x="3056" y="2508"/>
                  </a:lnTo>
                  <a:close/>
                  <a:moveTo>
                    <a:pt x="3555" y="2378"/>
                  </a:moveTo>
                  <a:lnTo>
                    <a:pt x="3552" y="2388"/>
                  </a:lnTo>
                  <a:lnTo>
                    <a:pt x="3566" y="2404"/>
                  </a:lnTo>
                  <a:lnTo>
                    <a:pt x="3580" y="2404"/>
                  </a:lnTo>
                  <a:lnTo>
                    <a:pt x="3603" y="2413"/>
                  </a:lnTo>
                  <a:lnTo>
                    <a:pt x="3643" y="2408"/>
                  </a:lnTo>
                  <a:lnTo>
                    <a:pt x="3645" y="2413"/>
                  </a:lnTo>
                  <a:lnTo>
                    <a:pt x="3626" y="2424"/>
                  </a:lnTo>
                  <a:lnTo>
                    <a:pt x="3626" y="2438"/>
                  </a:lnTo>
                  <a:lnTo>
                    <a:pt x="3618" y="2440"/>
                  </a:lnTo>
                  <a:lnTo>
                    <a:pt x="3608" y="2437"/>
                  </a:lnTo>
                  <a:lnTo>
                    <a:pt x="3598" y="2421"/>
                  </a:lnTo>
                  <a:lnTo>
                    <a:pt x="3588" y="2427"/>
                  </a:lnTo>
                  <a:lnTo>
                    <a:pt x="3557" y="2412"/>
                  </a:lnTo>
                  <a:lnTo>
                    <a:pt x="3550" y="2404"/>
                  </a:lnTo>
                  <a:lnTo>
                    <a:pt x="3552" y="2399"/>
                  </a:lnTo>
                  <a:lnTo>
                    <a:pt x="3540" y="2395"/>
                  </a:lnTo>
                  <a:lnTo>
                    <a:pt x="3538" y="2386"/>
                  </a:lnTo>
                  <a:lnTo>
                    <a:pt x="3557" y="2367"/>
                  </a:lnTo>
                  <a:lnTo>
                    <a:pt x="3555" y="2378"/>
                  </a:lnTo>
                  <a:close/>
                  <a:moveTo>
                    <a:pt x="410" y="1963"/>
                  </a:moveTo>
                  <a:lnTo>
                    <a:pt x="410" y="1946"/>
                  </a:lnTo>
                  <a:lnTo>
                    <a:pt x="405" y="1952"/>
                  </a:lnTo>
                  <a:lnTo>
                    <a:pt x="402" y="1949"/>
                  </a:lnTo>
                  <a:lnTo>
                    <a:pt x="405" y="1940"/>
                  </a:lnTo>
                  <a:lnTo>
                    <a:pt x="397" y="1938"/>
                  </a:lnTo>
                  <a:lnTo>
                    <a:pt x="424" y="1924"/>
                  </a:lnTo>
                  <a:lnTo>
                    <a:pt x="430" y="1935"/>
                  </a:lnTo>
                  <a:lnTo>
                    <a:pt x="419" y="1938"/>
                  </a:lnTo>
                  <a:lnTo>
                    <a:pt x="433" y="1948"/>
                  </a:lnTo>
                  <a:lnTo>
                    <a:pt x="421" y="1951"/>
                  </a:lnTo>
                  <a:lnTo>
                    <a:pt x="419" y="1966"/>
                  </a:lnTo>
                  <a:lnTo>
                    <a:pt x="439" y="1983"/>
                  </a:lnTo>
                  <a:lnTo>
                    <a:pt x="452" y="2007"/>
                  </a:lnTo>
                  <a:lnTo>
                    <a:pt x="410" y="1963"/>
                  </a:lnTo>
                  <a:close/>
                  <a:moveTo>
                    <a:pt x="414" y="1863"/>
                  </a:moveTo>
                  <a:lnTo>
                    <a:pt x="426" y="1855"/>
                  </a:lnTo>
                  <a:lnTo>
                    <a:pt x="429" y="1867"/>
                  </a:lnTo>
                  <a:lnTo>
                    <a:pt x="419" y="1915"/>
                  </a:lnTo>
                  <a:lnTo>
                    <a:pt x="414" y="1926"/>
                  </a:lnTo>
                  <a:lnTo>
                    <a:pt x="404" y="1921"/>
                  </a:lnTo>
                  <a:lnTo>
                    <a:pt x="399" y="1932"/>
                  </a:lnTo>
                  <a:lnTo>
                    <a:pt x="390" y="1914"/>
                  </a:lnTo>
                  <a:lnTo>
                    <a:pt x="397" y="1912"/>
                  </a:lnTo>
                  <a:lnTo>
                    <a:pt x="397" y="1906"/>
                  </a:lnTo>
                  <a:lnTo>
                    <a:pt x="376" y="1895"/>
                  </a:lnTo>
                  <a:lnTo>
                    <a:pt x="365" y="1868"/>
                  </a:lnTo>
                  <a:lnTo>
                    <a:pt x="365" y="1853"/>
                  </a:lnTo>
                  <a:lnTo>
                    <a:pt x="387" y="1855"/>
                  </a:lnTo>
                  <a:lnTo>
                    <a:pt x="385" y="1868"/>
                  </a:lnTo>
                  <a:lnTo>
                    <a:pt x="401" y="1856"/>
                  </a:lnTo>
                  <a:lnTo>
                    <a:pt x="405" y="1878"/>
                  </a:lnTo>
                  <a:lnTo>
                    <a:pt x="387" y="1890"/>
                  </a:lnTo>
                  <a:lnTo>
                    <a:pt x="401" y="1895"/>
                  </a:lnTo>
                  <a:lnTo>
                    <a:pt x="414" y="1863"/>
                  </a:lnTo>
                  <a:close/>
                  <a:moveTo>
                    <a:pt x="435" y="1762"/>
                  </a:moveTo>
                  <a:lnTo>
                    <a:pt x="444" y="1783"/>
                  </a:lnTo>
                  <a:lnTo>
                    <a:pt x="436" y="1775"/>
                  </a:lnTo>
                  <a:lnTo>
                    <a:pt x="435" y="1762"/>
                  </a:lnTo>
                  <a:close/>
                  <a:moveTo>
                    <a:pt x="368" y="1785"/>
                  </a:moveTo>
                  <a:lnTo>
                    <a:pt x="381" y="1805"/>
                  </a:lnTo>
                  <a:lnTo>
                    <a:pt x="372" y="1804"/>
                  </a:lnTo>
                  <a:lnTo>
                    <a:pt x="362" y="1785"/>
                  </a:lnTo>
                  <a:lnTo>
                    <a:pt x="360" y="1766"/>
                  </a:lnTo>
                  <a:lnTo>
                    <a:pt x="368" y="1785"/>
                  </a:lnTo>
                  <a:close/>
                  <a:moveTo>
                    <a:pt x="443" y="1762"/>
                  </a:moveTo>
                  <a:lnTo>
                    <a:pt x="450" y="1757"/>
                  </a:lnTo>
                  <a:lnTo>
                    <a:pt x="453" y="1770"/>
                  </a:lnTo>
                  <a:lnTo>
                    <a:pt x="464" y="1773"/>
                  </a:lnTo>
                  <a:lnTo>
                    <a:pt x="461" y="1754"/>
                  </a:lnTo>
                  <a:lnTo>
                    <a:pt x="463" y="1737"/>
                  </a:lnTo>
                  <a:lnTo>
                    <a:pt x="453" y="1711"/>
                  </a:lnTo>
                  <a:lnTo>
                    <a:pt x="433" y="1721"/>
                  </a:lnTo>
                  <a:lnTo>
                    <a:pt x="435" y="1728"/>
                  </a:lnTo>
                  <a:lnTo>
                    <a:pt x="426" y="1751"/>
                  </a:lnTo>
                  <a:lnTo>
                    <a:pt x="435" y="1760"/>
                  </a:lnTo>
                  <a:lnTo>
                    <a:pt x="438" y="1746"/>
                  </a:lnTo>
                  <a:lnTo>
                    <a:pt x="444" y="1750"/>
                  </a:lnTo>
                  <a:lnTo>
                    <a:pt x="444" y="1736"/>
                  </a:lnTo>
                  <a:lnTo>
                    <a:pt x="447" y="1750"/>
                  </a:lnTo>
                  <a:lnTo>
                    <a:pt x="443" y="1762"/>
                  </a:lnTo>
                  <a:close/>
                  <a:moveTo>
                    <a:pt x="381" y="1704"/>
                  </a:moveTo>
                  <a:lnTo>
                    <a:pt x="393" y="1723"/>
                  </a:lnTo>
                  <a:lnTo>
                    <a:pt x="390" y="1731"/>
                  </a:lnTo>
                  <a:lnTo>
                    <a:pt x="405" y="1748"/>
                  </a:lnTo>
                  <a:lnTo>
                    <a:pt x="390" y="1737"/>
                  </a:lnTo>
                  <a:lnTo>
                    <a:pt x="397" y="1754"/>
                  </a:lnTo>
                  <a:lnTo>
                    <a:pt x="416" y="1770"/>
                  </a:lnTo>
                  <a:lnTo>
                    <a:pt x="409" y="1788"/>
                  </a:lnTo>
                  <a:lnTo>
                    <a:pt x="416" y="1788"/>
                  </a:lnTo>
                  <a:lnTo>
                    <a:pt x="414" y="1807"/>
                  </a:lnTo>
                  <a:lnTo>
                    <a:pt x="404" y="1808"/>
                  </a:lnTo>
                  <a:lnTo>
                    <a:pt x="399" y="1785"/>
                  </a:lnTo>
                  <a:lnTo>
                    <a:pt x="392" y="1787"/>
                  </a:lnTo>
                  <a:lnTo>
                    <a:pt x="385" y="1770"/>
                  </a:lnTo>
                  <a:lnTo>
                    <a:pt x="360" y="1758"/>
                  </a:lnTo>
                  <a:lnTo>
                    <a:pt x="370" y="1754"/>
                  </a:lnTo>
                  <a:lnTo>
                    <a:pt x="368" y="1745"/>
                  </a:lnTo>
                  <a:lnTo>
                    <a:pt x="372" y="1740"/>
                  </a:lnTo>
                  <a:lnTo>
                    <a:pt x="351" y="1733"/>
                  </a:lnTo>
                  <a:lnTo>
                    <a:pt x="358" y="1721"/>
                  </a:lnTo>
                  <a:lnTo>
                    <a:pt x="358" y="1694"/>
                  </a:lnTo>
                  <a:lnTo>
                    <a:pt x="334" y="1711"/>
                  </a:lnTo>
                  <a:lnTo>
                    <a:pt x="345" y="1689"/>
                  </a:lnTo>
                  <a:lnTo>
                    <a:pt x="342" y="1677"/>
                  </a:lnTo>
                  <a:lnTo>
                    <a:pt x="360" y="1678"/>
                  </a:lnTo>
                  <a:lnTo>
                    <a:pt x="365" y="1683"/>
                  </a:lnTo>
                  <a:lnTo>
                    <a:pt x="365" y="1699"/>
                  </a:lnTo>
                  <a:lnTo>
                    <a:pt x="381" y="1704"/>
                  </a:lnTo>
                  <a:close/>
                  <a:moveTo>
                    <a:pt x="272" y="1530"/>
                  </a:moveTo>
                  <a:lnTo>
                    <a:pt x="277" y="1543"/>
                  </a:lnTo>
                  <a:lnTo>
                    <a:pt x="266" y="1539"/>
                  </a:lnTo>
                  <a:lnTo>
                    <a:pt x="274" y="1553"/>
                  </a:lnTo>
                  <a:lnTo>
                    <a:pt x="277" y="1560"/>
                  </a:lnTo>
                  <a:lnTo>
                    <a:pt x="277" y="1582"/>
                  </a:lnTo>
                  <a:lnTo>
                    <a:pt x="241" y="1555"/>
                  </a:lnTo>
                  <a:lnTo>
                    <a:pt x="246" y="1581"/>
                  </a:lnTo>
                  <a:lnTo>
                    <a:pt x="241" y="1587"/>
                  </a:lnTo>
                  <a:lnTo>
                    <a:pt x="231" y="1582"/>
                  </a:lnTo>
                  <a:lnTo>
                    <a:pt x="235" y="1577"/>
                  </a:lnTo>
                  <a:lnTo>
                    <a:pt x="215" y="1551"/>
                  </a:lnTo>
                  <a:lnTo>
                    <a:pt x="214" y="1539"/>
                  </a:lnTo>
                  <a:lnTo>
                    <a:pt x="221" y="1539"/>
                  </a:lnTo>
                  <a:lnTo>
                    <a:pt x="212" y="1523"/>
                  </a:lnTo>
                  <a:lnTo>
                    <a:pt x="214" y="1517"/>
                  </a:lnTo>
                  <a:lnTo>
                    <a:pt x="218" y="1526"/>
                  </a:lnTo>
                  <a:lnTo>
                    <a:pt x="235" y="1509"/>
                  </a:lnTo>
                  <a:lnTo>
                    <a:pt x="251" y="1525"/>
                  </a:lnTo>
                  <a:lnTo>
                    <a:pt x="272" y="1530"/>
                  </a:lnTo>
                  <a:close/>
                  <a:moveTo>
                    <a:pt x="382" y="1670"/>
                  </a:moveTo>
                  <a:lnTo>
                    <a:pt x="384" y="1680"/>
                  </a:lnTo>
                  <a:lnTo>
                    <a:pt x="381" y="1682"/>
                  </a:lnTo>
                  <a:lnTo>
                    <a:pt x="367" y="1674"/>
                  </a:lnTo>
                  <a:lnTo>
                    <a:pt x="382" y="1670"/>
                  </a:lnTo>
                  <a:close/>
                  <a:moveTo>
                    <a:pt x="376" y="1640"/>
                  </a:moveTo>
                  <a:lnTo>
                    <a:pt x="387" y="1658"/>
                  </a:lnTo>
                  <a:lnTo>
                    <a:pt x="375" y="1657"/>
                  </a:lnTo>
                  <a:lnTo>
                    <a:pt x="373" y="1638"/>
                  </a:lnTo>
                  <a:lnTo>
                    <a:pt x="376" y="1640"/>
                  </a:lnTo>
                  <a:close/>
                  <a:moveTo>
                    <a:pt x="325" y="1618"/>
                  </a:moveTo>
                  <a:lnTo>
                    <a:pt x="328" y="1613"/>
                  </a:lnTo>
                  <a:lnTo>
                    <a:pt x="364" y="1623"/>
                  </a:lnTo>
                  <a:lnTo>
                    <a:pt x="368" y="1650"/>
                  </a:lnTo>
                  <a:lnTo>
                    <a:pt x="353" y="1636"/>
                  </a:lnTo>
                  <a:lnTo>
                    <a:pt x="362" y="1665"/>
                  </a:lnTo>
                  <a:lnTo>
                    <a:pt x="343" y="1667"/>
                  </a:lnTo>
                  <a:lnTo>
                    <a:pt x="338" y="1633"/>
                  </a:lnTo>
                  <a:lnTo>
                    <a:pt x="330" y="1632"/>
                  </a:lnTo>
                  <a:lnTo>
                    <a:pt x="325" y="1618"/>
                  </a:lnTo>
                  <a:close/>
                  <a:moveTo>
                    <a:pt x="316" y="1653"/>
                  </a:moveTo>
                  <a:lnTo>
                    <a:pt x="304" y="1643"/>
                  </a:lnTo>
                  <a:lnTo>
                    <a:pt x="304" y="1633"/>
                  </a:lnTo>
                  <a:lnTo>
                    <a:pt x="314" y="1629"/>
                  </a:lnTo>
                  <a:lnTo>
                    <a:pt x="322" y="1641"/>
                  </a:lnTo>
                  <a:lnTo>
                    <a:pt x="331" y="1640"/>
                  </a:lnTo>
                  <a:lnTo>
                    <a:pt x="333" y="1653"/>
                  </a:lnTo>
                  <a:lnTo>
                    <a:pt x="325" y="1652"/>
                  </a:lnTo>
                  <a:lnTo>
                    <a:pt x="325" y="1695"/>
                  </a:lnTo>
                  <a:lnTo>
                    <a:pt x="322" y="1683"/>
                  </a:lnTo>
                  <a:lnTo>
                    <a:pt x="314" y="1682"/>
                  </a:lnTo>
                  <a:lnTo>
                    <a:pt x="313" y="1669"/>
                  </a:lnTo>
                  <a:lnTo>
                    <a:pt x="321" y="1661"/>
                  </a:lnTo>
                  <a:lnTo>
                    <a:pt x="313" y="1655"/>
                  </a:lnTo>
                  <a:lnTo>
                    <a:pt x="316" y="1653"/>
                  </a:lnTo>
                  <a:close/>
                  <a:moveTo>
                    <a:pt x="296" y="1570"/>
                  </a:moveTo>
                  <a:lnTo>
                    <a:pt x="287" y="1531"/>
                  </a:lnTo>
                  <a:lnTo>
                    <a:pt x="291" y="1523"/>
                  </a:lnTo>
                  <a:lnTo>
                    <a:pt x="304" y="1521"/>
                  </a:lnTo>
                  <a:lnTo>
                    <a:pt x="313" y="1523"/>
                  </a:lnTo>
                  <a:lnTo>
                    <a:pt x="325" y="1547"/>
                  </a:lnTo>
                  <a:lnTo>
                    <a:pt x="331" y="1573"/>
                  </a:lnTo>
                  <a:lnTo>
                    <a:pt x="311" y="1531"/>
                  </a:lnTo>
                  <a:lnTo>
                    <a:pt x="311" y="1550"/>
                  </a:lnTo>
                  <a:lnTo>
                    <a:pt x="328" y="1579"/>
                  </a:lnTo>
                  <a:lnTo>
                    <a:pt x="321" y="1582"/>
                  </a:lnTo>
                  <a:lnTo>
                    <a:pt x="326" y="1592"/>
                  </a:lnTo>
                  <a:lnTo>
                    <a:pt x="316" y="1589"/>
                  </a:lnTo>
                  <a:lnTo>
                    <a:pt x="316" y="1604"/>
                  </a:lnTo>
                  <a:lnTo>
                    <a:pt x="311" y="1599"/>
                  </a:lnTo>
                  <a:lnTo>
                    <a:pt x="299" y="1616"/>
                  </a:lnTo>
                  <a:lnTo>
                    <a:pt x="294" y="1610"/>
                  </a:lnTo>
                  <a:lnTo>
                    <a:pt x="297" y="1592"/>
                  </a:lnTo>
                  <a:lnTo>
                    <a:pt x="305" y="1587"/>
                  </a:lnTo>
                  <a:lnTo>
                    <a:pt x="299" y="1581"/>
                  </a:lnTo>
                  <a:lnTo>
                    <a:pt x="308" y="1572"/>
                  </a:lnTo>
                  <a:lnTo>
                    <a:pt x="296" y="1570"/>
                  </a:lnTo>
                  <a:close/>
                  <a:moveTo>
                    <a:pt x="282" y="1599"/>
                  </a:moveTo>
                  <a:lnTo>
                    <a:pt x="292" y="1657"/>
                  </a:lnTo>
                  <a:lnTo>
                    <a:pt x="289" y="1687"/>
                  </a:lnTo>
                  <a:lnTo>
                    <a:pt x="285" y="1687"/>
                  </a:lnTo>
                  <a:lnTo>
                    <a:pt x="275" y="1658"/>
                  </a:lnTo>
                  <a:lnTo>
                    <a:pt x="282" y="1636"/>
                  </a:lnTo>
                  <a:lnTo>
                    <a:pt x="274" y="1646"/>
                  </a:lnTo>
                  <a:lnTo>
                    <a:pt x="262" y="1632"/>
                  </a:lnTo>
                  <a:lnTo>
                    <a:pt x="266" y="1616"/>
                  </a:lnTo>
                  <a:lnTo>
                    <a:pt x="248" y="1592"/>
                  </a:lnTo>
                  <a:lnTo>
                    <a:pt x="255" y="1577"/>
                  </a:lnTo>
                  <a:lnTo>
                    <a:pt x="282" y="1599"/>
                  </a:lnTo>
                  <a:close/>
                  <a:moveTo>
                    <a:pt x="545" y="1955"/>
                  </a:moveTo>
                  <a:lnTo>
                    <a:pt x="554" y="1978"/>
                  </a:lnTo>
                  <a:lnTo>
                    <a:pt x="543" y="1961"/>
                  </a:lnTo>
                  <a:lnTo>
                    <a:pt x="545" y="1955"/>
                  </a:lnTo>
                  <a:close/>
                  <a:moveTo>
                    <a:pt x="517" y="1893"/>
                  </a:moveTo>
                  <a:lnTo>
                    <a:pt x="531" y="1909"/>
                  </a:lnTo>
                  <a:lnTo>
                    <a:pt x="528" y="1927"/>
                  </a:lnTo>
                  <a:lnTo>
                    <a:pt x="507" y="1885"/>
                  </a:lnTo>
                  <a:lnTo>
                    <a:pt x="497" y="1876"/>
                  </a:lnTo>
                  <a:lnTo>
                    <a:pt x="503" y="1875"/>
                  </a:lnTo>
                  <a:lnTo>
                    <a:pt x="517" y="1893"/>
                  </a:lnTo>
                  <a:close/>
                  <a:moveTo>
                    <a:pt x="483" y="1893"/>
                  </a:moveTo>
                  <a:lnTo>
                    <a:pt x="507" y="1906"/>
                  </a:lnTo>
                  <a:lnTo>
                    <a:pt x="517" y="1929"/>
                  </a:lnTo>
                  <a:lnTo>
                    <a:pt x="483" y="1893"/>
                  </a:lnTo>
                  <a:close/>
                  <a:moveTo>
                    <a:pt x="478" y="1868"/>
                  </a:moveTo>
                  <a:lnTo>
                    <a:pt x="489" y="1858"/>
                  </a:lnTo>
                  <a:lnTo>
                    <a:pt x="495" y="1872"/>
                  </a:lnTo>
                  <a:lnTo>
                    <a:pt x="490" y="1876"/>
                  </a:lnTo>
                  <a:lnTo>
                    <a:pt x="478" y="1868"/>
                  </a:lnTo>
                  <a:close/>
                  <a:moveTo>
                    <a:pt x="624" y="2136"/>
                  </a:moveTo>
                  <a:lnTo>
                    <a:pt x="624" y="2119"/>
                  </a:lnTo>
                  <a:lnTo>
                    <a:pt x="602" y="2113"/>
                  </a:lnTo>
                  <a:lnTo>
                    <a:pt x="597" y="2124"/>
                  </a:lnTo>
                  <a:lnTo>
                    <a:pt x="585" y="2115"/>
                  </a:lnTo>
                  <a:lnTo>
                    <a:pt x="588" y="2107"/>
                  </a:lnTo>
                  <a:lnTo>
                    <a:pt x="600" y="2102"/>
                  </a:lnTo>
                  <a:lnTo>
                    <a:pt x="710" y="2139"/>
                  </a:lnTo>
                  <a:lnTo>
                    <a:pt x="744" y="2183"/>
                  </a:lnTo>
                  <a:lnTo>
                    <a:pt x="749" y="2198"/>
                  </a:lnTo>
                  <a:lnTo>
                    <a:pt x="797" y="2229"/>
                  </a:lnTo>
                  <a:lnTo>
                    <a:pt x="807" y="2259"/>
                  </a:lnTo>
                  <a:lnTo>
                    <a:pt x="812" y="2259"/>
                  </a:lnTo>
                  <a:lnTo>
                    <a:pt x="817" y="2269"/>
                  </a:lnTo>
                  <a:lnTo>
                    <a:pt x="802" y="2282"/>
                  </a:lnTo>
                  <a:lnTo>
                    <a:pt x="751" y="2259"/>
                  </a:lnTo>
                  <a:lnTo>
                    <a:pt x="756" y="2248"/>
                  </a:lnTo>
                  <a:lnTo>
                    <a:pt x="746" y="2254"/>
                  </a:lnTo>
                  <a:lnTo>
                    <a:pt x="738" y="2246"/>
                  </a:lnTo>
                  <a:lnTo>
                    <a:pt x="746" y="2235"/>
                  </a:lnTo>
                  <a:lnTo>
                    <a:pt x="715" y="2237"/>
                  </a:lnTo>
                  <a:lnTo>
                    <a:pt x="707" y="2231"/>
                  </a:lnTo>
                  <a:lnTo>
                    <a:pt x="719" y="2229"/>
                  </a:lnTo>
                  <a:lnTo>
                    <a:pt x="707" y="2215"/>
                  </a:lnTo>
                  <a:lnTo>
                    <a:pt x="673" y="2205"/>
                  </a:lnTo>
                  <a:lnTo>
                    <a:pt x="670" y="2195"/>
                  </a:lnTo>
                  <a:lnTo>
                    <a:pt x="693" y="2188"/>
                  </a:lnTo>
                  <a:lnTo>
                    <a:pt x="678" y="2186"/>
                  </a:lnTo>
                  <a:lnTo>
                    <a:pt x="675" y="2180"/>
                  </a:lnTo>
                  <a:lnTo>
                    <a:pt x="670" y="2183"/>
                  </a:lnTo>
                  <a:lnTo>
                    <a:pt x="653" y="2167"/>
                  </a:lnTo>
                  <a:lnTo>
                    <a:pt x="647" y="2173"/>
                  </a:lnTo>
                  <a:lnTo>
                    <a:pt x="641" y="2167"/>
                  </a:lnTo>
                  <a:lnTo>
                    <a:pt x="644" y="2156"/>
                  </a:lnTo>
                  <a:lnTo>
                    <a:pt x="636" y="2150"/>
                  </a:lnTo>
                  <a:lnTo>
                    <a:pt x="633" y="2159"/>
                  </a:lnTo>
                  <a:lnTo>
                    <a:pt x="628" y="2150"/>
                  </a:lnTo>
                  <a:lnTo>
                    <a:pt x="611" y="2155"/>
                  </a:lnTo>
                  <a:lnTo>
                    <a:pt x="611" y="2141"/>
                  </a:lnTo>
                  <a:lnTo>
                    <a:pt x="605" y="2132"/>
                  </a:lnTo>
                  <a:lnTo>
                    <a:pt x="624" y="2136"/>
                  </a:lnTo>
                  <a:close/>
                  <a:moveTo>
                    <a:pt x="2135" y="1358"/>
                  </a:moveTo>
                  <a:lnTo>
                    <a:pt x="2094" y="1358"/>
                  </a:lnTo>
                  <a:lnTo>
                    <a:pt x="2051" y="1358"/>
                  </a:lnTo>
                  <a:lnTo>
                    <a:pt x="2008" y="1358"/>
                  </a:lnTo>
                  <a:lnTo>
                    <a:pt x="1965" y="1358"/>
                  </a:lnTo>
                  <a:lnTo>
                    <a:pt x="1926" y="1358"/>
                  </a:lnTo>
                  <a:lnTo>
                    <a:pt x="1886" y="1358"/>
                  </a:lnTo>
                  <a:lnTo>
                    <a:pt x="1841" y="1358"/>
                  </a:lnTo>
                  <a:lnTo>
                    <a:pt x="1799" y="1358"/>
                  </a:lnTo>
                  <a:lnTo>
                    <a:pt x="2135" y="1358"/>
                  </a:lnTo>
                  <a:close/>
                  <a:moveTo>
                    <a:pt x="3359" y="1315"/>
                  </a:moveTo>
                  <a:lnTo>
                    <a:pt x="3356" y="1333"/>
                  </a:lnTo>
                  <a:lnTo>
                    <a:pt x="3376" y="1316"/>
                  </a:lnTo>
                  <a:lnTo>
                    <a:pt x="3374" y="1304"/>
                  </a:lnTo>
                  <a:lnTo>
                    <a:pt x="3359" y="1315"/>
                  </a:lnTo>
                  <a:close/>
                  <a:moveTo>
                    <a:pt x="2723" y="1935"/>
                  </a:moveTo>
                  <a:lnTo>
                    <a:pt x="2744" y="1931"/>
                  </a:lnTo>
                  <a:lnTo>
                    <a:pt x="2765" y="1935"/>
                  </a:lnTo>
                  <a:lnTo>
                    <a:pt x="2780" y="1968"/>
                  </a:lnTo>
                  <a:lnTo>
                    <a:pt x="2763" y="1966"/>
                  </a:lnTo>
                  <a:lnTo>
                    <a:pt x="2744" y="1952"/>
                  </a:lnTo>
                  <a:lnTo>
                    <a:pt x="2717" y="1944"/>
                  </a:lnTo>
                  <a:lnTo>
                    <a:pt x="2723" y="1935"/>
                  </a:lnTo>
                  <a:close/>
                  <a:moveTo>
                    <a:pt x="3229" y="1092"/>
                  </a:moveTo>
                  <a:lnTo>
                    <a:pt x="3258" y="1106"/>
                  </a:lnTo>
                  <a:lnTo>
                    <a:pt x="3246" y="1113"/>
                  </a:lnTo>
                  <a:lnTo>
                    <a:pt x="3229" y="1092"/>
                  </a:lnTo>
                  <a:close/>
                  <a:moveTo>
                    <a:pt x="3503" y="1197"/>
                  </a:moveTo>
                  <a:lnTo>
                    <a:pt x="3518" y="1209"/>
                  </a:lnTo>
                  <a:lnTo>
                    <a:pt x="3516" y="1230"/>
                  </a:lnTo>
                  <a:lnTo>
                    <a:pt x="3482" y="1213"/>
                  </a:lnTo>
                  <a:lnTo>
                    <a:pt x="3482" y="1205"/>
                  </a:lnTo>
                  <a:lnTo>
                    <a:pt x="3503" y="1197"/>
                  </a:lnTo>
                  <a:close/>
                  <a:moveTo>
                    <a:pt x="2812" y="1135"/>
                  </a:moveTo>
                  <a:lnTo>
                    <a:pt x="2803" y="1143"/>
                  </a:lnTo>
                  <a:lnTo>
                    <a:pt x="2799" y="1191"/>
                  </a:lnTo>
                  <a:lnTo>
                    <a:pt x="2820" y="1213"/>
                  </a:lnTo>
                  <a:lnTo>
                    <a:pt x="2842" y="1142"/>
                  </a:lnTo>
                  <a:lnTo>
                    <a:pt x="2812" y="1135"/>
                  </a:lnTo>
                  <a:close/>
                  <a:moveTo>
                    <a:pt x="2697" y="1078"/>
                  </a:moveTo>
                  <a:lnTo>
                    <a:pt x="2663" y="1096"/>
                  </a:lnTo>
                  <a:lnTo>
                    <a:pt x="2638" y="1159"/>
                  </a:lnTo>
                  <a:lnTo>
                    <a:pt x="2667" y="1151"/>
                  </a:lnTo>
                  <a:lnTo>
                    <a:pt x="2684" y="1138"/>
                  </a:lnTo>
                  <a:lnTo>
                    <a:pt x="2689" y="1120"/>
                  </a:lnTo>
                  <a:lnTo>
                    <a:pt x="2715" y="1101"/>
                  </a:lnTo>
                  <a:lnTo>
                    <a:pt x="2721" y="1081"/>
                  </a:lnTo>
                  <a:lnTo>
                    <a:pt x="2697" y="1078"/>
                  </a:lnTo>
                  <a:close/>
                  <a:moveTo>
                    <a:pt x="2932" y="998"/>
                  </a:moveTo>
                  <a:lnTo>
                    <a:pt x="2963" y="1011"/>
                  </a:lnTo>
                  <a:lnTo>
                    <a:pt x="2966" y="1028"/>
                  </a:lnTo>
                  <a:lnTo>
                    <a:pt x="2947" y="1024"/>
                  </a:lnTo>
                  <a:lnTo>
                    <a:pt x="2932" y="998"/>
                  </a:lnTo>
                  <a:close/>
                  <a:moveTo>
                    <a:pt x="2885" y="1030"/>
                  </a:moveTo>
                  <a:lnTo>
                    <a:pt x="2917" y="1027"/>
                  </a:lnTo>
                  <a:lnTo>
                    <a:pt x="2927" y="1049"/>
                  </a:lnTo>
                  <a:lnTo>
                    <a:pt x="2913" y="1061"/>
                  </a:lnTo>
                  <a:lnTo>
                    <a:pt x="2885" y="1030"/>
                  </a:lnTo>
                  <a:close/>
                  <a:moveTo>
                    <a:pt x="2509" y="482"/>
                  </a:moveTo>
                  <a:lnTo>
                    <a:pt x="2514" y="529"/>
                  </a:lnTo>
                  <a:lnTo>
                    <a:pt x="2511" y="543"/>
                  </a:lnTo>
                  <a:lnTo>
                    <a:pt x="2494" y="529"/>
                  </a:lnTo>
                  <a:lnTo>
                    <a:pt x="2494" y="485"/>
                  </a:lnTo>
                  <a:lnTo>
                    <a:pt x="2500" y="475"/>
                  </a:lnTo>
                  <a:lnTo>
                    <a:pt x="2509" y="482"/>
                  </a:lnTo>
                  <a:close/>
                  <a:moveTo>
                    <a:pt x="2803" y="286"/>
                  </a:moveTo>
                  <a:lnTo>
                    <a:pt x="2841" y="294"/>
                  </a:lnTo>
                  <a:lnTo>
                    <a:pt x="2820" y="312"/>
                  </a:lnTo>
                  <a:lnTo>
                    <a:pt x="2812" y="306"/>
                  </a:lnTo>
                  <a:lnTo>
                    <a:pt x="2812" y="328"/>
                  </a:lnTo>
                  <a:lnTo>
                    <a:pt x="2790" y="287"/>
                  </a:lnTo>
                  <a:lnTo>
                    <a:pt x="2803" y="286"/>
                  </a:lnTo>
                  <a:close/>
                  <a:moveTo>
                    <a:pt x="2879" y="360"/>
                  </a:moveTo>
                  <a:lnTo>
                    <a:pt x="2868" y="392"/>
                  </a:lnTo>
                  <a:lnTo>
                    <a:pt x="2839" y="403"/>
                  </a:lnTo>
                  <a:lnTo>
                    <a:pt x="2849" y="378"/>
                  </a:lnTo>
                  <a:lnTo>
                    <a:pt x="2870" y="357"/>
                  </a:lnTo>
                  <a:lnTo>
                    <a:pt x="2888" y="361"/>
                  </a:lnTo>
                  <a:lnTo>
                    <a:pt x="2891" y="343"/>
                  </a:lnTo>
                  <a:lnTo>
                    <a:pt x="2878" y="341"/>
                  </a:lnTo>
                  <a:lnTo>
                    <a:pt x="2873" y="355"/>
                  </a:lnTo>
                  <a:lnTo>
                    <a:pt x="2879" y="360"/>
                  </a:lnTo>
                  <a:close/>
                  <a:moveTo>
                    <a:pt x="3054" y="514"/>
                  </a:moveTo>
                  <a:lnTo>
                    <a:pt x="3074" y="496"/>
                  </a:lnTo>
                  <a:lnTo>
                    <a:pt x="3105" y="518"/>
                  </a:lnTo>
                  <a:lnTo>
                    <a:pt x="3111" y="538"/>
                  </a:lnTo>
                  <a:lnTo>
                    <a:pt x="3069" y="541"/>
                  </a:lnTo>
                  <a:lnTo>
                    <a:pt x="3056" y="529"/>
                  </a:lnTo>
                  <a:lnTo>
                    <a:pt x="3054" y="514"/>
                  </a:lnTo>
                  <a:close/>
                  <a:moveTo>
                    <a:pt x="2981" y="476"/>
                  </a:moveTo>
                  <a:lnTo>
                    <a:pt x="3031" y="488"/>
                  </a:lnTo>
                  <a:lnTo>
                    <a:pt x="3039" y="516"/>
                  </a:lnTo>
                  <a:lnTo>
                    <a:pt x="3037" y="573"/>
                  </a:lnTo>
                  <a:lnTo>
                    <a:pt x="3012" y="602"/>
                  </a:lnTo>
                  <a:lnTo>
                    <a:pt x="2950" y="602"/>
                  </a:lnTo>
                  <a:lnTo>
                    <a:pt x="2939" y="566"/>
                  </a:lnTo>
                  <a:lnTo>
                    <a:pt x="2939" y="535"/>
                  </a:lnTo>
                  <a:lnTo>
                    <a:pt x="2964" y="484"/>
                  </a:lnTo>
                  <a:lnTo>
                    <a:pt x="2981" y="476"/>
                  </a:lnTo>
                  <a:close/>
                  <a:moveTo>
                    <a:pt x="2636" y="753"/>
                  </a:moveTo>
                  <a:lnTo>
                    <a:pt x="2661" y="792"/>
                  </a:lnTo>
                  <a:lnTo>
                    <a:pt x="2641" y="790"/>
                  </a:lnTo>
                  <a:lnTo>
                    <a:pt x="2625" y="771"/>
                  </a:lnTo>
                  <a:lnTo>
                    <a:pt x="2608" y="736"/>
                  </a:lnTo>
                  <a:lnTo>
                    <a:pt x="2636" y="753"/>
                  </a:lnTo>
                  <a:close/>
                  <a:moveTo>
                    <a:pt x="2353" y="0"/>
                  </a:moveTo>
                  <a:lnTo>
                    <a:pt x="2524" y="0"/>
                  </a:lnTo>
                  <a:lnTo>
                    <a:pt x="2560" y="52"/>
                  </a:lnTo>
                  <a:lnTo>
                    <a:pt x="2574" y="55"/>
                  </a:lnTo>
                  <a:lnTo>
                    <a:pt x="2582" y="80"/>
                  </a:lnTo>
                  <a:lnTo>
                    <a:pt x="2536" y="92"/>
                  </a:lnTo>
                  <a:lnTo>
                    <a:pt x="2506" y="118"/>
                  </a:lnTo>
                  <a:lnTo>
                    <a:pt x="2579" y="95"/>
                  </a:lnTo>
                  <a:lnTo>
                    <a:pt x="2582" y="101"/>
                  </a:lnTo>
                  <a:lnTo>
                    <a:pt x="2577" y="123"/>
                  </a:lnTo>
                  <a:lnTo>
                    <a:pt x="2582" y="129"/>
                  </a:lnTo>
                  <a:lnTo>
                    <a:pt x="2588" y="111"/>
                  </a:lnTo>
                  <a:lnTo>
                    <a:pt x="2588" y="69"/>
                  </a:lnTo>
                  <a:lnTo>
                    <a:pt x="2596" y="40"/>
                  </a:lnTo>
                  <a:lnTo>
                    <a:pt x="2593" y="29"/>
                  </a:lnTo>
                  <a:lnTo>
                    <a:pt x="2563" y="23"/>
                  </a:lnTo>
                  <a:lnTo>
                    <a:pt x="2549" y="0"/>
                  </a:lnTo>
                  <a:lnTo>
                    <a:pt x="3070" y="0"/>
                  </a:lnTo>
                  <a:lnTo>
                    <a:pt x="3056" y="16"/>
                  </a:lnTo>
                  <a:lnTo>
                    <a:pt x="3054" y="33"/>
                  </a:lnTo>
                  <a:lnTo>
                    <a:pt x="3074" y="10"/>
                  </a:lnTo>
                  <a:lnTo>
                    <a:pt x="3110" y="6"/>
                  </a:lnTo>
                  <a:lnTo>
                    <a:pt x="3086" y="55"/>
                  </a:lnTo>
                  <a:lnTo>
                    <a:pt x="3108" y="40"/>
                  </a:lnTo>
                  <a:lnTo>
                    <a:pt x="3105" y="60"/>
                  </a:lnTo>
                  <a:lnTo>
                    <a:pt x="3125" y="77"/>
                  </a:lnTo>
                  <a:lnTo>
                    <a:pt x="3122" y="43"/>
                  </a:lnTo>
                  <a:lnTo>
                    <a:pt x="3144" y="44"/>
                  </a:lnTo>
                  <a:lnTo>
                    <a:pt x="3157" y="20"/>
                  </a:lnTo>
                  <a:lnTo>
                    <a:pt x="3210" y="50"/>
                  </a:lnTo>
                  <a:lnTo>
                    <a:pt x="3225" y="89"/>
                  </a:lnTo>
                  <a:lnTo>
                    <a:pt x="3222" y="100"/>
                  </a:lnTo>
                  <a:lnTo>
                    <a:pt x="3178" y="114"/>
                  </a:lnTo>
                  <a:lnTo>
                    <a:pt x="3210" y="128"/>
                  </a:lnTo>
                  <a:lnTo>
                    <a:pt x="3246" y="116"/>
                  </a:lnTo>
                  <a:lnTo>
                    <a:pt x="3249" y="131"/>
                  </a:lnTo>
                  <a:lnTo>
                    <a:pt x="3235" y="170"/>
                  </a:lnTo>
                  <a:lnTo>
                    <a:pt x="3280" y="143"/>
                  </a:lnTo>
                  <a:lnTo>
                    <a:pt x="3256" y="188"/>
                  </a:lnTo>
                  <a:lnTo>
                    <a:pt x="3297" y="155"/>
                  </a:lnTo>
                  <a:lnTo>
                    <a:pt x="3346" y="179"/>
                  </a:lnTo>
                  <a:lnTo>
                    <a:pt x="3343" y="208"/>
                  </a:lnTo>
                  <a:lnTo>
                    <a:pt x="3335" y="197"/>
                  </a:lnTo>
                  <a:lnTo>
                    <a:pt x="3329" y="216"/>
                  </a:lnTo>
                  <a:lnTo>
                    <a:pt x="3292" y="236"/>
                  </a:lnTo>
                  <a:lnTo>
                    <a:pt x="3337" y="233"/>
                  </a:lnTo>
                  <a:lnTo>
                    <a:pt x="3322" y="265"/>
                  </a:lnTo>
                  <a:lnTo>
                    <a:pt x="3335" y="265"/>
                  </a:lnTo>
                  <a:lnTo>
                    <a:pt x="3356" y="244"/>
                  </a:lnTo>
                  <a:lnTo>
                    <a:pt x="3354" y="231"/>
                  </a:lnTo>
                  <a:lnTo>
                    <a:pt x="3360" y="218"/>
                  </a:lnTo>
                  <a:lnTo>
                    <a:pt x="3376" y="227"/>
                  </a:lnTo>
                  <a:lnTo>
                    <a:pt x="3406" y="269"/>
                  </a:lnTo>
                  <a:lnTo>
                    <a:pt x="3411" y="281"/>
                  </a:lnTo>
                  <a:lnTo>
                    <a:pt x="3403" y="295"/>
                  </a:lnTo>
                  <a:lnTo>
                    <a:pt x="3373" y="290"/>
                  </a:lnTo>
                  <a:lnTo>
                    <a:pt x="3329" y="320"/>
                  </a:lnTo>
                  <a:lnTo>
                    <a:pt x="3337" y="312"/>
                  </a:lnTo>
                  <a:lnTo>
                    <a:pt x="3359" y="335"/>
                  </a:lnTo>
                  <a:lnTo>
                    <a:pt x="3365" y="324"/>
                  </a:lnTo>
                  <a:lnTo>
                    <a:pt x="3413" y="332"/>
                  </a:lnTo>
                  <a:lnTo>
                    <a:pt x="3439" y="353"/>
                  </a:lnTo>
                  <a:lnTo>
                    <a:pt x="3433" y="368"/>
                  </a:lnTo>
                  <a:lnTo>
                    <a:pt x="3394" y="370"/>
                  </a:lnTo>
                  <a:lnTo>
                    <a:pt x="3366" y="353"/>
                  </a:lnTo>
                  <a:lnTo>
                    <a:pt x="3368" y="363"/>
                  </a:lnTo>
                  <a:lnTo>
                    <a:pt x="3343" y="366"/>
                  </a:lnTo>
                  <a:lnTo>
                    <a:pt x="3379" y="391"/>
                  </a:lnTo>
                  <a:lnTo>
                    <a:pt x="3360" y="403"/>
                  </a:lnTo>
                  <a:lnTo>
                    <a:pt x="3383" y="429"/>
                  </a:lnTo>
                  <a:lnTo>
                    <a:pt x="3352" y="439"/>
                  </a:lnTo>
                  <a:lnTo>
                    <a:pt x="3428" y="468"/>
                  </a:lnTo>
                  <a:lnTo>
                    <a:pt x="3420" y="487"/>
                  </a:lnTo>
                  <a:lnTo>
                    <a:pt x="3453" y="487"/>
                  </a:lnTo>
                  <a:lnTo>
                    <a:pt x="3459" y="501"/>
                  </a:lnTo>
                  <a:lnTo>
                    <a:pt x="3448" y="514"/>
                  </a:lnTo>
                  <a:lnTo>
                    <a:pt x="3462" y="527"/>
                  </a:lnTo>
                  <a:lnTo>
                    <a:pt x="3508" y="509"/>
                  </a:lnTo>
                  <a:lnTo>
                    <a:pt x="3501" y="536"/>
                  </a:lnTo>
                  <a:lnTo>
                    <a:pt x="3532" y="541"/>
                  </a:lnTo>
                  <a:lnTo>
                    <a:pt x="3557" y="587"/>
                  </a:lnTo>
                  <a:lnTo>
                    <a:pt x="3542" y="602"/>
                  </a:lnTo>
                  <a:lnTo>
                    <a:pt x="3544" y="611"/>
                  </a:lnTo>
                  <a:lnTo>
                    <a:pt x="3598" y="602"/>
                  </a:lnTo>
                  <a:lnTo>
                    <a:pt x="3584" y="648"/>
                  </a:lnTo>
                  <a:lnTo>
                    <a:pt x="3637" y="637"/>
                  </a:lnTo>
                  <a:lnTo>
                    <a:pt x="3674" y="680"/>
                  </a:lnTo>
                  <a:lnTo>
                    <a:pt x="3656" y="705"/>
                  </a:lnTo>
                  <a:lnTo>
                    <a:pt x="3664" y="716"/>
                  </a:lnTo>
                  <a:lnTo>
                    <a:pt x="3659" y="722"/>
                  </a:lnTo>
                  <a:lnTo>
                    <a:pt x="3632" y="719"/>
                  </a:lnTo>
                  <a:lnTo>
                    <a:pt x="3617" y="741"/>
                  </a:lnTo>
                  <a:lnTo>
                    <a:pt x="3635" y="739"/>
                  </a:lnTo>
                  <a:lnTo>
                    <a:pt x="3642" y="750"/>
                  </a:lnTo>
                  <a:lnTo>
                    <a:pt x="3626" y="754"/>
                  </a:lnTo>
                  <a:lnTo>
                    <a:pt x="3626" y="775"/>
                  </a:lnTo>
                  <a:lnTo>
                    <a:pt x="3617" y="778"/>
                  </a:lnTo>
                  <a:lnTo>
                    <a:pt x="3611" y="796"/>
                  </a:lnTo>
                  <a:lnTo>
                    <a:pt x="3580" y="778"/>
                  </a:lnTo>
                  <a:lnTo>
                    <a:pt x="3589" y="829"/>
                  </a:lnTo>
                  <a:lnTo>
                    <a:pt x="3581" y="829"/>
                  </a:lnTo>
                  <a:lnTo>
                    <a:pt x="3572" y="871"/>
                  </a:lnTo>
                  <a:lnTo>
                    <a:pt x="3557" y="847"/>
                  </a:lnTo>
                  <a:lnTo>
                    <a:pt x="3549" y="854"/>
                  </a:lnTo>
                  <a:lnTo>
                    <a:pt x="3542" y="834"/>
                  </a:lnTo>
                  <a:lnTo>
                    <a:pt x="3527" y="843"/>
                  </a:lnTo>
                  <a:lnTo>
                    <a:pt x="3518" y="829"/>
                  </a:lnTo>
                  <a:lnTo>
                    <a:pt x="3525" y="815"/>
                  </a:lnTo>
                  <a:lnTo>
                    <a:pt x="3523" y="807"/>
                  </a:lnTo>
                  <a:lnTo>
                    <a:pt x="3510" y="813"/>
                  </a:lnTo>
                  <a:lnTo>
                    <a:pt x="3491" y="785"/>
                  </a:lnTo>
                  <a:lnTo>
                    <a:pt x="3487" y="767"/>
                  </a:lnTo>
                  <a:lnTo>
                    <a:pt x="3491" y="751"/>
                  </a:lnTo>
                  <a:lnTo>
                    <a:pt x="3465" y="754"/>
                  </a:lnTo>
                  <a:lnTo>
                    <a:pt x="3462" y="737"/>
                  </a:lnTo>
                  <a:lnTo>
                    <a:pt x="3414" y="711"/>
                  </a:lnTo>
                  <a:lnTo>
                    <a:pt x="3420" y="690"/>
                  </a:lnTo>
                  <a:lnTo>
                    <a:pt x="3400" y="680"/>
                  </a:lnTo>
                  <a:lnTo>
                    <a:pt x="3393" y="688"/>
                  </a:lnTo>
                  <a:lnTo>
                    <a:pt x="3405" y="700"/>
                  </a:lnTo>
                  <a:lnTo>
                    <a:pt x="3397" y="699"/>
                  </a:lnTo>
                  <a:lnTo>
                    <a:pt x="3405" y="716"/>
                  </a:lnTo>
                  <a:lnTo>
                    <a:pt x="3379" y="697"/>
                  </a:lnTo>
                  <a:lnTo>
                    <a:pt x="3373" y="697"/>
                  </a:lnTo>
                  <a:lnTo>
                    <a:pt x="3376" y="707"/>
                  </a:lnTo>
                  <a:lnTo>
                    <a:pt x="3360" y="705"/>
                  </a:lnTo>
                  <a:lnTo>
                    <a:pt x="3368" y="720"/>
                  </a:lnTo>
                  <a:lnTo>
                    <a:pt x="3389" y="728"/>
                  </a:lnTo>
                  <a:lnTo>
                    <a:pt x="3408" y="754"/>
                  </a:lnTo>
                  <a:lnTo>
                    <a:pt x="3373" y="762"/>
                  </a:lnTo>
                  <a:lnTo>
                    <a:pt x="3371" y="793"/>
                  </a:lnTo>
                  <a:lnTo>
                    <a:pt x="3402" y="793"/>
                  </a:lnTo>
                  <a:lnTo>
                    <a:pt x="3400" y="809"/>
                  </a:lnTo>
                  <a:lnTo>
                    <a:pt x="3406" y="817"/>
                  </a:lnTo>
                  <a:lnTo>
                    <a:pt x="3402" y="818"/>
                  </a:lnTo>
                  <a:lnTo>
                    <a:pt x="3406" y="826"/>
                  </a:lnTo>
                  <a:lnTo>
                    <a:pt x="3403" y="835"/>
                  </a:lnTo>
                  <a:lnTo>
                    <a:pt x="3414" y="839"/>
                  </a:lnTo>
                  <a:lnTo>
                    <a:pt x="3428" y="881"/>
                  </a:lnTo>
                  <a:lnTo>
                    <a:pt x="3431" y="868"/>
                  </a:lnTo>
                  <a:lnTo>
                    <a:pt x="3456" y="868"/>
                  </a:lnTo>
                  <a:lnTo>
                    <a:pt x="3445" y="881"/>
                  </a:lnTo>
                  <a:lnTo>
                    <a:pt x="3476" y="875"/>
                  </a:lnTo>
                  <a:lnTo>
                    <a:pt x="3478" y="903"/>
                  </a:lnTo>
                  <a:lnTo>
                    <a:pt x="3491" y="891"/>
                  </a:lnTo>
                  <a:lnTo>
                    <a:pt x="3496" y="908"/>
                  </a:lnTo>
                  <a:lnTo>
                    <a:pt x="3507" y="905"/>
                  </a:lnTo>
                  <a:lnTo>
                    <a:pt x="3508" y="918"/>
                  </a:lnTo>
                  <a:lnTo>
                    <a:pt x="3504" y="932"/>
                  </a:lnTo>
                  <a:lnTo>
                    <a:pt x="3495" y="935"/>
                  </a:lnTo>
                  <a:lnTo>
                    <a:pt x="3496" y="951"/>
                  </a:lnTo>
                  <a:lnTo>
                    <a:pt x="3523" y="965"/>
                  </a:lnTo>
                  <a:lnTo>
                    <a:pt x="3533" y="998"/>
                  </a:lnTo>
                  <a:lnTo>
                    <a:pt x="3527" y="1025"/>
                  </a:lnTo>
                  <a:lnTo>
                    <a:pt x="3529" y="1042"/>
                  </a:lnTo>
                  <a:lnTo>
                    <a:pt x="3508" y="1022"/>
                  </a:lnTo>
                  <a:lnTo>
                    <a:pt x="3507" y="1044"/>
                  </a:lnTo>
                  <a:lnTo>
                    <a:pt x="3516" y="1069"/>
                  </a:lnTo>
                  <a:lnTo>
                    <a:pt x="3525" y="1067"/>
                  </a:lnTo>
                  <a:lnTo>
                    <a:pt x="3532" y="1075"/>
                  </a:lnTo>
                  <a:lnTo>
                    <a:pt x="3532" y="1086"/>
                  </a:lnTo>
                  <a:lnTo>
                    <a:pt x="3507" y="1081"/>
                  </a:lnTo>
                  <a:lnTo>
                    <a:pt x="3518" y="1113"/>
                  </a:lnTo>
                  <a:lnTo>
                    <a:pt x="3512" y="1115"/>
                  </a:lnTo>
                  <a:lnTo>
                    <a:pt x="3498" y="1103"/>
                  </a:lnTo>
                  <a:lnTo>
                    <a:pt x="3501" y="1084"/>
                  </a:lnTo>
                  <a:lnTo>
                    <a:pt x="3495" y="1089"/>
                  </a:lnTo>
                  <a:lnTo>
                    <a:pt x="3486" y="1073"/>
                  </a:lnTo>
                  <a:lnTo>
                    <a:pt x="3464" y="1081"/>
                  </a:lnTo>
                  <a:lnTo>
                    <a:pt x="3454" y="1066"/>
                  </a:lnTo>
                  <a:lnTo>
                    <a:pt x="3427" y="1066"/>
                  </a:lnTo>
                  <a:lnTo>
                    <a:pt x="3422" y="1047"/>
                  </a:lnTo>
                  <a:lnTo>
                    <a:pt x="3403" y="1042"/>
                  </a:lnTo>
                  <a:lnTo>
                    <a:pt x="3385" y="1011"/>
                  </a:lnTo>
                  <a:lnTo>
                    <a:pt x="3377" y="1013"/>
                  </a:lnTo>
                  <a:lnTo>
                    <a:pt x="3379" y="1024"/>
                  </a:lnTo>
                  <a:lnTo>
                    <a:pt x="3368" y="1022"/>
                  </a:lnTo>
                  <a:lnTo>
                    <a:pt x="3339" y="991"/>
                  </a:lnTo>
                  <a:lnTo>
                    <a:pt x="3326" y="994"/>
                  </a:lnTo>
                  <a:lnTo>
                    <a:pt x="3337" y="1013"/>
                  </a:lnTo>
                  <a:lnTo>
                    <a:pt x="3376" y="1061"/>
                  </a:lnTo>
                  <a:lnTo>
                    <a:pt x="3385" y="1059"/>
                  </a:lnTo>
                  <a:lnTo>
                    <a:pt x="3385" y="1069"/>
                  </a:lnTo>
                  <a:lnTo>
                    <a:pt x="3454" y="1137"/>
                  </a:lnTo>
                  <a:lnTo>
                    <a:pt x="3453" y="1166"/>
                  </a:lnTo>
                  <a:lnTo>
                    <a:pt x="3459" y="1179"/>
                  </a:lnTo>
                  <a:lnTo>
                    <a:pt x="3444" y="1181"/>
                  </a:lnTo>
                  <a:lnTo>
                    <a:pt x="3422" y="1157"/>
                  </a:lnTo>
                  <a:lnTo>
                    <a:pt x="3400" y="1166"/>
                  </a:lnTo>
                  <a:lnTo>
                    <a:pt x="3385" y="1151"/>
                  </a:lnTo>
                  <a:lnTo>
                    <a:pt x="3342" y="1140"/>
                  </a:lnTo>
                  <a:lnTo>
                    <a:pt x="3334" y="1132"/>
                  </a:lnTo>
                  <a:lnTo>
                    <a:pt x="3334" y="1121"/>
                  </a:lnTo>
                  <a:lnTo>
                    <a:pt x="3329" y="1132"/>
                  </a:lnTo>
                  <a:lnTo>
                    <a:pt x="3320" y="1129"/>
                  </a:lnTo>
                  <a:lnTo>
                    <a:pt x="3312" y="1110"/>
                  </a:lnTo>
                  <a:lnTo>
                    <a:pt x="3303" y="1106"/>
                  </a:lnTo>
                  <a:lnTo>
                    <a:pt x="3301" y="1087"/>
                  </a:lnTo>
                  <a:lnTo>
                    <a:pt x="3286" y="1096"/>
                  </a:lnTo>
                  <a:lnTo>
                    <a:pt x="3278" y="1093"/>
                  </a:lnTo>
                  <a:lnTo>
                    <a:pt x="3278" y="1078"/>
                  </a:lnTo>
                  <a:lnTo>
                    <a:pt x="3263" y="1093"/>
                  </a:lnTo>
                  <a:lnTo>
                    <a:pt x="3216" y="1070"/>
                  </a:lnTo>
                  <a:lnTo>
                    <a:pt x="3198" y="1053"/>
                  </a:lnTo>
                  <a:lnTo>
                    <a:pt x="3179" y="1013"/>
                  </a:lnTo>
                  <a:lnTo>
                    <a:pt x="3190" y="1025"/>
                  </a:lnTo>
                  <a:lnTo>
                    <a:pt x="3215" y="1007"/>
                  </a:lnTo>
                  <a:lnTo>
                    <a:pt x="3205" y="1007"/>
                  </a:lnTo>
                  <a:lnTo>
                    <a:pt x="3187" y="983"/>
                  </a:lnTo>
                  <a:lnTo>
                    <a:pt x="3181" y="1002"/>
                  </a:lnTo>
                  <a:lnTo>
                    <a:pt x="3170" y="985"/>
                  </a:lnTo>
                  <a:lnTo>
                    <a:pt x="3139" y="971"/>
                  </a:lnTo>
                  <a:lnTo>
                    <a:pt x="3134" y="945"/>
                  </a:lnTo>
                  <a:lnTo>
                    <a:pt x="3120" y="935"/>
                  </a:lnTo>
                  <a:lnTo>
                    <a:pt x="3114" y="901"/>
                  </a:lnTo>
                  <a:lnTo>
                    <a:pt x="3102" y="905"/>
                  </a:lnTo>
                  <a:lnTo>
                    <a:pt x="3090" y="894"/>
                  </a:lnTo>
                  <a:lnTo>
                    <a:pt x="3078" y="900"/>
                  </a:lnTo>
                  <a:lnTo>
                    <a:pt x="3069" y="886"/>
                  </a:lnTo>
                  <a:lnTo>
                    <a:pt x="3063" y="894"/>
                  </a:lnTo>
                  <a:lnTo>
                    <a:pt x="3061" y="875"/>
                  </a:lnTo>
                  <a:lnTo>
                    <a:pt x="3048" y="883"/>
                  </a:lnTo>
                  <a:lnTo>
                    <a:pt x="3048" y="895"/>
                  </a:lnTo>
                  <a:lnTo>
                    <a:pt x="3066" y="914"/>
                  </a:lnTo>
                  <a:lnTo>
                    <a:pt x="3060" y="915"/>
                  </a:lnTo>
                  <a:lnTo>
                    <a:pt x="3060" y="923"/>
                  </a:lnTo>
                  <a:lnTo>
                    <a:pt x="3031" y="918"/>
                  </a:lnTo>
                  <a:lnTo>
                    <a:pt x="3024" y="903"/>
                  </a:lnTo>
                  <a:lnTo>
                    <a:pt x="3012" y="903"/>
                  </a:lnTo>
                  <a:lnTo>
                    <a:pt x="3001" y="908"/>
                  </a:lnTo>
                  <a:lnTo>
                    <a:pt x="3003" y="925"/>
                  </a:lnTo>
                  <a:lnTo>
                    <a:pt x="2964" y="945"/>
                  </a:lnTo>
                  <a:lnTo>
                    <a:pt x="2917" y="925"/>
                  </a:lnTo>
                  <a:lnTo>
                    <a:pt x="2900" y="898"/>
                  </a:lnTo>
                  <a:lnTo>
                    <a:pt x="2900" y="871"/>
                  </a:lnTo>
                  <a:lnTo>
                    <a:pt x="2907" y="858"/>
                  </a:lnTo>
                  <a:lnTo>
                    <a:pt x="2933" y="843"/>
                  </a:lnTo>
                  <a:lnTo>
                    <a:pt x="2932" y="822"/>
                  </a:lnTo>
                  <a:lnTo>
                    <a:pt x="2941" y="822"/>
                  </a:lnTo>
                  <a:lnTo>
                    <a:pt x="2933" y="812"/>
                  </a:lnTo>
                  <a:lnTo>
                    <a:pt x="3027" y="834"/>
                  </a:lnTo>
                  <a:lnTo>
                    <a:pt x="3035" y="830"/>
                  </a:lnTo>
                  <a:lnTo>
                    <a:pt x="3037" y="818"/>
                  </a:lnTo>
                  <a:lnTo>
                    <a:pt x="3057" y="818"/>
                  </a:lnTo>
                  <a:lnTo>
                    <a:pt x="3082" y="801"/>
                  </a:lnTo>
                  <a:lnTo>
                    <a:pt x="3108" y="810"/>
                  </a:lnTo>
                  <a:lnTo>
                    <a:pt x="3108" y="790"/>
                  </a:lnTo>
                  <a:lnTo>
                    <a:pt x="3069" y="731"/>
                  </a:lnTo>
                  <a:lnTo>
                    <a:pt x="3122" y="673"/>
                  </a:lnTo>
                  <a:lnTo>
                    <a:pt x="3137" y="666"/>
                  </a:lnTo>
                  <a:lnTo>
                    <a:pt x="3137" y="637"/>
                  </a:lnTo>
                  <a:lnTo>
                    <a:pt x="3168" y="602"/>
                  </a:lnTo>
                  <a:lnTo>
                    <a:pt x="3161" y="598"/>
                  </a:lnTo>
                  <a:lnTo>
                    <a:pt x="3136" y="497"/>
                  </a:lnTo>
                  <a:lnTo>
                    <a:pt x="3123" y="479"/>
                  </a:lnTo>
                  <a:lnTo>
                    <a:pt x="3099" y="473"/>
                  </a:lnTo>
                  <a:lnTo>
                    <a:pt x="3093" y="460"/>
                  </a:lnTo>
                  <a:lnTo>
                    <a:pt x="3094" y="429"/>
                  </a:lnTo>
                  <a:lnTo>
                    <a:pt x="3078" y="425"/>
                  </a:lnTo>
                  <a:lnTo>
                    <a:pt x="3083" y="445"/>
                  </a:lnTo>
                  <a:lnTo>
                    <a:pt x="3080" y="450"/>
                  </a:lnTo>
                  <a:lnTo>
                    <a:pt x="3048" y="412"/>
                  </a:lnTo>
                  <a:lnTo>
                    <a:pt x="3054" y="400"/>
                  </a:lnTo>
                  <a:lnTo>
                    <a:pt x="3049" y="395"/>
                  </a:lnTo>
                  <a:lnTo>
                    <a:pt x="3017" y="395"/>
                  </a:lnTo>
                  <a:lnTo>
                    <a:pt x="2967" y="433"/>
                  </a:lnTo>
                  <a:lnTo>
                    <a:pt x="2970" y="403"/>
                  </a:lnTo>
                  <a:lnTo>
                    <a:pt x="2966" y="383"/>
                  </a:lnTo>
                  <a:lnTo>
                    <a:pt x="2995" y="389"/>
                  </a:lnTo>
                  <a:lnTo>
                    <a:pt x="3012" y="374"/>
                  </a:lnTo>
                  <a:lnTo>
                    <a:pt x="3007" y="355"/>
                  </a:lnTo>
                  <a:lnTo>
                    <a:pt x="2946" y="306"/>
                  </a:lnTo>
                  <a:lnTo>
                    <a:pt x="2956" y="299"/>
                  </a:lnTo>
                  <a:lnTo>
                    <a:pt x="2955" y="282"/>
                  </a:lnTo>
                  <a:lnTo>
                    <a:pt x="2922" y="282"/>
                  </a:lnTo>
                  <a:lnTo>
                    <a:pt x="2921" y="228"/>
                  </a:lnTo>
                  <a:lnTo>
                    <a:pt x="2895" y="233"/>
                  </a:lnTo>
                  <a:lnTo>
                    <a:pt x="2866" y="204"/>
                  </a:lnTo>
                  <a:lnTo>
                    <a:pt x="2854" y="213"/>
                  </a:lnTo>
                  <a:lnTo>
                    <a:pt x="2871" y="264"/>
                  </a:lnTo>
                  <a:lnTo>
                    <a:pt x="2865" y="273"/>
                  </a:lnTo>
                  <a:lnTo>
                    <a:pt x="2824" y="282"/>
                  </a:lnTo>
                  <a:lnTo>
                    <a:pt x="2814" y="260"/>
                  </a:lnTo>
                  <a:lnTo>
                    <a:pt x="2735" y="241"/>
                  </a:lnTo>
                  <a:lnTo>
                    <a:pt x="2732" y="253"/>
                  </a:lnTo>
                  <a:lnTo>
                    <a:pt x="2766" y="278"/>
                  </a:lnTo>
                  <a:lnTo>
                    <a:pt x="2771" y="290"/>
                  </a:lnTo>
                  <a:lnTo>
                    <a:pt x="2761" y="290"/>
                  </a:lnTo>
                  <a:lnTo>
                    <a:pt x="2740" y="265"/>
                  </a:lnTo>
                  <a:lnTo>
                    <a:pt x="2723" y="284"/>
                  </a:lnTo>
                  <a:lnTo>
                    <a:pt x="2668" y="256"/>
                  </a:lnTo>
                  <a:lnTo>
                    <a:pt x="2646" y="272"/>
                  </a:lnTo>
                  <a:lnTo>
                    <a:pt x="2568" y="250"/>
                  </a:lnTo>
                  <a:lnTo>
                    <a:pt x="2568" y="260"/>
                  </a:lnTo>
                  <a:lnTo>
                    <a:pt x="2536" y="253"/>
                  </a:lnTo>
                  <a:lnTo>
                    <a:pt x="2511" y="221"/>
                  </a:lnTo>
                  <a:lnTo>
                    <a:pt x="2509" y="197"/>
                  </a:lnTo>
                  <a:lnTo>
                    <a:pt x="2502" y="214"/>
                  </a:lnTo>
                  <a:lnTo>
                    <a:pt x="2485" y="219"/>
                  </a:lnTo>
                  <a:lnTo>
                    <a:pt x="2435" y="214"/>
                  </a:lnTo>
                  <a:lnTo>
                    <a:pt x="2416" y="194"/>
                  </a:lnTo>
                  <a:lnTo>
                    <a:pt x="2376" y="134"/>
                  </a:lnTo>
                  <a:lnTo>
                    <a:pt x="2375" y="111"/>
                  </a:lnTo>
                  <a:lnTo>
                    <a:pt x="2435" y="133"/>
                  </a:lnTo>
                  <a:lnTo>
                    <a:pt x="2482" y="121"/>
                  </a:lnTo>
                  <a:lnTo>
                    <a:pt x="2441" y="87"/>
                  </a:lnTo>
                  <a:lnTo>
                    <a:pt x="2355" y="74"/>
                  </a:lnTo>
                  <a:lnTo>
                    <a:pt x="2348" y="58"/>
                  </a:lnTo>
                  <a:lnTo>
                    <a:pt x="2348" y="24"/>
                  </a:lnTo>
                  <a:lnTo>
                    <a:pt x="2356" y="7"/>
                  </a:lnTo>
                  <a:lnTo>
                    <a:pt x="2353" y="0"/>
                  </a:lnTo>
                  <a:close/>
                  <a:moveTo>
                    <a:pt x="2546" y="773"/>
                  </a:moveTo>
                  <a:lnTo>
                    <a:pt x="2559" y="761"/>
                  </a:lnTo>
                  <a:lnTo>
                    <a:pt x="2560" y="770"/>
                  </a:lnTo>
                  <a:lnTo>
                    <a:pt x="2570" y="770"/>
                  </a:lnTo>
                  <a:lnTo>
                    <a:pt x="2582" y="793"/>
                  </a:lnTo>
                  <a:lnTo>
                    <a:pt x="2577" y="801"/>
                  </a:lnTo>
                  <a:lnTo>
                    <a:pt x="2582" y="829"/>
                  </a:lnTo>
                  <a:lnTo>
                    <a:pt x="2590" y="832"/>
                  </a:lnTo>
                  <a:lnTo>
                    <a:pt x="2600" y="810"/>
                  </a:lnTo>
                  <a:lnTo>
                    <a:pt x="2607" y="810"/>
                  </a:lnTo>
                  <a:lnTo>
                    <a:pt x="2624" y="822"/>
                  </a:lnTo>
                  <a:lnTo>
                    <a:pt x="2622" y="835"/>
                  </a:lnTo>
                  <a:lnTo>
                    <a:pt x="2656" y="846"/>
                  </a:lnTo>
                  <a:lnTo>
                    <a:pt x="2687" y="883"/>
                  </a:lnTo>
                  <a:lnTo>
                    <a:pt x="2723" y="897"/>
                  </a:lnTo>
                  <a:lnTo>
                    <a:pt x="2740" y="948"/>
                  </a:lnTo>
                  <a:lnTo>
                    <a:pt x="2735" y="959"/>
                  </a:lnTo>
                  <a:lnTo>
                    <a:pt x="2758" y="962"/>
                  </a:lnTo>
                  <a:lnTo>
                    <a:pt x="2769" y="951"/>
                  </a:lnTo>
                  <a:lnTo>
                    <a:pt x="2786" y="968"/>
                  </a:lnTo>
                  <a:lnTo>
                    <a:pt x="2786" y="979"/>
                  </a:lnTo>
                  <a:lnTo>
                    <a:pt x="2805" y="990"/>
                  </a:lnTo>
                  <a:lnTo>
                    <a:pt x="2763" y="1022"/>
                  </a:lnTo>
                  <a:lnTo>
                    <a:pt x="2717" y="996"/>
                  </a:lnTo>
                  <a:lnTo>
                    <a:pt x="2702" y="998"/>
                  </a:lnTo>
                  <a:lnTo>
                    <a:pt x="2702" y="974"/>
                  </a:lnTo>
                  <a:lnTo>
                    <a:pt x="2670" y="968"/>
                  </a:lnTo>
                  <a:lnTo>
                    <a:pt x="2678" y="948"/>
                  </a:lnTo>
                  <a:lnTo>
                    <a:pt x="2647" y="957"/>
                  </a:lnTo>
                  <a:lnTo>
                    <a:pt x="2646" y="991"/>
                  </a:lnTo>
                  <a:lnTo>
                    <a:pt x="2617" y="1010"/>
                  </a:lnTo>
                  <a:lnTo>
                    <a:pt x="2597" y="1042"/>
                  </a:lnTo>
                  <a:lnTo>
                    <a:pt x="2571" y="1053"/>
                  </a:lnTo>
                  <a:lnTo>
                    <a:pt x="2563" y="1053"/>
                  </a:lnTo>
                  <a:lnTo>
                    <a:pt x="2556" y="1039"/>
                  </a:lnTo>
                  <a:lnTo>
                    <a:pt x="2551" y="979"/>
                  </a:lnTo>
                  <a:lnTo>
                    <a:pt x="2546" y="996"/>
                  </a:lnTo>
                  <a:lnTo>
                    <a:pt x="2489" y="1013"/>
                  </a:lnTo>
                  <a:lnTo>
                    <a:pt x="2482" y="999"/>
                  </a:lnTo>
                  <a:lnTo>
                    <a:pt x="2492" y="976"/>
                  </a:lnTo>
                  <a:lnTo>
                    <a:pt x="2525" y="949"/>
                  </a:lnTo>
                  <a:lnTo>
                    <a:pt x="2519" y="906"/>
                  </a:lnTo>
                  <a:lnTo>
                    <a:pt x="2529" y="854"/>
                  </a:lnTo>
                  <a:lnTo>
                    <a:pt x="2531" y="810"/>
                  </a:lnTo>
                  <a:lnTo>
                    <a:pt x="2546" y="773"/>
                  </a:lnTo>
                  <a:close/>
                  <a:moveTo>
                    <a:pt x="1903" y="0"/>
                  </a:moveTo>
                  <a:lnTo>
                    <a:pt x="2055" y="0"/>
                  </a:lnTo>
                  <a:lnTo>
                    <a:pt x="2055" y="1"/>
                  </a:lnTo>
                  <a:lnTo>
                    <a:pt x="2016" y="37"/>
                  </a:lnTo>
                  <a:lnTo>
                    <a:pt x="1980" y="32"/>
                  </a:lnTo>
                  <a:lnTo>
                    <a:pt x="1989" y="58"/>
                  </a:lnTo>
                  <a:lnTo>
                    <a:pt x="1965" y="83"/>
                  </a:lnTo>
                  <a:lnTo>
                    <a:pt x="1952" y="67"/>
                  </a:lnTo>
                  <a:lnTo>
                    <a:pt x="1937" y="74"/>
                  </a:lnTo>
                  <a:lnTo>
                    <a:pt x="1921" y="18"/>
                  </a:lnTo>
                  <a:lnTo>
                    <a:pt x="1903" y="0"/>
                  </a:lnTo>
                  <a:close/>
                  <a:moveTo>
                    <a:pt x="1014" y="0"/>
                  </a:moveTo>
                  <a:lnTo>
                    <a:pt x="1505" y="0"/>
                  </a:lnTo>
                  <a:lnTo>
                    <a:pt x="1505" y="13"/>
                  </a:lnTo>
                  <a:lnTo>
                    <a:pt x="1518" y="24"/>
                  </a:lnTo>
                  <a:lnTo>
                    <a:pt x="1532" y="13"/>
                  </a:lnTo>
                  <a:lnTo>
                    <a:pt x="1541" y="0"/>
                  </a:lnTo>
                  <a:lnTo>
                    <a:pt x="1673" y="0"/>
                  </a:lnTo>
                  <a:lnTo>
                    <a:pt x="1689" y="35"/>
                  </a:lnTo>
                  <a:lnTo>
                    <a:pt x="1691" y="61"/>
                  </a:lnTo>
                  <a:lnTo>
                    <a:pt x="1683" y="66"/>
                  </a:lnTo>
                  <a:lnTo>
                    <a:pt x="1680" y="95"/>
                  </a:lnTo>
                  <a:lnTo>
                    <a:pt x="1685" y="108"/>
                  </a:lnTo>
                  <a:lnTo>
                    <a:pt x="1737" y="170"/>
                  </a:lnTo>
                  <a:lnTo>
                    <a:pt x="1765" y="167"/>
                  </a:lnTo>
                  <a:lnTo>
                    <a:pt x="1801" y="210"/>
                  </a:lnTo>
                  <a:lnTo>
                    <a:pt x="1819" y="214"/>
                  </a:lnTo>
                  <a:lnTo>
                    <a:pt x="1823" y="235"/>
                  </a:lnTo>
                  <a:lnTo>
                    <a:pt x="1849" y="235"/>
                  </a:lnTo>
                  <a:lnTo>
                    <a:pt x="1853" y="255"/>
                  </a:lnTo>
                  <a:lnTo>
                    <a:pt x="1847" y="299"/>
                  </a:lnTo>
                  <a:lnTo>
                    <a:pt x="1833" y="298"/>
                  </a:lnTo>
                  <a:lnTo>
                    <a:pt x="1827" y="282"/>
                  </a:lnTo>
                  <a:lnTo>
                    <a:pt x="1827" y="264"/>
                  </a:lnTo>
                  <a:lnTo>
                    <a:pt x="1819" y="298"/>
                  </a:lnTo>
                  <a:lnTo>
                    <a:pt x="1806" y="295"/>
                  </a:lnTo>
                  <a:lnTo>
                    <a:pt x="1798" y="265"/>
                  </a:lnTo>
                  <a:lnTo>
                    <a:pt x="1773" y="289"/>
                  </a:lnTo>
                  <a:lnTo>
                    <a:pt x="1776" y="316"/>
                  </a:lnTo>
                  <a:lnTo>
                    <a:pt x="1747" y="312"/>
                  </a:lnTo>
                  <a:lnTo>
                    <a:pt x="1751" y="353"/>
                  </a:lnTo>
                  <a:lnTo>
                    <a:pt x="1774" y="321"/>
                  </a:lnTo>
                  <a:lnTo>
                    <a:pt x="1794" y="321"/>
                  </a:lnTo>
                  <a:lnTo>
                    <a:pt x="1802" y="328"/>
                  </a:lnTo>
                  <a:lnTo>
                    <a:pt x="1791" y="346"/>
                  </a:lnTo>
                  <a:lnTo>
                    <a:pt x="1793" y="360"/>
                  </a:lnTo>
                  <a:lnTo>
                    <a:pt x="1799" y="352"/>
                  </a:lnTo>
                  <a:lnTo>
                    <a:pt x="1821" y="368"/>
                  </a:lnTo>
                  <a:lnTo>
                    <a:pt x="1806" y="391"/>
                  </a:lnTo>
                  <a:lnTo>
                    <a:pt x="1765" y="400"/>
                  </a:lnTo>
                  <a:lnTo>
                    <a:pt x="1757" y="416"/>
                  </a:lnTo>
                  <a:lnTo>
                    <a:pt x="1651" y="394"/>
                  </a:lnTo>
                  <a:lnTo>
                    <a:pt x="1662" y="374"/>
                  </a:lnTo>
                  <a:lnTo>
                    <a:pt x="1600" y="360"/>
                  </a:lnTo>
                  <a:lnTo>
                    <a:pt x="1600" y="332"/>
                  </a:lnTo>
                  <a:lnTo>
                    <a:pt x="1586" y="321"/>
                  </a:lnTo>
                  <a:lnTo>
                    <a:pt x="1567" y="340"/>
                  </a:lnTo>
                  <a:lnTo>
                    <a:pt x="1572" y="360"/>
                  </a:lnTo>
                  <a:lnTo>
                    <a:pt x="1550" y="386"/>
                  </a:lnTo>
                  <a:lnTo>
                    <a:pt x="1498" y="397"/>
                  </a:lnTo>
                  <a:lnTo>
                    <a:pt x="1490" y="411"/>
                  </a:lnTo>
                  <a:lnTo>
                    <a:pt x="1453" y="433"/>
                  </a:lnTo>
                  <a:lnTo>
                    <a:pt x="1281" y="453"/>
                  </a:lnTo>
                  <a:lnTo>
                    <a:pt x="1292" y="443"/>
                  </a:lnTo>
                  <a:lnTo>
                    <a:pt x="1269" y="420"/>
                  </a:lnTo>
                  <a:lnTo>
                    <a:pt x="1262" y="402"/>
                  </a:lnTo>
                  <a:lnTo>
                    <a:pt x="1264" y="377"/>
                  </a:lnTo>
                  <a:lnTo>
                    <a:pt x="1245" y="353"/>
                  </a:lnTo>
                  <a:lnTo>
                    <a:pt x="1207" y="349"/>
                  </a:lnTo>
                  <a:lnTo>
                    <a:pt x="1159" y="349"/>
                  </a:lnTo>
                  <a:lnTo>
                    <a:pt x="1129" y="328"/>
                  </a:lnTo>
                  <a:lnTo>
                    <a:pt x="1114" y="311"/>
                  </a:lnTo>
                  <a:lnTo>
                    <a:pt x="1089" y="253"/>
                  </a:lnTo>
                  <a:lnTo>
                    <a:pt x="1225" y="210"/>
                  </a:lnTo>
                  <a:lnTo>
                    <a:pt x="1313" y="222"/>
                  </a:lnTo>
                  <a:lnTo>
                    <a:pt x="1323" y="213"/>
                  </a:lnTo>
                  <a:lnTo>
                    <a:pt x="1320" y="202"/>
                  </a:lnTo>
                  <a:lnTo>
                    <a:pt x="1249" y="162"/>
                  </a:lnTo>
                  <a:lnTo>
                    <a:pt x="1178" y="182"/>
                  </a:lnTo>
                  <a:lnTo>
                    <a:pt x="1145" y="168"/>
                  </a:lnTo>
                  <a:lnTo>
                    <a:pt x="1083" y="168"/>
                  </a:lnTo>
                  <a:lnTo>
                    <a:pt x="1047" y="116"/>
                  </a:lnTo>
                  <a:lnTo>
                    <a:pt x="1083" y="89"/>
                  </a:lnTo>
                  <a:lnTo>
                    <a:pt x="1127" y="78"/>
                  </a:lnTo>
                  <a:lnTo>
                    <a:pt x="1162" y="69"/>
                  </a:lnTo>
                  <a:lnTo>
                    <a:pt x="1151" y="58"/>
                  </a:lnTo>
                  <a:lnTo>
                    <a:pt x="1055" y="67"/>
                  </a:lnTo>
                  <a:lnTo>
                    <a:pt x="1049" y="55"/>
                  </a:lnTo>
                  <a:lnTo>
                    <a:pt x="1071" y="43"/>
                  </a:lnTo>
                  <a:lnTo>
                    <a:pt x="1069" y="24"/>
                  </a:lnTo>
                  <a:lnTo>
                    <a:pt x="1018" y="29"/>
                  </a:lnTo>
                  <a:lnTo>
                    <a:pt x="1014" y="0"/>
                  </a:lnTo>
                  <a:close/>
                  <a:moveTo>
                    <a:pt x="748" y="0"/>
                  </a:moveTo>
                  <a:lnTo>
                    <a:pt x="750" y="0"/>
                  </a:lnTo>
                  <a:lnTo>
                    <a:pt x="749" y="1"/>
                  </a:lnTo>
                  <a:lnTo>
                    <a:pt x="748" y="0"/>
                  </a:lnTo>
                  <a:close/>
                  <a:moveTo>
                    <a:pt x="764" y="0"/>
                  </a:moveTo>
                  <a:lnTo>
                    <a:pt x="946" y="0"/>
                  </a:lnTo>
                  <a:lnTo>
                    <a:pt x="947" y="12"/>
                  </a:lnTo>
                  <a:lnTo>
                    <a:pt x="939" y="40"/>
                  </a:lnTo>
                  <a:lnTo>
                    <a:pt x="904" y="61"/>
                  </a:lnTo>
                  <a:lnTo>
                    <a:pt x="887" y="43"/>
                  </a:lnTo>
                  <a:lnTo>
                    <a:pt x="820" y="104"/>
                  </a:lnTo>
                  <a:lnTo>
                    <a:pt x="778" y="12"/>
                  </a:lnTo>
                  <a:lnTo>
                    <a:pt x="764" y="0"/>
                  </a:lnTo>
                  <a:close/>
                  <a:moveTo>
                    <a:pt x="2033" y="318"/>
                  </a:moveTo>
                  <a:lnTo>
                    <a:pt x="2014" y="301"/>
                  </a:lnTo>
                  <a:lnTo>
                    <a:pt x="2014" y="287"/>
                  </a:lnTo>
                  <a:lnTo>
                    <a:pt x="1988" y="272"/>
                  </a:lnTo>
                  <a:lnTo>
                    <a:pt x="1971" y="309"/>
                  </a:lnTo>
                  <a:lnTo>
                    <a:pt x="1976" y="321"/>
                  </a:lnTo>
                  <a:lnTo>
                    <a:pt x="1959" y="321"/>
                  </a:lnTo>
                  <a:lnTo>
                    <a:pt x="1963" y="348"/>
                  </a:lnTo>
                  <a:lnTo>
                    <a:pt x="1955" y="363"/>
                  </a:lnTo>
                  <a:lnTo>
                    <a:pt x="1918" y="377"/>
                  </a:lnTo>
                  <a:lnTo>
                    <a:pt x="1917" y="400"/>
                  </a:lnTo>
                  <a:lnTo>
                    <a:pt x="1934" y="412"/>
                  </a:lnTo>
                  <a:lnTo>
                    <a:pt x="1942" y="400"/>
                  </a:lnTo>
                  <a:lnTo>
                    <a:pt x="2008" y="442"/>
                  </a:lnTo>
                  <a:lnTo>
                    <a:pt x="2064" y="453"/>
                  </a:lnTo>
                  <a:lnTo>
                    <a:pt x="2072" y="436"/>
                  </a:lnTo>
                  <a:lnTo>
                    <a:pt x="2104" y="426"/>
                  </a:lnTo>
                  <a:lnTo>
                    <a:pt x="2115" y="411"/>
                  </a:lnTo>
                  <a:lnTo>
                    <a:pt x="2101" y="414"/>
                  </a:lnTo>
                  <a:lnTo>
                    <a:pt x="2076" y="365"/>
                  </a:lnTo>
                  <a:lnTo>
                    <a:pt x="2033" y="318"/>
                  </a:lnTo>
                  <a:close/>
                  <a:moveTo>
                    <a:pt x="275" y="338"/>
                  </a:moveTo>
                  <a:lnTo>
                    <a:pt x="282" y="336"/>
                  </a:lnTo>
                  <a:lnTo>
                    <a:pt x="277" y="328"/>
                  </a:lnTo>
                  <a:lnTo>
                    <a:pt x="299" y="328"/>
                  </a:lnTo>
                  <a:lnTo>
                    <a:pt x="294" y="321"/>
                  </a:lnTo>
                  <a:lnTo>
                    <a:pt x="302" y="304"/>
                  </a:lnTo>
                  <a:lnTo>
                    <a:pt x="297" y="290"/>
                  </a:lnTo>
                  <a:lnTo>
                    <a:pt x="302" y="289"/>
                  </a:lnTo>
                  <a:lnTo>
                    <a:pt x="313" y="316"/>
                  </a:lnTo>
                  <a:lnTo>
                    <a:pt x="330" y="314"/>
                  </a:lnTo>
                  <a:lnTo>
                    <a:pt x="328" y="331"/>
                  </a:lnTo>
                  <a:lnTo>
                    <a:pt x="291" y="382"/>
                  </a:lnTo>
                  <a:lnTo>
                    <a:pt x="275" y="378"/>
                  </a:lnTo>
                  <a:lnTo>
                    <a:pt x="283" y="370"/>
                  </a:lnTo>
                  <a:lnTo>
                    <a:pt x="272" y="361"/>
                  </a:lnTo>
                  <a:lnTo>
                    <a:pt x="262" y="332"/>
                  </a:lnTo>
                  <a:lnTo>
                    <a:pt x="275" y="338"/>
                  </a:lnTo>
                  <a:close/>
                  <a:moveTo>
                    <a:pt x="235" y="353"/>
                  </a:moveTo>
                  <a:lnTo>
                    <a:pt x="232" y="368"/>
                  </a:lnTo>
                  <a:lnTo>
                    <a:pt x="243" y="382"/>
                  </a:lnTo>
                  <a:lnTo>
                    <a:pt x="277" y="394"/>
                  </a:lnTo>
                  <a:lnTo>
                    <a:pt x="241" y="349"/>
                  </a:lnTo>
                  <a:lnTo>
                    <a:pt x="235" y="353"/>
                  </a:lnTo>
                  <a:close/>
                  <a:moveTo>
                    <a:pt x="1372" y="1104"/>
                  </a:moveTo>
                  <a:lnTo>
                    <a:pt x="1398" y="1101"/>
                  </a:lnTo>
                  <a:lnTo>
                    <a:pt x="1402" y="1110"/>
                  </a:lnTo>
                  <a:lnTo>
                    <a:pt x="1354" y="1125"/>
                  </a:lnTo>
                  <a:lnTo>
                    <a:pt x="1372" y="1104"/>
                  </a:lnTo>
                  <a:close/>
                  <a:moveTo>
                    <a:pt x="1137" y="1247"/>
                  </a:moveTo>
                  <a:lnTo>
                    <a:pt x="1149" y="1257"/>
                  </a:lnTo>
                  <a:lnTo>
                    <a:pt x="1149" y="1267"/>
                  </a:lnTo>
                  <a:lnTo>
                    <a:pt x="1145" y="1265"/>
                  </a:lnTo>
                  <a:lnTo>
                    <a:pt x="1140" y="1262"/>
                  </a:lnTo>
                  <a:lnTo>
                    <a:pt x="1127" y="1256"/>
                  </a:lnTo>
                  <a:lnTo>
                    <a:pt x="1131" y="1248"/>
                  </a:lnTo>
                  <a:lnTo>
                    <a:pt x="1132" y="1245"/>
                  </a:lnTo>
                  <a:lnTo>
                    <a:pt x="1137" y="1247"/>
                  </a:lnTo>
                  <a:close/>
                  <a:moveTo>
                    <a:pt x="1292" y="1186"/>
                  </a:moveTo>
                  <a:lnTo>
                    <a:pt x="1295" y="1183"/>
                  </a:lnTo>
                  <a:lnTo>
                    <a:pt x="1303" y="1183"/>
                  </a:lnTo>
                  <a:lnTo>
                    <a:pt x="1318" y="1177"/>
                  </a:lnTo>
                  <a:lnTo>
                    <a:pt x="1330" y="1171"/>
                  </a:lnTo>
                  <a:lnTo>
                    <a:pt x="1334" y="1171"/>
                  </a:lnTo>
                  <a:lnTo>
                    <a:pt x="1334" y="1176"/>
                  </a:lnTo>
                  <a:lnTo>
                    <a:pt x="1329" y="1179"/>
                  </a:lnTo>
                  <a:lnTo>
                    <a:pt x="1329" y="1185"/>
                  </a:lnTo>
                  <a:lnTo>
                    <a:pt x="1332" y="1188"/>
                  </a:lnTo>
                  <a:lnTo>
                    <a:pt x="1330" y="1191"/>
                  </a:lnTo>
                  <a:lnTo>
                    <a:pt x="1323" y="1192"/>
                  </a:lnTo>
                  <a:lnTo>
                    <a:pt x="1320" y="1196"/>
                  </a:lnTo>
                  <a:lnTo>
                    <a:pt x="1315" y="1197"/>
                  </a:lnTo>
                  <a:lnTo>
                    <a:pt x="1309" y="1191"/>
                  </a:lnTo>
                  <a:lnTo>
                    <a:pt x="1304" y="1192"/>
                  </a:lnTo>
                  <a:lnTo>
                    <a:pt x="1303" y="1189"/>
                  </a:lnTo>
                  <a:lnTo>
                    <a:pt x="1292" y="1186"/>
                  </a:lnTo>
                  <a:close/>
                  <a:moveTo>
                    <a:pt x="4039" y="2217"/>
                  </a:moveTo>
                  <a:lnTo>
                    <a:pt x="4036" y="2212"/>
                  </a:lnTo>
                  <a:lnTo>
                    <a:pt x="4016" y="2205"/>
                  </a:lnTo>
                  <a:lnTo>
                    <a:pt x="4001" y="2209"/>
                  </a:lnTo>
                  <a:lnTo>
                    <a:pt x="3994" y="2201"/>
                  </a:lnTo>
                  <a:lnTo>
                    <a:pt x="3954" y="2217"/>
                  </a:lnTo>
                  <a:lnTo>
                    <a:pt x="3962" y="2197"/>
                  </a:lnTo>
                  <a:lnTo>
                    <a:pt x="3951" y="2205"/>
                  </a:lnTo>
                  <a:lnTo>
                    <a:pt x="3928" y="2201"/>
                  </a:lnTo>
                  <a:lnTo>
                    <a:pt x="3928" y="2192"/>
                  </a:lnTo>
                  <a:lnTo>
                    <a:pt x="3920" y="2188"/>
                  </a:lnTo>
                  <a:lnTo>
                    <a:pt x="3945" y="2172"/>
                  </a:lnTo>
                  <a:lnTo>
                    <a:pt x="3918" y="2166"/>
                  </a:lnTo>
                  <a:lnTo>
                    <a:pt x="3920" y="2158"/>
                  </a:lnTo>
                  <a:lnTo>
                    <a:pt x="3914" y="2156"/>
                  </a:lnTo>
                  <a:lnTo>
                    <a:pt x="3889" y="2192"/>
                  </a:lnTo>
                  <a:lnTo>
                    <a:pt x="3884" y="2181"/>
                  </a:lnTo>
                  <a:lnTo>
                    <a:pt x="3889" y="2161"/>
                  </a:lnTo>
                  <a:lnTo>
                    <a:pt x="3913" y="2122"/>
                  </a:lnTo>
                  <a:lnTo>
                    <a:pt x="3914" y="2100"/>
                  </a:lnTo>
                  <a:lnTo>
                    <a:pt x="3918" y="2105"/>
                  </a:lnTo>
                  <a:lnTo>
                    <a:pt x="3926" y="2100"/>
                  </a:lnTo>
                  <a:lnTo>
                    <a:pt x="3933" y="2082"/>
                  </a:lnTo>
                  <a:lnTo>
                    <a:pt x="3925" y="2074"/>
                  </a:lnTo>
                  <a:lnTo>
                    <a:pt x="3926" y="2068"/>
                  </a:lnTo>
                  <a:lnTo>
                    <a:pt x="3937" y="2066"/>
                  </a:lnTo>
                  <a:lnTo>
                    <a:pt x="3943" y="2053"/>
                  </a:lnTo>
                  <a:lnTo>
                    <a:pt x="3943" y="2046"/>
                  </a:lnTo>
                  <a:lnTo>
                    <a:pt x="3913" y="2056"/>
                  </a:lnTo>
                  <a:lnTo>
                    <a:pt x="3892" y="2066"/>
                  </a:lnTo>
                  <a:lnTo>
                    <a:pt x="3886" y="2083"/>
                  </a:lnTo>
                  <a:lnTo>
                    <a:pt x="3877" y="2090"/>
                  </a:lnTo>
                  <a:lnTo>
                    <a:pt x="3875" y="2104"/>
                  </a:lnTo>
                  <a:lnTo>
                    <a:pt x="3858" y="2115"/>
                  </a:lnTo>
                  <a:lnTo>
                    <a:pt x="3866" y="2121"/>
                  </a:lnTo>
                  <a:lnTo>
                    <a:pt x="3855" y="2146"/>
                  </a:lnTo>
                  <a:lnTo>
                    <a:pt x="3862" y="2155"/>
                  </a:lnTo>
                  <a:lnTo>
                    <a:pt x="3847" y="2159"/>
                  </a:lnTo>
                  <a:lnTo>
                    <a:pt x="3837" y="2184"/>
                  </a:lnTo>
                  <a:lnTo>
                    <a:pt x="3838" y="2200"/>
                  </a:lnTo>
                  <a:lnTo>
                    <a:pt x="3823" y="2209"/>
                  </a:lnTo>
                  <a:lnTo>
                    <a:pt x="3820" y="2217"/>
                  </a:lnTo>
                  <a:lnTo>
                    <a:pt x="3829" y="2220"/>
                  </a:lnTo>
                  <a:lnTo>
                    <a:pt x="3829" y="2232"/>
                  </a:lnTo>
                  <a:lnTo>
                    <a:pt x="3813" y="2231"/>
                  </a:lnTo>
                  <a:lnTo>
                    <a:pt x="3801" y="2259"/>
                  </a:lnTo>
                  <a:lnTo>
                    <a:pt x="3796" y="2265"/>
                  </a:lnTo>
                  <a:lnTo>
                    <a:pt x="3793" y="2259"/>
                  </a:lnTo>
                  <a:lnTo>
                    <a:pt x="3778" y="2268"/>
                  </a:lnTo>
                  <a:lnTo>
                    <a:pt x="3806" y="2271"/>
                  </a:lnTo>
                  <a:lnTo>
                    <a:pt x="3809" y="2276"/>
                  </a:lnTo>
                  <a:lnTo>
                    <a:pt x="3770" y="2313"/>
                  </a:lnTo>
                  <a:lnTo>
                    <a:pt x="3769" y="2325"/>
                  </a:lnTo>
                  <a:lnTo>
                    <a:pt x="3773" y="2334"/>
                  </a:lnTo>
                  <a:lnTo>
                    <a:pt x="3784" y="2336"/>
                  </a:lnTo>
                  <a:lnTo>
                    <a:pt x="3826" y="2327"/>
                  </a:lnTo>
                  <a:lnTo>
                    <a:pt x="3888" y="2336"/>
                  </a:lnTo>
                  <a:lnTo>
                    <a:pt x="3914" y="2330"/>
                  </a:lnTo>
                  <a:lnTo>
                    <a:pt x="3933" y="2317"/>
                  </a:lnTo>
                  <a:lnTo>
                    <a:pt x="3931" y="2330"/>
                  </a:lnTo>
                  <a:lnTo>
                    <a:pt x="3918" y="2340"/>
                  </a:lnTo>
                  <a:lnTo>
                    <a:pt x="3946" y="2340"/>
                  </a:lnTo>
                  <a:lnTo>
                    <a:pt x="3955" y="2328"/>
                  </a:lnTo>
                  <a:lnTo>
                    <a:pt x="3977" y="2334"/>
                  </a:lnTo>
                  <a:lnTo>
                    <a:pt x="3959" y="2350"/>
                  </a:lnTo>
                  <a:lnTo>
                    <a:pt x="3948" y="2364"/>
                  </a:lnTo>
                  <a:lnTo>
                    <a:pt x="3929" y="2371"/>
                  </a:lnTo>
                  <a:lnTo>
                    <a:pt x="3928" y="2379"/>
                  </a:lnTo>
                  <a:lnTo>
                    <a:pt x="3937" y="2381"/>
                  </a:lnTo>
                  <a:lnTo>
                    <a:pt x="3957" y="2376"/>
                  </a:lnTo>
                  <a:lnTo>
                    <a:pt x="3977" y="2348"/>
                  </a:lnTo>
                  <a:lnTo>
                    <a:pt x="3994" y="2345"/>
                  </a:lnTo>
                  <a:lnTo>
                    <a:pt x="4005" y="2310"/>
                  </a:lnTo>
                  <a:lnTo>
                    <a:pt x="4013" y="2310"/>
                  </a:lnTo>
                  <a:lnTo>
                    <a:pt x="4019" y="2350"/>
                  </a:lnTo>
                  <a:lnTo>
                    <a:pt x="4010" y="2382"/>
                  </a:lnTo>
                  <a:lnTo>
                    <a:pt x="4016" y="2384"/>
                  </a:lnTo>
                  <a:lnTo>
                    <a:pt x="4033" y="2362"/>
                  </a:lnTo>
                  <a:lnTo>
                    <a:pt x="4036" y="2365"/>
                  </a:lnTo>
                  <a:lnTo>
                    <a:pt x="4035" y="2391"/>
                  </a:lnTo>
                  <a:lnTo>
                    <a:pt x="4038" y="2399"/>
                  </a:lnTo>
                  <a:lnTo>
                    <a:pt x="4047" y="2391"/>
                  </a:lnTo>
                  <a:lnTo>
                    <a:pt x="4058" y="2395"/>
                  </a:lnTo>
                  <a:lnTo>
                    <a:pt x="4073" y="2344"/>
                  </a:lnTo>
                  <a:lnTo>
                    <a:pt x="4073" y="2325"/>
                  </a:lnTo>
                  <a:lnTo>
                    <a:pt x="4070" y="2324"/>
                  </a:lnTo>
                  <a:lnTo>
                    <a:pt x="4058" y="2342"/>
                  </a:lnTo>
                  <a:lnTo>
                    <a:pt x="4055" y="2337"/>
                  </a:lnTo>
                  <a:lnTo>
                    <a:pt x="4053" y="2325"/>
                  </a:lnTo>
                  <a:lnTo>
                    <a:pt x="4065" y="2293"/>
                  </a:lnTo>
                  <a:lnTo>
                    <a:pt x="4048" y="2305"/>
                  </a:lnTo>
                  <a:lnTo>
                    <a:pt x="4036" y="2328"/>
                  </a:lnTo>
                  <a:lnTo>
                    <a:pt x="4031" y="2330"/>
                  </a:lnTo>
                  <a:lnTo>
                    <a:pt x="4025" y="2320"/>
                  </a:lnTo>
                  <a:lnTo>
                    <a:pt x="4030" y="2303"/>
                  </a:lnTo>
                  <a:lnTo>
                    <a:pt x="4019" y="2291"/>
                  </a:lnTo>
                  <a:lnTo>
                    <a:pt x="4052" y="2274"/>
                  </a:lnTo>
                  <a:lnTo>
                    <a:pt x="4055" y="2259"/>
                  </a:lnTo>
                  <a:lnTo>
                    <a:pt x="4033" y="2271"/>
                  </a:lnTo>
                  <a:lnTo>
                    <a:pt x="4014" y="2271"/>
                  </a:lnTo>
                  <a:lnTo>
                    <a:pt x="4025" y="2254"/>
                  </a:lnTo>
                  <a:lnTo>
                    <a:pt x="4016" y="2249"/>
                  </a:lnTo>
                  <a:lnTo>
                    <a:pt x="4039" y="2217"/>
                  </a:lnTo>
                  <a:close/>
                  <a:moveTo>
                    <a:pt x="3711" y="2374"/>
                  </a:moveTo>
                  <a:lnTo>
                    <a:pt x="3710" y="2371"/>
                  </a:lnTo>
                  <a:lnTo>
                    <a:pt x="3708" y="2379"/>
                  </a:lnTo>
                  <a:lnTo>
                    <a:pt x="3676" y="2429"/>
                  </a:lnTo>
                  <a:lnTo>
                    <a:pt x="3672" y="2452"/>
                  </a:lnTo>
                  <a:lnTo>
                    <a:pt x="3679" y="2464"/>
                  </a:lnTo>
                  <a:lnTo>
                    <a:pt x="3716" y="2464"/>
                  </a:lnTo>
                  <a:lnTo>
                    <a:pt x="3748" y="2440"/>
                  </a:lnTo>
                  <a:lnTo>
                    <a:pt x="3744" y="2437"/>
                  </a:lnTo>
                  <a:lnTo>
                    <a:pt x="3745" y="2425"/>
                  </a:lnTo>
                  <a:lnTo>
                    <a:pt x="3736" y="2421"/>
                  </a:lnTo>
                  <a:lnTo>
                    <a:pt x="3731" y="2432"/>
                  </a:lnTo>
                  <a:lnTo>
                    <a:pt x="3730" y="2424"/>
                  </a:lnTo>
                  <a:lnTo>
                    <a:pt x="3710" y="2432"/>
                  </a:lnTo>
                  <a:lnTo>
                    <a:pt x="3718" y="2418"/>
                  </a:lnTo>
                  <a:lnTo>
                    <a:pt x="3713" y="2416"/>
                  </a:lnTo>
                  <a:lnTo>
                    <a:pt x="3723" y="2382"/>
                  </a:lnTo>
                  <a:lnTo>
                    <a:pt x="3719" y="2373"/>
                  </a:lnTo>
                  <a:lnTo>
                    <a:pt x="3711" y="2374"/>
                  </a:lnTo>
                  <a:close/>
                  <a:moveTo>
                    <a:pt x="3554" y="2169"/>
                  </a:moveTo>
                  <a:lnTo>
                    <a:pt x="3620" y="2192"/>
                  </a:lnTo>
                  <a:lnTo>
                    <a:pt x="3635" y="2205"/>
                  </a:lnTo>
                  <a:lnTo>
                    <a:pt x="3651" y="2209"/>
                  </a:lnTo>
                  <a:lnTo>
                    <a:pt x="3659" y="2226"/>
                  </a:lnTo>
                  <a:lnTo>
                    <a:pt x="3634" y="2229"/>
                  </a:lnTo>
                  <a:lnTo>
                    <a:pt x="3581" y="2212"/>
                  </a:lnTo>
                  <a:lnTo>
                    <a:pt x="3571" y="2195"/>
                  </a:lnTo>
                  <a:lnTo>
                    <a:pt x="3533" y="2175"/>
                  </a:lnTo>
                  <a:lnTo>
                    <a:pt x="3533" y="2169"/>
                  </a:lnTo>
                  <a:lnTo>
                    <a:pt x="3554" y="2169"/>
                  </a:lnTo>
                  <a:close/>
                  <a:moveTo>
                    <a:pt x="3342" y="2083"/>
                  </a:moveTo>
                  <a:lnTo>
                    <a:pt x="3354" y="2073"/>
                  </a:lnTo>
                  <a:lnTo>
                    <a:pt x="3348" y="2070"/>
                  </a:lnTo>
                  <a:lnTo>
                    <a:pt x="3346" y="2059"/>
                  </a:lnTo>
                  <a:lnTo>
                    <a:pt x="3351" y="2062"/>
                  </a:lnTo>
                  <a:lnTo>
                    <a:pt x="3351" y="2070"/>
                  </a:lnTo>
                  <a:lnTo>
                    <a:pt x="3354" y="2068"/>
                  </a:lnTo>
                  <a:lnTo>
                    <a:pt x="3352" y="2056"/>
                  </a:lnTo>
                  <a:lnTo>
                    <a:pt x="3346" y="2049"/>
                  </a:lnTo>
                  <a:lnTo>
                    <a:pt x="3326" y="2053"/>
                  </a:lnTo>
                  <a:lnTo>
                    <a:pt x="3320" y="2066"/>
                  </a:lnTo>
                  <a:lnTo>
                    <a:pt x="3323" y="2076"/>
                  </a:lnTo>
                  <a:lnTo>
                    <a:pt x="3342" y="2083"/>
                  </a:lnTo>
                  <a:close/>
                  <a:moveTo>
                    <a:pt x="2717" y="2449"/>
                  </a:moveTo>
                  <a:lnTo>
                    <a:pt x="2670" y="2449"/>
                  </a:lnTo>
                  <a:lnTo>
                    <a:pt x="2697" y="2464"/>
                  </a:lnTo>
                  <a:lnTo>
                    <a:pt x="2727" y="2471"/>
                  </a:lnTo>
                  <a:lnTo>
                    <a:pt x="2735" y="2464"/>
                  </a:lnTo>
                  <a:lnTo>
                    <a:pt x="2740" y="2450"/>
                  </a:lnTo>
                  <a:lnTo>
                    <a:pt x="2735" y="2450"/>
                  </a:lnTo>
                  <a:lnTo>
                    <a:pt x="2731" y="2467"/>
                  </a:lnTo>
                  <a:lnTo>
                    <a:pt x="2727" y="2446"/>
                  </a:lnTo>
                  <a:lnTo>
                    <a:pt x="2717" y="2449"/>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57" name="Freeform 187">
              <a:extLst>
                <a:ext uri="{FF2B5EF4-FFF2-40B4-BE49-F238E27FC236}">
                  <a16:creationId xmlns:a16="http://schemas.microsoft.com/office/drawing/2014/main" id="{A9B2F0E9-22C3-0445-AC70-E0B21B4434DD}"/>
                </a:ext>
              </a:extLst>
            </p:cNvPr>
            <p:cNvSpPr>
              <a:spLocks noChangeAspect="1"/>
            </p:cNvSpPr>
            <p:nvPr/>
          </p:nvSpPr>
          <p:spPr bwMode="gray">
            <a:xfrm>
              <a:off x="2817224" y="4230413"/>
              <a:ext cx="125716" cy="169090"/>
            </a:xfrm>
            <a:custGeom>
              <a:avLst/>
              <a:gdLst>
                <a:gd name="T0" fmla="*/ 254 w 260"/>
                <a:gd name="T1" fmla="*/ 66 h 289"/>
                <a:gd name="T2" fmla="*/ 220 w 260"/>
                <a:gd name="T3" fmla="*/ 46 h 289"/>
                <a:gd name="T4" fmla="*/ 209 w 260"/>
                <a:gd name="T5" fmla="*/ 52 h 289"/>
                <a:gd name="T6" fmla="*/ 164 w 260"/>
                <a:gd name="T7" fmla="*/ 52 h 289"/>
                <a:gd name="T8" fmla="*/ 156 w 260"/>
                <a:gd name="T9" fmla="*/ 37 h 289"/>
                <a:gd name="T10" fmla="*/ 147 w 260"/>
                <a:gd name="T11" fmla="*/ 29 h 289"/>
                <a:gd name="T12" fmla="*/ 119 w 260"/>
                <a:gd name="T13" fmla="*/ 15 h 289"/>
                <a:gd name="T14" fmla="*/ 89 w 260"/>
                <a:gd name="T15" fmla="*/ 0 h 289"/>
                <a:gd name="T16" fmla="*/ 56 w 260"/>
                <a:gd name="T17" fmla="*/ 23 h 289"/>
                <a:gd name="T18" fmla="*/ 37 w 260"/>
                <a:gd name="T19" fmla="*/ 23 h 289"/>
                <a:gd name="T20" fmla="*/ 34 w 260"/>
                <a:gd name="T21" fmla="*/ 29 h 289"/>
                <a:gd name="T22" fmla="*/ 35 w 260"/>
                <a:gd name="T23" fmla="*/ 55 h 289"/>
                <a:gd name="T24" fmla="*/ 22 w 260"/>
                <a:gd name="T25" fmla="*/ 76 h 289"/>
                <a:gd name="T26" fmla="*/ 18 w 260"/>
                <a:gd name="T27" fmla="*/ 94 h 289"/>
                <a:gd name="T28" fmla="*/ 0 w 260"/>
                <a:gd name="T29" fmla="*/ 110 h 289"/>
                <a:gd name="T30" fmla="*/ 0 w 260"/>
                <a:gd name="T31" fmla="*/ 167 h 289"/>
                <a:gd name="T32" fmla="*/ 23 w 260"/>
                <a:gd name="T33" fmla="*/ 182 h 289"/>
                <a:gd name="T34" fmla="*/ 42 w 260"/>
                <a:gd name="T35" fmla="*/ 162 h 289"/>
                <a:gd name="T36" fmla="*/ 47 w 260"/>
                <a:gd name="T37" fmla="*/ 181 h 289"/>
                <a:gd name="T38" fmla="*/ 42 w 260"/>
                <a:gd name="T39" fmla="*/ 204 h 289"/>
                <a:gd name="T40" fmla="*/ 20 w 260"/>
                <a:gd name="T41" fmla="*/ 219 h 289"/>
                <a:gd name="T42" fmla="*/ 25 w 260"/>
                <a:gd name="T43" fmla="*/ 240 h 289"/>
                <a:gd name="T44" fmla="*/ 9 w 260"/>
                <a:gd name="T45" fmla="*/ 250 h 289"/>
                <a:gd name="T46" fmla="*/ 15 w 260"/>
                <a:gd name="T47" fmla="*/ 270 h 289"/>
                <a:gd name="T48" fmla="*/ 34 w 260"/>
                <a:gd name="T49" fmla="*/ 266 h 289"/>
                <a:gd name="T50" fmla="*/ 40 w 260"/>
                <a:gd name="T51" fmla="*/ 270 h 289"/>
                <a:gd name="T52" fmla="*/ 54 w 260"/>
                <a:gd name="T53" fmla="*/ 270 h 289"/>
                <a:gd name="T54" fmla="*/ 64 w 260"/>
                <a:gd name="T55" fmla="*/ 289 h 289"/>
                <a:gd name="T56" fmla="*/ 79 w 260"/>
                <a:gd name="T57" fmla="*/ 287 h 289"/>
                <a:gd name="T58" fmla="*/ 94 w 260"/>
                <a:gd name="T59" fmla="*/ 275 h 289"/>
                <a:gd name="T60" fmla="*/ 99 w 260"/>
                <a:gd name="T61" fmla="*/ 242 h 289"/>
                <a:gd name="T62" fmla="*/ 111 w 260"/>
                <a:gd name="T63" fmla="*/ 224 h 289"/>
                <a:gd name="T64" fmla="*/ 122 w 260"/>
                <a:gd name="T65" fmla="*/ 225 h 289"/>
                <a:gd name="T66" fmla="*/ 128 w 260"/>
                <a:gd name="T67" fmla="*/ 207 h 289"/>
                <a:gd name="T68" fmla="*/ 193 w 260"/>
                <a:gd name="T69" fmla="*/ 181 h 289"/>
                <a:gd name="T70" fmla="*/ 233 w 260"/>
                <a:gd name="T71" fmla="*/ 140 h 289"/>
                <a:gd name="T72" fmla="*/ 252 w 260"/>
                <a:gd name="T73" fmla="*/ 106 h 289"/>
                <a:gd name="T74" fmla="*/ 260 w 260"/>
                <a:gd name="T75" fmla="*/ 106 h 289"/>
                <a:gd name="T76" fmla="*/ 241 w 260"/>
                <a:gd name="T77" fmla="*/ 74 h 289"/>
                <a:gd name="T78" fmla="*/ 243 w 260"/>
                <a:gd name="T79" fmla="*/ 68 h 289"/>
                <a:gd name="T80" fmla="*/ 254 w 260"/>
                <a:gd name="T81" fmla="*/ 6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0" h="289">
                  <a:moveTo>
                    <a:pt x="254" y="66"/>
                  </a:moveTo>
                  <a:lnTo>
                    <a:pt x="220" y="46"/>
                  </a:lnTo>
                  <a:lnTo>
                    <a:pt x="209" y="52"/>
                  </a:lnTo>
                  <a:lnTo>
                    <a:pt x="164" y="52"/>
                  </a:lnTo>
                  <a:lnTo>
                    <a:pt x="156" y="37"/>
                  </a:lnTo>
                  <a:lnTo>
                    <a:pt x="147" y="29"/>
                  </a:lnTo>
                  <a:lnTo>
                    <a:pt x="119" y="15"/>
                  </a:lnTo>
                  <a:lnTo>
                    <a:pt x="89" y="0"/>
                  </a:lnTo>
                  <a:lnTo>
                    <a:pt x="56" y="23"/>
                  </a:lnTo>
                  <a:lnTo>
                    <a:pt x="37" y="23"/>
                  </a:lnTo>
                  <a:lnTo>
                    <a:pt x="34" y="29"/>
                  </a:lnTo>
                  <a:lnTo>
                    <a:pt x="35" y="55"/>
                  </a:lnTo>
                  <a:lnTo>
                    <a:pt x="22" y="76"/>
                  </a:lnTo>
                  <a:lnTo>
                    <a:pt x="18" y="94"/>
                  </a:lnTo>
                  <a:lnTo>
                    <a:pt x="0" y="110"/>
                  </a:lnTo>
                  <a:lnTo>
                    <a:pt x="0" y="167"/>
                  </a:lnTo>
                  <a:lnTo>
                    <a:pt x="23" y="182"/>
                  </a:lnTo>
                  <a:lnTo>
                    <a:pt x="42" y="162"/>
                  </a:lnTo>
                  <a:lnTo>
                    <a:pt x="47" y="181"/>
                  </a:lnTo>
                  <a:lnTo>
                    <a:pt x="42" y="204"/>
                  </a:lnTo>
                  <a:lnTo>
                    <a:pt x="20" y="219"/>
                  </a:lnTo>
                  <a:lnTo>
                    <a:pt x="25" y="240"/>
                  </a:lnTo>
                  <a:lnTo>
                    <a:pt x="9" y="250"/>
                  </a:lnTo>
                  <a:lnTo>
                    <a:pt x="15" y="270"/>
                  </a:lnTo>
                  <a:lnTo>
                    <a:pt x="34" y="266"/>
                  </a:lnTo>
                  <a:lnTo>
                    <a:pt x="40" y="270"/>
                  </a:lnTo>
                  <a:lnTo>
                    <a:pt x="54" y="270"/>
                  </a:lnTo>
                  <a:lnTo>
                    <a:pt x="64" y="289"/>
                  </a:lnTo>
                  <a:lnTo>
                    <a:pt x="79" y="287"/>
                  </a:lnTo>
                  <a:lnTo>
                    <a:pt x="94" y="275"/>
                  </a:lnTo>
                  <a:lnTo>
                    <a:pt x="99" y="242"/>
                  </a:lnTo>
                  <a:lnTo>
                    <a:pt x="111" y="224"/>
                  </a:lnTo>
                  <a:lnTo>
                    <a:pt x="122" y="225"/>
                  </a:lnTo>
                  <a:lnTo>
                    <a:pt x="128" y="207"/>
                  </a:lnTo>
                  <a:lnTo>
                    <a:pt x="193" y="181"/>
                  </a:lnTo>
                  <a:lnTo>
                    <a:pt x="233" y="140"/>
                  </a:lnTo>
                  <a:lnTo>
                    <a:pt x="252" y="106"/>
                  </a:lnTo>
                  <a:lnTo>
                    <a:pt x="260" y="106"/>
                  </a:lnTo>
                  <a:lnTo>
                    <a:pt x="241" y="74"/>
                  </a:lnTo>
                  <a:lnTo>
                    <a:pt x="243" y="68"/>
                  </a:lnTo>
                  <a:lnTo>
                    <a:pt x="254" y="66"/>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58" name="Freeform 188">
              <a:extLst>
                <a:ext uri="{FF2B5EF4-FFF2-40B4-BE49-F238E27FC236}">
                  <a16:creationId xmlns:a16="http://schemas.microsoft.com/office/drawing/2014/main" id="{6EFEE920-69AA-6341-A4BC-830E0C944C40}"/>
                </a:ext>
              </a:extLst>
            </p:cNvPr>
            <p:cNvSpPr>
              <a:spLocks noChangeAspect="1"/>
            </p:cNvSpPr>
            <p:nvPr/>
          </p:nvSpPr>
          <p:spPr bwMode="gray">
            <a:xfrm>
              <a:off x="2857011" y="3928742"/>
              <a:ext cx="273711" cy="449623"/>
            </a:xfrm>
            <a:custGeom>
              <a:avLst/>
              <a:gdLst>
                <a:gd name="T0" fmla="*/ 425 w 559"/>
                <a:gd name="T1" fmla="*/ 713 h 763"/>
                <a:gd name="T2" fmla="*/ 398 w 559"/>
                <a:gd name="T3" fmla="*/ 749 h 763"/>
                <a:gd name="T4" fmla="*/ 386 w 559"/>
                <a:gd name="T5" fmla="*/ 738 h 763"/>
                <a:gd name="T6" fmla="*/ 402 w 559"/>
                <a:gd name="T7" fmla="*/ 692 h 763"/>
                <a:gd name="T8" fmla="*/ 352 w 559"/>
                <a:gd name="T9" fmla="*/ 684 h 763"/>
                <a:gd name="T10" fmla="*/ 307 w 559"/>
                <a:gd name="T11" fmla="*/ 688 h 763"/>
                <a:gd name="T12" fmla="*/ 266 w 559"/>
                <a:gd name="T13" fmla="*/ 675 h 763"/>
                <a:gd name="T14" fmla="*/ 253 w 559"/>
                <a:gd name="T15" fmla="*/ 655 h 763"/>
                <a:gd name="T16" fmla="*/ 225 w 559"/>
                <a:gd name="T17" fmla="*/ 622 h 763"/>
                <a:gd name="T18" fmla="*/ 193 w 559"/>
                <a:gd name="T19" fmla="*/ 583 h 763"/>
                <a:gd name="T20" fmla="*/ 136 w 559"/>
                <a:gd name="T21" fmla="*/ 557 h 763"/>
                <a:gd name="T22" fmla="*/ 80 w 559"/>
                <a:gd name="T23" fmla="*/ 563 h 763"/>
                <a:gd name="T24" fmla="*/ 63 w 559"/>
                <a:gd name="T25" fmla="*/ 540 h 763"/>
                <a:gd name="T26" fmla="*/ 5 w 559"/>
                <a:gd name="T27" fmla="*/ 511 h 763"/>
                <a:gd name="T28" fmla="*/ 7 w 559"/>
                <a:gd name="T29" fmla="*/ 490 h 763"/>
                <a:gd name="T30" fmla="*/ 22 w 559"/>
                <a:gd name="T31" fmla="*/ 458 h 763"/>
                <a:gd name="T32" fmla="*/ 68 w 559"/>
                <a:gd name="T33" fmla="*/ 424 h 763"/>
                <a:gd name="T34" fmla="*/ 94 w 559"/>
                <a:gd name="T35" fmla="*/ 390 h 763"/>
                <a:gd name="T36" fmla="*/ 71 w 559"/>
                <a:gd name="T37" fmla="*/ 393 h 763"/>
                <a:gd name="T38" fmla="*/ 69 w 559"/>
                <a:gd name="T39" fmla="*/ 323 h 763"/>
                <a:gd name="T40" fmla="*/ 72 w 559"/>
                <a:gd name="T41" fmla="*/ 275 h 763"/>
                <a:gd name="T42" fmla="*/ 49 w 559"/>
                <a:gd name="T43" fmla="*/ 237 h 763"/>
                <a:gd name="T44" fmla="*/ 66 w 559"/>
                <a:gd name="T45" fmla="*/ 223 h 763"/>
                <a:gd name="T46" fmla="*/ 69 w 559"/>
                <a:gd name="T47" fmla="*/ 184 h 763"/>
                <a:gd name="T48" fmla="*/ 100 w 559"/>
                <a:gd name="T49" fmla="*/ 204 h 763"/>
                <a:gd name="T50" fmla="*/ 120 w 559"/>
                <a:gd name="T51" fmla="*/ 161 h 763"/>
                <a:gd name="T52" fmla="*/ 153 w 559"/>
                <a:gd name="T53" fmla="*/ 133 h 763"/>
                <a:gd name="T54" fmla="*/ 183 w 559"/>
                <a:gd name="T55" fmla="*/ 65 h 763"/>
                <a:gd name="T56" fmla="*/ 204 w 559"/>
                <a:gd name="T57" fmla="*/ 65 h 763"/>
                <a:gd name="T58" fmla="*/ 222 w 559"/>
                <a:gd name="T59" fmla="*/ 52 h 763"/>
                <a:gd name="T60" fmla="*/ 264 w 559"/>
                <a:gd name="T61" fmla="*/ 47 h 763"/>
                <a:gd name="T62" fmla="*/ 320 w 559"/>
                <a:gd name="T63" fmla="*/ 9 h 763"/>
                <a:gd name="T64" fmla="*/ 330 w 559"/>
                <a:gd name="T65" fmla="*/ 3 h 763"/>
                <a:gd name="T66" fmla="*/ 361 w 559"/>
                <a:gd name="T67" fmla="*/ 9 h 763"/>
                <a:gd name="T68" fmla="*/ 352 w 559"/>
                <a:gd name="T69" fmla="*/ 26 h 763"/>
                <a:gd name="T70" fmla="*/ 295 w 559"/>
                <a:gd name="T71" fmla="*/ 71 h 763"/>
                <a:gd name="T72" fmla="*/ 275 w 559"/>
                <a:gd name="T73" fmla="*/ 128 h 763"/>
                <a:gd name="T74" fmla="*/ 283 w 559"/>
                <a:gd name="T75" fmla="*/ 152 h 763"/>
                <a:gd name="T76" fmla="*/ 303 w 559"/>
                <a:gd name="T77" fmla="*/ 195 h 763"/>
                <a:gd name="T78" fmla="*/ 324 w 559"/>
                <a:gd name="T79" fmla="*/ 243 h 763"/>
                <a:gd name="T80" fmla="*/ 388 w 559"/>
                <a:gd name="T81" fmla="*/ 245 h 763"/>
                <a:gd name="T82" fmla="*/ 444 w 559"/>
                <a:gd name="T83" fmla="*/ 292 h 763"/>
                <a:gd name="T84" fmla="*/ 491 w 559"/>
                <a:gd name="T85" fmla="*/ 294 h 763"/>
                <a:gd name="T86" fmla="*/ 530 w 559"/>
                <a:gd name="T87" fmla="*/ 288 h 763"/>
                <a:gd name="T88" fmla="*/ 518 w 559"/>
                <a:gd name="T89" fmla="*/ 328 h 763"/>
                <a:gd name="T90" fmla="*/ 518 w 559"/>
                <a:gd name="T91" fmla="*/ 388 h 763"/>
                <a:gd name="T92" fmla="*/ 541 w 559"/>
                <a:gd name="T93" fmla="*/ 419 h 763"/>
                <a:gd name="T94" fmla="*/ 539 w 559"/>
                <a:gd name="T95" fmla="*/ 465 h 763"/>
                <a:gd name="T96" fmla="*/ 549 w 559"/>
                <a:gd name="T97" fmla="*/ 520 h 763"/>
                <a:gd name="T98" fmla="*/ 532 w 559"/>
                <a:gd name="T99" fmla="*/ 480 h 763"/>
                <a:gd name="T100" fmla="*/ 496 w 559"/>
                <a:gd name="T101" fmla="*/ 481 h 763"/>
                <a:gd name="T102" fmla="*/ 422 w 559"/>
                <a:gd name="T103" fmla="*/ 494 h 763"/>
                <a:gd name="T104" fmla="*/ 428 w 559"/>
                <a:gd name="T105" fmla="*/ 526 h 763"/>
                <a:gd name="T106" fmla="*/ 454 w 559"/>
                <a:gd name="T107" fmla="*/ 545 h 763"/>
                <a:gd name="T108" fmla="*/ 411 w 559"/>
                <a:gd name="T109" fmla="*/ 549 h 763"/>
                <a:gd name="T110" fmla="*/ 432 w 559"/>
                <a:gd name="T111" fmla="*/ 599 h 763"/>
                <a:gd name="T112" fmla="*/ 434 w 559"/>
                <a:gd name="T113" fmla="*/ 668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9" h="763">
                  <a:moveTo>
                    <a:pt x="434" y="668"/>
                  </a:moveTo>
                  <a:lnTo>
                    <a:pt x="425" y="713"/>
                  </a:lnTo>
                  <a:lnTo>
                    <a:pt x="415" y="763"/>
                  </a:lnTo>
                  <a:lnTo>
                    <a:pt x="398" y="749"/>
                  </a:lnTo>
                  <a:lnTo>
                    <a:pt x="386" y="746"/>
                  </a:lnTo>
                  <a:lnTo>
                    <a:pt x="386" y="738"/>
                  </a:lnTo>
                  <a:lnTo>
                    <a:pt x="410" y="705"/>
                  </a:lnTo>
                  <a:lnTo>
                    <a:pt x="402" y="692"/>
                  </a:lnTo>
                  <a:lnTo>
                    <a:pt x="368" y="676"/>
                  </a:lnTo>
                  <a:lnTo>
                    <a:pt x="352" y="684"/>
                  </a:lnTo>
                  <a:lnTo>
                    <a:pt x="327" y="676"/>
                  </a:lnTo>
                  <a:lnTo>
                    <a:pt x="307" y="688"/>
                  </a:lnTo>
                  <a:lnTo>
                    <a:pt x="275" y="684"/>
                  </a:lnTo>
                  <a:lnTo>
                    <a:pt x="266" y="675"/>
                  </a:lnTo>
                  <a:lnTo>
                    <a:pt x="266" y="658"/>
                  </a:lnTo>
                  <a:lnTo>
                    <a:pt x="253" y="655"/>
                  </a:lnTo>
                  <a:lnTo>
                    <a:pt x="244" y="628"/>
                  </a:lnTo>
                  <a:lnTo>
                    <a:pt x="225" y="622"/>
                  </a:lnTo>
                  <a:lnTo>
                    <a:pt x="210" y="597"/>
                  </a:lnTo>
                  <a:lnTo>
                    <a:pt x="193" y="583"/>
                  </a:lnTo>
                  <a:lnTo>
                    <a:pt x="170" y="577"/>
                  </a:lnTo>
                  <a:lnTo>
                    <a:pt x="136" y="557"/>
                  </a:lnTo>
                  <a:lnTo>
                    <a:pt x="125" y="563"/>
                  </a:lnTo>
                  <a:lnTo>
                    <a:pt x="80" y="563"/>
                  </a:lnTo>
                  <a:lnTo>
                    <a:pt x="72" y="548"/>
                  </a:lnTo>
                  <a:lnTo>
                    <a:pt x="63" y="540"/>
                  </a:lnTo>
                  <a:lnTo>
                    <a:pt x="35" y="526"/>
                  </a:lnTo>
                  <a:lnTo>
                    <a:pt x="5" y="511"/>
                  </a:lnTo>
                  <a:lnTo>
                    <a:pt x="0" y="498"/>
                  </a:lnTo>
                  <a:lnTo>
                    <a:pt x="7" y="490"/>
                  </a:lnTo>
                  <a:lnTo>
                    <a:pt x="17" y="489"/>
                  </a:lnTo>
                  <a:lnTo>
                    <a:pt x="22" y="458"/>
                  </a:lnTo>
                  <a:lnTo>
                    <a:pt x="61" y="447"/>
                  </a:lnTo>
                  <a:lnTo>
                    <a:pt x="68" y="424"/>
                  </a:lnTo>
                  <a:lnTo>
                    <a:pt x="94" y="396"/>
                  </a:lnTo>
                  <a:lnTo>
                    <a:pt x="94" y="390"/>
                  </a:lnTo>
                  <a:lnTo>
                    <a:pt x="83" y="396"/>
                  </a:lnTo>
                  <a:lnTo>
                    <a:pt x="71" y="393"/>
                  </a:lnTo>
                  <a:lnTo>
                    <a:pt x="77" y="367"/>
                  </a:lnTo>
                  <a:lnTo>
                    <a:pt x="69" y="323"/>
                  </a:lnTo>
                  <a:lnTo>
                    <a:pt x="75" y="311"/>
                  </a:lnTo>
                  <a:lnTo>
                    <a:pt x="72" y="275"/>
                  </a:lnTo>
                  <a:lnTo>
                    <a:pt x="60" y="260"/>
                  </a:lnTo>
                  <a:lnTo>
                    <a:pt x="49" y="237"/>
                  </a:lnTo>
                  <a:lnTo>
                    <a:pt x="58" y="221"/>
                  </a:lnTo>
                  <a:lnTo>
                    <a:pt x="66" y="223"/>
                  </a:lnTo>
                  <a:lnTo>
                    <a:pt x="81" y="204"/>
                  </a:lnTo>
                  <a:lnTo>
                    <a:pt x="69" y="184"/>
                  </a:lnTo>
                  <a:lnTo>
                    <a:pt x="72" y="176"/>
                  </a:lnTo>
                  <a:lnTo>
                    <a:pt x="100" y="204"/>
                  </a:lnTo>
                  <a:lnTo>
                    <a:pt x="98" y="176"/>
                  </a:lnTo>
                  <a:lnTo>
                    <a:pt x="120" y="161"/>
                  </a:lnTo>
                  <a:lnTo>
                    <a:pt x="134" y="142"/>
                  </a:lnTo>
                  <a:lnTo>
                    <a:pt x="153" y="133"/>
                  </a:lnTo>
                  <a:lnTo>
                    <a:pt x="156" y="89"/>
                  </a:lnTo>
                  <a:lnTo>
                    <a:pt x="183" y="65"/>
                  </a:lnTo>
                  <a:lnTo>
                    <a:pt x="196" y="68"/>
                  </a:lnTo>
                  <a:lnTo>
                    <a:pt x="204" y="65"/>
                  </a:lnTo>
                  <a:lnTo>
                    <a:pt x="208" y="76"/>
                  </a:lnTo>
                  <a:lnTo>
                    <a:pt x="222" y="52"/>
                  </a:lnTo>
                  <a:lnTo>
                    <a:pt x="244" y="54"/>
                  </a:lnTo>
                  <a:lnTo>
                    <a:pt x="264" y="47"/>
                  </a:lnTo>
                  <a:lnTo>
                    <a:pt x="309" y="28"/>
                  </a:lnTo>
                  <a:lnTo>
                    <a:pt x="320" y="9"/>
                  </a:lnTo>
                  <a:lnTo>
                    <a:pt x="330" y="9"/>
                  </a:lnTo>
                  <a:lnTo>
                    <a:pt x="330" y="3"/>
                  </a:lnTo>
                  <a:lnTo>
                    <a:pt x="340" y="0"/>
                  </a:lnTo>
                  <a:lnTo>
                    <a:pt x="361" y="9"/>
                  </a:lnTo>
                  <a:lnTo>
                    <a:pt x="361" y="17"/>
                  </a:lnTo>
                  <a:lnTo>
                    <a:pt x="352" y="26"/>
                  </a:lnTo>
                  <a:lnTo>
                    <a:pt x="327" y="34"/>
                  </a:lnTo>
                  <a:lnTo>
                    <a:pt x="295" y="71"/>
                  </a:lnTo>
                  <a:lnTo>
                    <a:pt x="284" y="89"/>
                  </a:lnTo>
                  <a:lnTo>
                    <a:pt x="275" y="128"/>
                  </a:lnTo>
                  <a:lnTo>
                    <a:pt x="261" y="150"/>
                  </a:lnTo>
                  <a:lnTo>
                    <a:pt x="283" y="152"/>
                  </a:lnTo>
                  <a:lnTo>
                    <a:pt x="288" y="172"/>
                  </a:lnTo>
                  <a:lnTo>
                    <a:pt x="303" y="195"/>
                  </a:lnTo>
                  <a:lnTo>
                    <a:pt x="307" y="232"/>
                  </a:lnTo>
                  <a:lnTo>
                    <a:pt x="324" y="243"/>
                  </a:lnTo>
                  <a:lnTo>
                    <a:pt x="351" y="250"/>
                  </a:lnTo>
                  <a:lnTo>
                    <a:pt x="388" y="245"/>
                  </a:lnTo>
                  <a:lnTo>
                    <a:pt x="411" y="254"/>
                  </a:lnTo>
                  <a:lnTo>
                    <a:pt x="444" y="292"/>
                  </a:lnTo>
                  <a:lnTo>
                    <a:pt x="464" y="289"/>
                  </a:lnTo>
                  <a:lnTo>
                    <a:pt x="491" y="294"/>
                  </a:lnTo>
                  <a:lnTo>
                    <a:pt x="516" y="286"/>
                  </a:lnTo>
                  <a:lnTo>
                    <a:pt x="530" y="288"/>
                  </a:lnTo>
                  <a:lnTo>
                    <a:pt x="533" y="299"/>
                  </a:lnTo>
                  <a:lnTo>
                    <a:pt x="518" y="328"/>
                  </a:lnTo>
                  <a:lnTo>
                    <a:pt x="513" y="362"/>
                  </a:lnTo>
                  <a:lnTo>
                    <a:pt x="518" y="388"/>
                  </a:lnTo>
                  <a:lnTo>
                    <a:pt x="533" y="401"/>
                  </a:lnTo>
                  <a:lnTo>
                    <a:pt x="541" y="419"/>
                  </a:lnTo>
                  <a:lnTo>
                    <a:pt x="518" y="444"/>
                  </a:lnTo>
                  <a:lnTo>
                    <a:pt x="539" y="465"/>
                  </a:lnTo>
                  <a:lnTo>
                    <a:pt x="559" y="512"/>
                  </a:lnTo>
                  <a:lnTo>
                    <a:pt x="549" y="520"/>
                  </a:lnTo>
                  <a:lnTo>
                    <a:pt x="544" y="494"/>
                  </a:lnTo>
                  <a:lnTo>
                    <a:pt x="532" y="480"/>
                  </a:lnTo>
                  <a:lnTo>
                    <a:pt x="508" y="489"/>
                  </a:lnTo>
                  <a:lnTo>
                    <a:pt x="496" y="481"/>
                  </a:lnTo>
                  <a:lnTo>
                    <a:pt x="490" y="494"/>
                  </a:lnTo>
                  <a:lnTo>
                    <a:pt x="422" y="494"/>
                  </a:lnTo>
                  <a:lnTo>
                    <a:pt x="422" y="523"/>
                  </a:lnTo>
                  <a:lnTo>
                    <a:pt x="428" y="526"/>
                  </a:lnTo>
                  <a:lnTo>
                    <a:pt x="445" y="524"/>
                  </a:lnTo>
                  <a:lnTo>
                    <a:pt x="454" y="545"/>
                  </a:lnTo>
                  <a:lnTo>
                    <a:pt x="436" y="543"/>
                  </a:lnTo>
                  <a:lnTo>
                    <a:pt x="411" y="549"/>
                  </a:lnTo>
                  <a:lnTo>
                    <a:pt x="411" y="580"/>
                  </a:lnTo>
                  <a:lnTo>
                    <a:pt x="432" y="599"/>
                  </a:lnTo>
                  <a:lnTo>
                    <a:pt x="440" y="630"/>
                  </a:lnTo>
                  <a:lnTo>
                    <a:pt x="434" y="668"/>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59" name="Freeform 189">
              <a:extLst>
                <a:ext uri="{FF2B5EF4-FFF2-40B4-BE49-F238E27FC236}">
                  <a16:creationId xmlns:a16="http://schemas.microsoft.com/office/drawing/2014/main" id="{A5E8495A-D5B6-0C4D-88FE-1CD4C14EF1B8}"/>
                </a:ext>
              </a:extLst>
            </p:cNvPr>
            <p:cNvSpPr>
              <a:spLocks noChangeAspect="1"/>
            </p:cNvSpPr>
            <p:nvPr/>
          </p:nvSpPr>
          <p:spPr bwMode="gray">
            <a:xfrm>
              <a:off x="2806086" y="4266921"/>
              <a:ext cx="281668" cy="497660"/>
            </a:xfrm>
            <a:custGeom>
              <a:avLst/>
              <a:gdLst>
                <a:gd name="T0" fmla="*/ 504 w 575"/>
                <a:gd name="T1" fmla="*/ 834 h 843"/>
                <a:gd name="T2" fmla="*/ 538 w 575"/>
                <a:gd name="T3" fmla="*/ 811 h 843"/>
                <a:gd name="T4" fmla="*/ 563 w 575"/>
                <a:gd name="T5" fmla="*/ 760 h 843"/>
                <a:gd name="T6" fmla="*/ 546 w 575"/>
                <a:gd name="T7" fmla="*/ 732 h 843"/>
                <a:gd name="T8" fmla="*/ 557 w 575"/>
                <a:gd name="T9" fmla="*/ 698 h 843"/>
                <a:gd name="T10" fmla="*/ 563 w 575"/>
                <a:gd name="T11" fmla="*/ 664 h 843"/>
                <a:gd name="T12" fmla="*/ 575 w 575"/>
                <a:gd name="T13" fmla="*/ 567 h 843"/>
                <a:gd name="T14" fmla="*/ 506 w 575"/>
                <a:gd name="T15" fmla="*/ 503 h 843"/>
                <a:gd name="T16" fmla="*/ 495 w 575"/>
                <a:gd name="T17" fmla="*/ 421 h 843"/>
                <a:gd name="T18" fmla="*/ 442 w 575"/>
                <a:gd name="T19" fmla="*/ 453 h 843"/>
                <a:gd name="T20" fmla="*/ 408 w 575"/>
                <a:gd name="T21" fmla="*/ 430 h 843"/>
                <a:gd name="T22" fmla="*/ 385 w 575"/>
                <a:gd name="T23" fmla="*/ 407 h 843"/>
                <a:gd name="T24" fmla="*/ 343 w 575"/>
                <a:gd name="T25" fmla="*/ 342 h 843"/>
                <a:gd name="T26" fmla="*/ 377 w 575"/>
                <a:gd name="T27" fmla="*/ 296 h 843"/>
                <a:gd name="T28" fmla="*/ 404 w 575"/>
                <a:gd name="T29" fmla="*/ 228 h 843"/>
                <a:gd name="T30" fmla="*/ 497 w 575"/>
                <a:gd name="T31" fmla="*/ 189 h 843"/>
                <a:gd name="T32" fmla="*/ 519 w 575"/>
                <a:gd name="T33" fmla="*/ 186 h 843"/>
                <a:gd name="T34" fmla="*/ 490 w 575"/>
                <a:gd name="T35" fmla="*/ 169 h 843"/>
                <a:gd name="T36" fmla="*/ 514 w 575"/>
                <a:gd name="T37" fmla="*/ 128 h 843"/>
                <a:gd name="T38" fmla="*/ 472 w 575"/>
                <a:gd name="T39" fmla="*/ 99 h 843"/>
                <a:gd name="T40" fmla="*/ 431 w 575"/>
                <a:gd name="T41" fmla="*/ 99 h 843"/>
                <a:gd name="T42" fmla="*/ 379 w 575"/>
                <a:gd name="T43" fmla="*/ 107 h 843"/>
                <a:gd name="T44" fmla="*/ 370 w 575"/>
                <a:gd name="T45" fmla="*/ 81 h 843"/>
                <a:gd name="T46" fmla="*/ 348 w 575"/>
                <a:gd name="T47" fmla="*/ 51 h 843"/>
                <a:gd name="T48" fmla="*/ 314 w 575"/>
                <a:gd name="T49" fmla="*/ 20 h 843"/>
                <a:gd name="T50" fmla="*/ 274 w 575"/>
                <a:gd name="T51" fmla="*/ 0 h 843"/>
                <a:gd name="T52" fmla="*/ 261 w 575"/>
                <a:gd name="T53" fmla="*/ 8 h 843"/>
                <a:gd name="T54" fmla="*/ 272 w 575"/>
                <a:gd name="T55" fmla="*/ 40 h 843"/>
                <a:gd name="T56" fmla="*/ 213 w 575"/>
                <a:gd name="T57" fmla="*/ 115 h 843"/>
                <a:gd name="T58" fmla="*/ 142 w 575"/>
                <a:gd name="T59" fmla="*/ 159 h 843"/>
                <a:gd name="T60" fmla="*/ 119 w 575"/>
                <a:gd name="T61" fmla="*/ 176 h 843"/>
                <a:gd name="T62" fmla="*/ 99 w 575"/>
                <a:gd name="T63" fmla="*/ 221 h 843"/>
                <a:gd name="T64" fmla="*/ 74 w 575"/>
                <a:gd name="T65" fmla="*/ 204 h 843"/>
                <a:gd name="T66" fmla="*/ 54 w 575"/>
                <a:gd name="T67" fmla="*/ 200 h 843"/>
                <a:gd name="T68" fmla="*/ 29 w 575"/>
                <a:gd name="T69" fmla="*/ 184 h 843"/>
                <a:gd name="T70" fmla="*/ 40 w 575"/>
                <a:gd name="T71" fmla="*/ 153 h 843"/>
                <a:gd name="T72" fmla="*/ 6 w 575"/>
                <a:gd name="T73" fmla="*/ 237 h 843"/>
                <a:gd name="T74" fmla="*/ 8 w 575"/>
                <a:gd name="T75" fmla="*/ 266 h 843"/>
                <a:gd name="T76" fmla="*/ 72 w 575"/>
                <a:gd name="T77" fmla="*/ 323 h 843"/>
                <a:gd name="T78" fmla="*/ 109 w 575"/>
                <a:gd name="T79" fmla="*/ 379 h 843"/>
                <a:gd name="T80" fmla="*/ 156 w 575"/>
                <a:gd name="T81" fmla="*/ 484 h 843"/>
                <a:gd name="T82" fmla="*/ 181 w 575"/>
                <a:gd name="T83" fmla="*/ 537 h 843"/>
                <a:gd name="T84" fmla="*/ 224 w 575"/>
                <a:gd name="T85" fmla="*/ 610 h 843"/>
                <a:gd name="T86" fmla="*/ 223 w 575"/>
                <a:gd name="T87" fmla="*/ 641 h 843"/>
                <a:gd name="T88" fmla="*/ 278 w 575"/>
                <a:gd name="T89" fmla="*/ 706 h 843"/>
                <a:gd name="T90" fmla="*/ 411 w 575"/>
                <a:gd name="T91" fmla="*/ 775 h 843"/>
                <a:gd name="T92" fmla="*/ 470 w 575"/>
                <a:gd name="T93" fmla="*/ 829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5" h="843">
                  <a:moveTo>
                    <a:pt x="493" y="843"/>
                  </a:moveTo>
                  <a:lnTo>
                    <a:pt x="504" y="834"/>
                  </a:lnTo>
                  <a:lnTo>
                    <a:pt x="524" y="833"/>
                  </a:lnTo>
                  <a:lnTo>
                    <a:pt x="538" y="811"/>
                  </a:lnTo>
                  <a:lnTo>
                    <a:pt x="532" y="800"/>
                  </a:lnTo>
                  <a:lnTo>
                    <a:pt x="563" y="760"/>
                  </a:lnTo>
                  <a:lnTo>
                    <a:pt x="561" y="749"/>
                  </a:lnTo>
                  <a:lnTo>
                    <a:pt x="546" y="732"/>
                  </a:lnTo>
                  <a:lnTo>
                    <a:pt x="546" y="714"/>
                  </a:lnTo>
                  <a:lnTo>
                    <a:pt x="557" y="698"/>
                  </a:lnTo>
                  <a:lnTo>
                    <a:pt x="548" y="675"/>
                  </a:lnTo>
                  <a:lnTo>
                    <a:pt x="563" y="664"/>
                  </a:lnTo>
                  <a:lnTo>
                    <a:pt x="563" y="587"/>
                  </a:lnTo>
                  <a:lnTo>
                    <a:pt x="575" y="567"/>
                  </a:lnTo>
                  <a:lnTo>
                    <a:pt x="532" y="497"/>
                  </a:lnTo>
                  <a:lnTo>
                    <a:pt x="506" y="503"/>
                  </a:lnTo>
                  <a:lnTo>
                    <a:pt x="495" y="497"/>
                  </a:lnTo>
                  <a:lnTo>
                    <a:pt x="495" y="421"/>
                  </a:lnTo>
                  <a:lnTo>
                    <a:pt x="465" y="444"/>
                  </a:lnTo>
                  <a:lnTo>
                    <a:pt x="442" y="453"/>
                  </a:lnTo>
                  <a:lnTo>
                    <a:pt x="421" y="449"/>
                  </a:lnTo>
                  <a:lnTo>
                    <a:pt x="408" y="430"/>
                  </a:lnTo>
                  <a:lnTo>
                    <a:pt x="380" y="426"/>
                  </a:lnTo>
                  <a:lnTo>
                    <a:pt x="385" y="407"/>
                  </a:lnTo>
                  <a:lnTo>
                    <a:pt x="354" y="376"/>
                  </a:lnTo>
                  <a:lnTo>
                    <a:pt x="343" y="342"/>
                  </a:lnTo>
                  <a:lnTo>
                    <a:pt x="359" y="303"/>
                  </a:lnTo>
                  <a:lnTo>
                    <a:pt x="377" y="296"/>
                  </a:lnTo>
                  <a:lnTo>
                    <a:pt x="379" y="266"/>
                  </a:lnTo>
                  <a:lnTo>
                    <a:pt x="404" y="228"/>
                  </a:lnTo>
                  <a:lnTo>
                    <a:pt x="442" y="206"/>
                  </a:lnTo>
                  <a:lnTo>
                    <a:pt x="497" y="189"/>
                  </a:lnTo>
                  <a:lnTo>
                    <a:pt x="514" y="191"/>
                  </a:lnTo>
                  <a:lnTo>
                    <a:pt x="519" y="186"/>
                  </a:lnTo>
                  <a:lnTo>
                    <a:pt x="502" y="172"/>
                  </a:lnTo>
                  <a:lnTo>
                    <a:pt x="490" y="169"/>
                  </a:lnTo>
                  <a:lnTo>
                    <a:pt x="490" y="161"/>
                  </a:lnTo>
                  <a:lnTo>
                    <a:pt x="514" y="128"/>
                  </a:lnTo>
                  <a:lnTo>
                    <a:pt x="506" y="115"/>
                  </a:lnTo>
                  <a:lnTo>
                    <a:pt x="472" y="99"/>
                  </a:lnTo>
                  <a:lnTo>
                    <a:pt x="456" y="107"/>
                  </a:lnTo>
                  <a:lnTo>
                    <a:pt x="431" y="99"/>
                  </a:lnTo>
                  <a:lnTo>
                    <a:pt x="411" y="111"/>
                  </a:lnTo>
                  <a:lnTo>
                    <a:pt x="379" y="107"/>
                  </a:lnTo>
                  <a:lnTo>
                    <a:pt x="370" y="98"/>
                  </a:lnTo>
                  <a:lnTo>
                    <a:pt x="370" y="81"/>
                  </a:lnTo>
                  <a:lnTo>
                    <a:pt x="357" y="78"/>
                  </a:lnTo>
                  <a:lnTo>
                    <a:pt x="348" y="51"/>
                  </a:lnTo>
                  <a:lnTo>
                    <a:pt x="329" y="45"/>
                  </a:lnTo>
                  <a:lnTo>
                    <a:pt x="314" y="20"/>
                  </a:lnTo>
                  <a:lnTo>
                    <a:pt x="297" y="6"/>
                  </a:lnTo>
                  <a:lnTo>
                    <a:pt x="274" y="0"/>
                  </a:lnTo>
                  <a:lnTo>
                    <a:pt x="263" y="2"/>
                  </a:lnTo>
                  <a:lnTo>
                    <a:pt x="261" y="8"/>
                  </a:lnTo>
                  <a:lnTo>
                    <a:pt x="280" y="40"/>
                  </a:lnTo>
                  <a:lnTo>
                    <a:pt x="272" y="40"/>
                  </a:lnTo>
                  <a:lnTo>
                    <a:pt x="253" y="74"/>
                  </a:lnTo>
                  <a:lnTo>
                    <a:pt x="213" y="115"/>
                  </a:lnTo>
                  <a:lnTo>
                    <a:pt x="148" y="141"/>
                  </a:lnTo>
                  <a:lnTo>
                    <a:pt x="142" y="159"/>
                  </a:lnTo>
                  <a:lnTo>
                    <a:pt x="131" y="158"/>
                  </a:lnTo>
                  <a:lnTo>
                    <a:pt x="119" y="176"/>
                  </a:lnTo>
                  <a:lnTo>
                    <a:pt x="114" y="209"/>
                  </a:lnTo>
                  <a:lnTo>
                    <a:pt x="99" y="221"/>
                  </a:lnTo>
                  <a:lnTo>
                    <a:pt x="84" y="223"/>
                  </a:lnTo>
                  <a:lnTo>
                    <a:pt x="74" y="204"/>
                  </a:lnTo>
                  <a:lnTo>
                    <a:pt x="60" y="204"/>
                  </a:lnTo>
                  <a:lnTo>
                    <a:pt x="54" y="200"/>
                  </a:lnTo>
                  <a:lnTo>
                    <a:pt x="35" y="204"/>
                  </a:lnTo>
                  <a:lnTo>
                    <a:pt x="29" y="184"/>
                  </a:lnTo>
                  <a:lnTo>
                    <a:pt x="45" y="174"/>
                  </a:lnTo>
                  <a:lnTo>
                    <a:pt x="40" y="153"/>
                  </a:lnTo>
                  <a:lnTo>
                    <a:pt x="0" y="196"/>
                  </a:lnTo>
                  <a:lnTo>
                    <a:pt x="6" y="237"/>
                  </a:lnTo>
                  <a:lnTo>
                    <a:pt x="18" y="251"/>
                  </a:lnTo>
                  <a:lnTo>
                    <a:pt x="8" y="266"/>
                  </a:lnTo>
                  <a:lnTo>
                    <a:pt x="59" y="308"/>
                  </a:lnTo>
                  <a:lnTo>
                    <a:pt x="72" y="323"/>
                  </a:lnTo>
                  <a:lnTo>
                    <a:pt x="84" y="353"/>
                  </a:lnTo>
                  <a:lnTo>
                    <a:pt x="109" y="379"/>
                  </a:lnTo>
                  <a:lnTo>
                    <a:pt x="142" y="460"/>
                  </a:lnTo>
                  <a:lnTo>
                    <a:pt x="156" y="484"/>
                  </a:lnTo>
                  <a:lnTo>
                    <a:pt x="165" y="523"/>
                  </a:lnTo>
                  <a:lnTo>
                    <a:pt x="181" y="537"/>
                  </a:lnTo>
                  <a:lnTo>
                    <a:pt x="213" y="596"/>
                  </a:lnTo>
                  <a:lnTo>
                    <a:pt x="224" y="610"/>
                  </a:lnTo>
                  <a:lnTo>
                    <a:pt x="229" y="631"/>
                  </a:lnTo>
                  <a:lnTo>
                    <a:pt x="223" y="641"/>
                  </a:lnTo>
                  <a:lnTo>
                    <a:pt x="226" y="655"/>
                  </a:lnTo>
                  <a:lnTo>
                    <a:pt x="278" y="706"/>
                  </a:lnTo>
                  <a:lnTo>
                    <a:pt x="343" y="746"/>
                  </a:lnTo>
                  <a:lnTo>
                    <a:pt x="411" y="775"/>
                  </a:lnTo>
                  <a:lnTo>
                    <a:pt x="439" y="795"/>
                  </a:lnTo>
                  <a:lnTo>
                    <a:pt x="470" y="829"/>
                  </a:lnTo>
                  <a:lnTo>
                    <a:pt x="493" y="843"/>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60" name="Freeform 190">
              <a:extLst>
                <a:ext uri="{FF2B5EF4-FFF2-40B4-BE49-F238E27FC236}">
                  <a16:creationId xmlns:a16="http://schemas.microsoft.com/office/drawing/2014/main" id="{2BA77120-81BF-384B-A223-CEDF4C7F7C60}"/>
                </a:ext>
              </a:extLst>
            </p:cNvPr>
            <p:cNvSpPr>
              <a:spLocks noChangeAspect="1"/>
            </p:cNvSpPr>
            <p:nvPr/>
          </p:nvSpPr>
          <p:spPr bwMode="gray">
            <a:xfrm>
              <a:off x="3224608" y="4793400"/>
              <a:ext cx="187779" cy="242105"/>
            </a:xfrm>
            <a:custGeom>
              <a:avLst/>
              <a:gdLst>
                <a:gd name="T0" fmla="*/ 0 w 388"/>
                <a:gd name="T1" fmla="*/ 151 h 411"/>
                <a:gd name="T2" fmla="*/ 17 w 388"/>
                <a:gd name="T3" fmla="*/ 105 h 411"/>
                <a:gd name="T4" fmla="*/ 17 w 388"/>
                <a:gd name="T5" fmla="*/ 71 h 411"/>
                <a:gd name="T6" fmla="*/ 34 w 388"/>
                <a:gd name="T7" fmla="*/ 43 h 411"/>
                <a:gd name="T8" fmla="*/ 40 w 388"/>
                <a:gd name="T9" fmla="*/ 26 h 411"/>
                <a:gd name="T10" fmla="*/ 129 w 388"/>
                <a:gd name="T11" fmla="*/ 0 h 411"/>
                <a:gd name="T12" fmla="*/ 168 w 388"/>
                <a:gd name="T13" fmla="*/ 0 h 411"/>
                <a:gd name="T14" fmla="*/ 188 w 388"/>
                <a:gd name="T15" fmla="*/ 10 h 411"/>
                <a:gd name="T16" fmla="*/ 215 w 388"/>
                <a:gd name="T17" fmla="*/ 43 h 411"/>
                <a:gd name="T18" fmla="*/ 213 w 388"/>
                <a:gd name="T19" fmla="*/ 49 h 411"/>
                <a:gd name="T20" fmla="*/ 221 w 388"/>
                <a:gd name="T21" fmla="*/ 63 h 411"/>
                <a:gd name="T22" fmla="*/ 221 w 388"/>
                <a:gd name="T23" fmla="*/ 131 h 411"/>
                <a:gd name="T24" fmla="*/ 224 w 388"/>
                <a:gd name="T25" fmla="*/ 137 h 411"/>
                <a:gd name="T26" fmla="*/ 263 w 388"/>
                <a:gd name="T27" fmla="*/ 149 h 411"/>
                <a:gd name="T28" fmla="*/ 294 w 388"/>
                <a:gd name="T29" fmla="*/ 142 h 411"/>
                <a:gd name="T30" fmla="*/ 318 w 388"/>
                <a:gd name="T31" fmla="*/ 152 h 411"/>
                <a:gd name="T32" fmla="val 18576000"/>
                <a:gd name="T33" fmla="*/ 164 h 411"/>
                <a:gd name="T34" fmla="*/ 329 w 388"/>
                <a:gd name="T35" fmla="*/ 215 h 411"/>
                <a:gd name="T36" fmla="*/ 335 w 388"/>
                <a:gd name="T37" fmla="*/ 225 h 411"/>
                <a:gd name="T38" fmla="*/ 348 w 388"/>
                <a:gd name="T39" fmla="*/ 232 h 411"/>
                <a:gd name="T40" fmla="*/ 378 w 388"/>
                <a:gd name="T41" fmla="*/ 227 h 411"/>
                <a:gd name="T42" fmla="*/ 383 w 388"/>
                <a:gd name="T43" fmla="*/ 232 h 411"/>
                <a:gd name="T44" fmla="*/ 388 w 388"/>
                <a:gd name="T45" fmla="*/ 259 h 411"/>
                <a:gd name="T46" fmla="*/ 380 w 388"/>
                <a:gd name="T47" fmla="*/ 315 h 411"/>
                <a:gd name="T48" fmla="*/ 371 w 388"/>
                <a:gd name="T49" fmla="*/ 360 h 411"/>
                <a:gd name="T50" fmla="*/ 326 w 388"/>
                <a:gd name="T51" fmla="*/ 403 h 411"/>
                <a:gd name="T52" fmla="*/ 273 w 388"/>
                <a:gd name="T53" fmla="*/ 411 h 411"/>
                <a:gd name="T54" fmla="*/ 246 w 388"/>
                <a:gd name="T55" fmla="*/ 399 h 411"/>
                <a:gd name="T56" fmla="*/ 201 w 388"/>
                <a:gd name="T57" fmla="*/ 394 h 411"/>
                <a:gd name="T58" fmla="*/ 201 w 388"/>
                <a:gd name="T59" fmla="*/ 383 h 411"/>
                <a:gd name="T60" fmla="*/ 202 w 388"/>
                <a:gd name="T61" fmla="*/ 371 h 411"/>
                <a:gd name="T62" fmla="*/ 230 w 388"/>
                <a:gd name="T63" fmla="*/ 321 h 411"/>
                <a:gd name="T64" fmla="*/ 227 w 388"/>
                <a:gd name="T65" fmla="*/ 301 h 411"/>
                <a:gd name="T66" fmla="*/ 193 w 388"/>
                <a:gd name="T67" fmla="*/ 276 h 411"/>
                <a:gd name="T68" fmla="*/ 141 w 388"/>
                <a:gd name="T69" fmla="*/ 245 h 411"/>
                <a:gd name="T70" fmla="*/ 86 w 388"/>
                <a:gd name="T71" fmla="*/ 233 h 411"/>
                <a:gd name="T72" fmla="*/ 77 w 388"/>
                <a:gd name="T73" fmla="*/ 216 h 411"/>
                <a:gd name="T74" fmla="*/ 43 w 388"/>
                <a:gd name="T75" fmla="*/ 193 h 411"/>
                <a:gd name="T76" fmla="*/ 14 w 388"/>
                <a:gd name="T77" fmla="*/ 156 h 411"/>
                <a:gd name="T78" fmla="*/ 0 w 388"/>
                <a:gd name="T79" fmla="*/ 151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8" h="411">
                  <a:moveTo>
                    <a:pt x="0" y="151"/>
                  </a:moveTo>
                  <a:lnTo>
                    <a:pt x="17" y="105"/>
                  </a:lnTo>
                  <a:lnTo>
                    <a:pt x="17" y="71"/>
                  </a:lnTo>
                  <a:lnTo>
                    <a:pt x="34" y="43"/>
                  </a:lnTo>
                  <a:lnTo>
                    <a:pt x="40" y="26"/>
                  </a:lnTo>
                  <a:lnTo>
                    <a:pt x="129" y="0"/>
                  </a:lnTo>
                  <a:lnTo>
                    <a:pt x="168" y="0"/>
                  </a:lnTo>
                  <a:lnTo>
                    <a:pt x="188" y="10"/>
                  </a:lnTo>
                  <a:lnTo>
                    <a:pt x="215" y="43"/>
                  </a:lnTo>
                  <a:lnTo>
                    <a:pt x="213" y="49"/>
                  </a:lnTo>
                  <a:lnTo>
                    <a:pt x="221" y="63"/>
                  </a:lnTo>
                  <a:lnTo>
                    <a:pt x="221" y="131"/>
                  </a:lnTo>
                  <a:lnTo>
                    <a:pt x="224" y="137"/>
                  </a:lnTo>
                  <a:lnTo>
                    <a:pt x="263" y="149"/>
                  </a:lnTo>
                  <a:lnTo>
                    <a:pt x="294" y="142"/>
                  </a:lnTo>
                  <a:lnTo>
                    <a:pt x="318" y="152"/>
                  </a:lnTo>
                  <a:lnTo>
                    <a:pt x="326" y="164"/>
                  </a:lnTo>
                  <a:lnTo>
                    <a:pt x="329" y="215"/>
                  </a:lnTo>
                  <a:lnTo>
                    <a:pt x="335" y="225"/>
                  </a:lnTo>
                  <a:lnTo>
                    <a:pt x="348" y="232"/>
                  </a:lnTo>
                  <a:lnTo>
                    <a:pt x="378" y="227"/>
                  </a:lnTo>
                  <a:lnTo>
                    <a:pt x="383" y="232"/>
                  </a:lnTo>
                  <a:lnTo>
                    <a:pt x="388" y="259"/>
                  </a:lnTo>
                  <a:lnTo>
                    <a:pt x="380" y="315"/>
                  </a:lnTo>
                  <a:lnTo>
                    <a:pt x="371" y="360"/>
                  </a:lnTo>
                  <a:lnTo>
                    <a:pt x="326" y="403"/>
                  </a:lnTo>
                  <a:lnTo>
                    <a:pt x="273" y="411"/>
                  </a:lnTo>
                  <a:lnTo>
                    <a:pt x="246" y="399"/>
                  </a:lnTo>
                  <a:lnTo>
                    <a:pt x="201" y="394"/>
                  </a:lnTo>
                  <a:lnTo>
                    <a:pt x="201" y="383"/>
                  </a:lnTo>
                  <a:lnTo>
                    <a:pt x="202" y="371"/>
                  </a:lnTo>
                  <a:lnTo>
                    <a:pt x="230" y="321"/>
                  </a:lnTo>
                  <a:lnTo>
                    <a:pt x="227" y="301"/>
                  </a:lnTo>
                  <a:lnTo>
                    <a:pt x="193" y="276"/>
                  </a:lnTo>
                  <a:lnTo>
                    <a:pt x="141" y="245"/>
                  </a:lnTo>
                  <a:lnTo>
                    <a:pt x="86" y="233"/>
                  </a:lnTo>
                  <a:lnTo>
                    <a:pt x="77" y="216"/>
                  </a:lnTo>
                  <a:lnTo>
                    <a:pt x="43" y="193"/>
                  </a:lnTo>
                  <a:lnTo>
                    <a:pt x="14" y="156"/>
                  </a:lnTo>
                  <a:lnTo>
                    <a:pt x="0" y="151"/>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61" name="Freeform 191">
              <a:extLst>
                <a:ext uri="{FF2B5EF4-FFF2-40B4-BE49-F238E27FC236}">
                  <a16:creationId xmlns:a16="http://schemas.microsoft.com/office/drawing/2014/main" id="{B700F1A2-18BA-604D-BCA3-3C0116B26977}"/>
                </a:ext>
              </a:extLst>
            </p:cNvPr>
            <p:cNvSpPr>
              <a:spLocks noChangeAspect="1"/>
            </p:cNvSpPr>
            <p:nvPr/>
          </p:nvSpPr>
          <p:spPr bwMode="gray">
            <a:xfrm>
              <a:off x="3320090" y="5114285"/>
              <a:ext cx="117758" cy="155638"/>
            </a:xfrm>
            <a:custGeom>
              <a:avLst/>
              <a:gdLst>
                <a:gd name="T0" fmla="*/ 39 w 246"/>
                <a:gd name="T1" fmla="*/ 8 h 263"/>
                <a:gd name="T2" fmla="*/ 28 w 246"/>
                <a:gd name="T3" fmla="*/ 21 h 263"/>
                <a:gd name="T4" fmla="*/ 26 w 246"/>
                <a:gd name="T5" fmla="*/ 72 h 263"/>
                <a:gd name="T6" fmla="*/ 17 w 246"/>
                <a:gd name="T7" fmla="*/ 100 h 263"/>
                <a:gd name="T8" fmla="*/ 16 w 246"/>
                <a:gd name="T9" fmla="*/ 151 h 263"/>
                <a:gd name="T10" fmla="*/ 5 w 246"/>
                <a:gd name="T11" fmla="*/ 176 h 263"/>
                <a:gd name="T12" fmla="*/ 0 w 246"/>
                <a:gd name="T13" fmla="*/ 210 h 263"/>
                <a:gd name="T14" fmla="*/ 8 w 246"/>
                <a:gd name="T15" fmla="*/ 213 h 263"/>
                <a:gd name="T16" fmla="*/ 25 w 246"/>
                <a:gd name="T17" fmla="*/ 235 h 263"/>
                <a:gd name="T18" fmla="*/ 57 w 246"/>
                <a:gd name="T19" fmla="*/ 238 h 263"/>
                <a:gd name="T20" fmla="*/ 104 w 246"/>
                <a:gd name="T21" fmla="*/ 258 h 263"/>
                <a:gd name="T22" fmla="*/ 136 w 246"/>
                <a:gd name="T23" fmla="*/ 257 h 263"/>
                <a:gd name="T24" fmla="*/ 165 w 246"/>
                <a:gd name="T25" fmla="*/ 263 h 263"/>
                <a:gd name="T26" fmla="*/ 198 w 246"/>
                <a:gd name="T27" fmla="*/ 246 h 263"/>
                <a:gd name="T28" fmla="*/ 232 w 246"/>
                <a:gd name="T29" fmla="*/ 198 h 263"/>
                <a:gd name="T30" fmla="*/ 229 w 246"/>
                <a:gd name="T31" fmla="*/ 190 h 263"/>
                <a:gd name="T32" fmla="*/ 231 w 246"/>
                <a:gd name="T33" fmla="*/ 165 h 263"/>
                <a:gd name="T34" fmla="*/ 246 w 246"/>
                <a:gd name="T35" fmla="*/ 143 h 263"/>
                <a:gd name="T36" fmla="*/ 224 w 246"/>
                <a:gd name="T37" fmla="*/ 125 h 263"/>
                <a:gd name="T38" fmla="*/ 215 w 246"/>
                <a:gd name="T39" fmla="*/ 99 h 263"/>
                <a:gd name="T40" fmla="*/ 192 w 246"/>
                <a:gd name="T41" fmla="*/ 89 h 263"/>
                <a:gd name="T42" fmla="*/ 178 w 246"/>
                <a:gd name="T43" fmla="*/ 72 h 263"/>
                <a:gd name="T44" fmla="*/ 152 w 246"/>
                <a:gd name="T45" fmla="*/ 62 h 263"/>
                <a:gd name="T46" fmla="*/ 135 w 246"/>
                <a:gd name="T47" fmla="*/ 40 h 263"/>
                <a:gd name="T48" fmla="*/ 122 w 246"/>
                <a:gd name="T49" fmla="*/ 48 h 263"/>
                <a:gd name="T50" fmla="*/ 113 w 246"/>
                <a:gd name="T51" fmla="*/ 48 h 263"/>
                <a:gd name="T52" fmla="*/ 107 w 246"/>
                <a:gd name="T53" fmla="*/ 28 h 263"/>
                <a:gd name="T54" fmla="*/ 77 w 246"/>
                <a:gd name="T55" fmla="*/ 1 h 263"/>
                <a:gd name="T56" fmla="*/ 67 w 246"/>
                <a:gd name="T57" fmla="*/ 0 h 263"/>
                <a:gd name="T58" fmla="*/ 53 w 246"/>
                <a:gd name="T59" fmla="*/ 9 h 263"/>
                <a:gd name="T60" fmla="*/ 39 w 246"/>
                <a:gd name="T61" fmla="*/ 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6" h="263">
                  <a:moveTo>
                    <a:pt x="39" y="8"/>
                  </a:moveTo>
                  <a:lnTo>
                    <a:pt x="28" y="21"/>
                  </a:lnTo>
                  <a:lnTo>
                    <a:pt x="26" y="72"/>
                  </a:lnTo>
                  <a:lnTo>
                    <a:pt x="17" y="100"/>
                  </a:lnTo>
                  <a:lnTo>
                    <a:pt x="16" y="151"/>
                  </a:lnTo>
                  <a:lnTo>
                    <a:pt x="5" y="176"/>
                  </a:lnTo>
                  <a:lnTo>
                    <a:pt x="0" y="210"/>
                  </a:lnTo>
                  <a:lnTo>
                    <a:pt x="8" y="213"/>
                  </a:lnTo>
                  <a:lnTo>
                    <a:pt x="25" y="235"/>
                  </a:lnTo>
                  <a:lnTo>
                    <a:pt x="57" y="238"/>
                  </a:lnTo>
                  <a:lnTo>
                    <a:pt x="104" y="258"/>
                  </a:lnTo>
                  <a:lnTo>
                    <a:pt x="136" y="257"/>
                  </a:lnTo>
                  <a:lnTo>
                    <a:pt x="165" y="263"/>
                  </a:lnTo>
                  <a:lnTo>
                    <a:pt x="198" y="246"/>
                  </a:lnTo>
                  <a:lnTo>
                    <a:pt x="232" y="198"/>
                  </a:lnTo>
                  <a:lnTo>
                    <a:pt x="229" y="190"/>
                  </a:lnTo>
                  <a:lnTo>
                    <a:pt x="231" y="165"/>
                  </a:lnTo>
                  <a:lnTo>
                    <a:pt x="246" y="143"/>
                  </a:lnTo>
                  <a:lnTo>
                    <a:pt x="224" y="125"/>
                  </a:lnTo>
                  <a:lnTo>
                    <a:pt x="215" y="99"/>
                  </a:lnTo>
                  <a:lnTo>
                    <a:pt x="192" y="89"/>
                  </a:lnTo>
                  <a:lnTo>
                    <a:pt x="178" y="72"/>
                  </a:lnTo>
                  <a:lnTo>
                    <a:pt x="152" y="62"/>
                  </a:lnTo>
                  <a:lnTo>
                    <a:pt x="135" y="40"/>
                  </a:lnTo>
                  <a:lnTo>
                    <a:pt x="122" y="48"/>
                  </a:lnTo>
                  <a:lnTo>
                    <a:pt x="113" y="48"/>
                  </a:lnTo>
                  <a:lnTo>
                    <a:pt x="107" y="28"/>
                  </a:lnTo>
                  <a:lnTo>
                    <a:pt x="77" y="1"/>
                  </a:lnTo>
                  <a:lnTo>
                    <a:pt x="67" y="0"/>
                  </a:lnTo>
                  <a:lnTo>
                    <a:pt x="53" y="9"/>
                  </a:lnTo>
                  <a:lnTo>
                    <a:pt x="39" y="8"/>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62" name="Freeform 192">
              <a:extLst>
                <a:ext uri="{FF2B5EF4-FFF2-40B4-BE49-F238E27FC236}">
                  <a16:creationId xmlns:a16="http://schemas.microsoft.com/office/drawing/2014/main" id="{1DD794F4-13CE-0140-BECF-DD04B97B34DE}"/>
                </a:ext>
              </a:extLst>
            </p:cNvPr>
            <p:cNvSpPr>
              <a:spLocks noChangeAspect="1"/>
            </p:cNvSpPr>
            <p:nvPr/>
          </p:nvSpPr>
          <p:spPr bwMode="gray">
            <a:xfrm>
              <a:off x="3065475" y="4526318"/>
              <a:ext cx="272119" cy="372767"/>
            </a:xfrm>
            <a:custGeom>
              <a:avLst/>
              <a:gdLst>
                <a:gd name="T0" fmla="*/ 60 w 554"/>
                <a:gd name="T1" fmla="*/ 63 h 635"/>
                <a:gd name="T2" fmla="*/ 139 w 554"/>
                <a:gd name="T3" fmla="*/ 6 h 635"/>
                <a:gd name="T4" fmla="*/ 204 w 554"/>
                <a:gd name="T5" fmla="*/ 9 h 635"/>
                <a:gd name="T6" fmla="*/ 206 w 554"/>
                <a:gd name="T7" fmla="*/ 51 h 635"/>
                <a:gd name="T8" fmla="*/ 210 w 554"/>
                <a:gd name="T9" fmla="*/ 105 h 635"/>
                <a:gd name="T10" fmla="*/ 294 w 554"/>
                <a:gd name="T11" fmla="*/ 136 h 635"/>
                <a:gd name="T12" fmla="*/ 346 w 554"/>
                <a:gd name="T13" fmla="*/ 163 h 635"/>
                <a:gd name="T14" fmla="*/ 396 w 554"/>
                <a:gd name="T15" fmla="*/ 178 h 635"/>
                <a:gd name="T16" fmla="*/ 422 w 554"/>
                <a:gd name="T17" fmla="*/ 200 h 635"/>
                <a:gd name="T18" fmla="*/ 430 w 554"/>
                <a:gd name="T19" fmla="*/ 257 h 635"/>
                <a:gd name="T20" fmla="*/ 442 w 554"/>
                <a:gd name="T21" fmla="*/ 310 h 635"/>
                <a:gd name="T22" fmla="*/ 518 w 554"/>
                <a:gd name="T23" fmla="*/ 340 h 635"/>
                <a:gd name="T24" fmla="*/ 540 w 554"/>
                <a:gd name="T25" fmla="*/ 364 h 635"/>
                <a:gd name="T26" fmla="*/ 552 w 554"/>
                <a:gd name="T27" fmla="*/ 446 h 635"/>
                <a:gd name="T28" fmla="*/ 546 w 554"/>
                <a:gd name="T29" fmla="*/ 492 h 635"/>
                <a:gd name="T30" fmla="*/ 510 w 554"/>
                <a:gd name="T31" fmla="*/ 464 h 635"/>
                <a:gd name="T32" fmla="*/ 451 w 554"/>
                <a:gd name="T33" fmla="*/ 454 h 635"/>
                <a:gd name="T34" fmla="*/ 356 w 554"/>
                <a:gd name="T35" fmla="*/ 497 h 635"/>
                <a:gd name="T36" fmla="*/ 339 w 554"/>
                <a:gd name="T37" fmla="*/ 559 h 635"/>
                <a:gd name="T38" fmla="*/ 303 w 554"/>
                <a:gd name="T39" fmla="*/ 593 h 635"/>
                <a:gd name="T40" fmla="*/ 248 w 554"/>
                <a:gd name="T41" fmla="*/ 623 h 635"/>
                <a:gd name="T42" fmla="*/ 178 w 554"/>
                <a:gd name="T43" fmla="*/ 594 h 635"/>
                <a:gd name="T44" fmla="*/ 116 w 554"/>
                <a:gd name="T45" fmla="*/ 631 h 635"/>
                <a:gd name="T46" fmla="*/ 80 w 554"/>
                <a:gd name="T47" fmla="*/ 630 h 635"/>
                <a:gd name="T48" fmla="*/ 50 w 554"/>
                <a:gd name="T49" fmla="*/ 523 h 635"/>
                <a:gd name="T50" fmla="*/ 42 w 554"/>
                <a:gd name="T51" fmla="*/ 503 h 635"/>
                <a:gd name="T52" fmla="*/ 51 w 554"/>
                <a:gd name="T53" fmla="*/ 481 h 635"/>
                <a:gd name="T54" fmla="*/ 31 w 554"/>
                <a:gd name="T55" fmla="*/ 437 h 635"/>
                <a:gd name="T56" fmla="*/ 6 w 554"/>
                <a:gd name="T57" fmla="*/ 373 h 635"/>
                <a:gd name="T58" fmla="*/ 31 w 554"/>
                <a:gd name="T59" fmla="*/ 322 h 635"/>
                <a:gd name="T60" fmla="*/ 14 w 554"/>
                <a:gd name="T61" fmla="*/ 294 h 635"/>
                <a:gd name="T62" fmla="*/ 25 w 554"/>
                <a:gd name="T63" fmla="*/ 260 h 635"/>
                <a:gd name="T64" fmla="*/ 31 w 554"/>
                <a:gd name="T65" fmla="*/ 226 h 635"/>
                <a:gd name="T66" fmla="*/ 43 w 554"/>
                <a:gd name="T67" fmla="*/ 129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4" h="635">
                  <a:moveTo>
                    <a:pt x="0" y="59"/>
                  </a:moveTo>
                  <a:lnTo>
                    <a:pt x="60" y="63"/>
                  </a:lnTo>
                  <a:lnTo>
                    <a:pt x="99" y="46"/>
                  </a:lnTo>
                  <a:lnTo>
                    <a:pt x="139" y="6"/>
                  </a:lnTo>
                  <a:lnTo>
                    <a:pt x="195" y="0"/>
                  </a:lnTo>
                  <a:lnTo>
                    <a:pt x="204" y="9"/>
                  </a:lnTo>
                  <a:lnTo>
                    <a:pt x="206" y="23"/>
                  </a:lnTo>
                  <a:lnTo>
                    <a:pt x="206" y="51"/>
                  </a:lnTo>
                  <a:lnTo>
                    <a:pt x="198" y="74"/>
                  </a:lnTo>
                  <a:lnTo>
                    <a:pt x="210" y="105"/>
                  </a:lnTo>
                  <a:lnTo>
                    <a:pt x="240" y="127"/>
                  </a:lnTo>
                  <a:lnTo>
                    <a:pt x="294" y="136"/>
                  </a:lnTo>
                  <a:lnTo>
                    <a:pt x="308" y="150"/>
                  </a:lnTo>
                  <a:lnTo>
                    <a:pt x="346" y="163"/>
                  </a:lnTo>
                  <a:lnTo>
                    <a:pt x="365" y="178"/>
                  </a:lnTo>
                  <a:lnTo>
                    <a:pt x="396" y="178"/>
                  </a:lnTo>
                  <a:lnTo>
                    <a:pt x="410" y="186"/>
                  </a:lnTo>
                  <a:lnTo>
                    <a:pt x="422" y="200"/>
                  </a:lnTo>
                  <a:lnTo>
                    <a:pt x="433" y="237"/>
                  </a:lnTo>
                  <a:lnTo>
                    <a:pt x="430" y="257"/>
                  </a:lnTo>
                  <a:lnTo>
                    <a:pt x="424" y="263"/>
                  </a:lnTo>
                  <a:lnTo>
                    <a:pt x="442" y="310"/>
                  </a:lnTo>
                  <a:lnTo>
                    <a:pt x="523" y="317"/>
                  </a:lnTo>
                  <a:lnTo>
                    <a:pt x="518" y="340"/>
                  </a:lnTo>
                  <a:lnTo>
                    <a:pt x="523" y="357"/>
                  </a:lnTo>
                  <a:lnTo>
                    <a:pt x="540" y="364"/>
                  </a:lnTo>
                  <a:lnTo>
                    <a:pt x="554" y="399"/>
                  </a:lnTo>
                  <a:lnTo>
                    <a:pt x="552" y="446"/>
                  </a:lnTo>
                  <a:lnTo>
                    <a:pt x="543" y="472"/>
                  </a:lnTo>
                  <a:lnTo>
                    <a:pt x="546" y="492"/>
                  </a:lnTo>
                  <a:lnTo>
                    <a:pt x="537" y="497"/>
                  </a:lnTo>
                  <a:lnTo>
                    <a:pt x="510" y="464"/>
                  </a:lnTo>
                  <a:lnTo>
                    <a:pt x="490" y="454"/>
                  </a:lnTo>
                  <a:lnTo>
                    <a:pt x="451" y="454"/>
                  </a:lnTo>
                  <a:lnTo>
                    <a:pt x="362" y="480"/>
                  </a:lnTo>
                  <a:lnTo>
                    <a:pt x="356" y="497"/>
                  </a:lnTo>
                  <a:lnTo>
                    <a:pt x="339" y="525"/>
                  </a:lnTo>
                  <a:lnTo>
                    <a:pt x="339" y="559"/>
                  </a:lnTo>
                  <a:lnTo>
                    <a:pt x="322" y="605"/>
                  </a:lnTo>
                  <a:lnTo>
                    <a:pt x="303" y="593"/>
                  </a:lnTo>
                  <a:lnTo>
                    <a:pt x="258" y="589"/>
                  </a:lnTo>
                  <a:lnTo>
                    <a:pt x="248" y="623"/>
                  </a:lnTo>
                  <a:lnTo>
                    <a:pt x="227" y="602"/>
                  </a:lnTo>
                  <a:lnTo>
                    <a:pt x="178" y="594"/>
                  </a:lnTo>
                  <a:lnTo>
                    <a:pt x="164" y="579"/>
                  </a:lnTo>
                  <a:lnTo>
                    <a:pt x="116" y="631"/>
                  </a:lnTo>
                  <a:lnTo>
                    <a:pt x="93" y="635"/>
                  </a:lnTo>
                  <a:lnTo>
                    <a:pt x="80" y="630"/>
                  </a:lnTo>
                  <a:lnTo>
                    <a:pt x="63" y="537"/>
                  </a:lnTo>
                  <a:lnTo>
                    <a:pt x="50" y="523"/>
                  </a:lnTo>
                  <a:lnTo>
                    <a:pt x="50" y="509"/>
                  </a:lnTo>
                  <a:lnTo>
                    <a:pt x="42" y="503"/>
                  </a:lnTo>
                  <a:lnTo>
                    <a:pt x="43" y="488"/>
                  </a:lnTo>
                  <a:lnTo>
                    <a:pt x="51" y="481"/>
                  </a:lnTo>
                  <a:lnTo>
                    <a:pt x="53" y="458"/>
                  </a:lnTo>
                  <a:lnTo>
                    <a:pt x="31" y="437"/>
                  </a:lnTo>
                  <a:lnTo>
                    <a:pt x="25" y="395"/>
                  </a:lnTo>
                  <a:lnTo>
                    <a:pt x="6" y="373"/>
                  </a:lnTo>
                  <a:lnTo>
                    <a:pt x="0" y="362"/>
                  </a:lnTo>
                  <a:lnTo>
                    <a:pt x="31" y="322"/>
                  </a:lnTo>
                  <a:lnTo>
                    <a:pt x="29" y="311"/>
                  </a:lnTo>
                  <a:lnTo>
                    <a:pt x="14" y="294"/>
                  </a:lnTo>
                  <a:lnTo>
                    <a:pt x="14" y="276"/>
                  </a:lnTo>
                  <a:lnTo>
                    <a:pt x="25" y="260"/>
                  </a:lnTo>
                  <a:lnTo>
                    <a:pt x="16" y="237"/>
                  </a:lnTo>
                  <a:lnTo>
                    <a:pt x="31" y="226"/>
                  </a:lnTo>
                  <a:lnTo>
                    <a:pt x="31" y="149"/>
                  </a:lnTo>
                  <a:lnTo>
                    <a:pt x="43" y="129"/>
                  </a:lnTo>
                  <a:lnTo>
                    <a:pt x="0" y="59"/>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63" name="Freeform 193">
              <a:extLst>
                <a:ext uri="{FF2B5EF4-FFF2-40B4-BE49-F238E27FC236}">
                  <a16:creationId xmlns:a16="http://schemas.microsoft.com/office/drawing/2014/main" id="{E055808B-4EBB-734E-8784-1CE9F206009A}"/>
                </a:ext>
              </a:extLst>
            </p:cNvPr>
            <p:cNvSpPr>
              <a:spLocks noChangeAspect="1"/>
            </p:cNvSpPr>
            <p:nvPr/>
          </p:nvSpPr>
          <p:spPr bwMode="gray">
            <a:xfrm>
              <a:off x="3775212" y="6000081"/>
              <a:ext cx="52515" cy="42272"/>
            </a:xfrm>
            <a:custGeom>
              <a:avLst/>
              <a:gdLst>
                <a:gd name="T0" fmla="*/ 0 w 107"/>
                <a:gd name="T1" fmla="*/ 6 h 71"/>
                <a:gd name="T2" fmla="*/ 32 w 107"/>
                <a:gd name="T3" fmla="*/ 0 h 71"/>
                <a:gd name="T4" fmla="*/ 62 w 107"/>
                <a:gd name="T5" fmla="*/ 14 h 71"/>
                <a:gd name="T6" fmla="*/ 73 w 107"/>
                <a:gd name="T7" fmla="*/ 27 h 71"/>
                <a:gd name="T8" fmla="*/ 85 w 107"/>
                <a:gd name="T9" fmla="*/ 27 h 71"/>
                <a:gd name="T10" fmla="*/ 104 w 107"/>
                <a:gd name="T11" fmla="*/ 49 h 71"/>
                <a:gd name="T12" fmla="*/ 107 w 107"/>
                <a:gd name="T13" fmla="*/ 63 h 71"/>
                <a:gd name="T14" fmla="*/ 91 w 107"/>
                <a:gd name="T15" fmla="*/ 71 h 71"/>
                <a:gd name="T16" fmla="*/ 71 w 107"/>
                <a:gd name="T17" fmla="*/ 41 h 71"/>
                <a:gd name="T18" fmla="*/ 34 w 107"/>
                <a:gd name="T19" fmla="*/ 24 h 71"/>
                <a:gd name="T20" fmla="*/ 34 w 107"/>
                <a:gd name="T21" fmla="*/ 14 h 71"/>
                <a:gd name="T22" fmla="*/ 17 w 107"/>
                <a:gd name="T23" fmla="*/ 15 h 71"/>
                <a:gd name="T24" fmla="*/ 15 w 107"/>
                <a:gd name="T25" fmla="*/ 7 h 71"/>
                <a:gd name="T26" fmla="*/ 0 w 107"/>
                <a:gd name="T27" fmla="*/ 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 h="71">
                  <a:moveTo>
                    <a:pt x="0" y="6"/>
                  </a:moveTo>
                  <a:lnTo>
                    <a:pt x="32" y="0"/>
                  </a:lnTo>
                  <a:lnTo>
                    <a:pt x="62" y="14"/>
                  </a:lnTo>
                  <a:lnTo>
                    <a:pt x="73" y="27"/>
                  </a:lnTo>
                  <a:lnTo>
                    <a:pt x="85" y="27"/>
                  </a:lnTo>
                  <a:lnTo>
                    <a:pt x="104" y="49"/>
                  </a:lnTo>
                  <a:lnTo>
                    <a:pt x="107" y="63"/>
                  </a:lnTo>
                  <a:lnTo>
                    <a:pt x="91" y="71"/>
                  </a:lnTo>
                  <a:lnTo>
                    <a:pt x="71" y="41"/>
                  </a:lnTo>
                  <a:lnTo>
                    <a:pt x="34" y="24"/>
                  </a:lnTo>
                  <a:lnTo>
                    <a:pt x="34" y="14"/>
                  </a:lnTo>
                  <a:lnTo>
                    <a:pt x="17" y="15"/>
                  </a:lnTo>
                  <a:lnTo>
                    <a:pt x="15" y="7"/>
                  </a:lnTo>
                  <a:lnTo>
                    <a:pt x="0" y="6"/>
                  </a:lnTo>
                  <a:close/>
                </a:path>
              </a:pathLst>
            </a:custGeom>
            <a:grpFill/>
            <a:ln w="3175" cap="flat" cmpd="sng">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64" name="Freeform 194">
              <a:extLst>
                <a:ext uri="{FF2B5EF4-FFF2-40B4-BE49-F238E27FC236}">
                  <a16:creationId xmlns:a16="http://schemas.microsoft.com/office/drawing/2014/main" id="{BFDE446E-FEE8-B544-A1E9-E67D9DB0EAA9}"/>
                </a:ext>
              </a:extLst>
            </p:cNvPr>
            <p:cNvSpPr>
              <a:spLocks noChangeAspect="1"/>
            </p:cNvSpPr>
            <p:nvPr/>
          </p:nvSpPr>
          <p:spPr bwMode="gray">
            <a:xfrm>
              <a:off x="3328046" y="4105517"/>
              <a:ext cx="92298" cy="107604"/>
            </a:xfrm>
            <a:custGeom>
              <a:avLst/>
              <a:gdLst>
                <a:gd name="T0" fmla="*/ 172 w 192"/>
                <a:gd name="T1" fmla="*/ 167 h 187"/>
                <a:gd name="T2" fmla="*/ 146 w 192"/>
                <a:gd name="T3" fmla="*/ 158 h 187"/>
                <a:gd name="T4" fmla="*/ 127 w 192"/>
                <a:gd name="T5" fmla="*/ 163 h 187"/>
                <a:gd name="T6" fmla="*/ 110 w 192"/>
                <a:gd name="T7" fmla="*/ 160 h 187"/>
                <a:gd name="T8" fmla="*/ 105 w 192"/>
                <a:gd name="T9" fmla="*/ 163 h 187"/>
                <a:gd name="T10" fmla="*/ 104 w 192"/>
                <a:gd name="T11" fmla="*/ 187 h 187"/>
                <a:gd name="T12" fmla="*/ 79 w 192"/>
                <a:gd name="T13" fmla="*/ 181 h 187"/>
                <a:gd name="T14" fmla="*/ 56 w 192"/>
                <a:gd name="T15" fmla="*/ 160 h 187"/>
                <a:gd name="T16" fmla="*/ 40 w 192"/>
                <a:gd name="T17" fmla="*/ 121 h 187"/>
                <a:gd name="T18" fmla="*/ 26 w 192"/>
                <a:gd name="T19" fmla="*/ 118 h 187"/>
                <a:gd name="T20" fmla="*/ 0 w 192"/>
                <a:gd name="T21" fmla="*/ 85 h 187"/>
                <a:gd name="T22" fmla="*/ 11 w 192"/>
                <a:gd name="T23" fmla="*/ 50 h 187"/>
                <a:gd name="T24" fmla="*/ 34 w 192"/>
                <a:gd name="T25" fmla="*/ 43 h 187"/>
                <a:gd name="T26" fmla="*/ 40 w 192"/>
                <a:gd name="T27" fmla="*/ 34 h 187"/>
                <a:gd name="T28" fmla="*/ 38 w 192"/>
                <a:gd name="T29" fmla="*/ 23 h 187"/>
                <a:gd name="T30" fmla="*/ 50 w 192"/>
                <a:gd name="T31" fmla="*/ 6 h 187"/>
                <a:gd name="T32" fmla="*/ 56 w 192"/>
                <a:gd name="T33" fmla="*/ 0 h 187"/>
                <a:gd name="T34" fmla="*/ 81 w 192"/>
                <a:gd name="T35" fmla="*/ 6 h 187"/>
                <a:gd name="T36" fmla="*/ 148 w 192"/>
                <a:gd name="T37" fmla="*/ 0 h 187"/>
                <a:gd name="T38" fmla="*/ 190 w 192"/>
                <a:gd name="T39" fmla="*/ 9 h 187"/>
                <a:gd name="T40" fmla="*/ 190 w 192"/>
                <a:gd name="T41" fmla="*/ 20 h 187"/>
                <a:gd name="T42" fmla="*/ 175 w 192"/>
                <a:gd name="T43" fmla="*/ 43 h 187"/>
                <a:gd name="T44" fmla="*/ 177 w 192"/>
                <a:gd name="T45" fmla="*/ 77 h 187"/>
                <a:gd name="T46" fmla="*/ 192 w 192"/>
                <a:gd name="T47" fmla="*/ 105 h 187"/>
                <a:gd name="T48" fmla="*/ 186 w 192"/>
                <a:gd name="T49" fmla="*/ 153 h 187"/>
                <a:gd name="T50" fmla="*/ 172 w 192"/>
                <a:gd name="T51" fmla="*/ 16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2" h="187">
                  <a:moveTo>
                    <a:pt x="172" y="167"/>
                  </a:moveTo>
                  <a:lnTo>
                    <a:pt x="146" y="158"/>
                  </a:lnTo>
                  <a:lnTo>
                    <a:pt x="127" y="163"/>
                  </a:lnTo>
                  <a:lnTo>
                    <a:pt x="110" y="160"/>
                  </a:lnTo>
                  <a:lnTo>
                    <a:pt x="105" y="163"/>
                  </a:lnTo>
                  <a:lnTo>
                    <a:pt x="104" y="187"/>
                  </a:lnTo>
                  <a:lnTo>
                    <a:pt x="79" y="181"/>
                  </a:lnTo>
                  <a:lnTo>
                    <a:pt x="56" y="160"/>
                  </a:lnTo>
                  <a:lnTo>
                    <a:pt x="40" y="121"/>
                  </a:lnTo>
                  <a:lnTo>
                    <a:pt x="26" y="118"/>
                  </a:lnTo>
                  <a:lnTo>
                    <a:pt x="0" y="85"/>
                  </a:lnTo>
                  <a:lnTo>
                    <a:pt x="11" y="50"/>
                  </a:lnTo>
                  <a:lnTo>
                    <a:pt x="34" y="43"/>
                  </a:lnTo>
                  <a:lnTo>
                    <a:pt x="40" y="34"/>
                  </a:lnTo>
                  <a:lnTo>
                    <a:pt x="38" y="23"/>
                  </a:lnTo>
                  <a:lnTo>
                    <a:pt x="50" y="6"/>
                  </a:lnTo>
                  <a:lnTo>
                    <a:pt x="56" y="0"/>
                  </a:lnTo>
                  <a:lnTo>
                    <a:pt x="81" y="6"/>
                  </a:lnTo>
                  <a:lnTo>
                    <a:pt x="148" y="0"/>
                  </a:lnTo>
                  <a:lnTo>
                    <a:pt x="190" y="9"/>
                  </a:lnTo>
                  <a:lnTo>
                    <a:pt x="190" y="20"/>
                  </a:lnTo>
                  <a:lnTo>
                    <a:pt x="175" y="43"/>
                  </a:lnTo>
                  <a:lnTo>
                    <a:pt x="177" y="77"/>
                  </a:lnTo>
                  <a:lnTo>
                    <a:pt x="192" y="105"/>
                  </a:lnTo>
                  <a:lnTo>
                    <a:pt x="186" y="153"/>
                  </a:lnTo>
                  <a:lnTo>
                    <a:pt x="172" y="167"/>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65" name="Freeform 195">
              <a:extLst>
                <a:ext uri="{FF2B5EF4-FFF2-40B4-BE49-F238E27FC236}">
                  <a16:creationId xmlns:a16="http://schemas.microsoft.com/office/drawing/2014/main" id="{AE8441C9-2F85-6344-9F1D-72CAD6785CE9}"/>
                </a:ext>
              </a:extLst>
            </p:cNvPr>
            <p:cNvSpPr>
              <a:spLocks noChangeAspect="1"/>
            </p:cNvSpPr>
            <p:nvPr/>
          </p:nvSpPr>
          <p:spPr bwMode="gray">
            <a:xfrm>
              <a:off x="3256437" y="4040188"/>
              <a:ext cx="109802" cy="190225"/>
            </a:xfrm>
            <a:custGeom>
              <a:avLst/>
              <a:gdLst>
                <a:gd name="T0" fmla="*/ 224 w 224"/>
                <a:gd name="T1" fmla="*/ 291 h 324"/>
                <a:gd name="T2" fmla="*/ 201 w 224"/>
                <a:gd name="T3" fmla="*/ 296 h 324"/>
                <a:gd name="T4" fmla="*/ 190 w 224"/>
                <a:gd name="T5" fmla="*/ 290 h 324"/>
                <a:gd name="T6" fmla="*/ 173 w 224"/>
                <a:gd name="T7" fmla="*/ 304 h 324"/>
                <a:gd name="T8" fmla="*/ 134 w 224"/>
                <a:gd name="T9" fmla="*/ 314 h 324"/>
                <a:gd name="T10" fmla="*/ 124 w 224"/>
                <a:gd name="T11" fmla="*/ 324 h 324"/>
                <a:gd name="T12" fmla="*/ 103 w 224"/>
                <a:gd name="T13" fmla="*/ 321 h 324"/>
                <a:gd name="T14" fmla="*/ 91 w 224"/>
                <a:gd name="T15" fmla="*/ 314 h 324"/>
                <a:gd name="T16" fmla="*/ 76 w 224"/>
                <a:gd name="T17" fmla="*/ 299 h 324"/>
                <a:gd name="T18" fmla="*/ 74 w 224"/>
                <a:gd name="T19" fmla="*/ 279 h 324"/>
                <a:gd name="T20" fmla="*/ 65 w 224"/>
                <a:gd name="T21" fmla="*/ 266 h 324"/>
                <a:gd name="T22" fmla="*/ 71 w 224"/>
                <a:gd name="T23" fmla="*/ 215 h 324"/>
                <a:gd name="T24" fmla="*/ 82 w 224"/>
                <a:gd name="T25" fmla="*/ 203 h 324"/>
                <a:gd name="T26" fmla="*/ 76 w 224"/>
                <a:gd name="T27" fmla="*/ 178 h 324"/>
                <a:gd name="T28" fmla="*/ 57 w 224"/>
                <a:gd name="T29" fmla="*/ 174 h 324"/>
                <a:gd name="T30" fmla="*/ 61 w 224"/>
                <a:gd name="T31" fmla="*/ 157 h 324"/>
                <a:gd name="T32" fmla="*/ 56 w 224"/>
                <a:gd name="T33" fmla="*/ 143 h 324"/>
                <a:gd name="T34" fmla="*/ 31 w 224"/>
                <a:gd name="T35" fmla="*/ 144 h 324"/>
                <a:gd name="T36" fmla="*/ 0 w 224"/>
                <a:gd name="T37" fmla="*/ 107 h 324"/>
                <a:gd name="T38" fmla="*/ 0 w 224"/>
                <a:gd name="T39" fmla="*/ 102 h 324"/>
                <a:gd name="T40" fmla="*/ 10 w 224"/>
                <a:gd name="T41" fmla="*/ 89 h 324"/>
                <a:gd name="T42" fmla="*/ 10 w 224"/>
                <a:gd name="T43" fmla="*/ 76 h 324"/>
                <a:gd name="T44" fmla="*/ 37 w 224"/>
                <a:gd name="T45" fmla="*/ 59 h 324"/>
                <a:gd name="T46" fmla="*/ 22 w 224"/>
                <a:gd name="T47" fmla="*/ 53 h 324"/>
                <a:gd name="T48" fmla="*/ 22 w 224"/>
                <a:gd name="T49" fmla="*/ 31 h 324"/>
                <a:gd name="T50" fmla="*/ 66 w 224"/>
                <a:gd name="T51" fmla="*/ 11 h 324"/>
                <a:gd name="T52" fmla="*/ 68 w 224"/>
                <a:gd name="T53" fmla="*/ 0 h 324"/>
                <a:gd name="T54" fmla="*/ 80 w 224"/>
                <a:gd name="T55" fmla="*/ 0 h 324"/>
                <a:gd name="T56" fmla="*/ 119 w 224"/>
                <a:gd name="T57" fmla="*/ 34 h 324"/>
                <a:gd name="T58" fmla="*/ 125 w 224"/>
                <a:gd name="T59" fmla="*/ 45 h 324"/>
                <a:gd name="T60" fmla="*/ 127 w 224"/>
                <a:gd name="T61" fmla="*/ 68 h 324"/>
                <a:gd name="T62" fmla="*/ 133 w 224"/>
                <a:gd name="T63" fmla="*/ 70 h 324"/>
                <a:gd name="T64" fmla="*/ 151 w 224"/>
                <a:gd name="T65" fmla="*/ 72 h 324"/>
                <a:gd name="T66" fmla="*/ 164 w 224"/>
                <a:gd name="T67" fmla="*/ 79 h 324"/>
                <a:gd name="T68" fmla="*/ 187 w 224"/>
                <a:gd name="T69" fmla="*/ 99 h 324"/>
                <a:gd name="T70" fmla="*/ 195 w 224"/>
                <a:gd name="T71" fmla="*/ 116 h 324"/>
                <a:gd name="T72" fmla="*/ 183 w 224"/>
                <a:gd name="T73" fmla="*/ 133 h 324"/>
                <a:gd name="T74" fmla="*/ 185 w 224"/>
                <a:gd name="T75" fmla="*/ 144 h 324"/>
                <a:gd name="T76" fmla="*/ 179 w 224"/>
                <a:gd name="T77" fmla="*/ 153 h 324"/>
                <a:gd name="T78" fmla="*/ 156 w 224"/>
                <a:gd name="T79" fmla="*/ 160 h 324"/>
                <a:gd name="T80" fmla="*/ 145 w 224"/>
                <a:gd name="T81" fmla="*/ 195 h 324"/>
                <a:gd name="T82" fmla="*/ 171 w 224"/>
                <a:gd name="T83" fmla="*/ 228 h 324"/>
                <a:gd name="T84" fmla="*/ 185 w 224"/>
                <a:gd name="T85" fmla="*/ 231 h 324"/>
                <a:gd name="T86" fmla="*/ 201 w 224"/>
                <a:gd name="T87" fmla="*/ 270 h 324"/>
                <a:gd name="T88" fmla="*/ 224 w 224"/>
                <a:gd name="T89" fmla="*/ 291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4" h="324">
                  <a:moveTo>
                    <a:pt x="224" y="291"/>
                  </a:moveTo>
                  <a:lnTo>
                    <a:pt x="201" y="296"/>
                  </a:lnTo>
                  <a:lnTo>
                    <a:pt x="190" y="290"/>
                  </a:lnTo>
                  <a:lnTo>
                    <a:pt x="173" y="304"/>
                  </a:lnTo>
                  <a:lnTo>
                    <a:pt x="134" y="314"/>
                  </a:lnTo>
                  <a:lnTo>
                    <a:pt x="124" y="324"/>
                  </a:lnTo>
                  <a:lnTo>
                    <a:pt x="103" y="321"/>
                  </a:lnTo>
                  <a:lnTo>
                    <a:pt x="91" y="314"/>
                  </a:lnTo>
                  <a:lnTo>
                    <a:pt x="76" y="299"/>
                  </a:lnTo>
                  <a:lnTo>
                    <a:pt x="74" y="279"/>
                  </a:lnTo>
                  <a:lnTo>
                    <a:pt x="65" y="266"/>
                  </a:lnTo>
                  <a:lnTo>
                    <a:pt x="71" y="215"/>
                  </a:lnTo>
                  <a:lnTo>
                    <a:pt x="82" y="203"/>
                  </a:lnTo>
                  <a:lnTo>
                    <a:pt x="76" y="178"/>
                  </a:lnTo>
                  <a:lnTo>
                    <a:pt x="57" y="174"/>
                  </a:lnTo>
                  <a:lnTo>
                    <a:pt x="61" y="157"/>
                  </a:lnTo>
                  <a:lnTo>
                    <a:pt x="56" y="143"/>
                  </a:lnTo>
                  <a:lnTo>
                    <a:pt x="31" y="144"/>
                  </a:lnTo>
                  <a:lnTo>
                    <a:pt x="0" y="107"/>
                  </a:lnTo>
                  <a:lnTo>
                    <a:pt x="0" y="102"/>
                  </a:lnTo>
                  <a:lnTo>
                    <a:pt x="10" y="89"/>
                  </a:lnTo>
                  <a:lnTo>
                    <a:pt x="10" y="76"/>
                  </a:lnTo>
                  <a:lnTo>
                    <a:pt x="37" y="59"/>
                  </a:lnTo>
                  <a:lnTo>
                    <a:pt x="22" y="53"/>
                  </a:lnTo>
                  <a:lnTo>
                    <a:pt x="22" y="31"/>
                  </a:lnTo>
                  <a:lnTo>
                    <a:pt x="66" y="11"/>
                  </a:lnTo>
                  <a:lnTo>
                    <a:pt x="68" y="0"/>
                  </a:lnTo>
                  <a:lnTo>
                    <a:pt x="80" y="0"/>
                  </a:lnTo>
                  <a:lnTo>
                    <a:pt x="119" y="34"/>
                  </a:lnTo>
                  <a:lnTo>
                    <a:pt x="125" y="45"/>
                  </a:lnTo>
                  <a:lnTo>
                    <a:pt x="127" y="68"/>
                  </a:lnTo>
                  <a:lnTo>
                    <a:pt x="133" y="70"/>
                  </a:lnTo>
                  <a:lnTo>
                    <a:pt x="151" y="72"/>
                  </a:lnTo>
                  <a:lnTo>
                    <a:pt x="164" y="79"/>
                  </a:lnTo>
                  <a:lnTo>
                    <a:pt x="187" y="99"/>
                  </a:lnTo>
                  <a:lnTo>
                    <a:pt x="195" y="116"/>
                  </a:lnTo>
                  <a:lnTo>
                    <a:pt x="183" y="133"/>
                  </a:lnTo>
                  <a:lnTo>
                    <a:pt x="185" y="144"/>
                  </a:lnTo>
                  <a:lnTo>
                    <a:pt x="179" y="153"/>
                  </a:lnTo>
                  <a:lnTo>
                    <a:pt x="156" y="160"/>
                  </a:lnTo>
                  <a:lnTo>
                    <a:pt x="145" y="195"/>
                  </a:lnTo>
                  <a:lnTo>
                    <a:pt x="171" y="228"/>
                  </a:lnTo>
                  <a:lnTo>
                    <a:pt x="185" y="231"/>
                  </a:lnTo>
                  <a:lnTo>
                    <a:pt x="201" y="270"/>
                  </a:lnTo>
                  <a:lnTo>
                    <a:pt x="224" y="291"/>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66" name="Freeform 196">
              <a:extLst>
                <a:ext uri="{FF2B5EF4-FFF2-40B4-BE49-F238E27FC236}">
                  <a16:creationId xmlns:a16="http://schemas.microsoft.com/office/drawing/2014/main" id="{84A6DF0B-4A95-EF4C-8612-D967B429675C}"/>
                </a:ext>
              </a:extLst>
            </p:cNvPr>
            <p:cNvSpPr>
              <a:spLocks noChangeAspect="1"/>
            </p:cNvSpPr>
            <p:nvPr/>
          </p:nvSpPr>
          <p:spPr bwMode="gray">
            <a:xfrm>
              <a:off x="3410797" y="4113203"/>
              <a:ext cx="65246" cy="97994"/>
            </a:xfrm>
            <a:custGeom>
              <a:avLst/>
              <a:gdLst>
                <a:gd name="T0" fmla="*/ 132 w 132"/>
                <a:gd name="T1" fmla="*/ 71 h 167"/>
                <a:gd name="T2" fmla="*/ 132 w 132"/>
                <a:gd name="T3" fmla="*/ 63 h 167"/>
                <a:gd name="T4" fmla="*/ 124 w 132"/>
                <a:gd name="T5" fmla="*/ 54 h 167"/>
                <a:gd name="T6" fmla="*/ 83 w 132"/>
                <a:gd name="T7" fmla="*/ 25 h 167"/>
                <a:gd name="T8" fmla="*/ 31 w 132"/>
                <a:gd name="T9" fmla="*/ 0 h 167"/>
                <a:gd name="T10" fmla="*/ 18 w 132"/>
                <a:gd name="T11" fmla="*/ 6 h 167"/>
                <a:gd name="T12" fmla="*/ 3 w 132"/>
                <a:gd name="T13" fmla="*/ 29 h 167"/>
                <a:gd name="T14" fmla="*/ 5 w 132"/>
                <a:gd name="T15" fmla="*/ 63 h 167"/>
                <a:gd name="T16" fmla="*/ 20 w 132"/>
                <a:gd name="T17" fmla="*/ 91 h 167"/>
                <a:gd name="T18" fmla="*/ 14 w 132"/>
                <a:gd name="T19" fmla="*/ 139 h 167"/>
                <a:gd name="T20" fmla="*/ 0 w 132"/>
                <a:gd name="T21" fmla="*/ 153 h 167"/>
                <a:gd name="T22" fmla="*/ 18 w 132"/>
                <a:gd name="T23" fmla="*/ 167 h 167"/>
                <a:gd name="T24" fmla="*/ 40 w 132"/>
                <a:gd name="T25" fmla="*/ 161 h 167"/>
                <a:gd name="T26" fmla="*/ 65 w 132"/>
                <a:gd name="T27" fmla="*/ 161 h 167"/>
                <a:gd name="T28" fmla="*/ 90 w 132"/>
                <a:gd name="T29" fmla="*/ 139 h 167"/>
                <a:gd name="T30" fmla="*/ 99 w 132"/>
                <a:gd name="T31" fmla="*/ 116 h 167"/>
                <a:gd name="T32" fmla="*/ 132 w 132"/>
                <a:gd name="T33" fmla="*/ 71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67">
                  <a:moveTo>
                    <a:pt x="132" y="71"/>
                  </a:moveTo>
                  <a:lnTo>
                    <a:pt x="132" y="63"/>
                  </a:lnTo>
                  <a:lnTo>
                    <a:pt x="124" y="54"/>
                  </a:lnTo>
                  <a:lnTo>
                    <a:pt x="83" y="25"/>
                  </a:lnTo>
                  <a:lnTo>
                    <a:pt x="31" y="0"/>
                  </a:lnTo>
                  <a:lnTo>
                    <a:pt x="18" y="6"/>
                  </a:lnTo>
                  <a:lnTo>
                    <a:pt x="3" y="29"/>
                  </a:lnTo>
                  <a:lnTo>
                    <a:pt x="5" y="63"/>
                  </a:lnTo>
                  <a:lnTo>
                    <a:pt x="20" y="91"/>
                  </a:lnTo>
                  <a:lnTo>
                    <a:pt x="14" y="139"/>
                  </a:lnTo>
                  <a:lnTo>
                    <a:pt x="0" y="153"/>
                  </a:lnTo>
                  <a:lnTo>
                    <a:pt x="18" y="167"/>
                  </a:lnTo>
                  <a:lnTo>
                    <a:pt x="40" y="161"/>
                  </a:lnTo>
                  <a:lnTo>
                    <a:pt x="65" y="161"/>
                  </a:lnTo>
                  <a:lnTo>
                    <a:pt x="90" y="139"/>
                  </a:lnTo>
                  <a:lnTo>
                    <a:pt x="99" y="116"/>
                  </a:lnTo>
                  <a:lnTo>
                    <a:pt x="132" y="71"/>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67" name="Freeform 197">
              <a:extLst>
                <a:ext uri="{FF2B5EF4-FFF2-40B4-BE49-F238E27FC236}">
                  <a16:creationId xmlns:a16="http://schemas.microsoft.com/office/drawing/2014/main" id="{9587F36B-A83A-8944-89EB-03D48E605F1E}"/>
                </a:ext>
              </a:extLst>
            </p:cNvPr>
            <p:cNvSpPr>
              <a:spLocks noChangeAspect="1"/>
            </p:cNvSpPr>
            <p:nvPr/>
          </p:nvSpPr>
          <p:spPr bwMode="gray">
            <a:xfrm>
              <a:off x="3243705" y="3971016"/>
              <a:ext cx="19097" cy="21138"/>
            </a:xfrm>
            <a:custGeom>
              <a:avLst/>
              <a:gdLst>
                <a:gd name="T0" fmla="*/ 42 w 42"/>
                <a:gd name="T1" fmla="*/ 3 h 36"/>
                <a:gd name="T2" fmla="*/ 38 w 42"/>
                <a:gd name="T3" fmla="*/ 15 h 36"/>
                <a:gd name="T4" fmla="*/ 40 w 42"/>
                <a:gd name="T5" fmla="*/ 28 h 36"/>
                <a:gd name="T6" fmla="*/ 34 w 42"/>
                <a:gd name="T7" fmla="*/ 34 h 36"/>
                <a:gd name="T8" fmla="*/ 0 w 42"/>
                <a:gd name="T9" fmla="*/ 36 h 36"/>
                <a:gd name="T10" fmla="*/ 17 w 42"/>
                <a:gd name="T11" fmla="*/ 22 h 36"/>
                <a:gd name="T12" fmla="*/ 18 w 42"/>
                <a:gd name="T13" fmla="*/ 10 h 36"/>
                <a:gd name="T14" fmla="*/ 9 w 42"/>
                <a:gd name="T15" fmla="*/ 5 h 36"/>
                <a:gd name="T16" fmla="*/ 40 w 42"/>
                <a:gd name="T17" fmla="*/ 0 h 36"/>
                <a:gd name="T18" fmla="*/ 42 w 42"/>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36">
                  <a:moveTo>
                    <a:pt x="42" y="3"/>
                  </a:moveTo>
                  <a:lnTo>
                    <a:pt x="38" y="15"/>
                  </a:lnTo>
                  <a:lnTo>
                    <a:pt x="40" y="28"/>
                  </a:lnTo>
                  <a:lnTo>
                    <a:pt x="34" y="34"/>
                  </a:lnTo>
                  <a:lnTo>
                    <a:pt x="0" y="36"/>
                  </a:lnTo>
                  <a:lnTo>
                    <a:pt x="17" y="22"/>
                  </a:lnTo>
                  <a:lnTo>
                    <a:pt x="18" y="10"/>
                  </a:lnTo>
                  <a:lnTo>
                    <a:pt x="9" y="5"/>
                  </a:lnTo>
                  <a:lnTo>
                    <a:pt x="40" y="0"/>
                  </a:lnTo>
                  <a:lnTo>
                    <a:pt x="42" y="3"/>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grpSp>
          <p:nvGrpSpPr>
            <p:cNvPr id="468" name="Group 467">
              <a:extLst>
                <a:ext uri="{FF2B5EF4-FFF2-40B4-BE49-F238E27FC236}">
                  <a16:creationId xmlns:a16="http://schemas.microsoft.com/office/drawing/2014/main" id="{C367453B-8B3B-D14D-8773-DE02C7CA936F}"/>
                </a:ext>
              </a:extLst>
            </p:cNvPr>
            <p:cNvGrpSpPr/>
            <p:nvPr/>
          </p:nvGrpSpPr>
          <p:grpSpPr>
            <a:xfrm>
              <a:off x="2985910" y="3928742"/>
              <a:ext cx="303946" cy="315120"/>
              <a:chOff x="3230624" y="4163860"/>
              <a:chExt cx="254873" cy="270418"/>
            </a:xfrm>
            <a:grpFill/>
          </p:grpSpPr>
          <p:sp>
            <p:nvSpPr>
              <p:cNvPr id="473" name="Freeform 200">
                <a:extLst>
                  <a:ext uri="{FF2B5EF4-FFF2-40B4-BE49-F238E27FC236}">
                    <a16:creationId xmlns:a16="http://schemas.microsoft.com/office/drawing/2014/main" id="{F805460C-876B-9348-A8BC-5983D31FA723}"/>
                  </a:ext>
                </a:extLst>
              </p:cNvPr>
              <p:cNvSpPr>
                <a:spLocks noChangeAspect="1"/>
              </p:cNvSpPr>
              <p:nvPr/>
            </p:nvSpPr>
            <p:spPr bwMode="gray">
              <a:xfrm>
                <a:off x="3309354" y="4163860"/>
                <a:ext cx="6672" cy="6596"/>
              </a:xfrm>
              <a:custGeom>
                <a:avLst/>
                <a:gdLst>
                  <a:gd name="T0" fmla="*/ 3 w 15"/>
                  <a:gd name="T1" fmla="*/ 5 h 15"/>
                  <a:gd name="T2" fmla="*/ 0 w 15"/>
                  <a:gd name="T3" fmla="*/ 0 h 15"/>
                  <a:gd name="T4" fmla="*/ 3 w 15"/>
                  <a:gd name="T5" fmla="*/ 9 h 15"/>
                  <a:gd name="T6" fmla="*/ 15 w 15"/>
                  <a:gd name="T7" fmla="*/ 15 h 15"/>
                  <a:gd name="T8" fmla="*/ 3 w 15"/>
                  <a:gd name="T9" fmla="*/ 5 h 15"/>
                </a:gdLst>
                <a:ahLst/>
                <a:cxnLst>
                  <a:cxn ang="0">
                    <a:pos x="T0" y="T1"/>
                  </a:cxn>
                  <a:cxn ang="0">
                    <a:pos x="T2" y="T3"/>
                  </a:cxn>
                  <a:cxn ang="0">
                    <a:pos x="T4" y="T5"/>
                  </a:cxn>
                  <a:cxn ang="0">
                    <a:pos x="T6" y="T7"/>
                  </a:cxn>
                  <a:cxn ang="0">
                    <a:pos x="T8" y="T9"/>
                  </a:cxn>
                </a:cxnLst>
                <a:rect l="0" t="0" r="r" b="b"/>
                <a:pathLst>
                  <a:path w="15" h="15">
                    <a:moveTo>
                      <a:pt x="3" y="5"/>
                    </a:moveTo>
                    <a:lnTo>
                      <a:pt x="0" y="0"/>
                    </a:lnTo>
                    <a:lnTo>
                      <a:pt x="3" y="9"/>
                    </a:lnTo>
                    <a:lnTo>
                      <a:pt x="15" y="15"/>
                    </a:lnTo>
                    <a:lnTo>
                      <a:pt x="3" y="5"/>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74" name="Freeform 201">
                <a:extLst>
                  <a:ext uri="{FF2B5EF4-FFF2-40B4-BE49-F238E27FC236}">
                    <a16:creationId xmlns:a16="http://schemas.microsoft.com/office/drawing/2014/main" id="{D8BA7B99-EDB6-1A48-BBC6-CF34FFDA71D1}"/>
                  </a:ext>
                </a:extLst>
              </p:cNvPr>
              <p:cNvSpPr>
                <a:spLocks noChangeAspect="1"/>
              </p:cNvSpPr>
              <p:nvPr/>
            </p:nvSpPr>
            <p:spPr bwMode="gray">
              <a:xfrm>
                <a:off x="3324033" y="4165509"/>
                <a:ext cx="2669" cy="4947"/>
              </a:xfrm>
              <a:custGeom>
                <a:avLst/>
                <a:gdLst>
                  <a:gd name="T0" fmla="*/ 0 w 8"/>
                  <a:gd name="T1" fmla="*/ 0 h 10"/>
                  <a:gd name="T2" fmla="*/ 6 w 8"/>
                  <a:gd name="T3" fmla="*/ 10 h 10"/>
                  <a:gd name="T4" fmla="*/ 8 w 8"/>
                  <a:gd name="T5" fmla="*/ 3 h 10"/>
                  <a:gd name="T6" fmla="*/ 0 w 8"/>
                  <a:gd name="T7" fmla="*/ 0 h 10"/>
                </a:gdLst>
                <a:ahLst/>
                <a:cxnLst>
                  <a:cxn ang="0">
                    <a:pos x="T0" y="T1"/>
                  </a:cxn>
                  <a:cxn ang="0">
                    <a:pos x="T2" y="T3"/>
                  </a:cxn>
                  <a:cxn ang="0">
                    <a:pos x="T4" y="T5"/>
                  </a:cxn>
                  <a:cxn ang="0">
                    <a:pos x="T6" y="T7"/>
                  </a:cxn>
                </a:cxnLst>
                <a:rect l="0" t="0" r="r" b="b"/>
                <a:pathLst>
                  <a:path w="8" h="10">
                    <a:moveTo>
                      <a:pt x="0" y="0"/>
                    </a:moveTo>
                    <a:lnTo>
                      <a:pt x="6" y="10"/>
                    </a:lnTo>
                    <a:lnTo>
                      <a:pt x="8" y="3"/>
                    </a:lnTo>
                    <a:lnTo>
                      <a:pt x="0" y="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75" name="Freeform 202">
                <a:extLst>
                  <a:ext uri="{FF2B5EF4-FFF2-40B4-BE49-F238E27FC236}">
                    <a16:creationId xmlns:a16="http://schemas.microsoft.com/office/drawing/2014/main" id="{799355F1-3FE3-5443-BED1-9FECB9E7474B}"/>
                  </a:ext>
                </a:extLst>
              </p:cNvPr>
              <p:cNvSpPr>
                <a:spLocks noChangeAspect="1" noEditPoints="1"/>
              </p:cNvSpPr>
              <p:nvPr/>
            </p:nvSpPr>
            <p:spPr bwMode="gray">
              <a:xfrm>
                <a:off x="3230624" y="4167158"/>
                <a:ext cx="254873" cy="267120"/>
              </a:xfrm>
              <a:custGeom>
                <a:avLst/>
                <a:gdLst>
                  <a:gd name="T0" fmla="*/ 69 w 625"/>
                  <a:gd name="T1" fmla="*/ 30 h 529"/>
                  <a:gd name="T2" fmla="*/ 77 w 625"/>
                  <a:gd name="T3" fmla="*/ 80 h 529"/>
                  <a:gd name="T4" fmla="*/ 63 w 625"/>
                  <a:gd name="T5" fmla="*/ 119 h 529"/>
                  <a:gd name="T6" fmla="*/ 83 w 625"/>
                  <a:gd name="T7" fmla="*/ 147 h 529"/>
                  <a:gd name="T8" fmla="*/ 107 w 625"/>
                  <a:gd name="T9" fmla="*/ 133 h 529"/>
                  <a:gd name="T10" fmla="*/ 88 w 625"/>
                  <a:gd name="T11" fmla="*/ 85 h 529"/>
                  <a:gd name="T12" fmla="*/ 117 w 625"/>
                  <a:gd name="T13" fmla="*/ 45 h 529"/>
                  <a:gd name="T14" fmla="*/ 164 w 625"/>
                  <a:gd name="T15" fmla="*/ 28 h 529"/>
                  <a:gd name="T16" fmla="*/ 147 w 625"/>
                  <a:gd name="T17" fmla="*/ 5 h 529"/>
                  <a:gd name="T18" fmla="*/ 162 w 625"/>
                  <a:gd name="T19" fmla="*/ 5 h 529"/>
                  <a:gd name="T20" fmla="*/ 229 w 625"/>
                  <a:gd name="T21" fmla="*/ 47 h 529"/>
                  <a:gd name="T22" fmla="*/ 246 w 625"/>
                  <a:gd name="T23" fmla="*/ 80 h 529"/>
                  <a:gd name="T24" fmla="*/ 356 w 625"/>
                  <a:gd name="T25" fmla="*/ 93 h 529"/>
                  <a:gd name="T26" fmla="*/ 401 w 625"/>
                  <a:gd name="T27" fmla="*/ 92 h 529"/>
                  <a:gd name="T28" fmla="*/ 441 w 625"/>
                  <a:gd name="T29" fmla="*/ 80 h 529"/>
                  <a:gd name="T30" fmla="*/ 420 w 625"/>
                  <a:gd name="T31" fmla="*/ 73 h 529"/>
                  <a:gd name="T32" fmla="*/ 521 w 625"/>
                  <a:gd name="T33" fmla="*/ 72 h 529"/>
                  <a:gd name="T34" fmla="*/ 483 w 625"/>
                  <a:gd name="T35" fmla="*/ 80 h 529"/>
                  <a:gd name="T36" fmla="*/ 496 w 625"/>
                  <a:gd name="T37" fmla="*/ 93 h 529"/>
                  <a:gd name="T38" fmla="*/ 537 w 625"/>
                  <a:gd name="T39" fmla="*/ 114 h 529"/>
                  <a:gd name="T40" fmla="*/ 581 w 625"/>
                  <a:gd name="T41" fmla="*/ 161 h 529"/>
                  <a:gd name="T42" fmla="*/ 571 w 625"/>
                  <a:gd name="T43" fmla="*/ 173 h 529"/>
                  <a:gd name="T44" fmla="*/ 606 w 625"/>
                  <a:gd name="T45" fmla="*/ 169 h 529"/>
                  <a:gd name="T46" fmla="*/ 623 w 625"/>
                  <a:gd name="T47" fmla="*/ 192 h 529"/>
                  <a:gd name="T48" fmla="*/ 579 w 625"/>
                  <a:gd name="T49" fmla="*/ 234 h 529"/>
                  <a:gd name="T50" fmla="*/ 567 w 625"/>
                  <a:gd name="T51" fmla="*/ 257 h 529"/>
                  <a:gd name="T52" fmla="*/ 557 w 625"/>
                  <a:gd name="T53" fmla="*/ 283 h 529"/>
                  <a:gd name="T54" fmla="*/ 588 w 625"/>
                  <a:gd name="T55" fmla="*/ 325 h 529"/>
                  <a:gd name="T56" fmla="*/ 572 w 625"/>
                  <a:gd name="T57" fmla="*/ 355 h 529"/>
                  <a:gd name="T58" fmla="*/ 534 w 625"/>
                  <a:gd name="T59" fmla="*/ 371 h 529"/>
                  <a:gd name="T60" fmla="*/ 478 w 625"/>
                  <a:gd name="T61" fmla="*/ 387 h 529"/>
                  <a:gd name="T62" fmla="*/ 424 w 625"/>
                  <a:gd name="T63" fmla="*/ 371 h 529"/>
                  <a:gd name="T64" fmla="*/ 399 w 625"/>
                  <a:gd name="T65" fmla="*/ 384 h 529"/>
                  <a:gd name="T66" fmla="*/ 416 w 625"/>
                  <a:gd name="T67" fmla="*/ 421 h 529"/>
                  <a:gd name="T68" fmla="*/ 461 w 625"/>
                  <a:gd name="T69" fmla="*/ 454 h 529"/>
                  <a:gd name="T70" fmla="*/ 430 w 625"/>
                  <a:gd name="T71" fmla="*/ 475 h 529"/>
                  <a:gd name="T72" fmla="*/ 368 w 625"/>
                  <a:gd name="T73" fmla="*/ 515 h 529"/>
                  <a:gd name="T74" fmla="*/ 320 w 625"/>
                  <a:gd name="T75" fmla="*/ 529 h 529"/>
                  <a:gd name="T76" fmla="*/ 278 w 625"/>
                  <a:gd name="T77" fmla="*/ 456 h 529"/>
                  <a:gd name="T78" fmla="*/ 280 w 625"/>
                  <a:gd name="T79" fmla="*/ 410 h 529"/>
                  <a:gd name="T80" fmla="*/ 257 w 625"/>
                  <a:gd name="T81" fmla="*/ 379 h 529"/>
                  <a:gd name="T82" fmla="*/ 257 w 625"/>
                  <a:gd name="T83" fmla="*/ 319 h 529"/>
                  <a:gd name="T84" fmla="*/ 269 w 625"/>
                  <a:gd name="T85" fmla="*/ 279 h 529"/>
                  <a:gd name="T86" fmla="*/ 230 w 625"/>
                  <a:gd name="T87" fmla="*/ 285 h 529"/>
                  <a:gd name="T88" fmla="*/ 183 w 625"/>
                  <a:gd name="T89" fmla="*/ 283 h 529"/>
                  <a:gd name="T90" fmla="*/ 127 w 625"/>
                  <a:gd name="T91" fmla="*/ 236 h 529"/>
                  <a:gd name="T92" fmla="*/ 63 w 625"/>
                  <a:gd name="T93" fmla="*/ 234 h 529"/>
                  <a:gd name="T94" fmla="*/ 42 w 625"/>
                  <a:gd name="T95" fmla="*/ 186 h 529"/>
                  <a:gd name="T96" fmla="*/ 22 w 625"/>
                  <a:gd name="T97" fmla="*/ 143 h 529"/>
                  <a:gd name="T98" fmla="*/ 14 w 625"/>
                  <a:gd name="T99" fmla="*/ 119 h 529"/>
                  <a:gd name="T100" fmla="*/ 34 w 625"/>
                  <a:gd name="T101" fmla="*/ 62 h 529"/>
                  <a:gd name="T102" fmla="*/ 91 w 625"/>
                  <a:gd name="T103" fmla="*/ 17 h 529"/>
                  <a:gd name="T104" fmla="*/ 441 w 625"/>
                  <a:gd name="T105" fmla="*/ 56 h 529"/>
                  <a:gd name="T106" fmla="*/ 416 w 625"/>
                  <a:gd name="T107" fmla="*/ 59 h 529"/>
                  <a:gd name="T108" fmla="*/ 427 w 625"/>
                  <a:gd name="T109" fmla="*/ 55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5" h="529">
                    <a:moveTo>
                      <a:pt x="91" y="17"/>
                    </a:moveTo>
                    <a:lnTo>
                      <a:pt x="69" y="30"/>
                    </a:lnTo>
                    <a:lnTo>
                      <a:pt x="82" y="70"/>
                    </a:lnTo>
                    <a:lnTo>
                      <a:pt x="77" y="80"/>
                    </a:lnTo>
                    <a:lnTo>
                      <a:pt x="63" y="101"/>
                    </a:lnTo>
                    <a:lnTo>
                      <a:pt x="63" y="119"/>
                    </a:lnTo>
                    <a:lnTo>
                      <a:pt x="74" y="127"/>
                    </a:lnTo>
                    <a:lnTo>
                      <a:pt x="83" y="147"/>
                    </a:lnTo>
                    <a:lnTo>
                      <a:pt x="94" y="146"/>
                    </a:lnTo>
                    <a:lnTo>
                      <a:pt x="107" y="133"/>
                    </a:lnTo>
                    <a:lnTo>
                      <a:pt x="105" y="113"/>
                    </a:lnTo>
                    <a:lnTo>
                      <a:pt x="88" y="85"/>
                    </a:lnTo>
                    <a:lnTo>
                      <a:pt x="88" y="65"/>
                    </a:lnTo>
                    <a:lnTo>
                      <a:pt x="117" y="45"/>
                    </a:lnTo>
                    <a:lnTo>
                      <a:pt x="166" y="34"/>
                    </a:lnTo>
                    <a:lnTo>
                      <a:pt x="164" y="28"/>
                    </a:lnTo>
                    <a:lnTo>
                      <a:pt x="142" y="21"/>
                    </a:lnTo>
                    <a:lnTo>
                      <a:pt x="147" y="5"/>
                    </a:lnTo>
                    <a:lnTo>
                      <a:pt x="156" y="0"/>
                    </a:lnTo>
                    <a:lnTo>
                      <a:pt x="162" y="5"/>
                    </a:lnTo>
                    <a:lnTo>
                      <a:pt x="175" y="34"/>
                    </a:lnTo>
                    <a:lnTo>
                      <a:pt x="229" y="47"/>
                    </a:lnTo>
                    <a:lnTo>
                      <a:pt x="238" y="73"/>
                    </a:lnTo>
                    <a:lnTo>
                      <a:pt x="246" y="80"/>
                    </a:lnTo>
                    <a:lnTo>
                      <a:pt x="332" y="73"/>
                    </a:lnTo>
                    <a:lnTo>
                      <a:pt x="356" y="93"/>
                    </a:lnTo>
                    <a:lnTo>
                      <a:pt x="379" y="96"/>
                    </a:lnTo>
                    <a:lnTo>
                      <a:pt x="401" y="92"/>
                    </a:lnTo>
                    <a:lnTo>
                      <a:pt x="416" y="82"/>
                    </a:lnTo>
                    <a:lnTo>
                      <a:pt x="441" y="80"/>
                    </a:lnTo>
                    <a:lnTo>
                      <a:pt x="442" y="77"/>
                    </a:lnTo>
                    <a:lnTo>
                      <a:pt x="420" y="73"/>
                    </a:lnTo>
                    <a:lnTo>
                      <a:pt x="427" y="70"/>
                    </a:lnTo>
                    <a:lnTo>
                      <a:pt x="521" y="72"/>
                    </a:lnTo>
                    <a:lnTo>
                      <a:pt x="504" y="80"/>
                    </a:lnTo>
                    <a:lnTo>
                      <a:pt x="483" y="80"/>
                    </a:lnTo>
                    <a:lnTo>
                      <a:pt x="479" y="87"/>
                    </a:lnTo>
                    <a:lnTo>
                      <a:pt x="496" y="93"/>
                    </a:lnTo>
                    <a:lnTo>
                      <a:pt x="508" y="113"/>
                    </a:lnTo>
                    <a:lnTo>
                      <a:pt x="537" y="114"/>
                    </a:lnTo>
                    <a:lnTo>
                      <a:pt x="571" y="133"/>
                    </a:lnTo>
                    <a:lnTo>
                      <a:pt x="581" y="161"/>
                    </a:lnTo>
                    <a:lnTo>
                      <a:pt x="569" y="170"/>
                    </a:lnTo>
                    <a:lnTo>
                      <a:pt x="571" y="173"/>
                    </a:lnTo>
                    <a:lnTo>
                      <a:pt x="589" y="177"/>
                    </a:lnTo>
                    <a:lnTo>
                      <a:pt x="606" y="169"/>
                    </a:lnTo>
                    <a:lnTo>
                      <a:pt x="625" y="181"/>
                    </a:lnTo>
                    <a:lnTo>
                      <a:pt x="623" y="192"/>
                    </a:lnTo>
                    <a:lnTo>
                      <a:pt x="579" y="212"/>
                    </a:lnTo>
                    <a:lnTo>
                      <a:pt x="579" y="234"/>
                    </a:lnTo>
                    <a:lnTo>
                      <a:pt x="594" y="240"/>
                    </a:lnTo>
                    <a:lnTo>
                      <a:pt x="567" y="257"/>
                    </a:lnTo>
                    <a:lnTo>
                      <a:pt x="567" y="270"/>
                    </a:lnTo>
                    <a:lnTo>
                      <a:pt x="557" y="283"/>
                    </a:lnTo>
                    <a:lnTo>
                      <a:pt x="557" y="288"/>
                    </a:lnTo>
                    <a:lnTo>
                      <a:pt x="588" y="325"/>
                    </a:lnTo>
                    <a:lnTo>
                      <a:pt x="588" y="338"/>
                    </a:lnTo>
                    <a:lnTo>
                      <a:pt x="572" y="355"/>
                    </a:lnTo>
                    <a:lnTo>
                      <a:pt x="555" y="356"/>
                    </a:lnTo>
                    <a:lnTo>
                      <a:pt x="534" y="371"/>
                    </a:lnTo>
                    <a:lnTo>
                      <a:pt x="496" y="376"/>
                    </a:lnTo>
                    <a:lnTo>
                      <a:pt x="478" y="387"/>
                    </a:lnTo>
                    <a:lnTo>
                      <a:pt x="458" y="385"/>
                    </a:lnTo>
                    <a:lnTo>
                      <a:pt x="424" y="371"/>
                    </a:lnTo>
                    <a:lnTo>
                      <a:pt x="394" y="367"/>
                    </a:lnTo>
                    <a:lnTo>
                      <a:pt x="399" y="384"/>
                    </a:lnTo>
                    <a:lnTo>
                      <a:pt x="420" y="395"/>
                    </a:lnTo>
                    <a:lnTo>
                      <a:pt x="416" y="421"/>
                    </a:lnTo>
                    <a:lnTo>
                      <a:pt x="424" y="452"/>
                    </a:lnTo>
                    <a:lnTo>
                      <a:pt x="461" y="454"/>
                    </a:lnTo>
                    <a:lnTo>
                      <a:pt x="459" y="463"/>
                    </a:lnTo>
                    <a:lnTo>
                      <a:pt x="430" y="475"/>
                    </a:lnTo>
                    <a:lnTo>
                      <a:pt x="418" y="497"/>
                    </a:lnTo>
                    <a:lnTo>
                      <a:pt x="368" y="515"/>
                    </a:lnTo>
                    <a:lnTo>
                      <a:pt x="354" y="528"/>
                    </a:lnTo>
                    <a:lnTo>
                      <a:pt x="320" y="529"/>
                    </a:lnTo>
                    <a:lnTo>
                      <a:pt x="298" y="503"/>
                    </a:lnTo>
                    <a:lnTo>
                      <a:pt x="278" y="456"/>
                    </a:lnTo>
                    <a:lnTo>
                      <a:pt x="257" y="435"/>
                    </a:lnTo>
                    <a:lnTo>
                      <a:pt x="280" y="410"/>
                    </a:lnTo>
                    <a:lnTo>
                      <a:pt x="272" y="392"/>
                    </a:lnTo>
                    <a:lnTo>
                      <a:pt x="257" y="379"/>
                    </a:lnTo>
                    <a:lnTo>
                      <a:pt x="252" y="353"/>
                    </a:lnTo>
                    <a:lnTo>
                      <a:pt x="257" y="319"/>
                    </a:lnTo>
                    <a:lnTo>
                      <a:pt x="272" y="290"/>
                    </a:lnTo>
                    <a:lnTo>
                      <a:pt x="269" y="279"/>
                    </a:lnTo>
                    <a:lnTo>
                      <a:pt x="255" y="277"/>
                    </a:lnTo>
                    <a:lnTo>
                      <a:pt x="230" y="285"/>
                    </a:lnTo>
                    <a:lnTo>
                      <a:pt x="203" y="280"/>
                    </a:lnTo>
                    <a:lnTo>
                      <a:pt x="183" y="283"/>
                    </a:lnTo>
                    <a:lnTo>
                      <a:pt x="150" y="245"/>
                    </a:lnTo>
                    <a:lnTo>
                      <a:pt x="127" y="236"/>
                    </a:lnTo>
                    <a:lnTo>
                      <a:pt x="90" y="241"/>
                    </a:lnTo>
                    <a:lnTo>
                      <a:pt x="63" y="234"/>
                    </a:lnTo>
                    <a:lnTo>
                      <a:pt x="46" y="223"/>
                    </a:lnTo>
                    <a:lnTo>
                      <a:pt x="42" y="186"/>
                    </a:lnTo>
                    <a:lnTo>
                      <a:pt x="27" y="163"/>
                    </a:lnTo>
                    <a:lnTo>
                      <a:pt x="22" y="143"/>
                    </a:lnTo>
                    <a:lnTo>
                      <a:pt x="0" y="141"/>
                    </a:lnTo>
                    <a:lnTo>
                      <a:pt x="14" y="119"/>
                    </a:lnTo>
                    <a:lnTo>
                      <a:pt x="23" y="80"/>
                    </a:lnTo>
                    <a:lnTo>
                      <a:pt x="34" y="62"/>
                    </a:lnTo>
                    <a:lnTo>
                      <a:pt x="66" y="25"/>
                    </a:lnTo>
                    <a:lnTo>
                      <a:pt x="91" y="17"/>
                    </a:lnTo>
                    <a:close/>
                    <a:moveTo>
                      <a:pt x="435" y="48"/>
                    </a:moveTo>
                    <a:lnTo>
                      <a:pt x="441" y="56"/>
                    </a:lnTo>
                    <a:lnTo>
                      <a:pt x="430" y="62"/>
                    </a:lnTo>
                    <a:lnTo>
                      <a:pt x="416" y="59"/>
                    </a:lnTo>
                    <a:lnTo>
                      <a:pt x="413" y="55"/>
                    </a:lnTo>
                    <a:lnTo>
                      <a:pt x="427" y="55"/>
                    </a:lnTo>
                    <a:lnTo>
                      <a:pt x="435" y="48"/>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grpSp>
        <p:sp>
          <p:nvSpPr>
            <p:cNvPr id="469" name="Freeform 203">
              <a:extLst>
                <a:ext uri="{FF2B5EF4-FFF2-40B4-BE49-F238E27FC236}">
                  <a16:creationId xmlns:a16="http://schemas.microsoft.com/office/drawing/2014/main" id="{853981E9-87BD-3A4D-A5C2-23E677C0A6C6}"/>
                </a:ext>
              </a:extLst>
            </p:cNvPr>
            <p:cNvSpPr>
              <a:spLocks noChangeAspect="1" noEditPoints="1"/>
            </p:cNvSpPr>
            <p:nvPr/>
          </p:nvSpPr>
          <p:spPr bwMode="gray">
            <a:xfrm>
              <a:off x="2974768" y="4124732"/>
              <a:ext cx="875238" cy="1108685"/>
            </a:xfrm>
            <a:custGeom>
              <a:avLst/>
              <a:gdLst>
                <a:gd name="T0" fmla="*/ 1046 w 1796"/>
                <a:gd name="T1" fmla="*/ 1760 h 1883"/>
                <a:gd name="T2" fmla="*/ 1146 w 1796"/>
                <a:gd name="T3" fmla="*/ 1609 h 1883"/>
                <a:gd name="T4" fmla="*/ 1159 w 1796"/>
                <a:gd name="T5" fmla="*/ 1479 h 1883"/>
                <a:gd name="T6" fmla="*/ 1328 w 1796"/>
                <a:gd name="T7" fmla="*/ 1338 h 1883"/>
                <a:gd name="T8" fmla="*/ 1379 w 1796"/>
                <a:gd name="T9" fmla="*/ 1315 h 1883"/>
                <a:gd name="T10" fmla="*/ 1504 w 1796"/>
                <a:gd name="T11" fmla="*/ 1271 h 1883"/>
                <a:gd name="T12" fmla="*/ 1575 w 1796"/>
                <a:gd name="T13" fmla="*/ 1086 h 1883"/>
                <a:gd name="T14" fmla="*/ 1617 w 1796"/>
                <a:gd name="T15" fmla="*/ 837 h 1883"/>
                <a:gd name="T16" fmla="*/ 1728 w 1796"/>
                <a:gd name="T17" fmla="*/ 716 h 1883"/>
                <a:gd name="T18" fmla="*/ 1784 w 1796"/>
                <a:gd name="T19" fmla="*/ 501 h 1883"/>
                <a:gd name="T20" fmla="*/ 1564 w 1796"/>
                <a:gd name="T21" fmla="*/ 374 h 1883"/>
                <a:gd name="T22" fmla="*/ 1363 w 1796"/>
                <a:gd name="T23" fmla="*/ 345 h 1883"/>
                <a:gd name="T24" fmla="*/ 1315 w 1796"/>
                <a:gd name="T25" fmla="*/ 318 h 1883"/>
                <a:gd name="T26" fmla="*/ 1199 w 1796"/>
                <a:gd name="T27" fmla="*/ 269 h 1883"/>
                <a:gd name="T28" fmla="*/ 1129 w 1796"/>
                <a:gd name="T29" fmla="*/ 323 h 1883"/>
                <a:gd name="T30" fmla="*/ 1037 w 1796"/>
                <a:gd name="T31" fmla="*/ 320 h 1883"/>
                <a:gd name="T32" fmla="*/ 1066 w 1796"/>
                <a:gd name="T33" fmla="*/ 278 h 1883"/>
                <a:gd name="T34" fmla="*/ 1097 w 1796"/>
                <a:gd name="T35" fmla="*/ 195 h 1883"/>
                <a:gd name="T36" fmla="*/ 1037 w 1796"/>
                <a:gd name="T37" fmla="*/ 46 h 1883"/>
                <a:gd name="T38" fmla="*/ 936 w 1796"/>
                <a:gd name="T39" fmla="*/ 142 h 1883"/>
                <a:gd name="T40" fmla="*/ 834 w 1796"/>
                <a:gd name="T41" fmla="*/ 127 h 1883"/>
                <a:gd name="T42" fmla="*/ 769 w 1796"/>
                <a:gd name="T43" fmla="*/ 147 h 1883"/>
                <a:gd name="T44" fmla="*/ 670 w 1796"/>
                <a:gd name="T45" fmla="*/ 171 h 1883"/>
                <a:gd name="T46" fmla="*/ 661 w 1796"/>
                <a:gd name="T47" fmla="*/ 60 h 1883"/>
                <a:gd name="T48" fmla="*/ 610 w 1796"/>
                <a:gd name="T49" fmla="*/ 1 h 1883"/>
                <a:gd name="T50" fmla="*/ 518 w 1796"/>
                <a:gd name="T51" fmla="*/ 52 h 1883"/>
                <a:gd name="T52" fmla="*/ 421 w 1796"/>
                <a:gd name="T53" fmla="*/ 60 h 1883"/>
                <a:gd name="T54" fmla="*/ 481 w 1796"/>
                <a:gd name="T55" fmla="*/ 139 h 1883"/>
                <a:gd name="T56" fmla="*/ 342 w 1796"/>
                <a:gd name="T57" fmla="*/ 205 h 1883"/>
                <a:gd name="T58" fmla="*/ 269 w 1796"/>
                <a:gd name="T59" fmla="*/ 156 h 1883"/>
                <a:gd name="T60" fmla="*/ 189 w 1796"/>
                <a:gd name="T61" fmla="*/ 193 h 1883"/>
                <a:gd name="T62" fmla="*/ 172 w 1796"/>
                <a:gd name="T63" fmla="*/ 247 h 1883"/>
                <a:gd name="T64" fmla="*/ 176 w 1796"/>
                <a:gd name="T65" fmla="*/ 430 h 1883"/>
                <a:gd name="T66" fmla="*/ 36 w 1796"/>
                <a:gd name="T67" fmla="*/ 510 h 1883"/>
                <a:gd name="T68" fmla="*/ 42 w 1796"/>
                <a:gd name="T69" fmla="*/ 651 h 1883"/>
                <a:gd name="T70" fmla="*/ 122 w 1796"/>
                <a:gd name="T71" fmla="*/ 688 h 1883"/>
                <a:gd name="T72" fmla="*/ 249 w 1796"/>
                <a:gd name="T73" fmla="*/ 745 h 1883"/>
                <a:gd name="T74" fmla="*/ 395 w 1796"/>
                <a:gd name="T75" fmla="*/ 705 h 1883"/>
                <a:gd name="T76" fmla="*/ 483 w 1796"/>
                <a:gd name="T77" fmla="*/ 818 h 1883"/>
                <a:gd name="T78" fmla="*/ 599 w 1796"/>
                <a:gd name="T79" fmla="*/ 868 h 1883"/>
                <a:gd name="T80" fmla="*/ 631 w 1796"/>
                <a:gd name="T81" fmla="*/ 992 h 1883"/>
                <a:gd name="T82" fmla="*/ 743 w 1796"/>
                <a:gd name="T83" fmla="*/ 1081 h 1883"/>
                <a:gd name="T84" fmla="*/ 724 w 1796"/>
                <a:gd name="T85" fmla="*/ 1185 h 1883"/>
                <a:gd name="T86" fmla="*/ 805 w 1796"/>
                <a:gd name="T87" fmla="*/ 1278 h 1883"/>
                <a:gd name="T88" fmla="*/ 859 w 1796"/>
                <a:gd name="T89" fmla="*/ 1368 h 1883"/>
                <a:gd name="T90" fmla="*/ 913 w 1796"/>
                <a:gd name="T91" fmla="*/ 1449 h 1883"/>
                <a:gd name="T92" fmla="*/ 880 w 1796"/>
                <a:gd name="T93" fmla="*/ 1550 h 1883"/>
                <a:gd name="T94" fmla="*/ 774 w 1796"/>
                <a:gd name="T95" fmla="*/ 1685 h 1883"/>
                <a:gd name="T96" fmla="*/ 842 w 1796"/>
                <a:gd name="T97" fmla="*/ 1725 h 1883"/>
                <a:gd name="T98" fmla="*/ 931 w 1796"/>
                <a:gd name="T99" fmla="*/ 1810 h 1883"/>
                <a:gd name="T100" fmla="*/ 1086 w 1796"/>
                <a:gd name="T101" fmla="*/ 237 h 1883"/>
                <a:gd name="T102" fmla="*/ 1128 w 1796"/>
                <a:gd name="T103" fmla="*/ 246 h 1883"/>
                <a:gd name="T104" fmla="*/ 1171 w 1796"/>
                <a:gd name="T105" fmla="*/ 255 h 1883"/>
                <a:gd name="T106" fmla="*/ 1077 w 1796"/>
                <a:gd name="T107" fmla="*/ 314 h 1883"/>
                <a:gd name="T108" fmla="*/ 1171 w 1796"/>
                <a:gd name="T109" fmla="*/ 255 h 1883"/>
                <a:gd name="T110" fmla="*/ 1058 w 1796"/>
                <a:gd name="T111" fmla="*/ 246 h 1883"/>
                <a:gd name="T112" fmla="*/ 1091 w 1796"/>
                <a:gd name="T113" fmla="*/ 218 h 1883"/>
                <a:gd name="T114" fmla="*/ 1091 w 1796"/>
                <a:gd name="T115" fmla="*/ 218 h 1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96" h="1883">
                  <a:moveTo>
                    <a:pt x="939" y="1883"/>
                  </a:moveTo>
                  <a:lnTo>
                    <a:pt x="964" y="1861"/>
                  </a:lnTo>
                  <a:lnTo>
                    <a:pt x="982" y="1835"/>
                  </a:lnTo>
                  <a:lnTo>
                    <a:pt x="990" y="1804"/>
                  </a:lnTo>
                  <a:lnTo>
                    <a:pt x="1046" y="1760"/>
                  </a:lnTo>
                  <a:lnTo>
                    <a:pt x="1082" y="1706"/>
                  </a:lnTo>
                  <a:lnTo>
                    <a:pt x="1086" y="1688"/>
                  </a:lnTo>
                  <a:lnTo>
                    <a:pt x="1106" y="1649"/>
                  </a:lnTo>
                  <a:lnTo>
                    <a:pt x="1126" y="1621"/>
                  </a:lnTo>
                  <a:lnTo>
                    <a:pt x="1146" y="1609"/>
                  </a:lnTo>
                  <a:lnTo>
                    <a:pt x="1159" y="1592"/>
                  </a:lnTo>
                  <a:lnTo>
                    <a:pt x="1163" y="1541"/>
                  </a:lnTo>
                  <a:lnTo>
                    <a:pt x="1170" y="1533"/>
                  </a:lnTo>
                  <a:lnTo>
                    <a:pt x="1162" y="1520"/>
                  </a:lnTo>
                  <a:lnTo>
                    <a:pt x="1159" y="1479"/>
                  </a:lnTo>
                  <a:lnTo>
                    <a:pt x="1176" y="1444"/>
                  </a:lnTo>
                  <a:lnTo>
                    <a:pt x="1252" y="1375"/>
                  </a:lnTo>
                  <a:lnTo>
                    <a:pt x="1280" y="1360"/>
                  </a:lnTo>
                  <a:lnTo>
                    <a:pt x="1304" y="1355"/>
                  </a:lnTo>
                  <a:lnTo>
                    <a:pt x="1328" y="1338"/>
                  </a:lnTo>
                  <a:lnTo>
                    <a:pt x="1345" y="1334"/>
                  </a:lnTo>
                  <a:lnTo>
                    <a:pt x="1345" y="1324"/>
                  </a:lnTo>
                  <a:lnTo>
                    <a:pt x="1351" y="1317"/>
                  </a:lnTo>
                  <a:lnTo>
                    <a:pt x="1360" y="1322"/>
                  </a:lnTo>
                  <a:lnTo>
                    <a:pt x="1379" y="1315"/>
                  </a:lnTo>
                  <a:lnTo>
                    <a:pt x="1394" y="1318"/>
                  </a:lnTo>
                  <a:lnTo>
                    <a:pt x="1408" y="1313"/>
                  </a:lnTo>
                  <a:lnTo>
                    <a:pt x="1456" y="1313"/>
                  </a:lnTo>
                  <a:lnTo>
                    <a:pt x="1467" y="1295"/>
                  </a:lnTo>
                  <a:lnTo>
                    <a:pt x="1504" y="1271"/>
                  </a:lnTo>
                  <a:lnTo>
                    <a:pt x="1510" y="1234"/>
                  </a:lnTo>
                  <a:lnTo>
                    <a:pt x="1536" y="1202"/>
                  </a:lnTo>
                  <a:lnTo>
                    <a:pt x="1553" y="1166"/>
                  </a:lnTo>
                  <a:lnTo>
                    <a:pt x="1569" y="1146"/>
                  </a:lnTo>
                  <a:lnTo>
                    <a:pt x="1575" y="1086"/>
                  </a:lnTo>
                  <a:lnTo>
                    <a:pt x="1594" y="1058"/>
                  </a:lnTo>
                  <a:lnTo>
                    <a:pt x="1606" y="971"/>
                  </a:lnTo>
                  <a:lnTo>
                    <a:pt x="1600" y="908"/>
                  </a:lnTo>
                  <a:lnTo>
                    <a:pt x="1607" y="848"/>
                  </a:lnTo>
                  <a:lnTo>
                    <a:pt x="1617" y="837"/>
                  </a:lnTo>
                  <a:lnTo>
                    <a:pt x="1629" y="838"/>
                  </a:lnTo>
                  <a:lnTo>
                    <a:pt x="1643" y="828"/>
                  </a:lnTo>
                  <a:lnTo>
                    <a:pt x="1680" y="756"/>
                  </a:lnTo>
                  <a:lnTo>
                    <a:pt x="1725" y="722"/>
                  </a:lnTo>
                  <a:lnTo>
                    <a:pt x="1728" y="716"/>
                  </a:lnTo>
                  <a:lnTo>
                    <a:pt x="1779" y="651"/>
                  </a:lnTo>
                  <a:lnTo>
                    <a:pt x="1792" y="608"/>
                  </a:lnTo>
                  <a:lnTo>
                    <a:pt x="1796" y="566"/>
                  </a:lnTo>
                  <a:lnTo>
                    <a:pt x="1796" y="547"/>
                  </a:lnTo>
                  <a:lnTo>
                    <a:pt x="1784" y="501"/>
                  </a:lnTo>
                  <a:lnTo>
                    <a:pt x="1768" y="479"/>
                  </a:lnTo>
                  <a:lnTo>
                    <a:pt x="1695" y="469"/>
                  </a:lnTo>
                  <a:lnTo>
                    <a:pt x="1624" y="408"/>
                  </a:lnTo>
                  <a:lnTo>
                    <a:pt x="1585" y="382"/>
                  </a:lnTo>
                  <a:lnTo>
                    <a:pt x="1564" y="374"/>
                  </a:lnTo>
                  <a:lnTo>
                    <a:pt x="1473" y="371"/>
                  </a:lnTo>
                  <a:lnTo>
                    <a:pt x="1400" y="354"/>
                  </a:lnTo>
                  <a:lnTo>
                    <a:pt x="1397" y="346"/>
                  </a:lnTo>
                  <a:lnTo>
                    <a:pt x="1355" y="363"/>
                  </a:lnTo>
                  <a:lnTo>
                    <a:pt x="1363" y="345"/>
                  </a:lnTo>
                  <a:lnTo>
                    <a:pt x="1357" y="338"/>
                  </a:lnTo>
                  <a:lnTo>
                    <a:pt x="1346" y="338"/>
                  </a:lnTo>
                  <a:lnTo>
                    <a:pt x="1351" y="325"/>
                  </a:lnTo>
                  <a:lnTo>
                    <a:pt x="1337" y="308"/>
                  </a:lnTo>
                  <a:lnTo>
                    <a:pt x="1315" y="318"/>
                  </a:lnTo>
                  <a:lnTo>
                    <a:pt x="1309" y="298"/>
                  </a:lnTo>
                  <a:lnTo>
                    <a:pt x="1277" y="286"/>
                  </a:lnTo>
                  <a:lnTo>
                    <a:pt x="1260" y="284"/>
                  </a:lnTo>
                  <a:lnTo>
                    <a:pt x="1233" y="271"/>
                  </a:lnTo>
                  <a:lnTo>
                    <a:pt x="1199" y="269"/>
                  </a:lnTo>
                  <a:lnTo>
                    <a:pt x="1190" y="272"/>
                  </a:lnTo>
                  <a:lnTo>
                    <a:pt x="1171" y="308"/>
                  </a:lnTo>
                  <a:lnTo>
                    <a:pt x="1148" y="317"/>
                  </a:lnTo>
                  <a:lnTo>
                    <a:pt x="1131" y="352"/>
                  </a:lnTo>
                  <a:lnTo>
                    <a:pt x="1129" y="323"/>
                  </a:lnTo>
                  <a:lnTo>
                    <a:pt x="1071" y="325"/>
                  </a:lnTo>
                  <a:lnTo>
                    <a:pt x="1058" y="331"/>
                  </a:lnTo>
                  <a:lnTo>
                    <a:pt x="1038" y="325"/>
                  </a:lnTo>
                  <a:lnTo>
                    <a:pt x="1032" y="334"/>
                  </a:lnTo>
                  <a:lnTo>
                    <a:pt x="1037" y="320"/>
                  </a:lnTo>
                  <a:lnTo>
                    <a:pt x="1060" y="325"/>
                  </a:lnTo>
                  <a:lnTo>
                    <a:pt x="1071" y="318"/>
                  </a:lnTo>
                  <a:lnTo>
                    <a:pt x="1071" y="298"/>
                  </a:lnTo>
                  <a:lnTo>
                    <a:pt x="1058" y="289"/>
                  </a:lnTo>
                  <a:lnTo>
                    <a:pt x="1066" y="278"/>
                  </a:lnTo>
                  <a:lnTo>
                    <a:pt x="1055" y="278"/>
                  </a:lnTo>
                  <a:lnTo>
                    <a:pt x="1048" y="291"/>
                  </a:lnTo>
                  <a:lnTo>
                    <a:pt x="1040" y="292"/>
                  </a:lnTo>
                  <a:lnTo>
                    <a:pt x="1037" y="259"/>
                  </a:lnTo>
                  <a:lnTo>
                    <a:pt x="1097" y="195"/>
                  </a:lnTo>
                  <a:lnTo>
                    <a:pt x="1105" y="164"/>
                  </a:lnTo>
                  <a:lnTo>
                    <a:pt x="1080" y="157"/>
                  </a:lnTo>
                  <a:lnTo>
                    <a:pt x="1065" y="110"/>
                  </a:lnTo>
                  <a:lnTo>
                    <a:pt x="1048" y="57"/>
                  </a:lnTo>
                  <a:lnTo>
                    <a:pt x="1037" y="46"/>
                  </a:lnTo>
                  <a:lnTo>
                    <a:pt x="1028" y="52"/>
                  </a:lnTo>
                  <a:lnTo>
                    <a:pt x="995" y="97"/>
                  </a:lnTo>
                  <a:lnTo>
                    <a:pt x="986" y="120"/>
                  </a:lnTo>
                  <a:lnTo>
                    <a:pt x="961" y="142"/>
                  </a:lnTo>
                  <a:lnTo>
                    <a:pt x="936" y="142"/>
                  </a:lnTo>
                  <a:lnTo>
                    <a:pt x="914" y="148"/>
                  </a:lnTo>
                  <a:lnTo>
                    <a:pt x="896" y="134"/>
                  </a:lnTo>
                  <a:lnTo>
                    <a:pt x="870" y="125"/>
                  </a:lnTo>
                  <a:lnTo>
                    <a:pt x="851" y="130"/>
                  </a:lnTo>
                  <a:lnTo>
                    <a:pt x="834" y="127"/>
                  </a:lnTo>
                  <a:lnTo>
                    <a:pt x="829" y="130"/>
                  </a:lnTo>
                  <a:lnTo>
                    <a:pt x="828" y="154"/>
                  </a:lnTo>
                  <a:lnTo>
                    <a:pt x="803" y="148"/>
                  </a:lnTo>
                  <a:lnTo>
                    <a:pt x="780" y="153"/>
                  </a:lnTo>
                  <a:lnTo>
                    <a:pt x="769" y="147"/>
                  </a:lnTo>
                  <a:lnTo>
                    <a:pt x="752" y="161"/>
                  </a:lnTo>
                  <a:lnTo>
                    <a:pt x="713" y="171"/>
                  </a:lnTo>
                  <a:lnTo>
                    <a:pt x="703" y="181"/>
                  </a:lnTo>
                  <a:lnTo>
                    <a:pt x="682" y="178"/>
                  </a:lnTo>
                  <a:lnTo>
                    <a:pt x="670" y="171"/>
                  </a:lnTo>
                  <a:lnTo>
                    <a:pt x="655" y="156"/>
                  </a:lnTo>
                  <a:lnTo>
                    <a:pt x="653" y="136"/>
                  </a:lnTo>
                  <a:lnTo>
                    <a:pt x="644" y="123"/>
                  </a:lnTo>
                  <a:lnTo>
                    <a:pt x="650" y="72"/>
                  </a:lnTo>
                  <a:lnTo>
                    <a:pt x="661" y="60"/>
                  </a:lnTo>
                  <a:lnTo>
                    <a:pt x="655" y="35"/>
                  </a:lnTo>
                  <a:lnTo>
                    <a:pt x="636" y="31"/>
                  </a:lnTo>
                  <a:lnTo>
                    <a:pt x="640" y="14"/>
                  </a:lnTo>
                  <a:lnTo>
                    <a:pt x="635" y="0"/>
                  </a:lnTo>
                  <a:lnTo>
                    <a:pt x="610" y="1"/>
                  </a:lnTo>
                  <a:lnTo>
                    <a:pt x="610" y="14"/>
                  </a:lnTo>
                  <a:lnTo>
                    <a:pt x="594" y="31"/>
                  </a:lnTo>
                  <a:lnTo>
                    <a:pt x="577" y="32"/>
                  </a:lnTo>
                  <a:lnTo>
                    <a:pt x="556" y="47"/>
                  </a:lnTo>
                  <a:lnTo>
                    <a:pt x="518" y="52"/>
                  </a:lnTo>
                  <a:lnTo>
                    <a:pt x="500" y="63"/>
                  </a:lnTo>
                  <a:lnTo>
                    <a:pt x="480" y="61"/>
                  </a:lnTo>
                  <a:lnTo>
                    <a:pt x="446" y="47"/>
                  </a:lnTo>
                  <a:lnTo>
                    <a:pt x="416" y="43"/>
                  </a:lnTo>
                  <a:lnTo>
                    <a:pt x="421" y="60"/>
                  </a:lnTo>
                  <a:lnTo>
                    <a:pt x="442" y="71"/>
                  </a:lnTo>
                  <a:lnTo>
                    <a:pt x="438" y="97"/>
                  </a:lnTo>
                  <a:lnTo>
                    <a:pt x="446" y="128"/>
                  </a:lnTo>
                  <a:lnTo>
                    <a:pt x="483" y="130"/>
                  </a:lnTo>
                  <a:lnTo>
                    <a:pt x="481" y="139"/>
                  </a:lnTo>
                  <a:lnTo>
                    <a:pt x="452" y="151"/>
                  </a:lnTo>
                  <a:lnTo>
                    <a:pt x="440" y="173"/>
                  </a:lnTo>
                  <a:lnTo>
                    <a:pt x="390" y="191"/>
                  </a:lnTo>
                  <a:lnTo>
                    <a:pt x="376" y="204"/>
                  </a:lnTo>
                  <a:lnTo>
                    <a:pt x="342" y="205"/>
                  </a:lnTo>
                  <a:lnTo>
                    <a:pt x="320" y="179"/>
                  </a:lnTo>
                  <a:lnTo>
                    <a:pt x="310" y="187"/>
                  </a:lnTo>
                  <a:lnTo>
                    <a:pt x="305" y="161"/>
                  </a:lnTo>
                  <a:lnTo>
                    <a:pt x="293" y="147"/>
                  </a:lnTo>
                  <a:lnTo>
                    <a:pt x="269" y="156"/>
                  </a:lnTo>
                  <a:lnTo>
                    <a:pt x="257" y="148"/>
                  </a:lnTo>
                  <a:lnTo>
                    <a:pt x="251" y="161"/>
                  </a:lnTo>
                  <a:lnTo>
                    <a:pt x="183" y="161"/>
                  </a:lnTo>
                  <a:lnTo>
                    <a:pt x="183" y="190"/>
                  </a:lnTo>
                  <a:lnTo>
                    <a:pt x="189" y="193"/>
                  </a:lnTo>
                  <a:lnTo>
                    <a:pt x="206" y="191"/>
                  </a:lnTo>
                  <a:lnTo>
                    <a:pt x="215" y="212"/>
                  </a:lnTo>
                  <a:lnTo>
                    <a:pt x="197" y="210"/>
                  </a:lnTo>
                  <a:lnTo>
                    <a:pt x="172" y="216"/>
                  </a:lnTo>
                  <a:lnTo>
                    <a:pt x="172" y="247"/>
                  </a:lnTo>
                  <a:lnTo>
                    <a:pt x="193" y="266"/>
                  </a:lnTo>
                  <a:lnTo>
                    <a:pt x="201" y="297"/>
                  </a:lnTo>
                  <a:lnTo>
                    <a:pt x="195" y="335"/>
                  </a:lnTo>
                  <a:lnTo>
                    <a:pt x="186" y="380"/>
                  </a:lnTo>
                  <a:lnTo>
                    <a:pt x="176" y="430"/>
                  </a:lnTo>
                  <a:lnTo>
                    <a:pt x="171" y="435"/>
                  </a:lnTo>
                  <a:lnTo>
                    <a:pt x="154" y="433"/>
                  </a:lnTo>
                  <a:lnTo>
                    <a:pt x="99" y="450"/>
                  </a:lnTo>
                  <a:lnTo>
                    <a:pt x="61" y="472"/>
                  </a:lnTo>
                  <a:lnTo>
                    <a:pt x="36" y="510"/>
                  </a:lnTo>
                  <a:lnTo>
                    <a:pt x="34" y="540"/>
                  </a:lnTo>
                  <a:lnTo>
                    <a:pt x="16" y="547"/>
                  </a:lnTo>
                  <a:lnTo>
                    <a:pt x="0" y="586"/>
                  </a:lnTo>
                  <a:lnTo>
                    <a:pt x="11" y="620"/>
                  </a:lnTo>
                  <a:lnTo>
                    <a:pt x="42" y="651"/>
                  </a:lnTo>
                  <a:lnTo>
                    <a:pt x="37" y="670"/>
                  </a:lnTo>
                  <a:lnTo>
                    <a:pt x="65" y="674"/>
                  </a:lnTo>
                  <a:lnTo>
                    <a:pt x="78" y="693"/>
                  </a:lnTo>
                  <a:lnTo>
                    <a:pt x="99" y="697"/>
                  </a:lnTo>
                  <a:lnTo>
                    <a:pt x="122" y="688"/>
                  </a:lnTo>
                  <a:lnTo>
                    <a:pt x="152" y="665"/>
                  </a:lnTo>
                  <a:lnTo>
                    <a:pt x="152" y="741"/>
                  </a:lnTo>
                  <a:lnTo>
                    <a:pt x="163" y="747"/>
                  </a:lnTo>
                  <a:lnTo>
                    <a:pt x="189" y="741"/>
                  </a:lnTo>
                  <a:lnTo>
                    <a:pt x="249" y="745"/>
                  </a:lnTo>
                  <a:lnTo>
                    <a:pt x="288" y="728"/>
                  </a:lnTo>
                  <a:lnTo>
                    <a:pt x="328" y="688"/>
                  </a:lnTo>
                  <a:lnTo>
                    <a:pt x="384" y="682"/>
                  </a:lnTo>
                  <a:lnTo>
                    <a:pt x="393" y="691"/>
                  </a:lnTo>
                  <a:lnTo>
                    <a:pt x="395" y="705"/>
                  </a:lnTo>
                  <a:lnTo>
                    <a:pt x="395" y="733"/>
                  </a:lnTo>
                  <a:lnTo>
                    <a:pt x="387" y="756"/>
                  </a:lnTo>
                  <a:lnTo>
                    <a:pt x="399" y="787"/>
                  </a:lnTo>
                  <a:lnTo>
                    <a:pt x="429" y="809"/>
                  </a:lnTo>
                  <a:lnTo>
                    <a:pt x="483" y="818"/>
                  </a:lnTo>
                  <a:lnTo>
                    <a:pt x="497" y="832"/>
                  </a:lnTo>
                  <a:lnTo>
                    <a:pt x="535" y="845"/>
                  </a:lnTo>
                  <a:lnTo>
                    <a:pt x="554" y="860"/>
                  </a:lnTo>
                  <a:lnTo>
                    <a:pt x="585" y="860"/>
                  </a:lnTo>
                  <a:lnTo>
                    <a:pt x="599" y="868"/>
                  </a:lnTo>
                  <a:lnTo>
                    <a:pt x="611" y="882"/>
                  </a:lnTo>
                  <a:lnTo>
                    <a:pt x="622" y="919"/>
                  </a:lnTo>
                  <a:lnTo>
                    <a:pt x="619" y="939"/>
                  </a:lnTo>
                  <a:lnTo>
                    <a:pt x="613" y="945"/>
                  </a:lnTo>
                  <a:lnTo>
                    <a:pt x="631" y="992"/>
                  </a:lnTo>
                  <a:lnTo>
                    <a:pt x="712" y="999"/>
                  </a:lnTo>
                  <a:lnTo>
                    <a:pt x="707" y="1022"/>
                  </a:lnTo>
                  <a:lnTo>
                    <a:pt x="712" y="1039"/>
                  </a:lnTo>
                  <a:lnTo>
                    <a:pt x="729" y="1046"/>
                  </a:lnTo>
                  <a:lnTo>
                    <a:pt x="743" y="1081"/>
                  </a:lnTo>
                  <a:lnTo>
                    <a:pt x="741" y="1128"/>
                  </a:lnTo>
                  <a:lnTo>
                    <a:pt x="732" y="1154"/>
                  </a:lnTo>
                  <a:lnTo>
                    <a:pt x="735" y="1174"/>
                  </a:lnTo>
                  <a:lnTo>
                    <a:pt x="726" y="1179"/>
                  </a:lnTo>
                  <a:lnTo>
                    <a:pt x="724" y="1185"/>
                  </a:lnTo>
                  <a:lnTo>
                    <a:pt x="732" y="1199"/>
                  </a:lnTo>
                  <a:lnTo>
                    <a:pt x="732" y="1267"/>
                  </a:lnTo>
                  <a:lnTo>
                    <a:pt x="735" y="1273"/>
                  </a:lnTo>
                  <a:lnTo>
                    <a:pt x="774" y="1285"/>
                  </a:lnTo>
                  <a:lnTo>
                    <a:pt x="805" y="1278"/>
                  </a:lnTo>
                  <a:lnTo>
                    <a:pt x="829" y="1288"/>
                  </a:lnTo>
                  <a:lnTo>
                    <a:pt x="837" y="1300"/>
                  </a:lnTo>
                  <a:lnTo>
                    <a:pt x="840" y="1351"/>
                  </a:lnTo>
                  <a:lnTo>
                    <a:pt x="846" y="1361"/>
                  </a:lnTo>
                  <a:lnTo>
                    <a:pt x="859" y="1368"/>
                  </a:lnTo>
                  <a:lnTo>
                    <a:pt x="889" y="1363"/>
                  </a:lnTo>
                  <a:lnTo>
                    <a:pt x="894" y="1368"/>
                  </a:lnTo>
                  <a:lnTo>
                    <a:pt x="899" y="1395"/>
                  </a:lnTo>
                  <a:lnTo>
                    <a:pt x="891" y="1451"/>
                  </a:lnTo>
                  <a:lnTo>
                    <a:pt x="913" y="1449"/>
                  </a:lnTo>
                  <a:lnTo>
                    <a:pt x="918" y="1454"/>
                  </a:lnTo>
                  <a:lnTo>
                    <a:pt x="928" y="1488"/>
                  </a:lnTo>
                  <a:lnTo>
                    <a:pt x="925" y="1527"/>
                  </a:lnTo>
                  <a:lnTo>
                    <a:pt x="904" y="1544"/>
                  </a:lnTo>
                  <a:lnTo>
                    <a:pt x="880" y="1550"/>
                  </a:lnTo>
                  <a:lnTo>
                    <a:pt x="828" y="1600"/>
                  </a:lnTo>
                  <a:lnTo>
                    <a:pt x="789" y="1654"/>
                  </a:lnTo>
                  <a:lnTo>
                    <a:pt x="746" y="1693"/>
                  </a:lnTo>
                  <a:lnTo>
                    <a:pt x="760" y="1694"/>
                  </a:lnTo>
                  <a:lnTo>
                    <a:pt x="774" y="1685"/>
                  </a:lnTo>
                  <a:lnTo>
                    <a:pt x="784" y="1686"/>
                  </a:lnTo>
                  <a:lnTo>
                    <a:pt x="814" y="1713"/>
                  </a:lnTo>
                  <a:lnTo>
                    <a:pt x="820" y="1733"/>
                  </a:lnTo>
                  <a:lnTo>
                    <a:pt x="829" y="1733"/>
                  </a:lnTo>
                  <a:lnTo>
                    <a:pt x="842" y="1725"/>
                  </a:lnTo>
                  <a:lnTo>
                    <a:pt x="859" y="1747"/>
                  </a:lnTo>
                  <a:lnTo>
                    <a:pt x="885" y="1757"/>
                  </a:lnTo>
                  <a:lnTo>
                    <a:pt x="899" y="1774"/>
                  </a:lnTo>
                  <a:lnTo>
                    <a:pt x="922" y="1784"/>
                  </a:lnTo>
                  <a:lnTo>
                    <a:pt x="931" y="1810"/>
                  </a:lnTo>
                  <a:lnTo>
                    <a:pt x="953" y="1828"/>
                  </a:lnTo>
                  <a:lnTo>
                    <a:pt x="938" y="1850"/>
                  </a:lnTo>
                  <a:lnTo>
                    <a:pt x="936" y="1875"/>
                  </a:lnTo>
                  <a:lnTo>
                    <a:pt x="939" y="1883"/>
                  </a:lnTo>
                  <a:close/>
                  <a:moveTo>
                    <a:pt x="1086" y="237"/>
                  </a:moveTo>
                  <a:lnTo>
                    <a:pt x="1088" y="244"/>
                  </a:lnTo>
                  <a:lnTo>
                    <a:pt x="1082" y="244"/>
                  </a:lnTo>
                  <a:lnTo>
                    <a:pt x="1080" y="238"/>
                  </a:lnTo>
                  <a:lnTo>
                    <a:pt x="1086" y="237"/>
                  </a:lnTo>
                  <a:close/>
                  <a:moveTo>
                    <a:pt x="1128" y="246"/>
                  </a:moveTo>
                  <a:lnTo>
                    <a:pt x="1112" y="247"/>
                  </a:lnTo>
                  <a:lnTo>
                    <a:pt x="1123" y="237"/>
                  </a:lnTo>
                  <a:lnTo>
                    <a:pt x="1128" y="238"/>
                  </a:lnTo>
                  <a:lnTo>
                    <a:pt x="1128" y="246"/>
                  </a:lnTo>
                  <a:close/>
                  <a:moveTo>
                    <a:pt x="1171" y="255"/>
                  </a:moveTo>
                  <a:lnTo>
                    <a:pt x="1170" y="280"/>
                  </a:lnTo>
                  <a:lnTo>
                    <a:pt x="1143" y="309"/>
                  </a:lnTo>
                  <a:lnTo>
                    <a:pt x="1109" y="322"/>
                  </a:lnTo>
                  <a:lnTo>
                    <a:pt x="1088" y="320"/>
                  </a:lnTo>
                  <a:lnTo>
                    <a:pt x="1077" y="314"/>
                  </a:lnTo>
                  <a:lnTo>
                    <a:pt x="1074" y="261"/>
                  </a:lnTo>
                  <a:lnTo>
                    <a:pt x="1088" y="250"/>
                  </a:lnTo>
                  <a:lnTo>
                    <a:pt x="1126" y="252"/>
                  </a:lnTo>
                  <a:lnTo>
                    <a:pt x="1153" y="247"/>
                  </a:lnTo>
                  <a:lnTo>
                    <a:pt x="1171" y="255"/>
                  </a:lnTo>
                  <a:close/>
                  <a:moveTo>
                    <a:pt x="1074" y="254"/>
                  </a:moveTo>
                  <a:lnTo>
                    <a:pt x="1058" y="272"/>
                  </a:lnTo>
                  <a:lnTo>
                    <a:pt x="1052" y="272"/>
                  </a:lnTo>
                  <a:lnTo>
                    <a:pt x="1048" y="263"/>
                  </a:lnTo>
                  <a:lnTo>
                    <a:pt x="1058" y="246"/>
                  </a:lnTo>
                  <a:lnTo>
                    <a:pt x="1074" y="241"/>
                  </a:lnTo>
                  <a:lnTo>
                    <a:pt x="1065" y="250"/>
                  </a:lnTo>
                  <a:lnTo>
                    <a:pt x="1072" y="250"/>
                  </a:lnTo>
                  <a:lnTo>
                    <a:pt x="1074" y="254"/>
                  </a:lnTo>
                  <a:close/>
                  <a:moveTo>
                    <a:pt x="1091" y="218"/>
                  </a:moveTo>
                  <a:lnTo>
                    <a:pt x="1083" y="224"/>
                  </a:lnTo>
                  <a:lnTo>
                    <a:pt x="1089" y="235"/>
                  </a:lnTo>
                  <a:lnTo>
                    <a:pt x="1109" y="238"/>
                  </a:lnTo>
                  <a:lnTo>
                    <a:pt x="1109" y="232"/>
                  </a:lnTo>
                  <a:lnTo>
                    <a:pt x="1091" y="218"/>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70" name="Freeform 204">
              <a:extLst>
                <a:ext uri="{FF2B5EF4-FFF2-40B4-BE49-F238E27FC236}">
                  <a16:creationId xmlns:a16="http://schemas.microsoft.com/office/drawing/2014/main" id="{6651AE64-3581-4840-9782-580021672CB9}"/>
                </a:ext>
              </a:extLst>
            </p:cNvPr>
            <p:cNvSpPr>
              <a:spLocks noChangeAspect="1" noEditPoints="1"/>
            </p:cNvSpPr>
            <p:nvPr/>
          </p:nvSpPr>
          <p:spPr bwMode="gray">
            <a:xfrm>
              <a:off x="2984317" y="4866417"/>
              <a:ext cx="442393" cy="1185542"/>
            </a:xfrm>
            <a:custGeom>
              <a:avLst/>
              <a:gdLst>
                <a:gd name="T0" fmla="*/ 50 w 908"/>
                <a:gd name="T1" fmla="*/ 1759 h 2014"/>
                <a:gd name="T2" fmla="*/ 0 w 908"/>
                <a:gd name="T3" fmla="*/ 1647 h 2014"/>
                <a:gd name="T4" fmla="*/ 44 w 908"/>
                <a:gd name="T5" fmla="*/ 1471 h 2014"/>
                <a:gd name="T6" fmla="*/ 88 w 908"/>
                <a:gd name="T7" fmla="*/ 1302 h 2014"/>
                <a:gd name="T8" fmla="*/ 95 w 908"/>
                <a:gd name="T9" fmla="*/ 1272 h 2014"/>
                <a:gd name="T10" fmla="*/ 67 w 908"/>
                <a:gd name="T11" fmla="*/ 1202 h 2014"/>
                <a:gd name="T12" fmla="*/ 76 w 908"/>
                <a:gd name="T13" fmla="*/ 1095 h 2014"/>
                <a:gd name="T14" fmla="*/ 92 w 908"/>
                <a:gd name="T15" fmla="*/ 921 h 2014"/>
                <a:gd name="T16" fmla="*/ 107 w 908"/>
                <a:gd name="T17" fmla="*/ 777 h 2014"/>
                <a:gd name="T18" fmla="*/ 146 w 908"/>
                <a:gd name="T19" fmla="*/ 670 h 2014"/>
                <a:gd name="T20" fmla="*/ 149 w 908"/>
                <a:gd name="T21" fmla="*/ 571 h 2014"/>
                <a:gd name="T22" fmla="*/ 132 w 908"/>
                <a:gd name="T23" fmla="*/ 486 h 2014"/>
                <a:gd name="T24" fmla="*/ 198 w 908"/>
                <a:gd name="T25" fmla="*/ 298 h 2014"/>
                <a:gd name="T26" fmla="*/ 222 w 908"/>
                <a:gd name="T27" fmla="*/ 173 h 2014"/>
                <a:gd name="T28" fmla="*/ 290 w 908"/>
                <a:gd name="T29" fmla="*/ 71 h 2014"/>
                <a:gd name="T30" fmla="*/ 396 w 908"/>
                <a:gd name="T31" fmla="*/ 23 h 2014"/>
                <a:gd name="T32" fmla="*/ 491 w 908"/>
                <a:gd name="T33" fmla="*/ 26 h 2014"/>
                <a:gd name="T34" fmla="*/ 577 w 908"/>
                <a:gd name="T35" fmla="*/ 108 h 2014"/>
                <a:gd name="T36" fmla="*/ 721 w 908"/>
                <a:gd name="T37" fmla="*/ 196 h 2014"/>
                <a:gd name="T38" fmla="*/ 737 w 908"/>
                <a:gd name="T39" fmla="*/ 274 h 2014"/>
                <a:gd name="T40" fmla="*/ 871 w 908"/>
                <a:gd name="T41" fmla="*/ 190 h 2014"/>
                <a:gd name="T42" fmla="*/ 905 w 908"/>
                <a:gd name="T43" fmla="*/ 266 h 2014"/>
                <a:gd name="T44" fmla="*/ 769 w 908"/>
                <a:gd name="T45" fmla="*/ 393 h 2014"/>
                <a:gd name="T46" fmla="*/ 704 w 908"/>
                <a:gd name="T47" fmla="*/ 524 h 2014"/>
                <a:gd name="T48" fmla="*/ 684 w 908"/>
                <a:gd name="T49" fmla="*/ 651 h 2014"/>
                <a:gd name="T50" fmla="*/ 735 w 908"/>
                <a:gd name="T51" fmla="*/ 738 h 2014"/>
                <a:gd name="T52" fmla="*/ 764 w 908"/>
                <a:gd name="T53" fmla="*/ 809 h 2014"/>
                <a:gd name="T54" fmla="*/ 644 w 908"/>
                <a:gd name="T55" fmla="*/ 908 h 2014"/>
                <a:gd name="T56" fmla="*/ 510 w 908"/>
                <a:gd name="T57" fmla="*/ 934 h 2014"/>
                <a:gd name="T58" fmla="*/ 508 w 908"/>
                <a:gd name="T59" fmla="*/ 982 h 2014"/>
                <a:gd name="T60" fmla="*/ 474 w 908"/>
                <a:gd name="T61" fmla="*/ 1052 h 2014"/>
                <a:gd name="T62" fmla="*/ 379 w 908"/>
                <a:gd name="T63" fmla="*/ 1033 h 2014"/>
                <a:gd name="T64" fmla="*/ 410 w 908"/>
                <a:gd name="T65" fmla="*/ 1129 h 2014"/>
                <a:gd name="T66" fmla="*/ 449 w 908"/>
                <a:gd name="T67" fmla="*/ 1117 h 2014"/>
                <a:gd name="T68" fmla="*/ 420 w 908"/>
                <a:gd name="T69" fmla="*/ 1143 h 2014"/>
                <a:gd name="T70" fmla="*/ 420 w 908"/>
                <a:gd name="T71" fmla="*/ 1166 h 2014"/>
                <a:gd name="T72" fmla="*/ 378 w 908"/>
                <a:gd name="T73" fmla="*/ 1251 h 2014"/>
                <a:gd name="T74" fmla="*/ 319 w 908"/>
                <a:gd name="T75" fmla="*/ 1307 h 2014"/>
                <a:gd name="T76" fmla="*/ 280 w 908"/>
                <a:gd name="T77" fmla="*/ 1398 h 2014"/>
                <a:gd name="T78" fmla="*/ 356 w 908"/>
                <a:gd name="T79" fmla="*/ 1461 h 2014"/>
                <a:gd name="T80" fmla="*/ 344 w 908"/>
                <a:gd name="T81" fmla="*/ 1504 h 2014"/>
                <a:gd name="T82" fmla="*/ 259 w 908"/>
                <a:gd name="T83" fmla="*/ 1589 h 2014"/>
                <a:gd name="T84" fmla="*/ 217 w 908"/>
                <a:gd name="T85" fmla="*/ 1617 h 2014"/>
                <a:gd name="T86" fmla="*/ 183 w 908"/>
                <a:gd name="T87" fmla="*/ 1710 h 2014"/>
                <a:gd name="T88" fmla="*/ 202 w 908"/>
                <a:gd name="T89" fmla="*/ 1756 h 2014"/>
                <a:gd name="T90" fmla="*/ 413 w 908"/>
                <a:gd name="T91" fmla="*/ 2002 h 2014"/>
                <a:gd name="T92" fmla="*/ 219 w 908"/>
                <a:gd name="T93" fmla="*/ 1827 h 2014"/>
                <a:gd name="T94" fmla="*/ 253 w 908"/>
                <a:gd name="T95" fmla="*/ 1909 h 2014"/>
                <a:gd name="T96" fmla="*/ 364 w 908"/>
                <a:gd name="T97" fmla="*/ 2008 h 2014"/>
                <a:gd name="T98" fmla="*/ 222 w 908"/>
                <a:gd name="T99" fmla="*/ 2001 h 2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8" h="2014">
                  <a:moveTo>
                    <a:pt x="231" y="1801"/>
                  </a:moveTo>
                  <a:lnTo>
                    <a:pt x="166" y="1782"/>
                  </a:lnTo>
                  <a:lnTo>
                    <a:pt x="59" y="1778"/>
                  </a:lnTo>
                  <a:lnTo>
                    <a:pt x="50" y="1759"/>
                  </a:lnTo>
                  <a:lnTo>
                    <a:pt x="48" y="1683"/>
                  </a:lnTo>
                  <a:lnTo>
                    <a:pt x="20" y="1681"/>
                  </a:lnTo>
                  <a:lnTo>
                    <a:pt x="5" y="1693"/>
                  </a:lnTo>
                  <a:lnTo>
                    <a:pt x="0" y="1647"/>
                  </a:lnTo>
                  <a:lnTo>
                    <a:pt x="7" y="1601"/>
                  </a:lnTo>
                  <a:lnTo>
                    <a:pt x="37" y="1550"/>
                  </a:lnTo>
                  <a:lnTo>
                    <a:pt x="48" y="1516"/>
                  </a:lnTo>
                  <a:lnTo>
                    <a:pt x="44" y="1471"/>
                  </a:lnTo>
                  <a:lnTo>
                    <a:pt x="67" y="1436"/>
                  </a:lnTo>
                  <a:lnTo>
                    <a:pt x="78" y="1402"/>
                  </a:lnTo>
                  <a:lnTo>
                    <a:pt x="79" y="1327"/>
                  </a:lnTo>
                  <a:lnTo>
                    <a:pt x="88" y="1302"/>
                  </a:lnTo>
                  <a:lnTo>
                    <a:pt x="68" y="1289"/>
                  </a:lnTo>
                  <a:lnTo>
                    <a:pt x="65" y="1278"/>
                  </a:lnTo>
                  <a:lnTo>
                    <a:pt x="93" y="1278"/>
                  </a:lnTo>
                  <a:lnTo>
                    <a:pt x="95" y="1272"/>
                  </a:lnTo>
                  <a:lnTo>
                    <a:pt x="88" y="1256"/>
                  </a:lnTo>
                  <a:lnTo>
                    <a:pt x="70" y="1253"/>
                  </a:lnTo>
                  <a:lnTo>
                    <a:pt x="73" y="1224"/>
                  </a:lnTo>
                  <a:lnTo>
                    <a:pt x="67" y="1202"/>
                  </a:lnTo>
                  <a:lnTo>
                    <a:pt x="65" y="1173"/>
                  </a:lnTo>
                  <a:lnTo>
                    <a:pt x="59" y="1165"/>
                  </a:lnTo>
                  <a:lnTo>
                    <a:pt x="59" y="1134"/>
                  </a:lnTo>
                  <a:lnTo>
                    <a:pt x="76" y="1095"/>
                  </a:lnTo>
                  <a:lnTo>
                    <a:pt x="76" y="1086"/>
                  </a:lnTo>
                  <a:lnTo>
                    <a:pt x="65" y="1061"/>
                  </a:lnTo>
                  <a:lnTo>
                    <a:pt x="75" y="985"/>
                  </a:lnTo>
                  <a:lnTo>
                    <a:pt x="92" y="921"/>
                  </a:lnTo>
                  <a:lnTo>
                    <a:pt x="107" y="897"/>
                  </a:lnTo>
                  <a:lnTo>
                    <a:pt x="101" y="854"/>
                  </a:lnTo>
                  <a:lnTo>
                    <a:pt x="104" y="789"/>
                  </a:lnTo>
                  <a:lnTo>
                    <a:pt x="107" y="777"/>
                  </a:lnTo>
                  <a:lnTo>
                    <a:pt x="134" y="752"/>
                  </a:lnTo>
                  <a:lnTo>
                    <a:pt x="130" y="706"/>
                  </a:lnTo>
                  <a:lnTo>
                    <a:pt x="141" y="696"/>
                  </a:lnTo>
                  <a:lnTo>
                    <a:pt x="146" y="670"/>
                  </a:lnTo>
                  <a:lnTo>
                    <a:pt x="161" y="643"/>
                  </a:lnTo>
                  <a:lnTo>
                    <a:pt x="158" y="600"/>
                  </a:lnTo>
                  <a:lnTo>
                    <a:pt x="149" y="589"/>
                  </a:lnTo>
                  <a:lnTo>
                    <a:pt x="149" y="571"/>
                  </a:lnTo>
                  <a:lnTo>
                    <a:pt x="138" y="543"/>
                  </a:lnTo>
                  <a:lnTo>
                    <a:pt x="138" y="518"/>
                  </a:lnTo>
                  <a:lnTo>
                    <a:pt x="130" y="510"/>
                  </a:lnTo>
                  <a:lnTo>
                    <a:pt x="132" y="486"/>
                  </a:lnTo>
                  <a:lnTo>
                    <a:pt x="156" y="433"/>
                  </a:lnTo>
                  <a:lnTo>
                    <a:pt x="160" y="385"/>
                  </a:lnTo>
                  <a:lnTo>
                    <a:pt x="177" y="322"/>
                  </a:lnTo>
                  <a:lnTo>
                    <a:pt x="198" y="298"/>
                  </a:lnTo>
                  <a:lnTo>
                    <a:pt x="205" y="274"/>
                  </a:lnTo>
                  <a:lnTo>
                    <a:pt x="231" y="255"/>
                  </a:lnTo>
                  <a:lnTo>
                    <a:pt x="222" y="187"/>
                  </a:lnTo>
                  <a:lnTo>
                    <a:pt x="222" y="173"/>
                  </a:lnTo>
                  <a:lnTo>
                    <a:pt x="228" y="164"/>
                  </a:lnTo>
                  <a:lnTo>
                    <a:pt x="228" y="136"/>
                  </a:lnTo>
                  <a:lnTo>
                    <a:pt x="282" y="110"/>
                  </a:lnTo>
                  <a:lnTo>
                    <a:pt x="290" y="71"/>
                  </a:lnTo>
                  <a:lnTo>
                    <a:pt x="285" y="52"/>
                  </a:lnTo>
                  <a:lnTo>
                    <a:pt x="333" y="0"/>
                  </a:lnTo>
                  <a:lnTo>
                    <a:pt x="347" y="15"/>
                  </a:lnTo>
                  <a:lnTo>
                    <a:pt x="396" y="23"/>
                  </a:lnTo>
                  <a:lnTo>
                    <a:pt x="417" y="44"/>
                  </a:lnTo>
                  <a:lnTo>
                    <a:pt x="427" y="10"/>
                  </a:lnTo>
                  <a:lnTo>
                    <a:pt x="472" y="14"/>
                  </a:lnTo>
                  <a:lnTo>
                    <a:pt x="491" y="26"/>
                  </a:lnTo>
                  <a:lnTo>
                    <a:pt x="505" y="31"/>
                  </a:lnTo>
                  <a:lnTo>
                    <a:pt x="534" y="68"/>
                  </a:lnTo>
                  <a:lnTo>
                    <a:pt x="568" y="91"/>
                  </a:lnTo>
                  <a:lnTo>
                    <a:pt x="577" y="108"/>
                  </a:lnTo>
                  <a:lnTo>
                    <a:pt x="632" y="120"/>
                  </a:lnTo>
                  <a:lnTo>
                    <a:pt x="684" y="151"/>
                  </a:lnTo>
                  <a:lnTo>
                    <a:pt x="718" y="176"/>
                  </a:lnTo>
                  <a:lnTo>
                    <a:pt x="721" y="196"/>
                  </a:lnTo>
                  <a:lnTo>
                    <a:pt x="693" y="246"/>
                  </a:lnTo>
                  <a:lnTo>
                    <a:pt x="692" y="258"/>
                  </a:lnTo>
                  <a:lnTo>
                    <a:pt x="692" y="269"/>
                  </a:lnTo>
                  <a:lnTo>
                    <a:pt x="737" y="274"/>
                  </a:lnTo>
                  <a:lnTo>
                    <a:pt x="764" y="286"/>
                  </a:lnTo>
                  <a:lnTo>
                    <a:pt x="817" y="278"/>
                  </a:lnTo>
                  <a:lnTo>
                    <a:pt x="862" y="235"/>
                  </a:lnTo>
                  <a:lnTo>
                    <a:pt x="871" y="190"/>
                  </a:lnTo>
                  <a:lnTo>
                    <a:pt x="893" y="188"/>
                  </a:lnTo>
                  <a:lnTo>
                    <a:pt x="898" y="193"/>
                  </a:lnTo>
                  <a:lnTo>
                    <a:pt x="908" y="227"/>
                  </a:lnTo>
                  <a:lnTo>
                    <a:pt x="905" y="266"/>
                  </a:lnTo>
                  <a:lnTo>
                    <a:pt x="884" y="283"/>
                  </a:lnTo>
                  <a:lnTo>
                    <a:pt x="860" y="289"/>
                  </a:lnTo>
                  <a:lnTo>
                    <a:pt x="808" y="339"/>
                  </a:lnTo>
                  <a:lnTo>
                    <a:pt x="769" y="393"/>
                  </a:lnTo>
                  <a:lnTo>
                    <a:pt x="726" y="432"/>
                  </a:lnTo>
                  <a:lnTo>
                    <a:pt x="715" y="445"/>
                  </a:lnTo>
                  <a:lnTo>
                    <a:pt x="713" y="496"/>
                  </a:lnTo>
                  <a:lnTo>
                    <a:pt x="704" y="524"/>
                  </a:lnTo>
                  <a:lnTo>
                    <a:pt x="703" y="575"/>
                  </a:lnTo>
                  <a:lnTo>
                    <a:pt x="692" y="600"/>
                  </a:lnTo>
                  <a:lnTo>
                    <a:pt x="687" y="634"/>
                  </a:lnTo>
                  <a:lnTo>
                    <a:pt x="684" y="651"/>
                  </a:lnTo>
                  <a:lnTo>
                    <a:pt x="692" y="668"/>
                  </a:lnTo>
                  <a:lnTo>
                    <a:pt x="720" y="685"/>
                  </a:lnTo>
                  <a:lnTo>
                    <a:pt x="744" y="710"/>
                  </a:lnTo>
                  <a:lnTo>
                    <a:pt x="735" y="738"/>
                  </a:lnTo>
                  <a:lnTo>
                    <a:pt x="749" y="762"/>
                  </a:lnTo>
                  <a:lnTo>
                    <a:pt x="768" y="766"/>
                  </a:lnTo>
                  <a:lnTo>
                    <a:pt x="769" y="798"/>
                  </a:lnTo>
                  <a:lnTo>
                    <a:pt x="764" y="809"/>
                  </a:lnTo>
                  <a:lnTo>
                    <a:pt x="732" y="852"/>
                  </a:lnTo>
                  <a:lnTo>
                    <a:pt x="727" y="872"/>
                  </a:lnTo>
                  <a:lnTo>
                    <a:pt x="706" y="888"/>
                  </a:lnTo>
                  <a:lnTo>
                    <a:pt x="644" y="908"/>
                  </a:lnTo>
                  <a:lnTo>
                    <a:pt x="569" y="919"/>
                  </a:lnTo>
                  <a:lnTo>
                    <a:pt x="522" y="916"/>
                  </a:lnTo>
                  <a:lnTo>
                    <a:pt x="510" y="906"/>
                  </a:lnTo>
                  <a:lnTo>
                    <a:pt x="510" y="934"/>
                  </a:lnTo>
                  <a:lnTo>
                    <a:pt x="520" y="948"/>
                  </a:lnTo>
                  <a:lnTo>
                    <a:pt x="519" y="964"/>
                  </a:lnTo>
                  <a:lnTo>
                    <a:pt x="519" y="970"/>
                  </a:lnTo>
                  <a:lnTo>
                    <a:pt x="508" y="982"/>
                  </a:lnTo>
                  <a:lnTo>
                    <a:pt x="510" y="1026"/>
                  </a:lnTo>
                  <a:lnTo>
                    <a:pt x="502" y="1038"/>
                  </a:lnTo>
                  <a:lnTo>
                    <a:pt x="489" y="1043"/>
                  </a:lnTo>
                  <a:lnTo>
                    <a:pt x="474" y="1052"/>
                  </a:lnTo>
                  <a:lnTo>
                    <a:pt x="443" y="1050"/>
                  </a:lnTo>
                  <a:lnTo>
                    <a:pt x="396" y="1032"/>
                  </a:lnTo>
                  <a:lnTo>
                    <a:pt x="388" y="1021"/>
                  </a:lnTo>
                  <a:lnTo>
                    <a:pt x="379" y="1033"/>
                  </a:lnTo>
                  <a:lnTo>
                    <a:pt x="387" y="1106"/>
                  </a:lnTo>
                  <a:lnTo>
                    <a:pt x="409" y="1119"/>
                  </a:lnTo>
                  <a:lnTo>
                    <a:pt x="405" y="1126"/>
                  </a:lnTo>
                  <a:lnTo>
                    <a:pt x="410" y="1129"/>
                  </a:lnTo>
                  <a:lnTo>
                    <a:pt x="427" y="1126"/>
                  </a:lnTo>
                  <a:lnTo>
                    <a:pt x="418" y="1114"/>
                  </a:lnTo>
                  <a:lnTo>
                    <a:pt x="444" y="1107"/>
                  </a:lnTo>
                  <a:lnTo>
                    <a:pt x="449" y="1117"/>
                  </a:lnTo>
                  <a:lnTo>
                    <a:pt x="452" y="1140"/>
                  </a:lnTo>
                  <a:lnTo>
                    <a:pt x="444" y="1153"/>
                  </a:lnTo>
                  <a:lnTo>
                    <a:pt x="422" y="1153"/>
                  </a:lnTo>
                  <a:lnTo>
                    <a:pt x="420" y="1143"/>
                  </a:lnTo>
                  <a:lnTo>
                    <a:pt x="407" y="1134"/>
                  </a:lnTo>
                  <a:lnTo>
                    <a:pt x="387" y="1148"/>
                  </a:lnTo>
                  <a:lnTo>
                    <a:pt x="387" y="1153"/>
                  </a:lnTo>
                  <a:lnTo>
                    <a:pt x="420" y="1166"/>
                  </a:lnTo>
                  <a:lnTo>
                    <a:pt x="392" y="1182"/>
                  </a:lnTo>
                  <a:lnTo>
                    <a:pt x="388" y="1188"/>
                  </a:lnTo>
                  <a:lnTo>
                    <a:pt x="378" y="1204"/>
                  </a:lnTo>
                  <a:lnTo>
                    <a:pt x="378" y="1251"/>
                  </a:lnTo>
                  <a:lnTo>
                    <a:pt x="358" y="1276"/>
                  </a:lnTo>
                  <a:lnTo>
                    <a:pt x="361" y="1297"/>
                  </a:lnTo>
                  <a:lnTo>
                    <a:pt x="333" y="1295"/>
                  </a:lnTo>
                  <a:lnTo>
                    <a:pt x="319" y="1307"/>
                  </a:lnTo>
                  <a:lnTo>
                    <a:pt x="302" y="1310"/>
                  </a:lnTo>
                  <a:lnTo>
                    <a:pt x="269" y="1358"/>
                  </a:lnTo>
                  <a:lnTo>
                    <a:pt x="268" y="1371"/>
                  </a:lnTo>
                  <a:lnTo>
                    <a:pt x="280" y="1398"/>
                  </a:lnTo>
                  <a:lnTo>
                    <a:pt x="307" y="1425"/>
                  </a:lnTo>
                  <a:lnTo>
                    <a:pt x="347" y="1432"/>
                  </a:lnTo>
                  <a:lnTo>
                    <a:pt x="354" y="1437"/>
                  </a:lnTo>
                  <a:lnTo>
                    <a:pt x="356" y="1461"/>
                  </a:lnTo>
                  <a:lnTo>
                    <a:pt x="347" y="1474"/>
                  </a:lnTo>
                  <a:lnTo>
                    <a:pt x="351" y="1491"/>
                  </a:lnTo>
                  <a:lnTo>
                    <a:pt x="345" y="1495"/>
                  </a:lnTo>
                  <a:lnTo>
                    <a:pt x="344" y="1504"/>
                  </a:lnTo>
                  <a:lnTo>
                    <a:pt x="330" y="1508"/>
                  </a:lnTo>
                  <a:lnTo>
                    <a:pt x="269" y="1564"/>
                  </a:lnTo>
                  <a:lnTo>
                    <a:pt x="263" y="1580"/>
                  </a:lnTo>
                  <a:lnTo>
                    <a:pt x="259" y="1589"/>
                  </a:lnTo>
                  <a:lnTo>
                    <a:pt x="268" y="1584"/>
                  </a:lnTo>
                  <a:lnTo>
                    <a:pt x="256" y="1629"/>
                  </a:lnTo>
                  <a:lnTo>
                    <a:pt x="232" y="1640"/>
                  </a:lnTo>
                  <a:lnTo>
                    <a:pt x="217" y="1617"/>
                  </a:lnTo>
                  <a:lnTo>
                    <a:pt x="219" y="1634"/>
                  </a:lnTo>
                  <a:lnTo>
                    <a:pt x="228" y="1646"/>
                  </a:lnTo>
                  <a:lnTo>
                    <a:pt x="200" y="1666"/>
                  </a:lnTo>
                  <a:lnTo>
                    <a:pt x="183" y="1710"/>
                  </a:lnTo>
                  <a:lnTo>
                    <a:pt x="194" y="1708"/>
                  </a:lnTo>
                  <a:lnTo>
                    <a:pt x="202" y="1742"/>
                  </a:lnTo>
                  <a:lnTo>
                    <a:pt x="185" y="1748"/>
                  </a:lnTo>
                  <a:lnTo>
                    <a:pt x="202" y="1756"/>
                  </a:lnTo>
                  <a:lnTo>
                    <a:pt x="231" y="1801"/>
                  </a:lnTo>
                  <a:close/>
                  <a:moveTo>
                    <a:pt x="413" y="1994"/>
                  </a:moveTo>
                  <a:lnTo>
                    <a:pt x="447" y="1991"/>
                  </a:lnTo>
                  <a:lnTo>
                    <a:pt x="413" y="2002"/>
                  </a:lnTo>
                  <a:lnTo>
                    <a:pt x="405" y="2001"/>
                  </a:lnTo>
                  <a:lnTo>
                    <a:pt x="413" y="1994"/>
                  </a:lnTo>
                  <a:close/>
                  <a:moveTo>
                    <a:pt x="222" y="2001"/>
                  </a:moveTo>
                  <a:lnTo>
                    <a:pt x="219" y="1827"/>
                  </a:lnTo>
                  <a:lnTo>
                    <a:pt x="240" y="1864"/>
                  </a:lnTo>
                  <a:lnTo>
                    <a:pt x="232" y="1861"/>
                  </a:lnTo>
                  <a:lnTo>
                    <a:pt x="226" y="1867"/>
                  </a:lnTo>
                  <a:lnTo>
                    <a:pt x="253" y="1909"/>
                  </a:lnTo>
                  <a:lnTo>
                    <a:pt x="336" y="1976"/>
                  </a:lnTo>
                  <a:lnTo>
                    <a:pt x="379" y="1989"/>
                  </a:lnTo>
                  <a:lnTo>
                    <a:pt x="376" y="2002"/>
                  </a:lnTo>
                  <a:lnTo>
                    <a:pt x="364" y="2008"/>
                  </a:lnTo>
                  <a:lnTo>
                    <a:pt x="347" y="2005"/>
                  </a:lnTo>
                  <a:lnTo>
                    <a:pt x="325" y="2014"/>
                  </a:lnTo>
                  <a:lnTo>
                    <a:pt x="246" y="1994"/>
                  </a:lnTo>
                  <a:lnTo>
                    <a:pt x="222" y="2001"/>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471" name="Freeform 205">
              <a:extLst>
                <a:ext uri="{FF2B5EF4-FFF2-40B4-BE49-F238E27FC236}">
                  <a16:creationId xmlns:a16="http://schemas.microsoft.com/office/drawing/2014/main" id="{1942719A-25C1-924C-A783-4B8D893B00B9}"/>
                </a:ext>
              </a:extLst>
            </p:cNvPr>
            <p:cNvSpPr>
              <a:spLocks noChangeAspect="1" noEditPoints="1"/>
            </p:cNvSpPr>
            <p:nvPr/>
          </p:nvSpPr>
          <p:spPr bwMode="gray">
            <a:xfrm>
              <a:off x="2934985" y="4745365"/>
              <a:ext cx="190960" cy="1337339"/>
            </a:xfrm>
            <a:custGeom>
              <a:avLst/>
              <a:gdLst>
                <a:gd name="T0" fmla="*/ 319 w 393"/>
                <a:gd name="T1" fmla="*/ 150 h 2273"/>
                <a:gd name="T2" fmla="*/ 322 w 393"/>
                <a:gd name="T3" fmla="*/ 379 h 2273"/>
                <a:gd name="T4" fmla="*/ 230 w 393"/>
                <a:gd name="T5" fmla="*/ 716 h 2273"/>
                <a:gd name="T6" fmla="*/ 230 w 393"/>
                <a:gd name="T7" fmla="*/ 912 h 2273"/>
                <a:gd name="T8" fmla="*/ 176 w 393"/>
                <a:gd name="T9" fmla="*/ 1292 h 2273"/>
                <a:gd name="T10" fmla="*/ 195 w 393"/>
                <a:gd name="T11" fmla="*/ 1478 h 2273"/>
                <a:gd name="T12" fmla="*/ 148 w 393"/>
                <a:gd name="T13" fmla="*/ 1722 h 2273"/>
                <a:gd name="T14" fmla="*/ 266 w 393"/>
                <a:gd name="T15" fmla="*/ 1988 h 2273"/>
                <a:gd name="T16" fmla="*/ 154 w 393"/>
                <a:gd name="T17" fmla="*/ 2103 h 2273"/>
                <a:gd name="T18" fmla="*/ 141 w 393"/>
                <a:gd name="T19" fmla="*/ 2024 h 2273"/>
                <a:gd name="T20" fmla="*/ 119 w 393"/>
                <a:gd name="T21" fmla="*/ 1975 h 2273"/>
                <a:gd name="T22" fmla="*/ 85 w 393"/>
                <a:gd name="T23" fmla="*/ 1900 h 2273"/>
                <a:gd name="T24" fmla="*/ 82 w 393"/>
                <a:gd name="T25" fmla="*/ 1811 h 2273"/>
                <a:gd name="T26" fmla="*/ 62 w 393"/>
                <a:gd name="T27" fmla="*/ 1733 h 2273"/>
                <a:gd name="T28" fmla="*/ 85 w 393"/>
                <a:gd name="T29" fmla="*/ 1684 h 2273"/>
                <a:gd name="T30" fmla="*/ 62 w 393"/>
                <a:gd name="T31" fmla="*/ 1617 h 2273"/>
                <a:gd name="T32" fmla="*/ 4 w 393"/>
                <a:gd name="T33" fmla="*/ 1601 h 2273"/>
                <a:gd name="T34" fmla="*/ 80 w 393"/>
                <a:gd name="T35" fmla="*/ 1581 h 2273"/>
                <a:gd name="T36" fmla="*/ 96 w 393"/>
                <a:gd name="T37" fmla="*/ 1530 h 2273"/>
                <a:gd name="T38" fmla="*/ 133 w 393"/>
                <a:gd name="T39" fmla="*/ 1484 h 2273"/>
                <a:gd name="T40" fmla="*/ 131 w 393"/>
                <a:gd name="T41" fmla="*/ 1334 h 2273"/>
                <a:gd name="T42" fmla="*/ 119 w 393"/>
                <a:gd name="T43" fmla="*/ 1279 h 2273"/>
                <a:gd name="T44" fmla="*/ 90 w 393"/>
                <a:gd name="T45" fmla="*/ 1102 h 2273"/>
                <a:gd name="T46" fmla="*/ 153 w 393"/>
                <a:gd name="T47" fmla="*/ 904 h 2273"/>
                <a:gd name="T48" fmla="*/ 192 w 393"/>
                <a:gd name="T49" fmla="*/ 619 h 2273"/>
                <a:gd name="T50" fmla="*/ 230 w 393"/>
                <a:gd name="T51" fmla="*/ 381 h 2273"/>
                <a:gd name="T52" fmla="*/ 261 w 393"/>
                <a:gd name="T53" fmla="*/ 22 h 2273"/>
                <a:gd name="T54" fmla="*/ 65 w 393"/>
                <a:gd name="T55" fmla="*/ 1506 h 2273"/>
                <a:gd name="T56" fmla="*/ 58 w 393"/>
                <a:gd name="T57" fmla="*/ 1474 h 2273"/>
                <a:gd name="T58" fmla="*/ 117 w 393"/>
                <a:gd name="T59" fmla="*/ 1459 h 2273"/>
                <a:gd name="T60" fmla="*/ 83 w 393"/>
                <a:gd name="T61" fmla="*/ 1383 h 2273"/>
                <a:gd name="T62" fmla="*/ 227 w 393"/>
                <a:gd name="T63" fmla="*/ 2136 h 2273"/>
                <a:gd name="T64" fmla="*/ 179 w 393"/>
                <a:gd name="T65" fmla="*/ 2144 h 2273"/>
                <a:gd name="T66" fmla="*/ 159 w 393"/>
                <a:gd name="T67" fmla="*/ 2149 h 2273"/>
                <a:gd name="T68" fmla="*/ 154 w 393"/>
                <a:gd name="T69" fmla="*/ 2126 h 2273"/>
                <a:gd name="T70" fmla="*/ 97 w 393"/>
                <a:gd name="T71" fmla="*/ 2117 h 2273"/>
                <a:gd name="T72" fmla="*/ 112 w 393"/>
                <a:gd name="T73" fmla="*/ 2089 h 2273"/>
                <a:gd name="T74" fmla="*/ 77 w 393"/>
                <a:gd name="T75" fmla="*/ 2029 h 2273"/>
                <a:gd name="T76" fmla="*/ 122 w 393"/>
                <a:gd name="T77" fmla="*/ 2033 h 2273"/>
                <a:gd name="T78" fmla="*/ 133 w 393"/>
                <a:gd name="T79" fmla="*/ 2073 h 2273"/>
                <a:gd name="T80" fmla="*/ 77 w 393"/>
                <a:gd name="T81" fmla="*/ 1942 h 2273"/>
                <a:gd name="T82" fmla="*/ 28 w 393"/>
                <a:gd name="T83" fmla="*/ 1982 h 2273"/>
                <a:gd name="T84" fmla="*/ 49 w 393"/>
                <a:gd name="T85" fmla="*/ 1925 h 2273"/>
                <a:gd name="T86" fmla="*/ 60 w 393"/>
                <a:gd name="T87" fmla="*/ 1883 h 2273"/>
                <a:gd name="T88" fmla="*/ 9 w 393"/>
                <a:gd name="T89" fmla="*/ 1860 h 2273"/>
                <a:gd name="T90" fmla="*/ 48 w 393"/>
                <a:gd name="T91" fmla="*/ 1762 h 2273"/>
                <a:gd name="T92" fmla="*/ 17 w 393"/>
                <a:gd name="T93" fmla="*/ 1775 h 2273"/>
                <a:gd name="T94" fmla="*/ 40 w 393"/>
                <a:gd name="T95" fmla="*/ 1728 h 2273"/>
                <a:gd name="T96" fmla="*/ 19 w 393"/>
                <a:gd name="T97" fmla="*/ 1704 h 2273"/>
                <a:gd name="T98" fmla="*/ 58 w 393"/>
                <a:gd name="T99" fmla="*/ 1682 h 2273"/>
                <a:gd name="T100" fmla="*/ 342 w 393"/>
                <a:gd name="T101" fmla="*/ 2241 h 2273"/>
                <a:gd name="T102" fmla="*/ 275 w 393"/>
                <a:gd name="T103" fmla="*/ 2244 h 2273"/>
                <a:gd name="T104" fmla="*/ 227 w 393"/>
                <a:gd name="T105" fmla="*/ 2225 h 2273"/>
                <a:gd name="T106" fmla="*/ 357 w 393"/>
                <a:gd name="T107" fmla="*/ 2208 h 2273"/>
                <a:gd name="T108" fmla="*/ 302 w 393"/>
                <a:gd name="T109" fmla="*/ 2216 h 2273"/>
                <a:gd name="T110" fmla="*/ 247 w 393"/>
                <a:gd name="T111" fmla="*/ 2173 h 2273"/>
                <a:gd name="T112" fmla="*/ 249 w 393"/>
                <a:gd name="T113" fmla="*/ 2119 h 2273"/>
                <a:gd name="T114" fmla="*/ 246 w 393"/>
                <a:gd name="T115" fmla="*/ 2046 h 2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3" h="2273">
                  <a:moveTo>
                    <a:pt x="275" y="0"/>
                  </a:moveTo>
                  <a:lnTo>
                    <a:pt x="294" y="22"/>
                  </a:lnTo>
                  <a:lnTo>
                    <a:pt x="300" y="64"/>
                  </a:lnTo>
                  <a:lnTo>
                    <a:pt x="322" y="85"/>
                  </a:lnTo>
                  <a:lnTo>
                    <a:pt x="320" y="108"/>
                  </a:lnTo>
                  <a:lnTo>
                    <a:pt x="312" y="115"/>
                  </a:lnTo>
                  <a:lnTo>
                    <a:pt x="311" y="130"/>
                  </a:lnTo>
                  <a:lnTo>
                    <a:pt x="319" y="136"/>
                  </a:lnTo>
                  <a:lnTo>
                    <a:pt x="319" y="150"/>
                  </a:lnTo>
                  <a:lnTo>
                    <a:pt x="332" y="164"/>
                  </a:lnTo>
                  <a:lnTo>
                    <a:pt x="349" y="257"/>
                  </a:lnTo>
                  <a:lnTo>
                    <a:pt x="362" y="262"/>
                  </a:lnTo>
                  <a:lnTo>
                    <a:pt x="385" y="258"/>
                  </a:lnTo>
                  <a:lnTo>
                    <a:pt x="390" y="277"/>
                  </a:lnTo>
                  <a:lnTo>
                    <a:pt x="382" y="316"/>
                  </a:lnTo>
                  <a:lnTo>
                    <a:pt x="328" y="342"/>
                  </a:lnTo>
                  <a:lnTo>
                    <a:pt x="328" y="370"/>
                  </a:lnTo>
                  <a:lnTo>
                    <a:pt x="322" y="379"/>
                  </a:lnTo>
                  <a:lnTo>
                    <a:pt x="322" y="393"/>
                  </a:lnTo>
                  <a:lnTo>
                    <a:pt x="331" y="461"/>
                  </a:lnTo>
                  <a:lnTo>
                    <a:pt x="305" y="480"/>
                  </a:lnTo>
                  <a:lnTo>
                    <a:pt x="298" y="504"/>
                  </a:lnTo>
                  <a:lnTo>
                    <a:pt x="277" y="528"/>
                  </a:lnTo>
                  <a:lnTo>
                    <a:pt x="260" y="591"/>
                  </a:lnTo>
                  <a:lnTo>
                    <a:pt x="256" y="639"/>
                  </a:lnTo>
                  <a:lnTo>
                    <a:pt x="232" y="692"/>
                  </a:lnTo>
                  <a:lnTo>
                    <a:pt x="230" y="716"/>
                  </a:lnTo>
                  <a:lnTo>
                    <a:pt x="238" y="724"/>
                  </a:lnTo>
                  <a:lnTo>
                    <a:pt x="238" y="749"/>
                  </a:lnTo>
                  <a:lnTo>
                    <a:pt x="249" y="777"/>
                  </a:lnTo>
                  <a:lnTo>
                    <a:pt x="249" y="795"/>
                  </a:lnTo>
                  <a:lnTo>
                    <a:pt x="258" y="806"/>
                  </a:lnTo>
                  <a:lnTo>
                    <a:pt x="261" y="849"/>
                  </a:lnTo>
                  <a:lnTo>
                    <a:pt x="246" y="876"/>
                  </a:lnTo>
                  <a:lnTo>
                    <a:pt x="241" y="902"/>
                  </a:lnTo>
                  <a:lnTo>
                    <a:pt x="230" y="912"/>
                  </a:lnTo>
                  <a:lnTo>
                    <a:pt x="234" y="958"/>
                  </a:lnTo>
                  <a:lnTo>
                    <a:pt x="207" y="983"/>
                  </a:lnTo>
                  <a:lnTo>
                    <a:pt x="204" y="995"/>
                  </a:lnTo>
                  <a:lnTo>
                    <a:pt x="201" y="1060"/>
                  </a:lnTo>
                  <a:lnTo>
                    <a:pt x="207" y="1103"/>
                  </a:lnTo>
                  <a:lnTo>
                    <a:pt x="192" y="1127"/>
                  </a:lnTo>
                  <a:lnTo>
                    <a:pt x="175" y="1191"/>
                  </a:lnTo>
                  <a:lnTo>
                    <a:pt x="165" y="1267"/>
                  </a:lnTo>
                  <a:lnTo>
                    <a:pt x="176" y="1292"/>
                  </a:lnTo>
                  <a:lnTo>
                    <a:pt x="176" y="1301"/>
                  </a:lnTo>
                  <a:lnTo>
                    <a:pt x="159" y="1340"/>
                  </a:lnTo>
                  <a:lnTo>
                    <a:pt x="159" y="1371"/>
                  </a:lnTo>
                  <a:lnTo>
                    <a:pt x="165" y="1379"/>
                  </a:lnTo>
                  <a:lnTo>
                    <a:pt x="167" y="1408"/>
                  </a:lnTo>
                  <a:lnTo>
                    <a:pt x="173" y="1430"/>
                  </a:lnTo>
                  <a:lnTo>
                    <a:pt x="170" y="1459"/>
                  </a:lnTo>
                  <a:lnTo>
                    <a:pt x="188" y="1462"/>
                  </a:lnTo>
                  <a:lnTo>
                    <a:pt x="195" y="1478"/>
                  </a:lnTo>
                  <a:lnTo>
                    <a:pt x="193" y="1484"/>
                  </a:lnTo>
                  <a:lnTo>
                    <a:pt x="165" y="1484"/>
                  </a:lnTo>
                  <a:lnTo>
                    <a:pt x="168" y="1495"/>
                  </a:lnTo>
                  <a:lnTo>
                    <a:pt x="188" y="1508"/>
                  </a:lnTo>
                  <a:lnTo>
                    <a:pt x="179" y="1533"/>
                  </a:lnTo>
                  <a:lnTo>
                    <a:pt x="178" y="1608"/>
                  </a:lnTo>
                  <a:lnTo>
                    <a:pt x="167" y="1642"/>
                  </a:lnTo>
                  <a:lnTo>
                    <a:pt x="144" y="1677"/>
                  </a:lnTo>
                  <a:lnTo>
                    <a:pt x="148" y="1722"/>
                  </a:lnTo>
                  <a:lnTo>
                    <a:pt x="137" y="1756"/>
                  </a:lnTo>
                  <a:lnTo>
                    <a:pt x="107" y="1807"/>
                  </a:lnTo>
                  <a:lnTo>
                    <a:pt x="100" y="1853"/>
                  </a:lnTo>
                  <a:lnTo>
                    <a:pt x="105" y="1899"/>
                  </a:lnTo>
                  <a:lnTo>
                    <a:pt x="120" y="1887"/>
                  </a:lnTo>
                  <a:lnTo>
                    <a:pt x="148" y="1889"/>
                  </a:lnTo>
                  <a:lnTo>
                    <a:pt x="150" y="1965"/>
                  </a:lnTo>
                  <a:lnTo>
                    <a:pt x="159" y="1984"/>
                  </a:lnTo>
                  <a:lnTo>
                    <a:pt x="266" y="1988"/>
                  </a:lnTo>
                  <a:lnTo>
                    <a:pt x="331" y="2007"/>
                  </a:lnTo>
                  <a:lnTo>
                    <a:pt x="326" y="2013"/>
                  </a:lnTo>
                  <a:lnTo>
                    <a:pt x="292" y="2010"/>
                  </a:lnTo>
                  <a:lnTo>
                    <a:pt x="280" y="2007"/>
                  </a:lnTo>
                  <a:lnTo>
                    <a:pt x="273" y="2018"/>
                  </a:lnTo>
                  <a:lnTo>
                    <a:pt x="217" y="2041"/>
                  </a:lnTo>
                  <a:lnTo>
                    <a:pt x="207" y="2121"/>
                  </a:lnTo>
                  <a:lnTo>
                    <a:pt x="179" y="2119"/>
                  </a:lnTo>
                  <a:lnTo>
                    <a:pt x="154" y="2103"/>
                  </a:lnTo>
                  <a:lnTo>
                    <a:pt x="151" y="2087"/>
                  </a:lnTo>
                  <a:lnTo>
                    <a:pt x="158" y="2081"/>
                  </a:lnTo>
                  <a:lnTo>
                    <a:pt x="159" y="2094"/>
                  </a:lnTo>
                  <a:lnTo>
                    <a:pt x="195" y="2072"/>
                  </a:lnTo>
                  <a:lnTo>
                    <a:pt x="205" y="2050"/>
                  </a:lnTo>
                  <a:lnTo>
                    <a:pt x="187" y="2029"/>
                  </a:lnTo>
                  <a:lnTo>
                    <a:pt x="159" y="2026"/>
                  </a:lnTo>
                  <a:lnTo>
                    <a:pt x="142" y="2035"/>
                  </a:lnTo>
                  <a:lnTo>
                    <a:pt x="141" y="2024"/>
                  </a:lnTo>
                  <a:lnTo>
                    <a:pt x="129" y="2027"/>
                  </a:lnTo>
                  <a:lnTo>
                    <a:pt x="144" y="2005"/>
                  </a:lnTo>
                  <a:lnTo>
                    <a:pt x="134" y="1984"/>
                  </a:lnTo>
                  <a:lnTo>
                    <a:pt x="141" y="1982"/>
                  </a:lnTo>
                  <a:lnTo>
                    <a:pt x="141" y="1970"/>
                  </a:lnTo>
                  <a:lnTo>
                    <a:pt x="134" y="1963"/>
                  </a:lnTo>
                  <a:lnTo>
                    <a:pt x="134" y="1970"/>
                  </a:lnTo>
                  <a:lnTo>
                    <a:pt x="114" y="1962"/>
                  </a:lnTo>
                  <a:lnTo>
                    <a:pt x="119" y="1975"/>
                  </a:lnTo>
                  <a:lnTo>
                    <a:pt x="112" y="1985"/>
                  </a:lnTo>
                  <a:lnTo>
                    <a:pt x="100" y="1956"/>
                  </a:lnTo>
                  <a:lnTo>
                    <a:pt x="105" y="1990"/>
                  </a:lnTo>
                  <a:lnTo>
                    <a:pt x="97" y="1987"/>
                  </a:lnTo>
                  <a:lnTo>
                    <a:pt x="96" y="1956"/>
                  </a:lnTo>
                  <a:lnTo>
                    <a:pt x="88" y="1942"/>
                  </a:lnTo>
                  <a:lnTo>
                    <a:pt x="68" y="1919"/>
                  </a:lnTo>
                  <a:lnTo>
                    <a:pt x="68" y="1902"/>
                  </a:lnTo>
                  <a:lnTo>
                    <a:pt x="85" y="1900"/>
                  </a:lnTo>
                  <a:lnTo>
                    <a:pt x="85" y="1891"/>
                  </a:lnTo>
                  <a:lnTo>
                    <a:pt x="70" y="1889"/>
                  </a:lnTo>
                  <a:lnTo>
                    <a:pt x="66" y="1880"/>
                  </a:lnTo>
                  <a:lnTo>
                    <a:pt x="77" y="1875"/>
                  </a:lnTo>
                  <a:lnTo>
                    <a:pt x="56" y="1865"/>
                  </a:lnTo>
                  <a:lnTo>
                    <a:pt x="46" y="1852"/>
                  </a:lnTo>
                  <a:lnTo>
                    <a:pt x="58" y="1838"/>
                  </a:lnTo>
                  <a:lnTo>
                    <a:pt x="62" y="1816"/>
                  </a:lnTo>
                  <a:lnTo>
                    <a:pt x="82" y="1811"/>
                  </a:lnTo>
                  <a:lnTo>
                    <a:pt x="74" y="1799"/>
                  </a:lnTo>
                  <a:lnTo>
                    <a:pt x="82" y="1775"/>
                  </a:lnTo>
                  <a:lnTo>
                    <a:pt x="71" y="1784"/>
                  </a:lnTo>
                  <a:lnTo>
                    <a:pt x="65" y="1799"/>
                  </a:lnTo>
                  <a:lnTo>
                    <a:pt x="62" y="1798"/>
                  </a:lnTo>
                  <a:lnTo>
                    <a:pt x="58" y="1753"/>
                  </a:lnTo>
                  <a:lnTo>
                    <a:pt x="65" y="1750"/>
                  </a:lnTo>
                  <a:lnTo>
                    <a:pt x="60" y="1744"/>
                  </a:lnTo>
                  <a:lnTo>
                    <a:pt x="62" y="1733"/>
                  </a:lnTo>
                  <a:lnTo>
                    <a:pt x="83" y="1739"/>
                  </a:lnTo>
                  <a:lnTo>
                    <a:pt x="79" y="1722"/>
                  </a:lnTo>
                  <a:lnTo>
                    <a:pt x="54" y="1728"/>
                  </a:lnTo>
                  <a:lnTo>
                    <a:pt x="49" y="1696"/>
                  </a:lnTo>
                  <a:lnTo>
                    <a:pt x="56" y="1697"/>
                  </a:lnTo>
                  <a:lnTo>
                    <a:pt x="63" y="1714"/>
                  </a:lnTo>
                  <a:lnTo>
                    <a:pt x="66" y="1699"/>
                  </a:lnTo>
                  <a:lnTo>
                    <a:pt x="91" y="1705"/>
                  </a:lnTo>
                  <a:lnTo>
                    <a:pt x="85" y="1684"/>
                  </a:lnTo>
                  <a:lnTo>
                    <a:pt x="82" y="1679"/>
                  </a:lnTo>
                  <a:lnTo>
                    <a:pt x="68" y="1684"/>
                  </a:lnTo>
                  <a:lnTo>
                    <a:pt x="65" y="1676"/>
                  </a:lnTo>
                  <a:lnTo>
                    <a:pt x="71" y="1668"/>
                  </a:lnTo>
                  <a:lnTo>
                    <a:pt x="49" y="1659"/>
                  </a:lnTo>
                  <a:lnTo>
                    <a:pt x="71" y="1643"/>
                  </a:lnTo>
                  <a:lnTo>
                    <a:pt x="65" y="1638"/>
                  </a:lnTo>
                  <a:lnTo>
                    <a:pt x="73" y="1629"/>
                  </a:lnTo>
                  <a:lnTo>
                    <a:pt x="62" y="1617"/>
                  </a:lnTo>
                  <a:lnTo>
                    <a:pt x="49" y="1612"/>
                  </a:lnTo>
                  <a:lnTo>
                    <a:pt x="41" y="1620"/>
                  </a:lnTo>
                  <a:lnTo>
                    <a:pt x="19" y="1603"/>
                  </a:lnTo>
                  <a:lnTo>
                    <a:pt x="6" y="1611"/>
                  </a:lnTo>
                  <a:lnTo>
                    <a:pt x="12" y="1620"/>
                  </a:lnTo>
                  <a:lnTo>
                    <a:pt x="9" y="1628"/>
                  </a:lnTo>
                  <a:lnTo>
                    <a:pt x="0" y="1626"/>
                  </a:lnTo>
                  <a:lnTo>
                    <a:pt x="0" y="1620"/>
                  </a:lnTo>
                  <a:lnTo>
                    <a:pt x="4" y="1601"/>
                  </a:lnTo>
                  <a:lnTo>
                    <a:pt x="37" y="1577"/>
                  </a:lnTo>
                  <a:lnTo>
                    <a:pt x="37" y="1570"/>
                  </a:lnTo>
                  <a:lnTo>
                    <a:pt x="28" y="1569"/>
                  </a:lnTo>
                  <a:lnTo>
                    <a:pt x="24" y="1558"/>
                  </a:lnTo>
                  <a:lnTo>
                    <a:pt x="62" y="1558"/>
                  </a:lnTo>
                  <a:lnTo>
                    <a:pt x="70" y="1574"/>
                  </a:lnTo>
                  <a:lnTo>
                    <a:pt x="62" y="1586"/>
                  </a:lnTo>
                  <a:lnTo>
                    <a:pt x="71" y="1594"/>
                  </a:lnTo>
                  <a:lnTo>
                    <a:pt x="80" y="1581"/>
                  </a:lnTo>
                  <a:lnTo>
                    <a:pt x="80" y="1600"/>
                  </a:lnTo>
                  <a:lnTo>
                    <a:pt x="99" y="1581"/>
                  </a:lnTo>
                  <a:lnTo>
                    <a:pt x="90" y="1577"/>
                  </a:lnTo>
                  <a:lnTo>
                    <a:pt x="91" y="1557"/>
                  </a:lnTo>
                  <a:lnTo>
                    <a:pt x="107" y="1550"/>
                  </a:lnTo>
                  <a:lnTo>
                    <a:pt x="100" y="1544"/>
                  </a:lnTo>
                  <a:lnTo>
                    <a:pt x="111" y="1533"/>
                  </a:lnTo>
                  <a:lnTo>
                    <a:pt x="94" y="1538"/>
                  </a:lnTo>
                  <a:lnTo>
                    <a:pt x="96" y="1530"/>
                  </a:lnTo>
                  <a:lnTo>
                    <a:pt x="105" y="1521"/>
                  </a:lnTo>
                  <a:lnTo>
                    <a:pt x="112" y="1527"/>
                  </a:lnTo>
                  <a:lnTo>
                    <a:pt x="120" y="1532"/>
                  </a:lnTo>
                  <a:lnTo>
                    <a:pt x="125" y="1530"/>
                  </a:lnTo>
                  <a:lnTo>
                    <a:pt x="125" y="1523"/>
                  </a:lnTo>
                  <a:lnTo>
                    <a:pt x="100" y="1516"/>
                  </a:lnTo>
                  <a:lnTo>
                    <a:pt x="102" y="1501"/>
                  </a:lnTo>
                  <a:lnTo>
                    <a:pt x="122" y="1498"/>
                  </a:lnTo>
                  <a:lnTo>
                    <a:pt x="133" y="1484"/>
                  </a:lnTo>
                  <a:lnTo>
                    <a:pt x="129" y="1462"/>
                  </a:lnTo>
                  <a:lnTo>
                    <a:pt x="107" y="1444"/>
                  </a:lnTo>
                  <a:lnTo>
                    <a:pt x="122" y="1420"/>
                  </a:lnTo>
                  <a:lnTo>
                    <a:pt x="117" y="1400"/>
                  </a:lnTo>
                  <a:lnTo>
                    <a:pt x="129" y="1371"/>
                  </a:lnTo>
                  <a:lnTo>
                    <a:pt x="127" y="1354"/>
                  </a:lnTo>
                  <a:lnTo>
                    <a:pt x="134" y="1343"/>
                  </a:lnTo>
                  <a:lnTo>
                    <a:pt x="139" y="1346"/>
                  </a:lnTo>
                  <a:lnTo>
                    <a:pt x="131" y="1334"/>
                  </a:lnTo>
                  <a:lnTo>
                    <a:pt x="134" y="1325"/>
                  </a:lnTo>
                  <a:lnTo>
                    <a:pt x="141" y="1326"/>
                  </a:lnTo>
                  <a:lnTo>
                    <a:pt x="144" y="1338"/>
                  </a:lnTo>
                  <a:lnTo>
                    <a:pt x="142" y="1310"/>
                  </a:lnTo>
                  <a:lnTo>
                    <a:pt x="129" y="1308"/>
                  </a:lnTo>
                  <a:lnTo>
                    <a:pt x="131" y="1300"/>
                  </a:lnTo>
                  <a:lnTo>
                    <a:pt x="150" y="1286"/>
                  </a:lnTo>
                  <a:lnTo>
                    <a:pt x="137" y="1289"/>
                  </a:lnTo>
                  <a:lnTo>
                    <a:pt x="119" y="1279"/>
                  </a:lnTo>
                  <a:lnTo>
                    <a:pt x="108" y="1293"/>
                  </a:lnTo>
                  <a:lnTo>
                    <a:pt x="99" y="1295"/>
                  </a:lnTo>
                  <a:lnTo>
                    <a:pt x="87" y="1289"/>
                  </a:lnTo>
                  <a:lnTo>
                    <a:pt x="79" y="1272"/>
                  </a:lnTo>
                  <a:lnTo>
                    <a:pt x="85" y="1181"/>
                  </a:lnTo>
                  <a:lnTo>
                    <a:pt x="94" y="1176"/>
                  </a:lnTo>
                  <a:lnTo>
                    <a:pt x="102" y="1157"/>
                  </a:lnTo>
                  <a:lnTo>
                    <a:pt x="100" y="1132"/>
                  </a:lnTo>
                  <a:lnTo>
                    <a:pt x="90" y="1102"/>
                  </a:lnTo>
                  <a:lnTo>
                    <a:pt x="94" y="1078"/>
                  </a:lnTo>
                  <a:lnTo>
                    <a:pt x="87" y="1058"/>
                  </a:lnTo>
                  <a:lnTo>
                    <a:pt x="88" y="1029"/>
                  </a:lnTo>
                  <a:lnTo>
                    <a:pt x="96" y="1020"/>
                  </a:lnTo>
                  <a:lnTo>
                    <a:pt x="108" y="1020"/>
                  </a:lnTo>
                  <a:lnTo>
                    <a:pt x="107" y="992"/>
                  </a:lnTo>
                  <a:lnTo>
                    <a:pt x="119" y="990"/>
                  </a:lnTo>
                  <a:lnTo>
                    <a:pt x="139" y="927"/>
                  </a:lnTo>
                  <a:lnTo>
                    <a:pt x="153" y="904"/>
                  </a:lnTo>
                  <a:lnTo>
                    <a:pt x="171" y="834"/>
                  </a:lnTo>
                  <a:lnTo>
                    <a:pt x="176" y="828"/>
                  </a:lnTo>
                  <a:lnTo>
                    <a:pt x="176" y="797"/>
                  </a:lnTo>
                  <a:lnTo>
                    <a:pt x="185" y="778"/>
                  </a:lnTo>
                  <a:lnTo>
                    <a:pt x="185" y="758"/>
                  </a:lnTo>
                  <a:lnTo>
                    <a:pt x="175" y="662"/>
                  </a:lnTo>
                  <a:lnTo>
                    <a:pt x="178" y="641"/>
                  </a:lnTo>
                  <a:lnTo>
                    <a:pt x="188" y="634"/>
                  </a:lnTo>
                  <a:lnTo>
                    <a:pt x="192" y="619"/>
                  </a:lnTo>
                  <a:lnTo>
                    <a:pt x="181" y="582"/>
                  </a:lnTo>
                  <a:lnTo>
                    <a:pt x="185" y="568"/>
                  </a:lnTo>
                  <a:lnTo>
                    <a:pt x="193" y="557"/>
                  </a:lnTo>
                  <a:lnTo>
                    <a:pt x="204" y="507"/>
                  </a:lnTo>
                  <a:lnTo>
                    <a:pt x="210" y="495"/>
                  </a:lnTo>
                  <a:lnTo>
                    <a:pt x="210" y="478"/>
                  </a:lnTo>
                  <a:lnTo>
                    <a:pt x="221" y="460"/>
                  </a:lnTo>
                  <a:lnTo>
                    <a:pt x="221" y="406"/>
                  </a:lnTo>
                  <a:lnTo>
                    <a:pt x="230" y="381"/>
                  </a:lnTo>
                  <a:lnTo>
                    <a:pt x="232" y="294"/>
                  </a:lnTo>
                  <a:lnTo>
                    <a:pt x="227" y="283"/>
                  </a:lnTo>
                  <a:lnTo>
                    <a:pt x="241" y="260"/>
                  </a:lnTo>
                  <a:lnTo>
                    <a:pt x="249" y="195"/>
                  </a:lnTo>
                  <a:lnTo>
                    <a:pt x="244" y="164"/>
                  </a:lnTo>
                  <a:lnTo>
                    <a:pt x="246" y="118"/>
                  </a:lnTo>
                  <a:lnTo>
                    <a:pt x="230" y="32"/>
                  </a:lnTo>
                  <a:lnTo>
                    <a:pt x="241" y="23"/>
                  </a:lnTo>
                  <a:lnTo>
                    <a:pt x="261" y="22"/>
                  </a:lnTo>
                  <a:lnTo>
                    <a:pt x="275" y="0"/>
                  </a:lnTo>
                  <a:close/>
                  <a:moveTo>
                    <a:pt x="79" y="1550"/>
                  </a:moveTo>
                  <a:lnTo>
                    <a:pt x="83" y="1558"/>
                  </a:lnTo>
                  <a:lnTo>
                    <a:pt x="79" y="1558"/>
                  </a:lnTo>
                  <a:lnTo>
                    <a:pt x="79" y="1550"/>
                  </a:lnTo>
                  <a:close/>
                  <a:moveTo>
                    <a:pt x="65" y="1513"/>
                  </a:moveTo>
                  <a:lnTo>
                    <a:pt x="79" y="1523"/>
                  </a:lnTo>
                  <a:lnTo>
                    <a:pt x="65" y="1513"/>
                  </a:lnTo>
                  <a:close/>
                  <a:moveTo>
                    <a:pt x="65" y="1506"/>
                  </a:moveTo>
                  <a:lnTo>
                    <a:pt x="80" y="1503"/>
                  </a:lnTo>
                  <a:lnTo>
                    <a:pt x="83" y="1516"/>
                  </a:lnTo>
                  <a:lnTo>
                    <a:pt x="65" y="1506"/>
                  </a:lnTo>
                  <a:close/>
                  <a:moveTo>
                    <a:pt x="62" y="1501"/>
                  </a:moveTo>
                  <a:lnTo>
                    <a:pt x="56" y="1496"/>
                  </a:lnTo>
                  <a:lnTo>
                    <a:pt x="65" y="1493"/>
                  </a:lnTo>
                  <a:lnTo>
                    <a:pt x="73" y="1496"/>
                  </a:lnTo>
                  <a:lnTo>
                    <a:pt x="62" y="1501"/>
                  </a:lnTo>
                  <a:close/>
                  <a:moveTo>
                    <a:pt x="58" y="1474"/>
                  </a:moveTo>
                  <a:lnTo>
                    <a:pt x="73" y="1479"/>
                  </a:lnTo>
                  <a:lnTo>
                    <a:pt x="63" y="1484"/>
                  </a:lnTo>
                  <a:lnTo>
                    <a:pt x="58" y="1474"/>
                  </a:lnTo>
                  <a:close/>
                  <a:moveTo>
                    <a:pt x="117" y="1459"/>
                  </a:moveTo>
                  <a:lnTo>
                    <a:pt x="127" y="1469"/>
                  </a:lnTo>
                  <a:lnTo>
                    <a:pt x="127" y="1487"/>
                  </a:lnTo>
                  <a:lnTo>
                    <a:pt x="105" y="1493"/>
                  </a:lnTo>
                  <a:lnTo>
                    <a:pt x="97" y="1473"/>
                  </a:lnTo>
                  <a:lnTo>
                    <a:pt x="117" y="1459"/>
                  </a:lnTo>
                  <a:close/>
                  <a:moveTo>
                    <a:pt x="77" y="1293"/>
                  </a:moveTo>
                  <a:lnTo>
                    <a:pt x="80" y="1300"/>
                  </a:lnTo>
                  <a:lnTo>
                    <a:pt x="90" y="1300"/>
                  </a:lnTo>
                  <a:lnTo>
                    <a:pt x="100" y="1332"/>
                  </a:lnTo>
                  <a:lnTo>
                    <a:pt x="83" y="1346"/>
                  </a:lnTo>
                  <a:lnTo>
                    <a:pt x="94" y="1360"/>
                  </a:lnTo>
                  <a:lnTo>
                    <a:pt x="85" y="1362"/>
                  </a:lnTo>
                  <a:lnTo>
                    <a:pt x="91" y="1383"/>
                  </a:lnTo>
                  <a:lnTo>
                    <a:pt x="83" y="1383"/>
                  </a:lnTo>
                  <a:lnTo>
                    <a:pt x="82" y="1397"/>
                  </a:lnTo>
                  <a:lnTo>
                    <a:pt x="58" y="1393"/>
                  </a:lnTo>
                  <a:lnTo>
                    <a:pt x="53" y="1383"/>
                  </a:lnTo>
                  <a:lnTo>
                    <a:pt x="63" y="1354"/>
                  </a:lnTo>
                  <a:lnTo>
                    <a:pt x="66" y="1304"/>
                  </a:lnTo>
                  <a:lnTo>
                    <a:pt x="77" y="1293"/>
                  </a:lnTo>
                  <a:close/>
                  <a:moveTo>
                    <a:pt x="230" y="2106"/>
                  </a:moveTo>
                  <a:lnTo>
                    <a:pt x="239" y="2141"/>
                  </a:lnTo>
                  <a:lnTo>
                    <a:pt x="227" y="2136"/>
                  </a:lnTo>
                  <a:lnTo>
                    <a:pt x="227" y="2143"/>
                  </a:lnTo>
                  <a:lnTo>
                    <a:pt x="241" y="2158"/>
                  </a:lnTo>
                  <a:lnTo>
                    <a:pt x="219" y="2141"/>
                  </a:lnTo>
                  <a:lnTo>
                    <a:pt x="217" y="2129"/>
                  </a:lnTo>
                  <a:lnTo>
                    <a:pt x="227" y="2124"/>
                  </a:lnTo>
                  <a:lnTo>
                    <a:pt x="226" y="2115"/>
                  </a:lnTo>
                  <a:lnTo>
                    <a:pt x="230" y="2106"/>
                  </a:lnTo>
                  <a:close/>
                  <a:moveTo>
                    <a:pt x="170" y="2126"/>
                  </a:moveTo>
                  <a:lnTo>
                    <a:pt x="179" y="2144"/>
                  </a:lnTo>
                  <a:lnTo>
                    <a:pt x="185" y="2136"/>
                  </a:lnTo>
                  <a:lnTo>
                    <a:pt x="195" y="2140"/>
                  </a:lnTo>
                  <a:lnTo>
                    <a:pt x="201" y="2151"/>
                  </a:lnTo>
                  <a:lnTo>
                    <a:pt x="205" y="2149"/>
                  </a:lnTo>
                  <a:lnTo>
                    <a:pt x="210" y="2160"/>
                  </a:lnTo>
                  <a:lnTo>
                    <a:pt x="201" y="2165"/>
                  </a:lnTo>
                  <a:lnTo>
                    <a:pt x="179" y="2154"/>
                  </a:lnTo>
                  <a:lnTo>
                    <a:pt x="178" y="2161"/>
                  </a:lnTo>
                  <a:lnTo>
                    <a:pt x="159" y="2149"/>
                  </a:lnTo>
                  <a:lnTo>
                    <a:pt x="156" y="2132"/>
                  </a:lnTo>
                  <a:lnTo>
                    <a:pt x="170" y="2126"/>
                  </a:lnTo>
                  <a:close/>
                  <a:moveTo>
                    <a:pt x="90" y="2090"/>
                  </a:moveTo>
                  <a:lnTo>
                    <a:pt x="111" y="2098"/>
                  </a:lnTo>
                  <a:lnTo>
                    <a:pt x="125" y="2095"/>
                  </a:lnTo>
                  <a:lnTo>
                    <a:pt x="133" y="2107"/>
                  </a:lnTo>
                  <a:lnTo>
                    <a:pt x="141" y="2106"/>
                  </a:lnTo>
                  <a:lnTo>
                    <a:pt x="153" y="2117"/>
                  </a:lnTo>
                  <a:lnTo>
                    <a:pt x="154" y="2126"/>
                  </a:lnTo>
                  <a:lnTo>
                    <a:pt x="148" y="2126"/>
                  </a:lnTo>
                  <a:lnTo>
                    <a:pt x="144" y="2143"/>
                  </a:lnTo>
                  <a:lnTo>
                    <a:pt x="136" y="2137"/>
                  </a:lnTo>
                  <a:lnTo>
                    <a:pt x="136" y="2146"/>
                  </a:lnTo>
                  <a:lnTo>
                    <a:pt x="122" y="2146"/>
                  </a:lnTo>
                  <a:lnTo>
                    <a:pt x="127" y="2141"/>
                  </a:lnTo>
                  <a:lnTo>
                    <a:pt x="103" y="2134"/>
                  </a:lnTo>
                  <a:lnTo>
                    <a:pt x="105" y="2121"/>
                  </a:lnTo>
                  <a:lnTo>
                    <a:pt x="97" y="2117"/>
                  </a:lnTo>
                  <a:lnTo>
                    <a:pt x="87" y="2094"/>
                  </a:lnTo>
                  <a:lnTo>
                    <a:pt x="90" y="2090"/>
                  </a:lnTo>
                  <a:close/>
                  <a:moveTo>
                    <a:pt x="43" y="1963"/>
                  </a:moveTo>
                  <a:lnTo>
                    <a:pt x="45" y="1985"/>
                  </a:lnTo>
                  <a:lnTo>
                    <a:pt x="40" y="1992"/>
                  </a:lnTo>
                  <a:lnTo>
                    <a:pt x="37" y="1982"/>
                  </a:lnTo>
                  <a:lnTo>
                    <a:pt x="43" y="1963"/>
                  </a:lnTo>
                  <a:close/>
                  <a:moveTo>
                    <a:pt x="41" y="2041"/>
                  </a:moveTo>
                  <a:lnTo>
                    <a:pt x="112" y="2089"/>
                  </a:lnTo>
                  <a:lnTo>
                    <a:pt x="96" y="2086"/>
                  </a:lnTo>
                  <a:lnTo>
                    <a:pt x="79" y="2077"/>
                  </a:lnTo>
                  <a:lnTo>
                    <a:pt x="49" y="2061"/>
                  </a:lnTo>
                  <a:lnTo>
                    <a:pt x="41" y="2041"/>
                  </a:lnTo>
                  <a:close/>
                  <a:moveTo>
                    <a:pt x="85" y="2018"/>
                  </a:moveTo>
                  <a:lnTo>
                    <a:pt x="85" y="2033"/>
                  </a:lnTo>
                  <a:lnTo>
                    <a:pt x="79" y="2036"/>
                  </a:lnTo>
                  <a:lnTo>
                    <a:pt x="80" y="2027"/>
                  </a:lnTo>
                  <a:lnTo>
                    <a:pt x="77" y="2029"/>
                  </a:lnTo>
                  <a:lnTo>
                    <a:pt x="74" y="2021"/>
                  </a:lnTo>
                  <a:lnTo>
                    <a:pt x="85" y="2018"/>
                  </a:lnTo>
                  <a:close/>
                  <a:moveTo>
                    <a:pt x="94" y="2001"/>
                  </a:moveTo>
                  <a:lnTo>
                    <a:pt x="114" y="1993"/>
                  </a:lnTo>
                  <a:lnTo>
                    <a:pt x="120" y="2009"/>
                  </a:lnTo>
                  <a:lnTo>
                    <a:pt x="127" y="1987"/>
                  </a:lnTo>
                  <a:lnTo>
                    <a:pt x="133" y="1990"/>
                  </a:lnTo>
                  <a:lnTo>
                    <a:pt x="136" y="2009"/>
                  </a:lnTo>
                  <a:lnTo>
                    <a:pt x="122" y="2033"/>
                  </a:lnTo>
                  <a:lnTo>
                    <a:pt x="142" y="2053"/>
                  </a:lnTo>
                  <a:lnTo>
                    <a:pt x="162" y="2036"/>
                  </a:lnTo>
                  <a:lnTo>
                    <a:pt x="185" y="2038"/>
                  </a:lnTo>
                  <a:lnTo>
                    <a:pt x="188" y="2052"/>
                  </a:lnTo>
                  <a:lnTo>
                    <a:pt x="141" y="2078"/>
                  </a:lnTo>
                  <a:lnTo>
                    <a:pt x="142" y="2098"/>
                  </a:lnTo>
                  <a:lnTo>
                    <a:pt x="136" y="2095"/>
                  </a:lnTo>
                  <a:lnTo>
                    <a:pt x="112" y="2073"/>
                  </a:lnTo>
                  <a:lnTo>
                    <a:pt x="133" y="2073"/>
                  </a:lnTo>
                  <a:lnTo>
                    <a:pt x="124" y="2056"/>
                  </a:lnTo>
                  <a:lnTo>
                    <a:pt x="117" y="2063"/>
                  </a:lnTo>
                  <a:lnTo>
                    <a:pt x="105" y="2063"/>
                  </a:lnTo>
                  <a:lnTo>
                    <a:pt x="107" y="2055"/>
                  </a:lnTo>
                  <a:lnTo>
                    <a:pt x="90" y="2041"/>
                  </a:lnTo>
                  <a:lnTo>
                    <a:pt x="94" y="2001"/>
                  </a:lnTo>
                  <a:close/>
                  <a:moveTo>
                    <a:pt x="85" y="1950"/>
                  </a:moveTo>
                  <a:lnTo>
                    <a:pt x="87" y="1963"/>
                  </a:lnTo>
                  <a:lnTo>
                    <a:pt x="77" y="1942"/>
                  </a:lnTo>
                  <a:lnTo>
                    <a:pt x="85" y="1950"/>
                  </a:lnTo>
                  <a:close/>
                  <a:moveTo>
                    <a:pt x="70" y="1960"/>
                  </a:moveTo>
                  <a:lnTo>
                    <a:pt x="79" y="1975"/>
                  </a:lnTo>
                  <a:lnTo>
                    <a:pt x="66" y="1968"/>
                  </a:lnTo>
                  <a:lnTo>
                    <a:pt x="65" y="1954"/>
                  </a:lnTo>
                  <a:lnTo>
                    <a:pt x="70" y="1960"/>
                  </a:lnTo>
                  <a:close/>
                  <a:moveTo>
                    <a:pt x="31" y="1993"/>
                  </a:moveTo>
                  <a:lnTo>
                    <a:pt x="28" y="1993"/>
                  </a:lnTo>
                  <a:lnTo>
                    <a:pt x="28" y="1982"/>
                  </a:lnTo>
                  <a:lnTo>
                    <a:pt x="32" y="1960"/>
                  </a:lnTo>
                  <a:lnTo>
                    <a:pt x="36" y="1975"/>
                  </a:lnTo>
                  <a:lnTo>
                    <a:pt x="31" y="1993"/>
                  </a:lnTo>
                  <a:close/>
                  <a:moveTo>
                    <a:pt x="31" y="1942"/>
                  </a:moveTo>
                  <a:lnTo>
                    <a:pt x="43" y="1923"/>
                  </a:lnTo>
                  <a:lnTo>
                    <a:pt x="46" y="1937"/>
                  </a:lnTo>
                  <a:lnTo>
                    <a:pt x="31" y="1942"/>
                  </a:lnTo>
                  <a:close/>
                  <a:moveTo>
                    <a:pt x="53" y="1908"/>
                  </a:moveTo>
                  <a:lnTo>
                    <a:pt x="49" y="1925"/>
                  </a:lnTo>
                  <a:lnTo>
                    <a:pt x="43" y="1920"/>
                  </a:lnTo>
                  <a:lnTo>
                    <a:pt x="34" y="1902"/>
                  </a:lnTo>
                  <a:lnTo>
                    <a:pt x="34" y="1885"/>
                  </a:lnTo>
                  <a:lnTo>
                    <a:pt x="49" y="1894"/>
                  </a:lnTo>
                  <a:lnTo>
                    <a:pt x="53" y="1908"/>
                  </a:lnTo>
                  <a:close/>
                  <a:moveTo>
                    <a:pt x="51" y="1887"/>
                  </a:moveTo>
                  <a:lnTo>
                    <a:pt x="46" y="1885"/>
                  </a:lnTo>
                  <a:lnTo>
                    <a:pt x="40" y="1865"/>
                  </a:lnTo>
                  <a:lnTo>
                    <a:pt x="60" y="1883"/>
                  </a:lnTo>
                  <a:lnTo>
                    <a:pt x="65" y="1897"/>
                  </a:lnTo>
                  <a:lnTo>
                    <a:pt x="51" y="1887"/>
                  </a:lnTo>
                  <a:close/>
                  <a:moveTo>
                    <a:pt x="9" y="1860"/>
                  </a:moveTo>
                  <a:lnTo>
                    <a:pt x="9" y="1852"/>
                  </a:lnTo>
                  <a:lnTo>
                    <a:pt x="32" y="1853"/>
                  </a:lnTo>
                  <a:lnTo>
                    <a:pt x="28" y="1872"/>
                  </a:lnTo>
                  <a:lnTo>
                    <a:pt x="17" y="1863"/>
                  </a:lnTo>
                  <a:lnTo>
                    <a:pt x="11" y="1866"/>
                  </a:lnTo>
                  <a:lnTo>
                    <a:pt x="9" y="1860"/>
                  </a:lnTo>
                  <a:close/>
                  <a:moveTo>
                    <a:pt x="2" y="1816"/>
                  </a:moveTo>
                  <a:lnTo>
                    <a:pt x="7" y="1812"/>
                  </a:lnTo>
                  <a:lnTo>
                    <a:pt x="15" y="1826"/>
                  </a:lnTo>
                  <a:lnTo>
                    <a:pt x="6" y="1828"/>
                  </a:lnTo>
                  <a:lnTo>
                    <a:pt x="2" y="1816"/>
                  </a:lnTo>
                  <a:close/>
                  <a:moveTo>
                    <a:pt x="26" y="1765"/>
                  </a:moveTo>
                  <a:lnTo>
                    <a:pt x="26" y="1753"/>
                  </a:lnTo>
                  <a:lnTo>
                    <a:pt x="36" y="1745"/>
                  </a:lnTo>
                  <a:lnTo>
                    <a:pt x="48" y="1762"/>
                  </a:lnTo>
                  <a:lnTo>
                    <a:pt x="51" y="1823"/>
                  </a:lnTo>
                  <a:lnTo>
                    <a:pt x="46" y="1840"/>
                  </a:lnTo>
                  <a:lnTo>
                    <a:pt x="37" y="1841"/>
                  </a:lnTo>
                  <a:lnTo>
                    <a:pt x="32" y="1833"/>
                  </a:lnTo>
                  <a:lnTo>
                    <a:pt x="34" y="1804"/>
                  </a:lnTo>
                  <a:lnTo>
                    <a:pt x="15" y="1789"/>
                  </a:lnTo>
                  <a:lnTo>
                    <a:pt x="26" y="1790"/>
                  </a:lnTo>
                  <a:lnTo>
                    <a:pt x="28" y="1781"/>
                  </a:lnTo>
                  <a:lnTo>
                    <a:pt x="17" y="1775"/>
                  </a:lnTo>
                  <a:lnTo>
                    <a:pt x="26" y="1765"/>
                  </a:lnTo>
                  <a:close/>
                  <a:moveTo>
                    <a:pt x="4" y="1739"/>
                  </a:moveTo>
                  <a:lnTo>
                    <a:pt x="4" y="1731"/>
                  </a:lnTo>
                  <a:lnTo>
                    <a:pt x="9" y="1730"/>
                  </a:lnTo>
                  <a:lnTo>
                    <a:pt x="12" y="1739"/>
                  </a:lnTo>
                  <a:lnTo>
                    <a:pt x="6" y="1750"/>
                  </a:lnTo>
                  <a:lnTo>
                    <a:pt x="4" y="1739"/>
                  </a:lnTo>
                  <a:close/>
                  <a:moveTo>
                    <a:pt x="29" y="1727"/>
                  </a:moveTo>
                  <a:lnTo>
                    <a:pt x="40" y="1728"/>
                  </a:lnTo>
                  <a:lnTo>
                    <a:pt x="48" y="1741"/>
                  </a:lnTo>
                  <a:lnTo>
                    <a:pt x="31" y="1735"/>
                  </a:lnTo>
                  <a:lnTo>
                    <a:pt x="29" y="1727"/>
                  </a:lnTo>
                  <a:close/>
                  <a:moveTo>
                    <a:pt x="6" y="1710"/>
                  </a:moveTo>
                  <a:lnTo>
                    <a:pt x="4" y="1702"/>
                  </a:lnTo>
                  <a:lnTo>
                    <a:pt x="11" y="1699"/>
                  </a:lnTo>
                  <a:lnTo>
                    <a:pt x="23" y="1736"/>
                  </a:lnTo>
                  <a:lnTo>
                    <a:pt x="6" y="1710"/>
                  </a:lnTo>
                  <a:close/>
                  <a:moveTo>
                    <a:pt x="19" y="1704"/>
                  </a:moveTo>
                  <a:lnTo>
                    <a:pt x="34" y="1710"/>
                  </a:lnTo>
                  <a:lnTo>
                    <a:pt x="36" y="1718"/>
                  </a:lnTo>
                  <a:lnTo>
                    <a:pt x="29" y="1721"/>
                  </a:lnTo>
                  <a:lnTo>
                    <a:pt x="19" y="1704"/>
                  </a:lnTo>
                  <a:close/>
                  <a:moveTo>
                    <a:pt x="26" y="1677"/>
                  </a:moveTo>
                  <a:lnTo>
                    <a:pt x="23" y="1685"/>
                  </a:lnTo>
                  <a:lnTo>
                    <a:pt x="12" y="1685"/>
                  </a:lnTo>
                  <a:lnTo>
                    <a:pt x="26" y="1677"/>
                  </a:lnTo>
                  <a:close/>
                  <a:moveTo>
                    <a:pt x="58" y="1682"/>
                  </a:moveTo>
                  <a:lnTo>
                    <a:pt x="43" y="1679"/>
                  </a:lnTo>
                  <a:lnTo>
                    <a:pt x="43" y="1674"/>
                  </a:lnTo>
                  <a:lnTo>
                    <a:pt x="49" y="1667"/>
                  </a:lnTo>
                  <a:lnTo>
                    <a:pt x="58" y="1682"/>
                  </a:lnTo>
                  <a:close/>
                  <a:moveTo>
                    <a:pt x="260" y="2229"/>
                  </a:moveTo>
                  <a:lnTo>
                    <a:pt x="329" y="2214"/>
                  </a:lnTo>
                  <a:lnTo>
                    <a:pt x="337" y="2225"/>
                  </a:lnTo>
                  <a:lnTo>
                    <a:pt x="339" y="2236"/>
                  </a:lnTo>
                  <a:lnTo>
                    <a:pt x="342" y="2241"/>
                  </a:lnTo>
                  <a:lnTo>
                    <a:pt x="345" y="2251"/>
                  </a:lnTo>
                  <a:lnTo>
                    <a:pt x="353" y="2273"/>
                  </a:lnTo>
                  <a:lnTo>
                    <a:pt x="332" y="2253"/>
                  </a:lnTo>
                  <a:lnTo>
                    <a:pt x="319" y="2256"/>
                  </a:lnTo>
                  <a:lnTo>
                    <a:pt x="302" y="2237"/>
                  </a:lnTo>
                  <a:lnTo>
                    <a:pt x="288" y="2242"/>
                  </a:lnTo>
                  <a:lnTo>
                    <a:pt x="302" y="2259"/>
                  </a:lnTo>
                  <a:lnTo>
                    <a:pt x="286" y="2259"/>
                  </a:lnTo>
                  <a:lnTo>
                    <a:pt x="275" y="2244"/>
                  </a:lnTo>
                  <a:lnTo>
                    <a:pt x="286" y="2233"/>
                  </a:lnTo>
                  <a:lnTo>
                    <a:pt x="263" y="2239"/>
                  </a:lnTo>
                  <a:lnTo>
                    <a:pt x="260" y="2229"/>
                  </a:lnTo>
                  <a:close/>
                  <a:moveTo>
                    <a:pt x="295" y="2216"/>
                  </a:moveTo>
                  <a:lnTo>
                    <a:pt x="266" y="2222"/>
                  </a:lnTo>
                  <a:lnTo>
                    <a:pt x="263" y="2211"/>
                  </a:lnTo>
                  <a:lnTo>
                    <a:pt x="295" y="2216"/>
                  </a:lnTo>
                  <a:close/>
                  <a:moveTo>
                    <a:pt x="239" y="2237"/>
                  </a:moveTo>
                  <a:lnTo>
                    <a:pt x="227" y="2225"/>
                  </a:lnTo>
                  <a:lnTo>
                    <a:pt x="239" y="2227"/>
                  </a:lnTo>
                  <a:lnTo>
                    <a:pt x="239" y="2237"/>
                  </a:lnTo>
                  <a:close/>
                  <a:moveTo>
                    <a:pt x="210" y="2224"/>
                  </a:moveTo>
                  <a:lnTo>
                    <a:pt x="219" y="2214"/>
                  </a:lnTo>
                  <a:lnTo>
                    <a:pt x="222" y="2222"/>
                  </a:lnTo>
                  <a:lnTo>
                    <a:pt x="210" y="2224"/>
                  </a:lnTo>
                  <a:close/>
                  <a:moveTo>
                    <a:pt x="345" y="2217"/>
                  </a:moveTo>
                  <a:lnTo>
                    <a:pt x="336" y="2212"/>
                  </a:lnTo>
                  <a:lnTo>
                    <a:pt x="357" y="2208"/>
                  </a:lnTo>
                  <a:lnTo>
                    <a:pt x="386" y="2214"/>
                  </a:lnTo>
                  <a:lnTo>
                    <a:pt x="393" y="2233"/>
                  </a:lnTo>
                  <a:lnTo>
                    <a:pt x="383" y="2242"/>
                  </a:lnTo>
                  <a:lnTo>
                    <a:pt x="371" y="2234"/>
                  </a:lnTo>
                  <a:lnTo>
                    <a:pt x="363" y="2237"/>
                  </a:lnTo>
                  <a:lnTo>
                    <a:pt x="348" y="2233"/>
                  </a:lnTo>
                  <a:lnTo>
                    <a:pt x="345" y="2217"/>
                  </a:lnTo>
                  <a:close/>
                  <a:moveTo>
                    <a:pt x="322" y="2207"/>
                  </a:moveTo>
                  <a:lnTo>
                    <a:pt x="302" y="2216"/>
                  </a:lnTo>
                  <a:lnTo>
                    <a:pt x="277" y="2203"/>
                  </a:lnTo>
                  <a:lnTo>
                    <a:pt x="215" y="2202"/>
                  </a:lnTo>
                  <a:lnTo>
                    <a:pt x="212" y="2197"/>
                  </a:lnTo>
                  <a:lnTo>
                    <a:pt x="219" y="2190"/>
                  </a:lnTo>
                  <a:lnTo>
                    <a:pt x="195" y="2190"/>
                  </a:lnTo>
                  <a:lnTo>
                    <a:pt x="193" y="2177"/>
                  </a:lnTo>
                  <a:lnTo>
                    <a:pt x="224" y="2165"/>
                  </a:lnTo>
                  <a:lnTo>
                    <a:pt x="212" y="2144"/>
                  </a:lnTo>
                  <a:lnTo>
                    <a:pt x="247" y="2173"/>
                  </a:lnTo>
                  <a:lnTo>
                    <a:pt x="255" y="2168"/>
                  </a:lnTo>
                  <a:lnTo>
                    <a:pt x="246" y="2161"/>
                  </a:lnTo>
                  <a:lnTo>
                    <a:pt x="251" y="2157"/>
                  </a:lnTo>
                  <a:lnTo>
                    <a:pt x="261" y="2168"/>
                  </a:lnTo>
                  <a:lnTo>
                    <a:pt x="263" y="2160"/>
                  </a:lnTo>
                  <a:lnTo>
                    <a:pt x="277" y="2169"/>
                  </a:lnTo>
                  <a:lnTo>
                    <a:pt x="286" y="2165"/>
                  </a:lnTo>
                  <a:lnTo>
                    <a:pt x="256" y="2149"/>
                  </a:lnTo>
                  <a:lnTo>
                    <a:pt x="249" y="2119"/>
                  </a:lnTo>
                  <a:lnTo>
                    <a:pt x="285" y="2103"/>
                  </a:lnTo>
                  <a:lnTo>
                    <a:pt x="286" y="2092"/>
                  </a:lnTo>
                  <a:lnTo>
                    <a:pt x="277" y="2086"/>
                  </a:lnTo>
                  <a:lnTo>
                    <a:pt x="249" y="2094"/>
                  </a:lnTo>
                  <a:lnTo>
                    <a:pt x="238" y="2086"/>
                  </a:lnTo>
                  <a:lnTo>
                    <a:pt x="236" y="2060"/>
                  </a:lnTo>
                  <a:lnTo>
                    <a:pt x="249" y="2061"/>
                  </a:lnTo>
                  <a:lnTo>
                    <a:pt x="251" y="2055"/>
                  </a:lnTo>
                  <a:lnTo>
                    <a:pt x="246" y="2046"/>
                  </a:lnTo>
                  <a:lnTo>
                    <a:pt x="238" y="2041"/>
                  </a:lnTo>
                  <a:lnTo>
                    <a:pt x="268" y="2039"/>
                  </a:lnTo>
                  <a:lnTo>
                    <a:pt x="273" y="2022"/>
                  </a:lnTo>
                  <a:lnTo>
                    <a:pt x="283" y="2019"/>
                  </a:lnTo>
                  <a:lnTo>
                    <a:pt x="290" y="2031"/>
                  </a:lnTo>
                  <a:lnTo>
                    <a:pt x="314" y="2026"/>
                  </a:lnTo>
                  <a:lnTo>
                    <a:pt x="319" y="2033"/>
                  </a:lnTo>
                  <a:lnTo>
                    <a:pt x="322" y="2207"/>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72" name="Freeform 206">
              <a:extLst>
                <a:ext uri="{FF2B5EF4-FFF2-40B4-BE49-F238E27FC236}">
                  <a16:creationId xmlns:a16="http://schemas.microsoft.com/office/drawing/2014/main" id="{B748A949-7B93-FE4C-AC8C-D4DEB971B86F}"/>
                </a:ext>
              </a:extLst>
            </p:cNvPr>
            <p:cNvSpPr>
              <a:spLocks noChangeAspect="1" noEditPoints="1"/>
            </p:cNvSpPr>
            <p:nvPr/>
          </p:nvSpPr>
          <p:spPr bwMode="gray">
            <a:xfrm>
              <a:off x="3264392" y="5882870"/>
              <a:ext cx="73202" cy="44194"/>
            </a:xfrm>
            <a:custGeom>
              <a:avLst/>
              <a:gdLst>
                <a:gd name="T0" fmla="*/ 73 w 147"/>
                <a:gd name="T1" fmla="*/ 9 h 77"/>
                <a:gd name="T2" fmla="*/ 80 w 147"/>
                <a:gd name="T3" fmla="*/ 13 h 77"/>
                <a:gd name="T4" fmla="*/ 76 w 147"/>
                <a:gd name="T5" fmla="*/ 21 h 77"/>
                <a:gd name="T6" fmla="*/ 52 w 147"/>
                <a:gd name="T7" fmla="*/ 51 h 77"/>
                <a:gd name="T8" fmla="*/ 34 w 147"/>
                <a:gd name="T9" fmla="*/ 52 h 77"/>
                <a:gd name="T10" fmla="*/ 34 w 147"/>
                <a:gd name="T11" fmla="*/ 59 h 77"/>
                <a:gd name="T12" fmla="*/ 17 w 147"/>
                <a:gd name="T13" fmla="*/ 69 h 77"/>
                <a:gd name="T14" fmla="*/ 0 w 147"/>
                <a:gd name="T15" fmla="*/ 55 h 77"/>
                <a:gd name="T16" fmla="*/ 20 w 147"/>
                <a:gd name="T17" fmla="*/ 51 h 77"/>
                <a:gd name="T18" fmla="*/ 26 w 147"/>
                <a:gd name="T19" fmla="*/ 38 h 77"/>
                <a:gd name="T20" fmla="*/ 43 w 147"/>
                <a:gd name="T21" fmla="*/ 30 h 77"/>
                <a:gd name="T22" fmla="*/ 22 w 147"/>
                <a:gd name="T23" fmla="*/ 17 h 77"/>
                <a:gd name="T24" fmla="*/ 26 w 147"/>
                <a:gd name="T25" fmla="*/ 13 h 77"/>
                <a:gd name="T26" fmla="*/ 18 w 147"/>
                <a:gd name="T27" fmla="*/ 4 h 77"/>
                <a:gd name="T28" fmla="*/ 39 w 147"/>
                <a:gd name="T29" fmla="*/ 13 h 77"/>
                <a:gd name="T30" fmla="*/ 73 w 147"/>
                <a:gd name="T31" fmla="*/ 9 h 77"/>
                <a:gd name="T32" fmla="*/ 141 w 147"/>
                <a:gd name="T33" fmla="*/ 34 h 77"/>
                <a:gd name="T34" fmla="*/ 124 w 147"/>
                <a:gd name="T35" fmla="*/ 42 h 77"/>
                <a:gd name="T36" fmla="*/ 97 w 147"/>
                <a:gd name="T37" fmla="*/ 42 h 77"/>
                <a:gd name="T38" fmla="*/ 107 w 147"/>
                <a:gd name="T39" fmla="*/ 60 h 77"/>
                <a:gd name="T40" fmla="*/ 88 w 147"/>
                <a:gd name="T41" fmla="*/ 54 h 77"/>
                <a:gd name="T42" fmla="*/ 86 w 147"/>
                <a:gd name="T43" fmla="*/ 64 h 77"/>
                <a:gd name="T44" fmla="*/ 91 w 147"/>
                <a:gd name="T45" fmla="*/ 69 h 77"/>
                <a:gd name="T46" fmla="*/ 76 w 147"/>
                <a:gd name="T47" fmla="*/ 64 h 77"/>
                <a:gd name="T48" fmla="*/ 73 w 147"/>
                <a:gd name="T49" fmla="*/ 77 h 77"/>
                <a:gd name="T50" fmla="*/ 61 w 147"/>
                <a:gd name="T51" fmla="*/ 59 h 77"/>
                <a:gd name="T52" fmla="*/ 65 w 147"/>
                <a:gd name="T53" fmla="*/ 40 h 77"/>
                <a:gd name="T54" fmla="*/ 80 w 147"/>
                <a:gd name="T55" fmla="*/ 30 h 77"/>
                <a:gd name="T56" fmla="*/ 91 w 147"/>
                <a:gd name="T57" fmla="*/ 37 h 77"/>
                <a:gd name="T58" fmla="*/ 86 w 147"/>
                <a:gd name="T59" fmla="*/ 10 h 77"/>
                <a:gd name="T60" fmla="*/ 99 w 147"/>
                <a:gd name="T61" fmla="*/ 0 h 77"/>
                <a:gd name="T62" fmla="*/ 111 w 147"/>
                <a:gd name="T63" fmla="*/ 0 h 77"/>
                <a:gd name="T64" fmla="*/ 122 w 147"/>
                <a:gd name="T65" fmla="*/ 12 h 77"/>
                <a:gd name="T66" fmla="*/ 139 w 147"/>
                <a:gd name="T67" fmla="*/ 10 h 77"/>
                <a:gd name="T68" fmla="*/ 147 w 147"/>
                <a:gd name="T69" fmla="*/ 27 h 77"/>
                <a:gd name="T70" fmla="*/ 141 w 147"/>
                <a:gd name="T71"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7" h="77">
                  <a:moveTo>
                    <a:pt x="73" y="9"/>
                  </a:moveTo>
                  <a:lnTo>
                    <a:pt x="80" y="13"/>
                  </a:lnTo>
                  <a:lnTo>
                    <a:pt x="76" y="21"/>
                  </a:lnTo>
                  <a:lnTo>
                    <a:pt x="52" y="51"/>
                  </a:lnTo>
                  <a:lnTo>
                    <a:pt x="34" y="52"/>
                  </a:lnTo>
                  <a:lnTo>
                    <a:pt x="34" y="59"/>
                  </a:lnTo>
                  <a:lnTo>
                    <a:pt x="17" y="69"/>
                  </a:lnTo>
                  <a:lnTo>
                    <a:pt x="0" y="55"/>
                  </a:lnTo>
                  <a:lnTo>
                    <a:pt x="20" y="51"/>
                  </a:lnTo>
                  <a:lnTo>
                    <a:pt x="26" y="38"/>
                  </a:lnTo>
                  <a:lnTo>
                    <a:pt x="43" y="30"/>
                  </a:lnTo>
                  <a:lnTo>
                    <a:pt x="22" y="17"/>
                  </a:lnTo>
                  <a:lnTo>
                    <a:pt x="26" y="13"/>
                  </a:lnTo>
                  <a:lnTo>
                    <a:pt x="18" y="4"/>
                  </a:lnTo>
                  <a:lnTo>
                    <a:pt x="39" y="13"/>
                  </a:lnTo>
                  <a:lnTo>
                    <a:pt x="73" y="9"/>
                  </a:lnTo>
                  <a:close/>
                  <a:moveTo>
                    <a:pt x="141" y="34"/>
                  </a:moveTo>
                  <a:lnTo>
                    <a:pt x="124" y="42"/>
                  </a:lnTo>
                  <a:lnTo>
                    <a:pt x="97" y="42"/>
                  </a:lnTo>
                  <a:lnTo>
                    <a:pt x="107" y="60"/>
                  </a:lnTo>
                  <a:lnTo>
                    <a:pt x="88" y="54"/>
                  </a:lnTo>
                  <a:lnTo>
                    <a:pt x="86" y="64"/>
                  </a:lnTo>
                  <a:lnTo>
                    <a:pt x="91" y="69"/>
                  </a:lnTo>
                  <a:lnTo>
                    <a:pt x="76" y="64"/>
                  </a:lnTo>
                  <a:lnTo>
                    <a:pt x="73" y="77"/>
                  </a:lnTo>
                  <a:lnTo>
                    <a:pt x="61" y="59"/>
                  </a:lnTo>
                  <a:lnTo>
                    <a:pt x="65" y="40"/>
                  </a:lnTo>
                  <a:lnTo>
                    <a:pt x="80" y="30"/>
                  </a:lnTo>
                  <a:lnTo>
                    <a:pt x="91" y="37"/>
                  </a:lnTo>
                  <a:lnTo>
                    <a:pt x="86" y="10"/>
                  </a:lnTo>
                  <a:lnTo>
                    <a:pt x="99" y="0"/>
                  </a:lnTo>
                  <a:lnTo>
                    <a:pt x="111" y="0"/>
                  </a:lnTo>
                  <a:lnTo>
                    <a:pt x="122" y="12"/>
                  </a:lnTo>
                  <a:lnTo>
                    <a:pt x="139" y="10"/>
                  </a:lnTo>
                  <a:lnTo>
                    <a:pt x="147" y="27"/>
                  </a:lnTo>
                  <a:lnTo>
                    <a:pt x="141" y="34"/>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grpSp>
    </p:spTree>
    <p:extLst>
      <p:ext uri="{BB962C8B-B14F-4D97-AF65-F5344CB8AC3E}">
        <p14:creationId xmlns:p14="http://schemas.microsoft.com/office/powerpoint/2010/main" val="40133620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 name="think-cell data - do not delete" hidden="1">
            <a:extLst>
              <a:ext uri="{FF2B5EF4-FFF2-40B4-BE49-F238E27FC236}">
                <a16:creationId xmlns:a16="http://schemas.microsoft.com/office/drawing/2014/main" id="{9C4C6C38-70C4-8088-C290-AE05EFE5F61A}"/>
              </a:ext>
            </a:extLst>
          </p:cNvPr>
          <p:cNvGraphicFramePr>
            <a:graphicFrameLocks noChangeAspect="1"/>
          </p:cNvGraphicFramePr>
          <p:nvPr>
            <p:custDataLst>
              <p:tags r:id="rId1"/>
            </p:custDataLst>
            <p:extLst>
              <p:ext uri="{D42A27DB-BD31-4B8C-83A1-F6EECF244321}">
                <p14:modId xmlns:p14="http://schemas.microsoft.com/office/powerpoint/2010/main" val="2847406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05" name="think-cell data - do not delete" hidden="1">
                        <a:extLst>
                          <a:ext uri="{FF2B5EF4-FFF2-40B4-BE49-F238E27FC236}">
                            <a16:creationId xmlns:a16="http://schemas.microsoft.com/office/drawing/2014/main" id="{9C4C6C38-70C4-8088-C290-AE05EFE5F6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2" name="Text Placeholder 161">
            <a:extLst>
              <a:ext uri="{FF2B5EF4-FFF2-40B4-BE49-F238E27FC236}">
                <a16:creationId xmlns:a16="http://schemas.microsoft.com/office/drawing/2014/main" id="{FA827F90-B41A-5463-01B9-9558301C76ED}"/>
              </a:ext>
            </a:extLst>
          </p:cNvPr>
          <p:cNvSpPr>
            <a:spLocks noGrp="1"/>
          </p:cNvSpPr>
          <p:nvPr>
            <p:ph type="body" sz="quarter" idx="10"/>
          </p:nvPr>
        </p:nvSpPr>
        <p:spPr/>
        <p:txBody>
          <a:bodyPr/>
          <a:lstStyle/>
          <a:p>
            <a:endParaRPr lang="nl-NL"/>
          </a:p>
        </p:txBody>
      </p:sp>
      <p:sp>
        <p:nvSpPr>
          <p:cNvPr id="3" name="Title 2">
            <a:extLst>
              <a:ext uri="{FF2B5EF4-FFF2-40B4-BE49-F238E27FC236}">
                <a16:creationId xmlns:a16="http://schemas.microsoft.com/office/drawing/2014/main" id="{614064D2-9FA9-AD4E-BA4B-0F37DB3868F6}"/>
              </a:ext>
            </a:extLst>
          </p:cNvPr>
          <p:cNvSpPr>
            <a:spLocks noGrp="1"/>
          </p:cNvSpPr>
          <p:nvPr>
            <p:ph type="title"/>
          </p:nvPr>
        </p:nvSpPr>
        <p:spPr/>
        <p:txBody>
          <a:bodyPr vert="horz"/>
          <a:lstStyle/>
          <a:p>
            <a:r>
              <a:rPr lang="en-US" dirty="0"/>
              <a:t>World map</a:t>
            </a:r>
          </a:p>
        </p:txBody>
      </p:sp>
      <p:sp>
        <p:nvSpPr>
          <p:cNvPr id="4" name="Text Placeholder 3">
            <a:extLst>
              <a:ext uri="{FF2B5EF4-FFF2-40B4-BE49-F238E27FC236}">
                <a16:creationId xmlns:a16="http://schemas.microsoft.com/office/drawing/2014/main" id="{A569347B-16DE-6C44-A8A1-1E2D49C42E12}"/>
              </a:ext>
            </a:extLst>
          </p:cNvPr>
          <p:cNvSpPr>
            <a:spLocks noGrp="1"/>
          </p:cNvSpPr>
          <p:nvPr>
            <p:ph type="body" sz="quarter" idx="27"/>
          </p:nvPr>
        </p:nvSpPr>
        <p:spPr/>
        <p:txBody>
          <a:bodyPr/>
          <a:lstStyle/>
          <a:p>
            <a:r>
              <a:rPr lang="en-US" dirty="0"/>
              <a:t>Source: Appian Capital Advisory LLP</a:t>
            </a:r>
          </a:p>
        </p:txBody>
      </p:sp>
      <p:grpSp>
        <p:nvGrpSpPr>
          <p:cNvPr id="260" name="Group 259">
            <a:extLst>
              <a:ext uri="{FF2B5EF4-FFF2-40B4-BE49-F238E27FC236}">
                <a16:creationId xmlns:a16="http://schemas.microsoft.com/office/drawing/2014/main" id="{77BB779E-0DA1-B146-99E6-D7EF108DA938}"/>
              </a:ext>
            </a:extLst>
          </p:cNvPr>
          <p:cNvGrpSpPr/>
          <p:nvPr/>
        </p:nvGrpSpPr>
        <p:grpSpPr>
          <a:xfrm>
            <a:off x="392400" y="1568934"/>
            <a:ext cx="9045743" cy="4650069"/>
            <a:chOff x="826461" y="1432635"/>
            <a:chExt cx="8097110" cy="4650069"/>
          </a:xfrm>
        </p:grpSpPr>
        <p:sp>
          <p:nvSpPr>
            <p:cNvPr id="5" name="Freeform 79">
              <a:extLst>
                <a:ext uri="{FF2B5EF4-FFF2-40B4-BE49-F238E27FC236}">
                  <a16:creationId xmlns:a16="http://schemas.microsoft.com/office/drawing/2014/main" id="{1A37CC77-C27C-2040-BE55-0ED85CB1B2B0}"/>
                </a:ext>
              </a:extLst>
            </p:cNvPr>
            <p:cNvSpPr>
              <a:spLocks noChangeAspect="1"/>
            </p:cNvSpPr>
            <p:nvPr/>
          </p:nvSpPr>
          <p:spPr bwMode="gray">
            <a:xfrm>
              <a:off x="5304470" y="4158987"/>
              <a:ext cx="118016" cy="145839"/>
            </a:xfrm>
            <a:custGeom>
              <a:avLst/>
              <a:gdLst>
                <a:gd name="T0" fmla="*/ 37 w 244"/>
                <a:gd name="T1" fmla="*/ 130 h 249"/>
                <a:gd name="T2" fmla="*/ 37 w 244"/>
                <a:gd name="T3" fmla="*/ 137 h 249"/>
                <a:gd name="T4" fmla="*/ 42 w 244"/>
                <a:gd name="T5" fmla="*/ 139 h 249"/>
                <a:gd name="T6" fmla="*/ 59 w 244"/>
                <a:gd name="T7" fmla="*/ 119 h 249"/>
                <a:gd name="T8" fmla="*/ 72 w 244"/>
                <a:gd name="T9" fmla="*/ 110 h 249"/>
                <a:gd name="T10" fmla="*/ 77 w 244"/>
                <a:gd name="T11" fmla="*/ 102 h 249"/>
                <a:gd name="T12" fmla="*/ 76 w 244"/>
                <a:gd name="T13" fmla="*/ 86 h 249"/>
                <a:gd name="T14" fmla="*/ 72 w 244"/>
                <a:gd name="T15" fmla="*/ 86 h 249"/>
                <a:gd name="T16" fmla="*/ 55 w 244"/>
                <a:gd name="T17" fmla="*/ 76 h 249"/>
                <a:gd name="T18" fmla="*/ 51 w 244"/>
                <a:gd name="T19" fmla="*/ 64 h 249"/>
                <a:gd name="T20" fmla="*/ 55 w 244"/>
                <a:gd name="T21" fmla="*/ 20 h 249"/>
                <a:gd name="T22" fmla="*/ 60 w 244"/>
                <a:gd name="T23" fmla="*/ 17 h 249"/>
                <a:gd name="T24" fmla="*/ 102 w 244"/>
                <a:gd name="T25" fmla="*/ 15 h 249"/>
                <a:gd name="T26" fmla="*/ 106 w 244"/>
                <a:gd name="T27" fmla="*/ 21 h 249"/>
                <a:gd name="T28" fmla="*/ 142 w 244"/>
                <a:gd name="T29" fmla="*/ 13 h 249"/>
                <a:gd name="T30" fmla="*/ 173 w 244"/>
                <a:gd name="T31" fmla="*/ 13 h 249"/>
                <a:gd name="T32" fmla="*/ 194 w 244"/>
                <a:gd name="T33" fmla="*/ 0 h 249"/>
                <a:gd name="T34" fmla="*/ 211 w 244"/>
                <a:gd name="T35" fmla="*/ 6 h 249"/>
                <a:gd name="T36" fmla="*/ 219 w 244"/>
                <a:gd name="T37" fmla="*/ 43 h 249"/>
                <a:gd name="T38" fmla="*/ 240 w 244"/>
                <a:gd name="T39" fmla="*/ 60 h 249"/>
                <a:gd name="T40" fmla="*/ 244 w 244"/>
                <a:gd name="T41" fmla="*/ 89 h 249"/>
                <a:gd name="T42" fmla="*/ 240 w 244"/>
                <a:gd name="T43" fmla="*/ 119 h 249"/>
                <a:gd name="T44" fmla="*/ 196 w 244"/>
                <a:gd name="T45" fmla="*/ 178 h 249"/>
                <a:gd name="T46" fmla="*/ 194 w 244"/>
                <a:gd name="T47" fmla="*/ 178 h 249"/>
                <a:gd name="T48" fmla="*/ 185 w 244"/>
                <a:gd name="T49" fmla="*/ 176 h 249"/>
                <a:gd name="T50" fmla="*/ 179 w 244"/>
                <a:gd name="T51" fmla="*/ 179 h 249"/>
                <a:gd name="T52" fmla="*/ 168 w 244"/>
                <a:gd name="T53" fmla="*/ 174 h 249"/>
                <a:gd name="T54" fmla="*/ 164 w 244"/>
                <a:gd name="T55" fmla="*/ 171 h 249"/>
                <a:gd name="T56" fmla="*/ 151 w 244"/>
                <a:gd name="T57" fmla="*/ 184 h 249"/>
                <a:gd name="T58" fmla="*/ 145 w 244"/>
                <a:gd name="T59" fmla="*/ 181 h 249"/>
                <a:gd name="T60" fmla="*/ 137 w 244"/>
                <a:gd name="T61" fmla="*/ 181 h 249"/>
                <a:gd name="T62" fmla="*/ 133 w 244"/>
                <a:gd name="T63" fmla="*/ 178 h 249"/>
                <a:gd name="T64" fmla="*/ 131 w 244"/>
                <a:gd name="T65" fmla="*/ 182 h 249"/>
                <a:gd name="T66" fmla="*/ 127 w 244"/>
                <a:gd name="T67" fmla="*/ 184 h 249"/>
                <a:gd name="T68" fmla="*/ 122 w 244"/>
                <a:gd name="T69" fmla="*/ 182 h 249"/>
                <a:gd name="T70" fmla="*/ 119 w 244"/>
                <a:gd name="T71" fmla="*/ 190 h 249"/>
                <a:gd name="T72" fmla="*/ 110 w 244"/>
                <a:gd name="T73" fmla="*/ 193 h 249"/>
                <a:gd name="T74" fmla="*/ 102 w 244"/>
                <a:gd name="T75" fmla="*/ 195 h 249"/>
                <a:gd name="T76" fmla="*/ 100 w 244"/>
                <a:gd name="T77" fmla="*/ 198 h 249"/>
                <a:gd name="T78" fmla="*/ 102 w 244"/>
                <a:gd name="T79" fmla="*/ 203 h 249"/>
                <a:gd name="T80" fmla="*/ 91 w 244"/>
                <a:gd name="T81" fmla="*/ 227 h 249"/>
                <a:gd name="T82" fmla="*/ 96 w 244"/>
                <a:gd name="T83" fmla="*/ 232 h 249"/>
                <a:gd name="T84" fmla="*/ 34 w 244"/>
                <a:gd name="T85" fmla="*/ 233 h 249"/>
                <a:gd name="T86" fmla="*/ 23 w 244"/>
                <a:gd name="T87" fmla="*/ 237 h 249"/>
                <a:gd name="T88" fmla="*/ 15 w 244"/>
                <a:gd name="T89" fmla="*/ 249 h 249"/>
                <a:gd name="T90" fmla="*/ 0 w 244"/>
                <a:gd name="T91" fmla="*/ 246 h 249"/>
                <a:gd name="T92" fmla="*/ 1 w 244"/>
                <a:gd name="T93" fmla="*/ 204 h 249"/>
                <a:gd name="T94" fmla="*/ 1 w 244"/>
                <a:gd name="T95" fmla="*/ 193 h 249"/>
                <a:gd name="T96" fmla="*/ 8 w 244"/>
                <a:gd name="T97" fmla="*/ 167 h 249"/>
                <a:gd name="T98" fmla="*/ 37 w 244"/>
                <a:gd name="T99" fmla="*/ 13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4" h="249">
                  <a:moveTo>
                    <a:pt x="37" y="130"/>
                  </a:moveTo>
                  <a:lnTo>
                    <a:pt x="37" y="137"/>
                  </a:lnTo>
                  <a:lnTo>
                    <a:pt x="42" y="139"/>
                  </a:lnTo>
                  <a:lnTo>
                    <a:pt x="59" y="119"/>
                  </a:lnTo>
                  <a:lnTo>
                    <a:pt x="72" y="110"/>
                  </a:lnTo>
                  <a:lnTo>
                    <a:pt x="77" y="102"/>
                  </a:lnTo>
                  <a:lnTo>
                    <a:pt x="76" y="86"/>
                  </a:lnTo>
                  <a:lnTo>
                    <a:pt x="72" y="86"/>
                  </a:lnTo>
                  <a:lnTo>
                    <a:pt x="55" y="76"/>
                  </a:lnTo>
                  <a:lnTo>
                    <a:pt x="51" y="64"/>
                  </a:lnTo>
                  <a:lnTo>
                    <a:pt x="55" y="20"/>
                  </a:lnTo>
                  <a:lnTo>
                    <a:pt x="60" y="17"/>
                  </a:lnTo>
                  <a:lnTo>
                    <a:pt x="102" y="15"/>
                  </a:lnTo>
                  <a:lnTo>
                    <a:pt x="106" y="21"/>
                  </a:lnTo>
                  <a:lnTo>
                    <a:pt x="142" y="13"/>
                  </a:lnTo>
                  <a:lnTo>
                    <a:pt x="173" y="13"/>
                  </a:lnTo>
                  <a:lnTo>
                    <a:pt x="194" y="0"/>
                  </a:lnTo>
                  <a:lnTo>
                    <a:pt x="211" y="6"/>
                  </a:lnTo>
                  <a:lnTo>
                    <a:pt x="219" y="43"/>
                  </a:lnTo>
                  <a:lnTo>
                    <a:pt x="240" y="60"/>
                  </a:lnTo>
                  <a:lnTo>
                    <a:pt x="244" y="89"/>
                  </a:lnTo>
                  <a:lnTo>
                    <a:pt x="240" y="119"/>
                  </a:lnTo>
                  <a:lnTo>
                    <a:pt x="196" y="178"/>
                  </a:lnTo>
                  <a:lnTo>
                    <a:pt x="194" y="178"/>
                  </a:lnTo>
                  <a:lnTo>
                    <a:pt x="185" y="176"/>
                  </a:lnTo>
                  <a:lnTo>
                    <a:pt x="179" y="179"/>
                  </a:lnTo>
                  <a:lnTo>
                    <a:pt x="168" y="174"/>
                  </a:lnTo>
                  <a:lnTo>
                    <a:pt x="164" y="171"/>
                  </a:lnTo>
                  <a:lnTo>
                    <a:pt x="151" y="184"/>
                  </a:lnTo>
                  <a:lnTo>
                    <a:pt x="145" y="181"/>
                  </a:lnTo>
                  <a:lnTo>
                    <a:pt x="137" y="181"/>
                  </a:lnTo>
                  <a:lnTo>
                    <a:pt x="133" y="178"/>
                  </a:lnTo>
                  <a:lnTo>
                    <a:pt x="131" y="182"/>
                  </a:lnTo>
                  <a:lnTo>
                    <a:pt x="127" y="184"/>
                  </a:lnTo>
                  <a:lnTo>
                    <a:pt x="122" y="182"/>
                  </a:lnTo>
                  <a:lnTo>
                    <a:pt x="119" y="190"/>
                  </a:lnTo>
                  <a:lnTo>
                    <a:pt x="110" y="193"/>
                  </a:lnTo>
                  <a:lnTo>
                    <a:pt x="102" y="195"/>
                  </a:lnTo>
                  <a:lnTo>
                    <a:pt x="100" y="198"/>
                  </a:lnTo>
                  <a:lnTo>
                    <a:pt x="102" y="203"/>
                  </a:lnTo>
                  <a:lnTo>
                    <a:pt x="91" y="227"/>
                  </a:lnTo>
                  <a:lnTo>
                    <a:pt x="96" y="232"/>
                  </a:lnTo>
                  <a:lnTo>
                    <a:pt x="34" y="233"/>
                  </a:lnTo>
                  <a:lnTo>
                    <a:pt x="23" y="237"/>
                  </a:lnTo>
                  <a:lnTo>
                    <a:pt x="15" y="249"/>
                  </a:lnTo>
                  <a:lnTo>
                    <a:pt x="0" y="246"/>
                  </a:lnTo>
                  <a:lnTo>
                    <a:pt x="1" y="204"/>
                  </a:lnTo>
                  <a:lnTo>
                    <a:pt x="1" y="193"/>
                  </a:lnTo>
                  <a:lnTo>
                    <a:pt x="8" y="167"/>
                  </a:lnTo>
                  <a:lnTo>
                    <a:pt x="37" y="13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6" name="Freeform 120">
              <a:extLst>
                <a:ext uri="{FF2B5EF4-FFF2-40B4-BE49-F238E27FC236}">
                  <a16:creationId xmlns:a16="http://schemas.microsoft.com/office/drawing/2014/main" id="{D24532DF-D513-C64E-B6BB-C614882079B3}"/>
                </a:ext>
              </a:extLst>
            </p:cNvPr>
            <p:cNvSpPr>
              <a:spLocks noChangeAspect="1" noEditPoints="1"/>
            </p:cNvSpPr>
            <p:nvPr/>
          </p:nvSpPr>
          <p:spPr bwMode="gray">
            <a:xfrm>
              <a:off x="5301280" y="4295232"/>
              <a:ext cx="242412" cy="291680"/>
            </a:xfrm>
            <a:custGeom>
              <a:avLst/>
              <a:gdLst>
                <a:gd name="T0" fmla="*/ 42 w 498"/>
                <a:gd name="T1" fmla="*/ 294 h 495"/>
                <a:gd name="T2" fmla="*/ 27 w 498"/>
                <a:gd name="T3" fmla="*/ 258 h 495"/>
                <a:gd name="T4" fmla="*/ 5 w 498"/>
                <a:gd name="T5" fmla="*/ 237 h 495"/>
                <a:gd name="T6" fmla="*/ 8 w 498"/>
                <a:gd name="T7" fmla="*/ 193 h 495"/>
                <a:gd name="T8" fmla="*/ 0 w 498"/>
                <a:gd name="T9" fmla="*/ 156 h 495"/>
                <a:gd name="T10" fmla="*/ 55 w 498"/>
                <a:gd name="T11" fmla="*/ 99 h 495"/>
                <a:gd name="T12" fmla="*/ 41 w 498"/>
                <a:gd name="T13" fmla="*/ 79 h 495"/>
                <a:gd name="T14" fmla="*/ 58 w 498"/>
                <a:gd name="T15" fmla="*/ 43 h 495"/>
                <a:gd name="T16" fmla="*/ 100 w 498"/>
                <a:gd name="T17" fmla="*/ 0 h 495"/>
                <a:gd name="T18" fmla="*/ 100 w 498"/>
                <a:gd name="T19" fmla="*/ 20 h 495"/>
                <a:gd name="T20" fmla="*/ 95 w 498"/>
                <a:gd name="T21" fmla="*/ 49 h 495"/>
                <a:gd name="T22" fmla="*/ 98 w 498"/>
                <a:gd name="T23" fmla="*/ 74 h 495"/>
                <a:gd name="T24" fmla="*/ 109 w 498"/>
                <a:gd name="T25" fmla="*/ 77 h 495"/>
                <a:gd name="T26" fmla="*/ 117 w 498"/>
                <a:gd name="T27" fmla="*/ 71 h 495"/>
                <a:gd name="T28" fmla="*/ 120 w 498"/>
                <a:gd name="T29" fmla="*/ 59 h 495"/>
                <a:gd name="T30" fmla="*/ 132 w 498"/>
                <a:gd name="T31" fmla="*/ 71 h 495"/>
                <a:gd name="T32" fmla="*/ 143 w 498"/>
                <a:gd name="T33" fmla="*/ 71 h 495"/>
                <a:gd name="T34" fmla="*/ 149 w 498"/>
                <a:gd name="T35" fmla="*/ 88 h 495"/>
                <a:gd name="T36" fmla="*/ 154 w 498"/>
                <a:gd name="T37" fmla="*/ 77 h 495"/>
                <a:gd name="T38" fmla="*/ 160 w 498"/>
                <a:gd name="T39" fmla="*/ 69 h 495"/>
                <a:gd name="T40" fmla="*/ 172 w 498"/>
                <a:gd name="T41" fmla="*/ 68 h 495"/>
                <a:gd name="T42" fmla="*/ 189 w 498"/>
                <a:gd name="T43" fmla="*/ 59 h 495"/>
                <a:gd name="T44" fmla="*/ 188 w 498"/>
                <a:gd name="T45" fmla="*/ 52 h 495"/>
                <a:gd name="T46" fmla="*/ 169 w 498"/>
                <a:gd name="T47" fmla="*/ 51 h 495"/>
                <a:gd name="T48" fmla="*/ 178 w 498"/>
                <a:gd name="T49" fmla="*/ 42 h 495"/>
                <a:gd name="T50" fmla="*/ 178 w 498"/>
                <a:gd name="T51" fmla="*/ 37 h 495"/>
                <a:gd name="T52" fmla="*/ 185 w 498"/>
                <a:gd name="T53" fmla="*/ 34 h 495"/>
                <a:gd name="T54" fmla="*/ 189 w 498"/>
                <a:gd name="T55" fmla="*/ 23 h 495"/>
                <a:gd name="T56" fmla="*/ 197 w 498"/>
                <a:gd name="T57" fmla="*/ 15 h 495"/>
                <a:gd name="T58" fmla="*/ 202 w 498"/>
                <a:gd name="T59" fmla="*/ 14 h 495"/>
                <a:gd name="T60" fmla="*/ 202 w 498"/>
                <a:gd name="T61" fmla="*/ 3 h 495"/>
                <a:gd name="T62" fmla="*/ 373 w 498"/>
                <a:gd name="T63" fmla="*/ 93 h 495"/>
                <a:gd name="T64" fmla="*/ 447 w 498"/>
                <a:gd name="T65" fmla="*/ 167 h 495"/>
                <a:gd name="T66" fmla="*/ 426 w 498"/>
                <a:gd name="T67" fmla="*/ 243 h 495"/>
                <a:gd name="T68" fmla="*/ 449 w 498"/>
                <a:gd name="T69" fmla="*/ 308 h 495"/>
                <a:gd name="T70" fmla="*/ 452 w 498"/>
                <a:gd name="T71" fmla="*/ 330 h 495"/>
                <a:gd name="T72" fmla="*/ 446 w 498"/>
                <a:gd name="T73" fmla="*/ 337 h 495"/>
                <a:gd name="T74" fmla="*/ 452 w 498"/>
                <a:gd name="T75" fmla="*/ 363 h 495"/>
                <a:gd name="T76" fmla="*/ 472 w 498"/>
                <a:gd name="T77" fmla="*/ 416 h 495"/>
                <a:gd name="T78" fmla="*/ 497 w 498"/>
                <a:gd name="T79" fmla="*/ 441 h 495"/>
                <a:gd name="T80" fmla="*/ 429 w 498"/>
                <a:gd name="T81" fmla="*/ 477 h 495"/>
                <a:gd name="T82" fmla="*/ 401 w 498"/>
                <a:gd name="T83" fmla="*/ 472 h 495"/>
                <a:gd name="T84" fmla="*/ 367 w 498"/>
                <a:gd name="T85" fmla="*/ 487 h 495"/>
                <a:gd name="T86" fmla="*/ 312 w 498"/>
                <a:gd name="T87" fmla="*/ 495 h 495"/>
                <a:gd name="T88" fmla="*/ 279 w 498"/>
                <a:gd name="T89" fmla="*/ 489 h 495"/>
                <a:gd name="T90" fmla="*/ 232 w 498"/>
                <a:gd name="T91" fmla="*/ 469 h 495"/>
                <a:gd name="T92" fmla="*/ 211 w 498"/>
                <a:gd name="T93" fmla="*/ 397 h 495"/>
                <a:gd name="T94" fmla="*/ 198 w 498"/>
                <a:gd name="T95" fmla="*/ 399 h 495"/>
                <a:gd name="T96" fmla="*/ 177 w 498"/>
                <a:gd name="T97" fmla="*/ 397 h 495"/>
                <a:gd name="T98" fmla="*/ 98 w 498"/>
                <a:gd name="T99" fmla="*/ 367 h 495"/>
                <a:gd name="T100" fmla="*/ 68 w 498"/>
                <a:gd name="T101" fmla="*/ 348 h 495"/>
                <a:gd name="T102" fmla="*/ 469 w 498"/>
                <a:gd name="T103" fmla="*/ 204 h 495"/>
                <a:gd name="T104" fmla="*/ 466 w 498"/>
                <a:gd name="T105" fmla="*/ 179 h 495"/>
                <a:gd name="T106" fmla="*/ 472 w 498"/>
                <a:gd name="T107" fmla="*/ 189 h 495"/>
                <a:gd name="T108" fmla="*/ 459 w 498"/>
                <a:gd name="T109" fmla="*/ 250 h 495"/>
                <a:gd name="T110" fmla="*/ 447 w 498"/>
                <a:gd name="T111" fmla="*/ 22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8" h="495">
                  <a:moveTo>
                    <a:pt x="68" y="348"/>
                  </a:moveTo>
                  <a:lnTo>
                    <a:pt x="42" y="294"/>
                  </a:lnTo>
                  <a:lnTo>
                    <a:pt x="42" y="275"/>
                  </a:lnTo>
                  <a:lnTo>
                    <a:pt x="27" y="258"/>
                  </a:lnTo>
                  <a:lnTo>
                    <a:pt x="8" y="249"/>
                  </a:lnTo>
                  <a:lnTo>
                    <a:pt x="5" y="237"/>
                  </a:lnTo>
                  <a:lnTo>
                    <a:pt x="13" y="227"/>
                  </a:lnTo>
                  <a:lnTo>
                    <a:pt x="8" y="193"/>
                  </a:lnTo>
                  <a:lnTo>
                    <a:pt x="2" y="186"/>
                  </a:lnTo>
                  <a:lnTo>
                    <a:pt x="0" y="156"/>
                  </a:lnTo>
                  <a:lnTo>
                    <a:pt x="24" y="148"/>
                  </a:lnTo>
                  <a:lnTo>
                    <a:pt x="55" y="99"/>
                  </a:lnTo>
                  <a:lnTo>
                    <a:pt x="53" y="88"/>
                  </a:lnTo>
                  <a:lnTo>
                    <a:pt x="41" y="79"/>
                  </a:lnTo>
                  <a:lnTo>
                    <a:pt x="46" y="63"/>
                  </a:lnTo>
                  <a:lnTo>
                    <a:pt x="58" y="43"/>
                  </a:lnTo>
                  <a:lnTo>
                    <a:pt x="38" y="1"/>
                  </a:lnTo>
                  <a:lnTo>
                    <a:pt x="100" y="0"/>
                  </a:lnTo>
                  <a:lnTo>
                    <a:pt x="100" y="3"/>
                  </a:lnTo>
                  <a:lnTo>
                    <a:pt x="100" y="20"/>
                  </a:lnTo>
                  <a:lnTo>
                    <a:pt x="97" y="32"/>
                  </a:lnTo>
                  <a:lnTo>
                    <a:pt x="95" y="49"/>
                  </a:lnTo>
                  <a:lnTo>
                    <a:pt x="98" y="68"/>
                  </a:lnTo>
                  <a:lnTo>
                    <a:pt x="98" y="74"/>
                  </a:lnTo>
                  <a:lnTo>
                    <a:pt x="104" y="80"/>
                  </a:lnTo>
                  <a:lnTo>
                    <a:pt x="109" y="77"/>
                  </a:lnTo>
                  <a:lnTo>
                    <a:pt x="112" y="72"/>
                  </a:lnTo>
                  <a:lnTo>
                    <a:pt x="117" y="71"/>
                  </a:lnTo>
                  <a:lnTo>
                    <a:pt x="115" y="63"/>
                  </a:lnTo>
                  <a:lnTo>
                    <a:pt x="120" y="59"/>
                  </a:lnTo>
                  <a:lnTo>
                    <a:pt x="124" y="60"/>
                  </a:lnTo>
                  <a:lnTo>
                    <a:pt x="132" y="71"/>
                  </a:lnTo>
                  <a:lnTo>
                    <a:pt x="137" y="74"/>
                  </a:lnTo>
                  <a:lnTo>
                    <a:pt x="143" y="71"/>
                  </a:lnTo>
                  <a:lnTo>
                    <a:pt x="146" y="71"/>
                  </a:lnTo>
                  <a:lnTo>
                    <a:pt x="149" y="88"/>
                  </a:lnTo>
                  <a:lnTo>
                    <a:pt x="154" y="85"/>
                  </a:lnTo>
                  <a:lnTo>
                    <a:pt x="154" y="77"/>
                  </a:lnTo>
                  <a:lnTo>
                    <a:pt x="155" y="69"/>
                  </a:lnTo>
                  <a:lnTo>
                    <a:pt x="160" y="69"/>
                  </a:lnTo>
                  <a:lnTo>
                    <a:pt x="169" y="69"/>
                  </a:lnTo>
                  <a:lnTo>
                    <a:pt x="172" y="68"/>
                  </a:lnTo>
                  <a:lnTo>
                    <a:pt x="181" y="66"/>
                  </a:lnTo>
                  <a:lnTo>
                    <a:pt x="189" y="59"/>
                  </a:lnTo>
                  <a:lnTo>
                    <a:pt x="189" y="55"/>
                  </a:lnTo>
                  <a:lnTo>
                    <a:pt x="188" y="52"/>
                  </a:lnTo>
                  <a:lnTo>
                    <a:pt x="177" y="54"/>
                  </a:lnTo>
                  <a:lnTo>
                    <a:pt x="169" y="51"/>
                  </a:lnTo>
                  <a:lnTo>
                    <a:pt x="169" y="48"/>
                  </a:lnTo>
                  <a:lnTo>
                    <a:pt x="178" y="42"/>
                  </a:lnTo>
                  <a:lnTo>
                    <a:pt x="177" y="40"/>
                  </a:lnTo>
                  <a:lnTo>
                    <a:pt x="178" y="37"/>
                  </a:lnTo>
                  <a:lnTo>
                    <a:pt x="185" y="37"/>
                  </a:lnTo>
                  <a:lnTo>
                    <a:pt x="185" y="34"/>
                  </a:lnTo>
                  <a:lnTo>
                    <a:pt x="189" y="29"/>
                  </a:lnTo>
                  <a:lnTo>
                    <a:pt x="189" y="23"/>
                  </a:lnTo>
                  <a:lnTo>
                    <a:pt x="195" y="23"/>
                  </a:lnTo>
                  <a:lnTo>
                    <a:pt x="197" y="15"/>
                  </a:lnTo>
                  <a:lnTo>
                    <a:pt x="202" y="17"/>
                  </a:lnTo>
                  <a:lnTo>
                    <a:pt x="202" y="14"/>
                  </a:lnTo>
                  <a:lnTo>
                    <a:pt x="200" y="8"/>
                  </a:lnTo>
                  <a:lnTo>
                    <a:pt x="202" y="3"/>
                  </a:lnTo>
                  <a:lnTo>
                    <a:pt x="211" y="0"/>
                  </a:lnTo>
                  <a:lnTo>
                    <a:pt x="373" y="93"/>
                  </a:lnTo>
                  <a:lnTo>
                    <a:pt x="383" y="128"/>
                  </a:lnTo>
                  <a:lnTo>
                    <a:pt x="447" y="167"/>
                  </a:lnTo>
                  <a:lnTo>
                    <a:pt x="426" y="235"/>
                  </a:lnTo>
                  <a:lnTo>
                    <a:pt x="426" y="243"/>
                  </a:lnTo>
                  <a:lnTo>
                    <a:pt x="457" y="281"/>
                  </a:lnTo>
                  <a:lnTo>
                    <a:pt x="449" y="308"/>
                  </a:lnTo>
                  <a:lnTo>
                    <a:pt x="452" y="318"/>
                  </a:lnTo>
                  <a:lnTo>
                    <a:pt x="452" y="330"/>
                  </a:lnTo>
                  <a:lnTo>
                    <a:pt x="447" y="330"/>
                  </a:lnTo>
                  <a:lnTo>
                    <a:pt x="446" y="337"/>
                  </a:lnTo>
                  <a:lnTo>
                    <a:pt x="455" y="359"/>
                  </a:lnTo>
                  <a:lnTo>
                    <a:pt x="452" y="363"/>
                  </a:lnTo>
                  <a:lnTo>
                    <a:pt x="464" y="380"/>
                  </a:lnTo>
                  <a:lnTo>
                    <a:pt x="472" y="416"/>
                  </a:lnTo>
                  <a:lnTo>
                    <a:pt x="498" y="433"/>
                  </a:lnTo>
                  <a:lnTo>
                    <a:pt x="497" y="441"/>
                  </a:lnTo>
                  <a:lnTo>
                    <a:pt x="476" y="461"/>
                  </a:lnTo>
                  <a:lnTo>
                    <a:pt x="429" y="477"/>
                  </a:lnTo>
                  <a:lnTo>
                    <a:pt x="414" y="479"/>
                  </a:lnTo>
                  <a:lnTo>
                    <a:pt x="401" y="472"/>
                  </a:lnTo>
                  <a:lnTo>
                    <a:pt x="381" y="475"/>
                  </a:lnTo>
                  <a:lnTo>
                    <a:pt x="367" y="487"/>
                  </a:lnTo>
                  <a:lnTo>
                    <a:pt x="335" y="487"/>
                  </a:lnTo>
                  <a:lnTo>
                    <a:pt x="312" y="495"/>
                  </a:lnTo>
                  <a:lnTo>
                    <a:pt x="293" y="484"/>
                  </a:lnTo>
                  <a:lnTo>
                    <a:pt x="279" y="489"/>
                  </a:lnTo>
                  <a:lnTo>
                    <a:pt x="244" y="487"/>
                  </a:lnTo>
                  <a:lnTo>
                    <a:pt x="232" y="469"/>
                  </a:lnTo>
                  <a:lnTo>
                    <a:pt x="223" y="414"/>
                  </a:lnTo>
                  <a:lnTo>
                    <a:pt x="211" y="397"/>
                  </a:lnTo>
                  <a:lnTo>
                    <a:pt x="200" y="396"/>
                  </a:lnTo>
                  <a:lnTo>
                    <a:pt x="198" y="399"/>
                  </a:lnTo>
                  <a:lnTo>
                    <a:pt x="189" y="394"/>
                  </a:lnTo>
                  <a:lnTo>
                    <a:pt x="177" y="397"/>
                  </a:lnTo>
                  <a:lnTo>
                    <a:pt x="154" y="387"/>
                  </a:lnTo>
                  <a:lnTo>
                    <a:pt x="98" y="367"/>
                  </a:lnTo>
                  <a:lnTo>
                    <a:pt x="80" y="350"/>
                  </a:lnTo>
                  <a:lnTo>
                    <a:pt x="68" y="348"/>
                  </a:lnTo>
                  <a:close/>
                  <a:moveTo>
                    <a:pt x="472" y="189"/>
                  </a:moveTo>
                  <a:lnTo>
                    <a:pt x="469" y="204"/>
                  </a:lnTo>
                  <a:lnTo>
                    <a:pt x="466" y="199"/>
                  </a:lnTo>
                  <a:lnTo>
                    <a:pt x="466" y="179"/>
                  </a:lnTo>
                  <a:lnTo>
                    <a:pt x="471" y="179"/>
                  </a:lnTo>
                  <a:lnTo>
                    <a:pt x="472" y="189"/>
                  </a:lnTo>
                  <a:close/>
                  <a:moveTo>
                    <a:pt x="447" y="220"/>
                  </a:moveTo>
                  <a:lnTo>
                    <a:pt x="459" y="250"/>
                  </a:lnTo>
                  <a:lnTo>
                    <a:pt x="447" y="241"/>
                  </a:lnTo>
                  <a:lnTo>
                    <a:pt x="447" y="220"/>
                  </a:lnTo>
                  <a:close/>
                </a:path>
              </a:pathLst>
            </a:custGeom>
            <a:solidFill>
              <a:schemeClr val="accent1"/>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7" name="Freeform 53">
              <a:extLst>
                <a:ext uri="{FF2B5EF4-FFF2-40B4-BE49-F238E27FC236}">
                  <a16:creationId xmlns:a16="http://schemas.microsoft.com/office/drawing/2014/main" id="{F19D3B1F-A4C3-F643-A763-7D3EF67B7F41}"/>
                </a:ext>
              </a:extLst>
            </p:cNvPr>
            <p:cNvSpPr>
              <a:spLocks noChangeAspect="1" noEditPoints="1"/>
            </p:cNvSpPr>
            <p:nvPr/>
          </p:nvSpPr>
          <p:spPr bwMode="gray">
            <a:xfrm>
              <a:off x="6165494" y="3225150"/>
              <a:ext cx="660855" cy="819786"/>
            </a:xfrm>
            <a:custGeom>
              <a:avLst/>
              <a:gdLst>
                <a:gd name="T0" fmla="*/ 74 w 1353"/>
                <a:gd name="T1" fmla="*/ 695 h 1397"/>
                <a:gd name="T2" fmla="*/ 81 w 1353"/>
                <a:gd name="T3" fmla="*/ 715 h 1397"/>
                <a:gd name="T4" fmla="*/ 105 w 1353"/>
                <a:gd name="T5" fmla="*/ 794 h 1397"/>
                <a:gd name="T6" fmla="*/ 193 w 1353"/>
                <a:gd name="T7" fmla="*/ 721 h 1397"/>
                <a:gd name="T8" fmla="*/ 201 w 1353"/>
                <a:gd name="T9" fmla="*/ 751 h 1397"/>
                <a:gd name="T10" fmla="*/ 208 w 1353"/>
                <a:gd name="T11" fmla="*/ 848 h 1397"/>
                <a:gd name="T12" fmla="*/ 232 w 1353"/>
                <a:gd name="T13" fmla="*/ 964 h 1397"/>
                <a:gd name="T14" fmla="*/ 266 w 1353"/>
                <a:gd name="T15" fmla="*/ 1060 h 1397"/>
                <a:gd name="T16" fmla="*/ 352 w 1353"/>
                <a:gd name="T17" fmla="*/ 1240 h 1397"/>
                <a:gd name="T18" fmla="*/ 467 w 1353"/>
                <a:gd name="T19" fmla="*/ 1354 h 1397"/>
                <a:gd name="T20" fmla="*/ 539 w 1353"/>
                <a:gd name="T21" fmla="*/ 1233 h 1397"/>
                <a:gd name="T22" fmla="*/ 552 w 1353"/>
                <a:gd name="T23" fmla="*/ 1114 h 1397"/>
                <a:gd name="T24" fmla="*/ 588 w 1353"/>
                <a:gd name="T25" fmla="*/ 1040 h 1397"/>
                <a:gd name="T26" fmla="*/ 648 w 1353"/>
                <a:gd name="T27" fmla="*/ 1005 h 1397"/>
                <a:gd name="T28" fmla="*/ 840 w 1353"/>
                <a:gd name="T29" fmla="*/ 839 h 1397"/>
                <a:gd name="T30" fmla="*/ 922 w 1353"/>
                <a:gd name="T31" fmla="*/ 730 h 1397"/>
                <a:gd name="T32" fmla="*/ 953 w 1353"/>
                <a:gd name="T33" fmla="*/ 757 h 1397"/>
                <a:gd name="T34" fmla="*/ 939 w 1353"/>
                <a:gd name="T35" fmla="*/ 655 h 1397"/>
                <a:gd name="T36" fmla="*/ 931 w 1353"/>
                <a:gd name="T37" fmla="*/ 574 h 1397"/>
                <a:gd name="T38" fmla="*/ 939 w 1353"/>
                <a:gd name="T39" fmla="*/ 511 h 1397"/>
                <a:gd name="T40" fmla="*/ 973 w 1353"/>
                <a:gd name="T41" fmla="*/ 532 h 1397"/>
                <a:gd name="T42" fmla="*/ 1083 w 1353"/>
                <a:gd name="T43" fmla="*/ 573 h 1397"/>
                <a:gd name="T44" fmla="*/ 1066 w 1353"/>
                <a:gd name="T45" fmla="*/ 672 h 1397"/>
                <a:gd name="T46" fmla="*/ 1109 w 1353"/>
                <a:gd name="T47" fmla="*/ 649 h 1397"/>
                <a:gd name="T48" fmla="*/ 1151 w 1353"/>
                <a:gd name="T49" fmla="*/ 693 h 1397"/>
                <a:gd name="T50" fmla="*/ 1205 w 1353"/>
                <a:gd name="T51" fmla="*/ 641 h 1397"/>
                <a:gd name="T52" fmla="*/ 1255 w 1353"/>
                <a:gd name="T53" fmla="*/ 512 h 1397"/>
                <a:gd name="T54" fmla="*/ 1338 w 1353"/>
                <a:gd name="T55" fmla="*/ 447 h 1397"/>
                <a:gd name="T56" fmla="*/ 1306 w 1353"/>
                <a:gd name="T57" fmla="*/ 409 h 1397"/>
                <a:gd name="T58" fmla="*/ 1255 w 1353"/>
                <a:gd name="T59" fmla="*/ 372 h 1397"/>
                <a:gd name="T60" fmla="*/ 1111 w 1353"/>
                <a:gd name="T61" fmla="*/ 468 h 1397"/>
                <a:gd name="T62" fmla="*/ 955 w 1353"/>
                <a:gd name="T63" fmla="*/ 478 h 1397"/>
                <a:gd name="T64" fmla="*/ 924 w 1353"/>
                <a:gd name="T65" fmla="*/ 441 h 1397"/>
                <a:gd name="T66" fmla="*/ 919 w 1353"/>
                <a:gd name="T67" fmla="*/ 515 h 1397"/>
                <a:gd name="T68" fmla="*/ 667 w 1353"/>
                <a:gd name="T69" fmla="*/ 454 h 1397"/>
                <a:gd name="T70" fmla="*/ 563 w 1353"/>
                <a:gd name="T71" fmla="*/ 395 h 1397"/>
                <a:gd name="T72" fmla="*/ 589 w 1353"/>
                <a:gd name="T73" fmla="*/ 317 h 1397"/>
                <a:gd name="T74" fmla="*/ 528 w 1353"/>
                <a:gd name="T75" fmla="*/ 274 h 1397"/>
                <a:gd name="T76" fmla="*/ 481 w 1353"/>
                <a:gd name="T77" fmla="*/ 209 h 1397"/>
                <a:gd name="T78" fmla="*/ 518 w 1353"/>
                <a:gd name="T79" fmla="*/ 190 h 1397"/>
                <a:gd name="T80" fmla="*/ 511 w 1353"/>
                <a:gd name="T81" fmla="*/ 156 h 1397"/>
                <a:gd name="T82" fmla="*/ 530 w 1353"/>
                <a:gd name="T83" fmla="*/ 107 h 1397"/>
                <a:gd name="T84" fmla="*/ 567 w 1353"/>
                <a:gd name="T85" fmla="*/ 28 h 1397"/>
                <a:gd name="T86" fmla="*/ 535 w 1353"/>
                <a:gd name="T87" fmla="*/ 17 h 1397"/>
                <a:gd name="T88" fmla="*/ 444 w 1353"/>
                <a:gd name="T89" fmla="*/ 31 h 1397"/>
                <a:gd name="T90" fmla="*/ 364 w 1353"/>
                <a:gd name="T91" fmla="*/ 73 h 1397"/>
                <a:gd name="T92" fmla="*/ 272 w 1353"/>
                <a:gd name="T93" fmla="*/ 96 h 1397"/>
                <a:gd name="T94" fmla="*/ 271 w 1353"/>
                <a:gd name="T95" fmla="*/ 153 h 1397"/>
                <a:gd name="T96" fmla="*/ 331 w 1353"/>
                <a:gd name="T97" fmla="*/ 198 h 1397"/>
                <a:gd name="T98" fmla="*/ 306 w 1353"/>
                <a:gd name="T99" fmla="*/ 254 h 1397"/>
                <a:gd name="T100" fmla="*/ 266 w 1353"/>
                <a:gd name="T101" fmla="*/ 314 h 1397"/>
                <a:gd name="T102" fmla="*/ 172 w 1353"/>
                <a:gd name="T103" fmla="*/ 438 h 1397"/>
                <a:gd name="T104" fmla="*/ 70 w 1353"/>
                <a:gd name="T105" fmla="*/ 503 h 1397"/>
                <a:gd name="T106" fmla="*/ 120 w 1353"/>
                <a:gd name="T107" fmla="*/ 571 h 1397"/>
                <a:gd name="T108" fmla="*/ 112 w 1353"/>
                <a:gd name="T109" fmla="*/ 615 h 1397"/>
                <a:gd name="T110" fmla="*/ 36 w 1353"/>
                <a:gd name="T111" fmla="*/ 619 h 1397"/>
                <a:gd name="T112" fmla="*/ 1146 w 1353"/>
                <a:gd name="T113" fmla="*/ 1145 h 1397"/>
                <a:gd name="T114" fmla="*/ 1146 w 1353"/>
                <a:gd name="T115" fmla="*/ 1169 h 1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53" h="1397">
                  <a:moveTo>
                    <a:pt x="2" y="658"/>
                  </a:moveTo>
                  <a:lnTo>
                    <a:pt x="8" y="659"/>
                  </a:lnTo>
                  <a:lnTo>
                    <a:pt x="23" y="681"/>
                  </a:lnTo>
                  <a:lnTo>
                    <a:pt x="39" y="695"/>
                  </a:lnTo>
                  <a:lnTo>
                    <a:pt x="74" y="695"/>
                  </a:lnTo>
                  <a:lnTo>
                    <a:pt x="96" y="688"/>
                  </a:lnTo>
                  <a:lnTo>
                    <a:pt x="104" y="680"/>
                  </a:lnTo>
                  <a:lnTo>
                    <a:pt x="105" y="684"/>
                  </a:lnTo>
                  <a:lnTo>
                    <a:pt x="98" y="701"/>
                  </a:lnTo>
                  <a:lnTo>
                    <a:pt x="81" y="715"/>
                  </a:lnTo>
                  <a:lnTo>
                    <a:pt x="51" y="721"/>
                  </a:lnTo>
                  <a:lnTo>
                    <a:pt x="44" y="715"/>
                  </a:lnTo>
                  <a:lnTo>
                    <a:pt x="39" y="720"/>
                  </a:lnTo>
                  <a:lnTo>
                    <a:pt x="42" y="734"/>
                  </a:lnTo>
                  <a:lnTo>
                    <a:pt x="105" y="794"/>
                  </a:lnTo>
                  <a:lnTo>
                    <a:pt x="141" y="794"/>
                  </a:lnTo>
                  <a:lnTo>
                    <a:pt x="174" y="780"/>
                  </a:lnTo>
                  <a:lnTo>
                    <a:pt x="183" y="763"/>
                  </a:lnTo>
                  <a:lnTo>
                    <a:pt x="188" y="717"/>
                  </a:lnTo>
                  <a:lnTo>
                    <a:pt x="193" y="721"/>
                  </a:lnTo>
                  <a:lnTo>
                    <a:pt x="218" y="721"/>
                  </a:lnTo>
                  <a:lnTo>
                    <a:pt x="214" y="729"/>
                  </a:lnTo>
                  <a:lnTo>
                    <a:pt x="205" y="729"/>
                  </a:lnTo>
                  <a:lnTo>
                    <a:pt x="201" y="738"/>
                  </a:lnTo>
                  <a:lnTo>
                    <a:pt x="201" y="751"/>
                  </a:lnTo>
                  <a:lnTo>
                    <a:pt x="209" y="755"/>
                  </a:lnTo>
                  <a:lnTo>
                    <a:pt x="205" y="776"/>
                  </a:lnTo>
                  <a:lnTo>
                    <a:pt x="209" y="781"/>
                  </a:lnTo>
                  <a:lnTo>
                    <a:pt x="215" y="810"/>
                  </a:lnTo>
                  <a:lnTo>
                    <a:pt x="208" y="848"/>
                  </a:lnTo>
                  <a:lnTo>
                    <a:pt x="214" y="881"/>
                  </a:lnTo>
                  <a:lnTo>
                    <a:pt x="220" y="876"/>
                  </a:lnTo>
                  <a:lnTo>
                    <a:pt x="220" y="879"/>
                  </a:lnTo>
                  <a:lnTo>
                    <a:pt x="217" y="913"/>
                  </a:lnTo>
                  <a:lnTo>
                    <a:pt x="232" y="964"/>
                  </a:lnTo>
                  <a:lnTo>
                    <a:pt x="237" y="1003"/>
                  </a:lnTo>
                  <a:lnTo>
                    <a:pt x="256" y="1040"/>
                  </a:lnTo>
                  <a:lnTo>
                    <a:pt x="260" y="1052"/>
                  </a:lnTo>
                  <a:lnTo>
                    <a:pt x="269" y="1052"/>
                  </a:lnTo>
                  <a:lnTo>
                    <a:pt x="266" y="1060"/>
                  </a:lnTo>
                  <a:lnTo>
                    <a:pt x="271" y="1077"/>
                  </a:lnTo>
                  <a:lnTo>
                    <a:pt x="285" y="1091"/>
                  </a:lnTo>
                  <a:lnTo>
                    <a:pt x="306" y="1142"/>
                  </a:lnTo>
                  <a:lnTo>
                    <a:pt x="322" y="1203"/>
                  </a:lnTo>
                  <a:lnTo>
                    <a:pt x="352" y="1240"/>
                  </a:lnTo>
                  <a:lnTo>
                    <a:pt x="395" y="1357"/>
                  </a:lnTo>
                  <a:lnTo>
                    <a:pt x="429" y="1397"/>
                  </a:lnTo>
                  <a:lnTo>
                    <a:pt x="441" y="1397"/>
                  </a:lnTo>
                  <a:lnTo>
                    <a:pt x="460" y="1380"/>
                  </a:lnTo>
                  <a:lnTo>
                    <a:pt x="467" y="1354"/>
                  </a:lnTo>
                  <a:lnTo>
                    <a:pt x="500" y="1343"/>
                  </a:lnTo>
                  <a:lnTo>
                    <a:pt x="500" y="1328"/>
                  </a:lnTo>
                  <a:lnTo>
                    <a:pt x="518" y="1295"/>
                  </a:lnTo>
                  <a:lnTo>
                    <a:pt x="540" y="1297"/>
                  </a:lnTo>
                  <a:lnTo>
                    <a:pt x="539" y="1233"/>
                  </a:lnTo>
                  <a:lnTo>
                    <a:pt x="563" y="1162"/>
                  </a:lnTo>
                  <a:lnTo>
                    <a:pt x="562" y="1150"/>
                  </a:lnTo>
                  <a:lnTo>
                    <a:pt x="554" y="1140"/>
                  </a:lnTo>
                  <a:lnTo>
                    <a:pt x="559" y="1140"/>
                  </a:lnTo>
                  <a:lnTo>
                    <a:pt x="552" y="1114"/>
                  </a:lnTo>
                  <a:lnTo>
                    <a:pt x="555" y="1096"/>
                  </a:lnTo>
                  <a:lnTo>
                    <a:pt x="551" y="1062"/>
                  </a:lnTo>
                  <a:lnTo>
                    <a:pt x="563" y="1042"/>
                  </a:lnTo>
                  <a:lnTo>
                    <a:pt x="579" y="1037"/>
                  </a:lnTo>
                  <a:lnTo>
                    <a:pt x="588" y="1040"/>
                  </a:lnTo>
                  <a:lnTo>
                    <a:pt x="594" y="1038"/>
                  </a:lnTo>
                  <a:lnTo>
                    <a:pt x="599" y="1028"/>
                  </a:lnTo>
                  <a:lnTo>
                    <a:pt x="606" y="1017"/>
                  </a:lnTo>
                  <a:lnTo>
                    <a:pt x="628" y="1011"/>
                  </a:lnTo>
                  <a:lnTo>
                    <a:pt x="648" y="1005"/>
                  </a:lnTo>
                  <a:lnTo>
                    <a:pt x="656" y="980"/>
                  </a:lnTo>
                  <a:lnTo>
                    <a:pt x="740" y="915"/>
                  </a:lnTo>
                  <a:lnTo>
                    <a:pt x="779" y="870"/>
                  </a:lnTo>
                  <a:lnTo>
                    <a:pt x="814" y="847"/>
                  </a:lnTo>
                  <a:lnTo>
                    <a:pt x="840" y="839"/>
                  </a:lnTo>
                  <a:lnTo>
                    <a:pt x="871" y="802"/>
                  </a:lnTo>
                  <a:lnTo>
                    <a:pt x="867" y="781"/>
                  </a:lnTo>
                  <a:lnTo>
                    <a:pt x="871" y="768"/>
                  </a:lnTo>
                  <a:lnTo>
                    <a:pt x="913" y="749"/>
                  </a:lnTo>
                  <a:lnTo>
                    <a:pt x="922" y="730"/>
                  </a:lnTo>
                  <a:lnTo>
                    <a:pt x="922" y="751"/>
                  </a:lnTo>
                  <a:lnTo>
                    <a:pt x="931" y="759"/>
                  </a:lnTo>
                  <a:lnTo>
                    <a:pt x="947" y="755"/>
                  </a:lnTo>
                  <a:lnTo>
                    <a:pt x="948" y="746"/>
                  </a:lnTo>
                  <a:lnTo>
                    <a:pt x="953" y="757"/>
                  </a:lnTo>
                  <a:lnTo>
                    <a:pt x="960" y="755"/>
                  </a:lnTo>
                  <a:lnTo>
                    <a:pt x="953" y="712"/>
                  </a:lnTo>
                  <a:lnTo>
                    <a:pt x="947" y="700"/>
                  </a:lnTo>
                  <a:lnTo>
                    <a:pt x="948" y="678"/>
                  </a:lnTo>
                  <a:lnTo>
                    <a:pt x="939" y="655"/>
                  </a:lnTo>
                  <a:lnTo>
                    <a:pt x="941" y="621"/>
                  </a:lnTo>
                  <a:lnTo>
                    <a:pt x="913" y="596"/>
                  </a:lnTo>
                  <a:lnTo>
                    <a:pt x="918" y="585"/>
                  </a:lnTo>
                  <a:lnTo>
                    <a:pt x="928" y="582"/>
                  </a:lnTo>
                  <a:lnTo>
                    <a:pt x="931" y="574"/>
                  </a:lnTo>
                  <a:lnTo>
                    <a:pt x="948" y="573"/>
                  </a:lnTo>
                  <a:lnTo>
                    <a:pt x="945" y="561"/>
                  </a:lnTo>
                  <a:lnTo>
                    <a:pt x="927" y="557"/>
                  </a:lnTo>
                  <a:lnTo>
                    <a:pt x="921" y="542"/>
                  </a:lnTo>
                  <a:lnTo>
                    <a:pt x="939" y="511"/>
                  </a:lnTo>
                  <a:lnTo>
                    <a:pt x="953" y="531"/>
                  </a:lnTo>
                  <a:lnTo>
                    <a:pt x="956" y="514"/>
                  </a:lnTo>
                  <a:lnTo>
                    <a:pt x="962" y="515"/>
                  </a:lnTo>
                  <a:lnTo>
                    <a:pt x="970" y="536"/>
                  </a:lnTo>
                  <a:lnTo>
                    <a:pt x="973" y="532"/>
                  </a:lnTo>
                  <a:lnTo>
                    <a:pt x="982" y="537"/>
                  </a:lnTo>
                  <a:lnTo>
                    <a:pt x="989" y="525"/>
                  </a:lnTo>
                  <a:lnTo>
                    <a:pt x="998" y="561"/>
                  </a:lnTo>
                  <a:lnTo>
                    <a:pt x="1011" y="573"/>
                  </a:lnTo>
                  <a:lnTo>
                    <a:pt x="1083" y="573"/>
                  </a:lnTo>
                  <a:lnTo>
                    <a:pt x="1116" y="583"/>
                  </a:lnTo>
                  <a:lnTo>
                    <a:pt x="1092" y="613"/>
                  </a:lnTo>
                  <a:lnTo>
                    <a:pt x="1062" y="636"/>
                  </a:lnTo>
                  <a:lnTo>
                    <a:pt x="1060" y="642"/>
                  </a:lnTo>
                  <a:lnTo>
                    <a:pt x="1066" y="672"/>
                  </a:lnTo>
                  <a:lnTo>
                    <a:pt x="1075" y="673"/>
                  </a:lnTo>
                  <a:lnTo>
                    <a:pt x="1085" y="686"/>
                  </a:lnTo>
                  <a:lnTo>
                    <a:pt x="1095" y="661"/>
                  </a:lnTo>
                  <a:lnTo>
                    <a:pt x="1103" y="649"/>
                  </a:lnTo>
                  <a:lnTo>
                    <a:pt x="1109" y="649"/>
                  </a:lnTo>
                  <a:lnTo>
                    <a:pt x="1125" y="690"/>
                  </a:lnTo>
                  <a:lnTo>
                    <a:pt x="1131" y="742"/>
                  </a:lnTo>
                  <a:lnTo>
                    <a:pt x="1154" y="730"/>
                  </a:lnTo>
                  <a:lnTo>
                    <a:pt x="1150" y="703"/>
                  </a:lnTo>
                  <a:lnTo>
                    <a:pt x="1151" y="693"/>
                  </a:lnTo>
                  <a:lnTo>
                    <a:pt x="1165" y="690"/>
                  </a:lnTo>
                  <a:lnTo>
                    <a:pt x="1167" y="650"/>
                  </a:lnTo>
                  <a:lnTo>
                    <a:pt x="1171" y="644"/>
                  </a:lnTo>
                  <a:lnTo>
                    <a:pt x="1202" y="644"/>
                  </a:lnTo>
                  <a:lnTo>
                    <a:pt x="1205" y="641"/>
                  </a:lnTo>
                  <a:lnTo>
                    <a:pt x="1226" y="593"/>
                  </a:lnTo>
                  <a:lnTo>
                    <a:pt x="1227" y="576"/>
                  </a:lnTo>
                  <a:lnTo>
                    <a:pt x="1252" y="549"/>
                  </a:lnTo>
                  <a:lnTo>
                    <a:pt x="1250" y="525"/>
                  </a:lnTo>
                  <a:lnTo>
                    <a:pt x="1255" y="512"/>
                  </a:lnTo>
                  <a:lnTo>
                    <a:pt x="1280" y="497"/>
                  </a:lnTo>
                  <a:lnTo>
                    <a:pt x="1295" y="478"/>
                  </a:lnTo>
                  <a:lnTo>
                    <a:pt x="1320" y="471"/>
                  </a:lnTo>
                  <a:lnTo>
                    <a:pt x="1334" y="477"/>
                  </a:lnTo>
                  <a:lnTo>
                    <a:pt x="1338" y="447"/>
                  </a:lnTo>
                  <a:lnTo>
                    <a:pt x="1353" y="438"/>
                  </a:lnTo>
                  <a:lnTo>
                    <a:pt x="1353" y="426"/>
                  </a:lnTo>
                  <a:lnTo>
                    <a:pt x="1349" y="417"/>
                  </a:lnTo>
                  <a:lnTo>
                    <a:pt x="1341" y="412"/>
                  </a:lnTo>
                  <a:lnTo>
                    <a:pt x="1306" y="409"/>
                  </a:lnTo>
                  <a:lnTo>
                    <a:pt x="1309" y="385"/>
                  </a:lnTo>
                  <a:lnTo>
                    <a:pt x="1298" y="381"/>
                  </a:lnTo>
                  <a:lnTo>
                    <a:pt x="1298" y="367"/>
                  </a:lnTo>
                  <a:lnTo>
                    <a:pt x="1289" y="356"/>
                  </a:lnTo>
                  <a:lnTo>
                    <a:pt x="1255" y="372"/>
                  </a:lnTo>
                  <a:lnTo>
                    <a:pt x="1222" y="367"/>
                  </a:lnTo>
                  <a:lnTo>
                    <a:pt x="1151" y="423"/>
                  </a:lnTo>
                  <a:lnTo>
                    <a:pt x="1092" y="446"/>
                  </a:lnTo>
                  <a:lnTo>
                    <a:pt x="1091" y="458"/>
                  </a:lnTo>
                  <a:lnTo>
                    <a:pt x="1111" y="468"/>
                  </a:lnTo>
                  <a:lnTo>
                    <a:pt x="1111" y="486"/>
                  </a:lnTo>
                  <a:lnTo>
                    <a:pt x="1103" y="489"/>
                  </a:lnTo>
                  <a:lnTo>
                    <a:pt x="995" y="502"/>
                  </a:lnTo>
                  <a:lnTo>
                    <a:pt x="960" y="494"/>
                  </a:lnTo>
                  <a:lnTo>
                    <a:pt x="955" y="478"/>
                  </a:lnTo>
                  <a:lnTo>
                    <a:pt x="962" y="468"/>
                  </a:lnTo>
                  <a:lnTo>
                    <a:pt x="953" y="464"/>
                  </a:lnTo>
                  <a:lnTo>
                    <a:pt x="956" y="443"/>
                  </a:lnTo>
                  <a:lnTo>
                    <a:pt x="953" y="432"/>
                  </a:lnTo>
                  <a:lnTo>
                    <a:pt x="924" y="441"/>
                  </a:lnTo>
                  <a:lnTo>
                    <a:pt x="918" y="456"/>
                  </a:lnTo>
                  <a:lnTo>
                    <a:pt x="918" y="480"/>
                  </a:lnTo>
                  <a:lnTo>
                    <a:pt x="914" y="486"/>
                  </a:lnTo>
                  <a:lnTo>
                    <a:pt x="924" y="498"/>
                  </a:lnTo>
                  <a:lnTo>
                    <a:pt x="919" y="515"/>
                  </a:lnTo>
                  <a:lnTo>
                    <a:pt x="880" y="517"/>
                  </a:lnTo>
                  <a:lnTo>
                    <a:pt x="779" y="497"/>
                  </a:lnTo>
                  <a:lnTo>
                    <a:pt x="750" y="469"/>
                  </a:lnTo>
                  <a:lnTo>
                    <a:pt x="679" y="466"/>
                  </a:lnTo>
                  <a:lnTo>
                    <a:pt x="667" y="454"/>
                  </a:lnTo>
                  <a:lnTo>
                    <a:pt x="623" y="438"/>
                  </a:lnTo>
                  <a:lnTo>
                    <a:pt x="591" y="410"/>
                  </a:lnTo>
                  <a:lnTo>
                    <a:pt x="580" y="404"/>
                  </a:lnTo>
                  <a:lnTo>
                    <a:pt x="574" y="409"/>
                  </a:lnTo>
                  <a:lnTo>
                    <a:pt x="563" y="395"/>
                  </a:lnTo>
                  <a:lnTo>
                    <a:pt x="555" y="393"/>
                  </a:lnTo>
                  <a:lnTo>
                    <a:pt x="555" y="385"/>
                  </a:lnTo>
                  <a:lnTo>
                    <a:pt x="565" y="370"/>
                  </a:lnTo>
                  <a:lnTo>
                    <a:pt x="567" y="341"/>
                  </a:lnTo>
                  <a:lnTo>
                    <a:pt x="589" y="317"/>
                  </a:lnTo>
                  <a:lnTo>
                    <a:pt x="599" y="317"/>
                  </a:lnTo>
                  <a:lnTo>
                    <a:pt x="552" y="291"/>
                  </a:lnTo>
                  <a:lnTo>
                    <a:pt x="548" y="283"/>
                  </a:lnTo>
                  <a:lnTo>
                    <a:pt x="531" y="282"/>
                  </a:lnTo>
                  <a:lnTo>
                    <a:pt x="528" y="274"/>
                  </a:lnTo>
                  <a:lnTo>
                    <a:pt x="503" y="277"/>
                  </a:lnTo>
                  <a:lnTo>
                    <a:pt x="503" y="266"/>
                  </a:lnTo>
                  <a:lnTo>
                    <a:pt x="491" y="253"/>
                  </a:lnTo>
                  <a:lnTo>
                    <a:pt x="494" y="223"/>
                  </a:lnTo>
                  <a:lnTo>
                    <a:pt x="481" y="209"/>
                  </a:lnTo>
                  <a:lnTo>
                    <a:pt x="480" y="194"/>
                  </a:lnTo>
                  <a:lnTo>
                    <a:pt x="491" y="187"/>
                  </a:lnTo>
                  <a:lnTo>
                    <a:pt x="503" y="203"/>
                  </a:lnTo>
                  <a:lnTo>
                    <a:pt x="511" y="200"/>
                  </a:lnTo>
                  <a:lnTo>
                    <a:pt x="518" y="190"/>
                  </a:lnTo>
                  <a:lnTo>
                    <a:pt x="525" y="194"/>
                  </a:lnTo>
                  <a:lnTo>
                    <a:pt x="531" y="183"/>
                  </a:lnTo>
                  <a:lnTo>
                    <a:pt x="523" y="170"/>
                  </a:lnTo>
                  <a:lnTo>
                    <a:pt x="523" y="160"/>
                  </a:lnTo>
                  <a:lnTo>
                    <a:pt x="511" y="156"/>
                  </a:lnTo>
                  <a:lnTo>
                    <a:pt x="503" y="149"/>
                  </a:lnTo>
                  <a:lnTo>
                    <a:pt x="506" y="126"/>
                  </a:lnTo>
                  <a:lnTo>
                    <a:pt x="501" y="115"/>
                  </a:lnTo>
                  <a:lnTo>
                    <a:pt x="523" y="115"/>
                  </a:lnTo>
                  <a:lnTo>
                    <a:pt x="530" y="107"/>
                  </a:lnTo>
                  <a:lnTo>
                    <a:pt x="534" y="90"/>
                  </a:lnTo>
                  <a:lnTo>
                    <a:pt x="542" y="89"/>
                  </a:lnTo>
                  <a:lnTo>
                    <a:pt x="542" y="82"/>
                  </a:lnTo>
                  <a:lnTo>
                    <a:pt x="554" y="72"/>
                  </a:lnTo>
                  <a:lnTo>
                    <a:pt x="567" y="28"/>
                  </a:lnTo>
                  <a:lnTo>
                    <a:pt x="562" y="26"/>
                  </a:lnTo>
                  <a:lnTo>
                    <a:pt x="554" y="33"/>
                  </a:lnTo>
                  <a:lnTo>
                    <a:pt x="551" y="21"/>
                  </a:lnTo>
                  <a:lnTo>
                    <a:pt x="542" y="23"/>
                  </a:lnTo>
                  <a:lnTo>
                    <a:pt x="535" y="17"/>
                  </a:lnTo>
                  <a:lnTo>
                    <a:pt x="535" y="11"/>
                  </a:lnTo>
                  <a:lnTo>
                    <a:pt x="518" y="0"/>
                  </a:lnTo>
                  <a:lnTo>
                    <a:pt x="492" y="6"/>
                  </a:lnTo>
                  <a:lnTo>
                    <a:pt x="457" y="31"/>
                  </a:lnTo>
                  <a:lnTo>
                    <a:pt x="444" y="31"/>
                  </a:lnTo>
                  <a:lnTo>
                    <a:pt x="413" y="51"/>
                  </a:lnTo>
                  <a:lnTo>
                    <a:pt x="404" y="70"/>
                  </a:lnTo>
                  <a:lnTo>
                    <a:pt x="384" y="68"/>
                  </a:lnTo>
                  <a:lnTo>
                    <a:pt x="376" y="75"/>
                  </a:lnTo>
                  <a:lnTo>
                    <a:pt x="364" y="73"/>
                  </a:lnTo>
                  <a:lnTo>
                    <a:pt x="345" y="82"/>
                  </a:lnTo>
                  <a:lnTo>
                    <a:pt x="288" y="64"/>
                  </a:lnTo>
                  <a:lnTo>
                    <a:pt x="269" y="70"/>
                  </a:lnTo>
                  <a:lnTo>
                    <a:pt x="262" y="89"/>
                  </a:lnTo>
                  <a:lnTo>
                    <a:pt x="272" y="96"/>
                  </a:lnTo>
                  <a:lnTo>
                    <a:pt x="268" y="104"/>
                  </a:lnTo>
                  <a:lnTo>
                    <a:pt x="285" y="113"/>
                  </a:lnTo>
                  <a:lnTo>
                    <a:pt x="272" y="124"/>
                  </a:lnTo>
                  <a:lnTo>
                    <a:pt x="285" y="140"/>
                  </a:lnTo>
                  <a:lnTo>
                    <a:pt x="271" y="153"/>
                  </a:lnTo>
                  <a:lnTo>
                    <a:pt x="289" y="169"/>
                  </a:lnTo>
                  <a:lnTo>
                    <a:pt x="288" y="175"/>
                  </a:lnTo>
                  <a:lnTo>
                    <a:pt x="305" y="178"/>
                  </a:lnTo>
                  <a:lnTo>
                    <a:pt x="306" y="194"/>
                  </a:lnTo>
                  <a:lnTo>
                    <a:pt x="331" y="198"/>
                  </a:lnTo>
                  <a:lnTo>
                    <a:pt x="337" y="212"/>
                  </a:lnTo>
                  <a:lnTo>
                    <a:pt x="331" y="219"/>
                  </a:lnTo>
                  <a:lnTo>
                    <a:pt x="305" y="226"/>
                  </a:lnTo>
                  <a:lnTo>
                    <a:pt x="299" y="241"/>
                  </a:lnTo>
                  <a:lnTo>
                    <a:pt x="306" y="254"/>
                  </a:lnTo>
                  <a:lnTo>
                    <a:pt x="299" y="265"/>
                  </a:lnTo>
                  <a:lnTo>
                    <a:pt x="313" y="273"/>
                  </a:lnTo>
                  <a:lnTo>
                    <a:pt x="302" y="273"/>
                  </a:lnTo>
                  <a:lnTo>
                    <a:pt x="289" y="283"/>
                  </a:lnTo>
                  <a:lnTo>
                    <a:pt x="266" y="314"/>
                  </a:lnTo>
                  <a:lnTo>
                    <a:pt x="265" y="325"/>
                  </a:lnTo>
                  <a:lnTo>
                    <a:pt x="245" y="336"/>
                  </a:lnTo>
                  <a:lnTo>
                    <a:pt x="220" y="380"/>
                  </a:lnTo>
                  <a:lnTo>
                    <a:pt x="197" y="400"/>
                  </a:lnTo>
                  <a:lnTo>
                    <a:pt x="172" y="438"/>
                  </a:lnTo>
                  <a:lnTo>
                    <a:pt x="142" y="441"/>
                  </a:lnTo>
                  <a:lnTo>
                    <a:pt x="129" y="449"/>
                  </a:lnTo>
                  <a:lnTo>
                    <a:pt x="112" y="432"/>
                  </a:lnTo>
                  <a:lnTo>
                    <a:pt x="70" y="480"/>
                  </a:lnTo>
                  <a:lnTo>
                    <a:pt x="70" y="503"/>
                  </a:lnTo>
                  <a:lnTo>
                    <a:pt x="99" y="512"/>
                  </a:lnTo>
                  <a:lnTo>
                    <a:pt x="96" y="544"/>
                  </a:lnTo>
                  <a:lnTo>
                    <a:pt x="105" y="553"/>
                  </a:lnTo>
                  <a:lnTo>
                    <a:pt x="120" y="554"/>
                  </a:lnTo>
                  <a:lnTo>
                    <a:pt x="120" y="571"/>
                  </a:lnTo>
                  <a:lnTo>
                    <a:pt x="138" y="598"/>
                  </a:lnTo>
                  <a:lnTo>
                    <a:pt x="135" y="615"/>
                  </a:lnTo>
                  <a:lnTo>
                    <a:pt x="141" y="619"/>
                  </a:lnTo>
                  <a:lnTo>
                    <a:pt x="124" y="625"/>
                  </a:lnTo>
                  <a:lnTo>
                    <a:pt x="112" y="615"/>
                  </a:lnTo>
                  <a:lnTo>
                    <a:pt x="90" y="629"/>
                  </a:lnTo>
                  <a:lnTo>
                    <a:pt x="78" y="629"/>
                  </a:lnTo>
                  <a:lnTo>
                    <a:pt x="71" y="622"/>
                  </a:lnTo>
                  <a:lnTo>
                    <a:pt x="39" y="624"/>
                  </a:lnTo>
                  <a:lnTo>
                    <a:pt x="36" y="619"/>
                  </a:lnTo>
                  <a:lnTo>
                    <a:pt x="34" y="638"/>
                  </a:lnTo>
                  <a:lnTo>
                    <a:pt x="10" y="638"/>
                  </a:lnTo>
                  <a:lnTo>
                    <a:pt x="0" y="650"/>
                  </a:lnTo>
                  <a:lnTo>
                    <a:pt x="2" y="658"/>
                  </a:lnTo>
                  <a:close/>
                  <a:moveTo>
                    <a:pt x="1146" y="1145"/>
                  </a:moveTo>
                  <a:lnTo>
                    <a:pt x="1136" y="1206"/>
                  </a:lnTo>
                  <a:lnTo>
                    <a:pt x="1129" y="1221"/>
                  </a:lnTo>
                  <a:lnTo>
                    <a:pt x="1134" y="1238"/>
                  </a:lnTo>
                  <a:lnTo>
                    <a:pt x="1139" y="1237"/>
                  </a:lnTo>
                  <a:lnTo>
                    <a:pt x="1146" y="1169"/>
                  </a:lnTo>
                  <a:lnTo>
                    <a:pt x="1150" y="1165"/>
                  </a:lnTo>
                  <a:lnTo>
                    <a:pt x="1151" y="1145"/>
                  </a:lnTo>
                  <a:lnTo>
                    <a:pt x="1146" y="1145"/>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8" name="Freeform 5">
              <a:extLst>
                <a:ext uri="{FF2B5EF4-FFF2-40B4-BE49-F238E27FC236}">
                  <a16:creationId xmlns:a16="http://schemas.microsoft.com/office/drawing/2014/main" id="{E6B0BFE4-B9DE-0347-8BC6-065E95AFB955}"/>
                </a:ext>
              </a:extLst>
            </p:cNvPr>
            <p:cNvSpPr>
              <a:spLocks noChangeAspect="1"/>
            </p:cNvSpPr>
            <p:nvPr/>
          </p:nvSpPr>
          <p:spPr bwMode="gray">
            <a:xfrm>
              <a:off x="8799361" y="5143103"/>
              <a:ext cx="6371" cy="5761"/>
            </a:xfrm>
            <a:custGeom>
              <a:avLst/>
              <a:gdLst>
                <a:gd name="T0" fmla="*/ 14 w 14"/>
                <a:gd name="T1" fmla="*/ 1 h 9"/>
                <a:gd name="T2" fmla="*/ 14 w 14"/>
                <a:gd name="T3" fmla="*/ 9 h 9"/>
                <a:gd name="T4" fmla="*/ 0 w 14"/>
                <a:gd name="T5" fmla="*/ 0 h 9"/>
                <a:gd name="T6" fmla="*/ 14 w 14"/>
                <a:gd name="T7" fmla="*/ 1 h 9"/>
              </a:gdLst>
              <a:ahLst/>
              <a:cxnLst>
                <a:cxn ang="0">
                  <a:pos x="T0" y="T1"/>
                </a:cxn>
                <a:cxn ang="0">
                  <a:pos x="T2" y="T3"/>
                </a:cxn>
                <a:cxn ang="0">
                  <a:pos x="T4" y="T5"/>
                </a:cxn>
                <a:cxn ang="0">
                  <a:pos x="T6" y="T7"/>
                </a:cxn>
              </a:cxnLst>
              <a:rect l="0" t="0" r="r" b="b"/>
              <a:pathLst>
                <a:path w="14" h="9">
                  <a:moveTo>
                    <a:pt x="14" y="1"/>
                  </a:moveTo>
                  <a:lnTo>
                    <a:pt x="14" y="9"/>
                  </a:lnTo>
                  <a:lnTo>
                    <a:pt x="0" y="0"/>
                  </a:lnTo>
                  <a:lnTo>
                    <a:pt x="14" y="1"/>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9" name="Freeform 6">
              <a:extLst>
                <a:ext uri="{FF2B5EF4-FFF2-40B4-BE49-F238E27FC236}">
                  <a16:creationId xmlns:a16="http://schemas.microsoft.com/office/drawing/2014/main" id="{FA126C9A-E05D-8543-89AC-8F91B7A7487A}"/>
                </a:ext>
              </a:extLst>
            </p:cNvPr>
            <p:cNvSpPr>
              <a:spLocks noChangeAspect="1"/>
            </p:cNvSpPr>
            <p:nvPr/>
          </p:nvSpPr>
          <p:spPr bwMode="gray">
            <a:xfrm>
              <a:off x="7335926" y="3563049"/>
              <a:ext cx="41404" cy="95995"/>
            </a:xfrm>
            <a:custGeom>
              <a:avLst/>
              <a:gdLst>
                <a:gd name="T0" fmla="*/ 62 w 80"/>
                <a:gd name="T1" fmla="*/ 0 h 165"/>
                <a:gd name="T2" fmla="*/ 80 w 80"/>
                <a:gd name="T3" fmla="*/ 12 h 165"/>
                <a:gd name="T4" fmla="*/ 79 w 80"/>
                <a:gd name="T5" fmla="*/ 34 h 165"/>
                <a:gd name="T6" fmla="*/ 62 w 80"/>
                <a:gd name="T7" fmla="*/ 94 h 165"/>
                <a:gd name="T8" fmla="*/ 38 w 80"/>
                <a:gd name="T9" fmla="*/ 141 h 165"/>
                <a:gd name="T10" fmla="*/ 34 w 80"/>
                <a:gd name="T11" fmla="*/ 165 h 165"/>
                <a:gd name="T12" fmla="*/ 21 w 80"/>
                <a:gd name="T13" fmla="*/ 142 h 165"/>
                <a:gd name="T14" fmla="*/ 4 w 80"/>
                <a:gd name="T15" fmla="*/ 124 h 165"/>
                <a:gd name="T16" fmla="*/ 0 w 80"/>
                <a:gd name="T17" fmla="*/ 85 h 165"/>
                <a:gd name="T18" fmla="*/ 8 w 80"/>
                <a:gd name="T19" fmla="*/ 65 h 165"/>
                <a:gd name="T20" fmla="*/ 40 w 80"/>
                <a:gd name="T21" fmla="*/ 15 h 165"/>
                <a:gd name="T22" fmla="*/ 62 w 80"/>
                <a:gd name="T23"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165">
                  <a:moveTo>
                    <a:pt x="62" y="0"/>
                  </a:moveTo>
                  <a:lnTo>
                    <a:pt x="80" y="12"/>
                  </a:lnTo>
                  <a:lnTo>
                    <a:pt x="79" y="34"/>
                  </a:lnTo>
                  <a:lnTo>
                    <a:pt x="62" y="94"/>
                  </a:lnTo>
                  <a:lnTo>
                    <a:pt x="38" y="141"/>
                  </a:lnTo>
                  <a:lnTo>
                    <a:pt x="34" y="165"/>
                  </a:lnTo>
                  <a:lnTo>
                    <a:pt x="21" y="142"/>
                  </a:lnTo>
                  <a:lnTo>
                    <a:pt x="4" y="124"/>
                  </a:lnTo>
                  <a:lnTo>
                    <a:pt x="0" y="85"/>
                  </a:lnTo>
                  <a:lnTo>
                    <a:pt x="8" y="65"/>
                  </a:lnTo>
                  <a:lnTo>
                    <a:pt x="40" y="15"/>
                  </a:lnTo>
                  <a:lnTo>
                    <a:pt x="62" y="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0" name="Freeform 7">
              <a:extLst>
                <a:ext uri="{FF2B5EF4-FFF2-40B4-BE49-F238E27FC236}">
                  <a16:creationId xmlns:a16="http://schemas.microsoft.com/office/drawing/2014/main" id="{CBA08623-6A57-334B-9FEF-8525B0DD7210}"/>
                </a:ext>
              </a:extLst>
            </p:cNvPr>
            <p:cNvSpPr>
              <a:spLocks noChangeAspect="1" noEditPoints="1"/>
            </p:cNvSpPr>
            <p:nvPr/>
          </p:nvSpPr>
          <p:spPr bwMode="gray">
            <a:xfrm>
              <a:off x="6888453" y="4077575"/>
              <a:ext cx="429956" cy="163190"/>
            </a:xfrm>
            <a:custGeom>
              <a:avLst/>
              <a:gdLst>
                <a:gd name="T0" fmla="*/ 665 w 878"/>
                <a:gd name="T1" fmla="*/ 133 h 275"/>
                <a:gd name="T2" fmla="*/ 670 w 878"/>
                <a:gd name="T3" fmla="*/ 105 h 275"/>
                <a:gd name="T4" fmla="*/ 690 w 878"/>
                <a:gd name="T5" fmla="*/ 113 h 275"/>
                <a:gd name="T6" fmla="*/ 699 w 878"/>
                <a:gd name="T7" fmla="*/ 102 h 275"/>
                <a:gd name="T8" fmla="*/ 707 w 878"/>
                <a:gd name="T9" fmla="*/ 80 h 275"/>
                <a:gd name="T10" fmla="*/ 704 w 878"/>
                <a:gd name="T11" fmla="*/ 68 h 275"/>
                <a:gd name="T12" fmla="*/ 761 w 878"/>
                <a:gd name="T13" fmla="*/ 0 h 275"/>
                <a:gd name="T14" fmla="*/ 775 w 878"/>
                <a:gd name="T15" fmla="*/ 0 h 275"/>
                <a:gd name="T16" fmla="*/ 787 w 878"/>
                <a:gd name="T17" fmla="*/ 15 h 275"/>
                <a:gd name="T18" fmla="*/ 804 w 878"/>
                <a:gd name="T19" fmla="*/ 46 h 275"/>
                <a:gd name="T20" fmla="*/ 821 w 878"/>
                <a:gd name="T21" fmla="*/ 57 h 275"/>
                <a:gd name="T22" fmla="*/ 871 w 878"/>
                <a:gd name="T23" fmla="*/ 71 h 275"/>
                <a:gd name="T24" fmla="*/ 852 w 878"/>
                <a:gd name="T25" fmla="*/ 93 h 275"/>
                <a:gd name="T26" fmla="*/ 832 w 878"/>
                <a:gd name="T27" fmla="*/ 105 h 275"/>
                <a:gd name="T28" fmla="*/ 821 w 878"/>
                <a:gd name="T29" fmla="*/ 125 h 275"/>
                <a:gd name="T30" fmla="*/ 802 w 878"/>
                <a:gd name="T31" fmla="*/ 126 h 275"/>
                <a:gd name="T32" fmla="*/ 721 w 878"/>
                <a:gd name="T33" fmla="*/ 118 h 275"/>
                <a:gd name="T34" fmla="*/ 682 w 878"/>
                <a:gd name="T35" fmla="*/ 193 h 275"/>
                <a:gd name="T36" fmla="*/ 660 w 878"/>
                <a:gd name="T37" fmla="*/ 244 h 275"/>
                <a:gd name="T38" fmla="*/ 608 w 878"/>
                <a:gd name="T39" fmla="*/ 261 h 275"/>
                <a:gd name="T40" fmla="*/ 582 w 878"/>
                <a:gd name="T41" fmla="*/ 249 h 275"/>
                <a:gd name="T42" fmla="*/ 527 w 878"/>
                <a:gd name="T43" fmla="*/ 274 h 275"/>
                <a:gd name="T44" fmla="*/ 495 w 878"/>
                <a:gd name="T45" fmla="*/ 270 h 275"/>
                <a:gd name="T46" fmla="*/ 465 w 878"/>
                <a:gd name="T47" fmla="*/ 272 h 275"/>
                <a:gd name="T48" fmla="*/ 434 w 878"/>
                <a:gd name="T49" fmla="*/ 235 h 275"/>
                <a:gd name="T50" fmla="*/ 438 w 878"/>
                <a:gd name="T51" fmla="*/ 219 h 275"/>
                <a:gd name="T52" fmla="*/ 455 w 878"/>
                <a:gd name="T53" fmla="*/ 236 h 275"/>
                <a:gd name="T54" fmla="*/ 502 w 878"/>
                <a:gd name="T55" fmla="*/ 244 h 275"/>
                <a:gd name="T56" fmla="*/ 507 w 878"/>
                <a:gd name="T57" fmla="*/ 211 h 275"/>
                <a:gd name="T58" fmla="*/ 519 w 878"/>
                <a:gd name="T59" fmla="*/ 199 h 275"/>
                <a:gd name="T60" fmla="*/ 582 w 878"/>
                <a:gd name="T61" fmla="*/ 176 h 275"/>
                <a:gd name="T62" fmla="*/ 634 w 878"/>
                <a:gd name="T63" fmla="*/ 108 h 275"/>
                <a:gd name="T64" fmla="*/ 101 w 878"/>
                <a:gd name="T65" fmla="*/ 34 h 275"/>
                <a:gd name="T66" fmla="*/ 150 w 878"/>
                <a:gd name="T67" fmla="*/ 89 h 275"/>
                <a:gd name="T68" fmla="*/ 157 w 878"/>
                <a:gd name="T69" fmla="*/ 185 h 275"/>
                <a:gd name="T70" fmla="*/ 189 w 878"/>
                <a:gd name="T71" fmla="*/ 232 h 275"/>
                <a:gd name="T72" fmla="*/ 165 w 878"/>
                <a:gd name="T73" fmla="*/ 241 h 275"/>
                <a:gd name="T74" fmla="*/ 94 w 878"/>
                <a:gd name="T75" fmla="*/ 218 h 275"/>
                <a:gd name="T76" fmla="*/ 48 w 878"/>
                <a:gd name="T77" fmla="*/ 164 h 275"/>
                <a:gd name="T78" fmla="*/ 20 w 878"/>
                <a:gd name="T79" fmla="*/ 119 h 275"/>
                <a:gd name="T80" fmla="*/ 11 w 878"/>
                <a:gd name="T81" fmla="*/ 82 h 275"/>
                <a:gd name="T82" fmla="*/ 0 w 878"/>
                <a:gd name="T83" fmla="*/ 9 h 275"/>
                <a:gd name="T84" fmla="*/ 46 w 878"/>
                <a:gd name="T85" fmla="*/ 34 h 275"/>
                <a:gd name="T86" fmla="*/ 68 w 878"/>
                <a:gd name="T87" fmla="*/ 43 h 275"/>
                <a:gd name="T88" fmla="*/ 91 w 878"/>
                <a:gd name="T89" fmla="*/ 34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8" h="275">
                  <a:moveTo>
                    <a:pt x="634" y="108"/>
                  </a:moveTo>
                  <a:lnTo>
                    <a:pt x="665" y="133"/>
                  </a:lnTo>
                  <a:lnTo>
                    <a:pt x="670" y="125"/>
                  </a:lnTo>
                  <a:lnTo>
                    <a:pt x="670" y="105"/>
                  </a:lnTo>
                  <a:lnTo>
                    <a:pt x="679" y="97"/>
                  </a:lnTo>
                  <a:lnTo>
                    <a:pt x="690" y="113"/>
                  </a:lnTo>
                  <a:lnTo>
                    <a:pt x="699" y="116"/>
                  </a:lnTo>
                  <a:lnTo>
                    <a:pt x="699" y="102"/>
                  </a:lnTo>
                  <a:lnTo>
                    <a:pt x="692" y="91"/>
                  </a:lnTo>
                  <a:lnTo>
                    <a:pt x="707" y="80"/>
                  </a:lnTo>
                  <a:lnTo>
                    <a:pt x="701" y="72"/>
                  </a:lnTo>
                  <a:lnTo>
                    <a:pt x="704" y="68"/>
                  </a:lnTo>
                  <a:lnTo>
                    <a:pt x="717" y="66"/>
                  </a:lnTo>
                  <a:lnTo>
                    <a:pt x="761" y="0"/>
                  </a:lnTo>
                  <a:lnTo>
                    <a:pt x="763" y="18"/>
                  </a:lnTo>
                  <a:lnTo>
                    <a:pt x="775" y="0"/>
                  </a:lnTo>
                  <a:lnTo>
                    <a:pt x="780" y="0"/>
                  </a:lnTo>
                  <a:lnTo>
                    <a:pt x="787" y="15"/>
                  </a:lnTo>
                  <a:lnTo>
                    <a:pt x="804" y="21"/>
                  </a:lnTo>
                  <a:lnTo>
                    <a:pt x="804" y="46"/>
                  </a:lnTo>
                  <a:lnTo>
                    <a:pt x="821" y="43"/>
                  </a:lnTo>
                  <a:lnTo>
                    <a:pt x="821" y="57"/>
                  </a:lnTo>
                  <a:lnTo>
                    <a:pt x="835" y="54"/>
                  </a:lnTo>
                  <a:lnTo>
                    <a:pt x="871" y="71"/>
                  </a:lnTo>
                  <a:lnTo>
                    <a:pt x="878" y="79"/>
                  </a:lnTo>
                  <a:lnTo>
                    <a:pt x="852" y="93"/>
                  </a:lnTo>
                  <a:lnTo>
                    <a:pt x="832" y="94"/>
                  </a:lnTo>
                  <a:lnTo>
                    <a:pt x="832" y="105"/>
                  </a:lnTo>
                  <a:lnTo>
                    <a:pt x="846" y="116"/>
                  </a:lnTo>
                  <a:lnTo>
                    <a:pt x="821" y="125"/>
                  </a:lnTo>
                  <a:lnTo>
                    <a:pt x="807" y="118"/>
                  </a:lnTo>
                  <a:lnTo>
                    <a:pt x="802" y="126"/>
                  </a:lnTo>
                  <a:lnTo>
                    <a:pt x="778" y="118"/>
                  </a:lnTo>
                  <a:lnTo>
                    <a:pt x="721" y="118"/>
                  </a:lnTo>
                  <a:lnTo>
                    <a:pt x="704" y="167"/>
                  </a:lnTo>
                  <a:lnTo>
                    <a:pt x="682" y="193"/>
                  </a:lnTo>
                  <a:lnTo>
                    <a:pt x="670" y="230"/>
                  </a:lnTo>
                  <a:lnTo>
                    <a:pt x="660" y="244"/>
                  </a:lnTo>
                  <a:lnTo>
                    <a:pt x="643" y="253"/>
                  </a:lnTo>
                  <a:lnTo>
                    <a:pt x="608" y="261"/>
                  </a:lnTo>
                  <a:lnTo>
                    <a:pt x="587" y="255"/>
                  </a:lnTo>
                  <a:lnTo>
                    <a:pt x="582" y="249"/>
                  </a:lnTo>
                  <a:lnTo>
                    <a:pt x="558" y="247"/>
                  </a:lnTo>
                  <a:lnTo>
                    <a:pt x="527" y="274"/>
                  </a:lnTo>
                  <a:lnTo>
                    <a:pt x="504" y="275"/>
                  </a:lnTo>
                  <a:lnTo>
                    <a:pt x="495" y="270"/>
                  </a:lnTo>
                  <a:lnTo>
                    <a:pt x="476" y="275"/>
                  </a:lnTo>
                  <a:lnTo>
                    <a:pt x="465" y="272"/>
                  </a:lnTo>
                  <a:lnTo>
                    <a:pt x="453" y="269"/>
                  </a:lnTo>
                  <a:lnTo>
                    <a:pt x="434" y="235"/>
                  </a:lnTo>
                  <a:lnTo>
                    <a:pt x="433" y="223"/>
                  </a:lnTo>
                  <a:lnTo>
                    <a:pt x="438" y="219"/>
                  </a:lnTo>
                  <a:lnTo>
                    <a:pt x="442" y="232"/>
                  </a:lnTo>
                  <a:lnTo>
                    <a:pt x="455" y="236"/>
                  </a:lnTo>
                  <a:lnTo>
                    <a:pt x="472" y="236"/>
                  </a:lnTo>
                  <a:lnTo>
                    <a:pt x="502" y="244"/>
                  </a:lnTo>
                  <a:lnTo>
                    <a:pt x="509" y="219"/>
                  </a:lnTo>
                  <a:lnTo>
                    <a:pt x="507" y="211"/>
                  </a:lnTo>
                  <a:lnTo>
                    <a:pt x="519" y="211"/>
                  </a:lnTo>
                  <a:lnTo>
                    <a:pt x="519" y="199"/>
                  </a:lnTo>
                  <a:lnTo>
                    <a:pt x="526" y="187"/>
                  </a:lnTo>
                  <a:lnTo>
                    <a:pt x="582" y="176"/>
                  </a:lnTo>
                  <a:lnTo>
                    <a:pt x="626" y="128"/>
                  </a:lnTo>
                  <a:lnTo>
                    <a:pt x="634" y="108"/>
                  </a:lnTo>
                  <a:close/>
                  <a:moveTo>
                    <a:pt x="91" y="34"/>
                  </a:moveTo>
                  <a:lnTo>
                    <a:pt x="101" y="34"/>
                  </a:lnTo>
                  <a:lnTo>
                    <a:pt x="131" y="60"/>
                  </a:lnTo>
                  <a:lnTo>
                    <a:pt x="150" y="89"/>
                  </a:lnTo>
                  <a:lnTo>
                    <a:pt x="152" y="170"/>
                  </a:lnTo>
                  <a:lnTo>
                    <a:pt x="157" y="185"/>
                  </a:lnTo>
                  <a:lnTo>
                    <a:pt x="170" y="196"/>
                  </a:lnTo>
                  <a:lnTo>
                    <a:pt x="189" y="232"/>
                  </a:lnTo>
                  <a:lnTo>
                    <a:pt x="182" y="252"/>
                  </a:lnTo>
                  <a:lnTo>
                    <a:pt x="165" y="241"/>
                  </a:lnTo>
                  <a:lnTo>
                    <a:pt x="152" y="252"/>
                  </a:lnTo>
                  <a:lnTo>
                    <a:pt x="94" y="218"/>
                  </a:lnTo>
                  <a:lnTo>
                    <a:pt x="55" y="184"/>
                  </a:lnTo>
                  <a:lnTo>
                    <a:pt x="48" y="164"/>
                  </a:lnTo>
                  <a:lnTo>
                    <a:pt x="26" y="134"/>
                  </a:lnTo>
                  <a:lnTo>
                    <a:pt x="20" y="119"/>
                  </a:lnTo>
                  <a:lnTo>
                    <a:pt x="21" y="96"/>
                  </a:lnTo>
                  <a:lnTo>
                    <a:pt x="11" y="82"/>
                  </a:lnTo>
                  <a:lnTo>
                    <a:pt x="3" y="21"/>
                  </a:lnTo>
                  <a:lnTo>
                    <a:pt x="0" y="9"/>
                  </a:lnTo>
                  <a:lnTo>
                    <a:pt x="37" y="21"/>
                  </a:lnTo>
                  <a:lnTo>
                    <a:pt x="46" y="34"/>
                  </a:lnTo>
                  <a:lnTo>
                    <a:pt x="46" y="57"/>
                  </a:lnTo>
                  <a:lnTo>
                    <a:pt x="68" y="43"/>
                  </a:lnTo>
                  <a:lnTo>
                    <a:pt x="86" y="45"/>
                  </a:lnTo>
                  <a:lnTo>
                    <a:pt x="91" y="34"/>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1" name="Freeform 8">
              <a:extLst>
                <a:ext uri="{FF2B5EF4-FFF2-40B4-BE49-F238E27FC236}">
                  <a16:creationId xmlns:a16="http://schemas.microsoft.com/office/drawing/2014/main" id="{3D97025F-B6C2-E14D-83A2-353E021A1F77}"/>
                </a:ext>
              </a:extLst>
            </p:cNvPr>
            <p:cNvSpPr>
              <a:spLocks noChangeAspect="1"/>
            </p:cNvSpPr>
            <p:nvPr/>
          </p:nvSpPr>
          <p:spPr bwMode="gray">
            <a:xfrm>
              <a:off x="7198976" y="4127491"/>
              <a:ext cx="31849" cy="30716"/>
            </a:xfrm>
            <a:custGeom>
              <a:avLst/>
              <a:gdLst>
                <a:gd name="T0" fmla="*/ 0 w 65"/>
                <a:gd name="T1" fmla="*/ 23 h 48"/>
                <a:gd name="T2" fmla="*/ 31 w 65"/>
                <a:gd name="T3" fmla="*/ 48 h 48"/>
                <a:gd name="T4" fmla="*/ 36 w 65"/>
                <a:gd name="T5" fmla="*/ 40 h 48"/>
                <a:gd name="T6" fmla="*/ 36 w 65"/>
                <a:gd name="T7" fmla="*/ 20 h 48"/>
                <a:gd name="T8" fmla="*/ 45 w 65"/>
                <a:gd name="T9" fmla="*/ 12 h 48"/>
                <a:gd name="T10" fmla="*/ 56 w 65"/>
                <a:gd name="T11" fmla="*/ 28 h 48"/>
                <a:gd name="T12" fmla="*/ 65 w 65"/>
                <a:gd name="T13" fmla="*/ 31 h 48"/>
                <a:gd name="T14" fmla="*/ 65 w 65"/>
                <a:gd name="T15" fmla="*/ 17 h 48"/>
                <a:gd name="T16" fmla="*/ 58 w 65"/>
                <a:gd name="T17" fmla="*/ 6 h 48"/>
                <a:gd name="T18" fmla="*/ 48 w 65"/>
                <a:gd name="T19" fmla="*/ 6 h 48"/>
                <a:gd name="T20" fmla="*/ 45 w 65"/>
                <a:gd name="T21" fmla="*/ 0 h 48"/>
                <a:gd name="T22" fmla="*/ 22 w 65"/>
                <a:gd name="T23" fmla="*/ 17 h 48"/>
                <a:gd name="T24" fmla="*/ 0 w 65"/>
                <a:gd name="T25" fmla="*/ 23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48">
                  <a:moveTo>
                    <a:pt x="0" y="23"/>
                  </a:moveTo>
                  <a:lnTo>
                    <a:pt x="31" y="48"/>
                  </a:lnTo>
                  <a:lnTo>
                    <a:pt x="36" y="40"/>
                  </a:lnTo>
                  <a:lnTo>
                    <a:pt x="36" y="20"/>
                  </a:lnTo>
                  <a:lnTo>
                    <a:pt x="45" y="12"/>
                  </a:lnTo>
                  <a:lnTo>
                    <a:pt x="56" y="28"/>
                  </a:lnTo>
                  <a:lnTo>
                    <a:pt x="65" y="31"/>
                  </a:lnTo>
                  <a:lnTo>
                    <a:pt x="65" y="17"/>
                  </a:lnTo>
                  <a:lnTo>
                    <a:pt x="58" y="6"/>
                  </a:lnTo>
                  <a:lnTo>
                    <a:pt x="48" y="6"/>
                  </a:lnTo>
                  <a:lnTo>
                    <a:pt x="45" y="0"/>
                  </a:lnTo>
                  <a:lnTo>
                    <a:pt x="22" y="17"/>
                  </a:lnTo>
                  <a:lnTo>
                    <a:pt x="0" y="23"/>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2" name="Freeform 9">
              <a:extLst>
                <a:ext uri="{FF2B5EF4-FFF2-40B4-BE49-F238E27FC236}">
                  <a16:creationId xmlns:a16="http://schemas.microsoft.com/office/drawing/2014/main" id="{8C54EC50-8E75-8B4C-A586-1A452B550CD0}"/>
                </a:ext>
              </a:extLst>
            </p:cNvPr>
            <p:cNvSpPr>
              <a:spLocks noChangeAspect="1" noEditPoints="1"/>
            </p:cNvSpPr>
            <p:nvPr/>
          </p:nvSpPr>
          <p:spPr bwMode="gray">
            <a:xfrm>
              <a:off x="7273819" y="3755034"/>
              <a:ext cx="621046" cy="403174"/>
            </a:xfrm>
            <a:custGeom>
              <a:avLst/>
              <a:gdLst>
                <a:gd name="T0" fmla="*/ 1277 w 1277"/>
                <a:gd name="T1" fmla="*/ 242 h 682"/>
                <a:gd name="T2" fmla="*/ 801 w 1277"/>
                <a:gd name="T3" fmla="*/ 528 h 682"/>
                <a:gd name="T4" fmla="*/ 442 w 1277"/>
                <a:gd name="T5" fmla="*/ 682 h 682"/>
                <a:gd name="T6" fmla="*/ 139 w 1277"/>
                <a:gd name="T7" fmla="*/ 631 h 682"/>
                <a:gd name="T8" fmla="*/ 188 w 1277"/>
                <a:gd name="T9" fmla="*/ 600 h 682"/>
                <a:gd name="T10" fmla="*/ 219 w 1277"/>
                <a:gd name="T11" fmla="*/ 572 h 682"/>
                <a:gd name="T12" fmla="*/ 418 w 1277"/>
                <a:gd name="T13" fmla="*/ 462 h 682"/>
                <a:gd name="T14" fmla="*/ 417 w 1277"/>
                <a:gd name="T15" fmla="*/ 553 h 682"/>
                <a:gd name="T16" fmla="*/ 392 w 1277"/>
                <a:gd name="T17" fmla="*/ 533 h 682"/>
                <a:gd name="T18" fmla="*/ 372 w 1277"/>
                <a:gd name="T19" fmla="*/ 606 h 682"/>
                <a:gd name="T20" fmla="*/ 312 w 1277"/>
                <a:gd name="T21" fmla="*/ 545 h 682"/>
                <a:gd name="T22" fmla="*/ 274 w 1277"/>
                <a:gd name="T23" fmla="*/ 521 h 682"/>
                <a:gd name="T24" fmla="*/ 239 w 1277"/>
                <a:gd name="T25" fmla="*/ 523 h 682"/>
                <a:gd name="T26" fmla="*/ 234 w 1277"/>
                <a:gd name="T27" fmla="*/ 498 h 682"/>
                <a:gd name="T28" fmla="*/ 304 w 1277"/>
                <a:gd name="T29" fmla="*/ 482 h 682"/>
                <a:gd name="T30" fmla="*/ 339 w 1277"/>
                <a:gd name="T31" fmla="*/ 474 h 682"/>
                <a:gd name="T32" fmla="*/ 101 w 1277"/>
                <a:gd name="T33" fmla="*/ 343 h 682"/>
                <a:gd name="T34" fmla="*/ 70 w 1277"/>
                <a:gd name="T35" fmla="*/ 425 h 682"/>
                <a:gd name="T36" fmla="*/ 30 w 1277"/>
                <a:gd name="T37" fmla="*/ 442 h 682"/>
                <a:gd name="T38" fmla="*/ 98 w 1277"/>
                <a:gd name="T39" fmla="*/ 369 h 682"/>
                <a:gd name="T40" fmla="*/ 338 w 1277"/>
                <a:gd name="T41" fmla="*/ 401 h 682"/>
                <a:gd name="T42" fmla="*/ 312 w 1277"/>
                <a:gd name="T43" fmla="*/ 388 h 682"/>
                <a:gd name="T44" fmla="*/ 325 w 1277"/>
                <a:gd name="T45" fmla="*/ 337 h 682"/>
                <a:gd name="T46" fmla="*/ 367 w 1277"/>
                <a:gd name="T47" fmla="*/ 396 h 682"/>
                <a:gd name="T48" fmla="*/ 332 w 1277"/>
                <a:gd name="T49" fmla="*/ 366 h 682"/>
                <a:gd name="T50" fmla="*/ 288 w 1277"/>
                <a:gd name="T51" fmla="*/ 374 h 682"/>
                <a:gd name="T52" fmla="*/ 240 w 1277"/>
                <a:gd name="T53" fmla="*/ 409 h 682"/>
                <a:gd name="T54" fmla="*/ 239 w 1277"/>
                <a:gd name="T55" fmla="*/ 334 h 682"/>
                <a:gd name="T56" fmla="*/ 219 w 1277"/>
                <a:gd name="T57" fmla="*/ 388 h 682"/>
                <a:gd name="T58" fmla="*/ 358 w 1277"/>
                <a:gd name="T59" fmla="*/ 286 h 682"/>
                <a:gd name="T60" fmla="*/ 369 w 1277"/>
                <a:gd name="T61" fmla="*/ 355 h 682"/>
                <a:gd name="T62" fmla="*/ 276 w 1277"/>
                <a:gd name="T63" fmla="*/ 287 h 682"/>
                <a:gd name="T64" fmla="*/ 274 w 1277"/>
                <a:gd name="T65" fmla="*/ 313 h 682"/>
                <a:gd name="T66" fmla="*/ 239 w 1277"/>
                <a:gd name="T67" fmla="*/ 293 h 682"/>
                <a:gd name="T68" fmla="*/ 219 w 1277"/>
                <a:gd name="T69" fmla="*/ 293 h 682"/>
                <a:gd name="T70" fmla="*/ 211 w 1277"/>
                <a:gd name="T71" fmla="*/ 252 h 682"/>
                <a:gd name="T72" fmla="*/ 214 w 1277"/>
                <a:gd name="T73" fmla="*/ 173 h 682"/>
                <a:gd name="T74" fmla="*/ 240 w 1277"/>
                <a:gd name="T75" fmla="*/ 72 h 682"/>
                <a:gd name="T76" fmla="*/ 191 w 1277"/>
                <a:gd name="T77" fmla="*/ 157 h 682"/>
                <a:gd name="T78" fmla="*/ 231 w 1277"/>
                <a:gd name="T79" fmla="*/ 224 h 682"/>
                <a:gd name="T80" fmla="*/ 278 w 1277"/>
                <a:gd name="T81" fmla="*/ 227 h 682"/>
                <a:gd name="T82" fmla="*/ 293 w 1277"/>
                <a:gd name="T83" fmla="*/ 247 h 682"/>
                <a:gd name="T84" fmla="*/ 304 w 1277"/>
                <a:gd name="T85" fmla="*/ 278 h 682"/>
                <a:gd name="T86" fmla="*/ 249 w 1277"/>
                <a:gd name="T87" fmla="*/ 227 h 682"/>
                <a:gd name="T88" fmla="*/ 188 w 1277"/>
                <a:gd name="T89" fmla="*/ 237 h 682"/>
                <a:gd name="T90" fmla="*/ 169 w 1277"/>
                <a:gd name="T91" fmla="*/ 188 h 682"/>
                <a:gd name="T92" fmla="*/ 131 w 1277"/>
                <a:gd name="T93" fmla="*/ 169 h 682"/>
                <a:gd name="T94" fmla="*/ 146 w 1277"/>
                <a:gd name="T95" fmla="*/ 34 h 682"/>
                <a:gd name="T96" fmla="*/ 219 w 1277"/>
                <a:gd name="T97" fmla="*/ 12 h 682"/>
                <a:gd name="T98" fmla="*/ 174 w 1277"/>
                <a:gd name="T99" fmla="*/ 245 h 682"/>
                <a:gd name="T100" fmla="*/ 173 w 1277"/>
                <a:gd name="T101" fmla="*/ 293 h 682"/>
                <a:gd name="T102" fmla="*/ 127 w 1277"/>
                <a:gd name="T103" fmla="*/ 31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77" h="682">
                  <a:moveTo>
                    <a:pt x="120" y="317"/>
                  </a:moveTo>
                  <a:lnTo>
                    <a:pt x="129" y="323"/>
                  </a:lnTo>
                  <a:lnTo>
                    <a:pt x="127" y="329"/>
                  </a:lnTo>
                  <a:lnTo>
                    <a:pt x="120" y="317"/>
                  </a:lnTo>
                  <a:close/>
                  <a:moveTo>
                    <a:pt x="1277" y="242"/>
                  </a:moveTo>
                  <a:lnTo>
                    <a:pt x="1271" y="253"/>
                  </a:lnTo>
                  <a:lnTo>
                    <a:pt x="1269" y="249"/>
                  </a:lnTo>
                  <a:lnTo>
                    <a:pt x="1277" y="242"/>
                  </a:lnTo>
                  <a:close/>
                  <a:moveTo>
                    <a:pt x="806" y="515"/>
                  </a:moveTo>
                  <a:lnTo>
                    <a:pt x="801" y="528"/>
                  </a:lnTo>
                  <a:lnTo>
                    <a:pt x="801" y="518"/>
                  </a:lnTo>
                  <a:lnTo>
                    <a:pt x="806" y="515"/>
                  </a:lnTo>
                  <a:close/>
                  <a:moveTo>
                    <a:pt x="439" y="659"/>
                  </a:moveTo>
                  <a:lnTo>
                    <a:pt x="443" y="672"/>
                  </a:lnTo>
                  <a:lnTo>
                    <a:pt x="442" y="682"/>
                  </a:lnTo>
                  <a:lnTo>
                    <a:pt x="439" y="659"/>
                  </a:lnTo>
                  <a:close/>
                  <a:moveTo>
                    <a:pt x="120" y="638"/>
                  </a:moveTo>
                  <a:lnTo>
                    <a:pt x="126" y="629"/>
                  </a:lnTo>
                  <a:lnTo>
                    <a:pt x="137" y="628"/>
                  </a:lnTo>
                  <a:lnTo>
                    <a:pt x="139" y="631"/>
                  </a:lnTo>
                  <a:lnTo>
                    <a:pt x="120" y="638"/>
                  </a:lnTo>
                  <a:close/>
                  <a:moveTo>
                    <a:pt x="171" y="598"/>
                  </a:moveTo>
                  <a:lnTo>
                    <a:pt x="178" y="589"/>
                  </a:lnTo>
                  <a:lnTo>
                    <a:pt x="191" y="594"/>
                  </a:lnTo>
                  <a:lnTo>
                    <a:pt x="188" y="600"/>
                  </a:lnTo>
                  <a:lnTo>
                    <a:pt x="171" y="598"/>
                  </a:lnTo>
                  <a:close/>
                  <a:moveTo>
                    <a:pt x="211" y="562"/>
                  </a:moveTo>
                  <a:lnTo>
                    <a:pt x="222" y="558"/>
                  </a:lnTo>
                  <a:lnTo>
                    <a:pt x="234" y="564"/>
                  </a:lnTo>
                  <a:lnTo>
                    <a:pt x="219" y="572"/>
                  </a:lnTo>
                  <a:lnTo>
                    <a:pt x="211" y="562"/>
                  </a:lnTo>
                  <a:close/>
                  <a:moveTo>
                    <a:pt x="376" y="420"/>
                  </a:moveTo>
                  <a:lnTo>
                    <a:pt x="384" y="418"/>
                  </a:lnTo>
                  <a:lnTo>
                    <a:pt x="414" y="447"/>
                  </a:lnTo>
                  <a:lnTo>
                    <a:pt x="418" y="462"/>
                  </a:lnTo>
                  <a:lnTo>
                    <a:pt x="410" y="473"/>
                  </a:lnTo>
                  <a:lnTo>
                    <a:pt x="418" y="477"/>
                  </a:lnTo>
                  <a:lnTo>
                    <a:pt x="431" y="523"/>
                  </a:lnTo>
                  <a:lnTo>
                    <a:pt x="431" y="538"/>
                  </a:lnTo>
                  <a:lnTo>
                    <a:pt x="417" y="553"/>
                  </a:lnTo>
                  <a:lnTo>
                    <a:pt x="417" y="574"/>
                  </a:lnTo>
                  <a:lnTo>
                    <a:pt x="410" y="569"/>
                  </a:lnTo>
                  <a:lnTo>
                    <a:pt x="406" y="545"/>
                  </a:lnTo>
                  <a:lnTo>
                    <a:pt x="398" y="532"/>
                  </a:lnTo>
                  <a:lnTo>
                    <a:pt x="392" y="533"/>
                  </a:lnTo>
                  <a:lnTo>
                    <a:pt x="380" y="552"/>
                  </a:lnTo>
                  <a:lnTo>
                    <a:pt x="376" y="564"/>
                  </a:lnTo>
                  <a:lnTo>
                    <a:pt x="389" y="587"/>
                  </a:lnTo>
                  <a:lnTo>
                    <a:pt x="380" y="609"/>
                  </a:lnTo>
                  <a:lnTo>
                    <a:pt x="372" y="606"/>
                  </a:lnTo>
                  <a:lnTo>
                    <a:pt x="369" y="591"/>
                  </a:lnTo>
                  <a:lnTo>
                    <a:pt x="354" y="598"/>
                  </a:lnTo>
                  <a:lnTo>
                    <a:pt x="329" y="586"/>
                  </a:lnTo>
                  <a:lnTo>
                    <a:pt x="322" y="579"/>
                  </a:lnTo>
                  <a:lnTo>
                    <a:pt x="312" y="545"/>
                  </a:lnTo>
                  <a:lnTo>
                    <a:pt x="322" y="525"/>
                  </a:lnTo>
                  <a:lnTo>
                    <a:pt x="296" y="507"/>
                  </a:lnTo>
                  <a:lnTo>
                    <a:pt x="291" y="507"/>
                  </a:lnTo>
                  <a:lnTo>
                    <a:pt x="285" y="525"/>
                  </a:lnTo>
                  <a:lnTo>
                    <a:pt x="274" y="521"/>
                  </a:lnTo>
                  <a:lnTo>
                    <a:pt x="274" y="515"/>
                  </a:lnTo>
                  <a:lnTo>
                    <a:pt x="261" y="530"/>
                  </a:lnTo>
                  <a:lnTo>
                    <a:pt x="256" y="513"/>
                  </a:lnTo>
                  <a:lnTo>
                    <a:pt x="249" y="513"/>
                  </a:lnTo>
                  <a:lnTo>
                    <a:pt x="239" y="523"/>
                  </a:lnTo>
                  <a:lnTo>
                    <a:pt x="228" y="549"/>
                  </a:lnTo>
                  <a:lnTo>
                    <a:pt x="219" y="549"/>
                  </a:lnTo>
                  <a:lnTo>
                    <a:pt x="217" y="540"/>
                  </a:lnTo>
                  <a:lnTo>
                    <a:pt x="225" y="507"/>
                  </a:lnTo>
                  <a:lnTo>
                    <a:pt x="234" y="498"/>
                  </a:lnTo>
                  <a:lnTo>
                    <a:pt x="261" y="491"/>
                  </a:lnTo>
                  <a:lnTo>
                    <a:pt x="262" y="482"/>
                  </a:lnTo>
                  <a:lnTo>
                    <a:pt x="282" y="467"/>
                  </a:lnTo>
                  <a:lnTo>
                    <a:pt x="299" y="473"/>
                  </a:lnTo>
                  <a:lnTo>
                    <a:pt x="304" y="482"/>
                  </a:lnTo>
                  <a:lnTo>
                    <a:pt x="298" y="499"/>
                  </a:lnTo>
                  <a:lnTo>
                    <a:pt x="316" y="491"/>
                  </a:lnTo>
                  <a:lnTo>
                    <a:pt x="324" y="477"/>
                  </a:lnTo>
                  <a:lnTo>
                    <a:pt x="332" y="473"/>
                  </a:lnTo>
                  <a:lnTo>
                    <a:pt x="339" y="474"/>
                  </a:lnTo>
                  <a:lnTo>
                    <a:pt x="349" y="456"/>
                  </a:lnTo>
                  <a:lnTo>
                    <a:pt x="359" y="459"/>
                  </a:lnTo>
                  <a:lnTo>
                    <a:pt x="380" y="451"/>
                  </a:lnTo>
                  <a:lnTo>
                    <a:pt x="376" y="420"/>
                  </a:lnTo>
                  <a:close/>
                  <a:moveTo>
                    <a:pt x="101" y="343"/>
                  </a:moveTo>
                  <a:lnTo>
                    <a:pt x="106" y="343"/>
                  </a:lnTo>
                  <a:lnTo>
                    <a:pt x="107" y="357"/>
                  </a:lnTo>
                  <a:lnTo>
                    <a:pt x="107" y="388"/>
                  </a:lnTo>
                  <a:lnTo>
                    <a:pt x="73" y="413"/>
                  </a:lnTo>
                  <a:lnTo>
                    <a:pt x="70" y="425"/>
                  </a:lnTo>
                  <a:lnTo>
                    <a:pt x="30" y="462"/>
                  </a:lnTo>
                  <a:lnTo>
                    <a:pt x="5" y="481"/>
                  </a:lnTo>
                  <a:lnTo>
                    <a:pt x="0" y="479"/>
                  </a:lnTo>
                  <a:lnTo>
                    <a:pt x="8" y="459"/>
                  </a:lnTo>
                  <a:lnTo>
                    <a:pt x="30" y="442"/>
                  </a:lnTo>
                  <a:lnTo>
                    <a:pt x="75" y="394"/>
                  </a:lnTo>
                  <a:lnTo>
                    <a:pt x="89" y="388"/>
                  </a:lnTo>
                  <a:lnTo>
                    <a:pt x="93" y="368"/>
                  </a:lnTo>
                  <a:lnTo>
                    <a:pt x="95" y="371"/>
                  </a:lnTo>
                  <a:lnTo>
                    <a:pt x="98" y="369"/>
                  </a:lnTo>
                  <a:lnTo>
                    <a:pt x="93" y="363"/>
                  </a:lnTo>
                  <a:lnTo>
                    <a:pt x="101" y="343"/>
                  </a:lnTo>
                  <a:close/>
                  <a:moveTo>
                    <a:pt x="304" y="413"/>
                  </a:moveTo>
                  <a:lnTo>
                    <a:pt x="321" y="400"/>
                  </a:lnTo>
                  <a:lnTo>
                    <a:pt x="338" y="401"/>
                  </a:lnTo>
                  <a:lnTo>
                    <a:pt x="333" y="422"/>
                  </a:lnTo>
                  <a:lnTo>
                    <a:pt x="310" y="425"/>
                  </a:lnTo>
                  <a:lnTo>
                    <a:pt x="304" y="413"/>
                  </a:lnTo>
                  <a:close/>
                  <a:moveTo>
                    <a:pt x="312" y="351"/>
                  </a:moveTo>
                  <a:lnTo>
                    <a:pt x="312" y="388"/>
                  </a:lnTo>
                  <a:lnTo>
                    <a:pt x="302" y="397"/>
                  </a:lnTo>
                  <a:lnTo>
                    <a:pt x="285" y="431"/>
                  </a:lnTo>
                  <a:lnTo>
                    <a:pt x="281" y="413"/>
                  </a:lnTo>
                  <a:lnTo>
                    <a:pt x="312" y="351"/>
                  </a:lnTo>
                  <a:close/>
                  <a:moveTo>
                    <a:pt x="325" y="337"/>
                  </a:moveTo>
                  <a:lnTo>
                    <a:pt x="330" y="343"/>
                  </a:lnTo>
                  <a:lnTo>
                    <a:pt x="350" y="343"/>
                  </a:lnTo>
                  <a:lnTo>
                    <a:pt x="358" y="352"/>
                  </a:lnTo>
                  <a:lnTo>
                    <a:pt x="358" y="374"/>
                  </a:lnTo>
                  <a:lnTo>
                    <a:pt x="367" y="396"/>
                  </a:lnTo>
                  <a:lnTo>
                    <a:pt x="358" y="396"/>
                  </a:lnTo>
                  <a:lnTo>
                    <a:pt x="358" y="405"/>
                  </a:lnTo>
                  <a:lnTo>
                    <a:pt x="347" y="394"/>
                  </a:lnTo>
                  <a:lnTo>
                    <a:pt x="342" y="364"/>
                  </a:lnTo>
                  <a:lnTo>
                    <a:pt x="332" y="366"/>
                  </a:lnTo>
                  <a:lnTo>
                    <a:pt x="325" y="337"/>
                  </a:lnTo>
                  <a:close/>
                  <a:moveTo>
                    <a:pt x="262" y="368"/>
                  </a:moveTo>
                  <a:lnTo>
                    <a:pt x="271" y="363"/>
                  </a:lnTo>
                  <a:lnTo>
                    <a:pt x="288" y="366"/>
                  </a:lnTo>
                  <a:lnTo>
                    <a:pt x="288" y="374"/>
                  </a:lnTo>
                  <a:lnTo>
                    <a:pt x="274" y="413"/>
                  </a:lnTo>
                  <a:lnTo>
                    <a:pt x="274" y="447"/>
                  </a:lnTo>
                  <a:lnTo>
                    <a:pt x="268" y="451"/>
                  </a:lnTo>
                  <a:lnTo>
                    <a:pt x="239" y="420"/>
                  </a:lnTo>
                  <a:lnTo>
                    <a:pt x="240" y="409"/>
                  </a:lnTo>
                  <a:lnTo>
                    <a:pt x="254" y="405"/>
                  </a:lnTo>
                  <a:lnTo>
                    <a:pt x="262" y="368"/>
                  </a:lnTo>
                  <a:close/>
                  <a:moveTo>
                    <a:pt x="215" y="320"/>
                  </a:moveTo>
                  <a:lnTo>
                    <a:pt x="225" y="320"/>
                  </a:lnTo>
                  <a:lnTo>
                    <a:pt x="239" y="334"/>
                  </a:lnTo>
                  <a:lnTo>
                    <a:pt x="270" y="337"/>
                  </a:lnTo>
                  <a:lnTo>
                    <a:pt x="266" y="355"/>
                  </a:lnTo>
                  <a:lnTo>
                    <a:pt x="248" y="374"/>
                  </a:lnTo>
                  <a:lnTo>
                    <a:pt x="225" y="381"/>
                  </a:lnTo>
                  <a:lnTo>
                    <a:pt x="219" y="388"/>
                  </a:lnTo>
                  <a:lnTo>
                    <a:pt x="217" y="368"/>
                  </a:lnTo>
                  <a:lnTo>
                    <a:pt x="222" y="334"/>
                  </a:lnTo>
                  <a:lnTo>
                    <a:pt x="215" y="320"/>
                  </a:lnTo>
                  <a:close/>
                  <a:moveTo>
                    <a:pt x="325" y="289"/>
                  </a:moveTo>
                  <a:lnTo>
                    <a:pt x="358" y="286"/>
                  </a:lnTo>
                  <a:lnTo>
                    <a:pt x="369" y="292"/>
                  </a:lnTo>
                  <a:lnTo>
                    <a:pt x="380" y="303"/>
                  </a:lnTo>
                  <a:lnTo>
                    <a:pt x="380" y="334"/>
                  </a:lnTo>
                  <a:lnTo>
                    <a:pt x="392" y="357"/>
                  </a:lnTo>
                  <a:lnTo>
                    <a:pt x="369" y="355"/>
                  </a:lnTo>
                  <a:lnTo>
                    <a:pt x="354" y="338"/>
                  </a:lnTo>
                  <a:lnTo>
                    <a:pt x="356" y="327"/>
                  </a:lnTo>
                  <a:lnTo>
                    <a:pt x="338" y="310"/>
                  </a:lnTo>
                  <a:lnTo>
                    <a:pt x="325" y="289"/>
                  </a:lnTo>
                  <a:close/>
                  <a:moveTo>
                    <a:pt x="276" y="287"/>
                  </a:moveTo>
                  <a:lnTo>
                    <a:pt x="310" y="312"/>
                  </a:lnTo>
                  <a:lnTo>
                    <a:pt x="313" y="325"/>
                  </a:lnTo>
                  <a:lnTo>
                    <a:pt x="298" y="317"/>
                  </a:lnTo>
                  <a:lnTo>
                    <a:pt x="290" y="306"/>
                  </a:lnTo>
                  <a:lnTo>
                    <a:pt x="274" y="313"/>
                  </a:lnTo>
                  <a:lnTo>
                    <a:pt x="276" y="287"/>
                  </a:lnTo>
                  <a:close/>
                  <a:moveTo>
                    <a:pt x="239" y="293"/>
                  </a:moveTo>
                  <a:lnTo>
                    <a:pt x="244" y="292"/>
                  </a:lnTo>
                  <a:lnTo>
                    <a:pt x="249" y="300"/>
                  </a:lnTo>
                  <a:lnTo>
                    <a:pt x="239" y="293"/>
                  </a:lnTo>
                  <a:close/>
                  <a:moveTo>
                    <a:pt x="219" y="293"/>
                  </a:moveTo>
                  <a:lnTo>
                    <a:pt x="219" y="284"/>
                  </a:lnTo>
                  <a:lnTo>
                    <a:pt x="223" y="284"/>
                  </a:lnTo>
                  <a:lnTo>
                    <a:pt x="220" y="309"/>
                  </a:lnTo>
                  <a:lnTo>
                    <a:pt x="219" y="293"/>
                  </a:lnTo>
                  <a:close/>
                  <a:moveTo>
                    <a:pt x="211" y="252"/>
                  </a:moveTo>
                  <a:lnTo>
                    <a:pt x="211" y="242"/>
                  </a:lnTo>
                  <a:lnTo>
                    <a:pt x="223" y="244"/>
                  </a:lnTo>
                  <a:lnTo>
                    <a:pt x="222" y="258"/>
                  </a:lnTo>
                  <a:lnTo>
                    <a:pt x="211" y="252"/>
                  </a:lnTo>
                  <a:close/>
                  <a:moveTo>
                    <a:pt x="214" y="173"/>
                  </a:moveTo>
                  <a:lnTo>
                    <a:pt x="219" y="171"/>
                  </a:lnTo>
                  <a:lnTo>
                    <a:pt x="220" y="186"/>
                  </a:lnTo>
                  <a:lnTo>
                    <a:pt x="215" y="188"/>
                  </a:lnTo>
                  <a:lnTo>
                    <a:pt x="214" y="173"/>
                  </a:lnTo>
                  <a:close/>
                  <a:moveTo>
                    <a:pt x="231" y="9"/>
                  </a:moveTo>
                  <a:lnTo>
                    <a:pt x="234" y="13"/>
                  </a:lnTo>
                  <a:lnTo>
                    <a:pt x="227" y="29"/>
                  </a:lnTo>
                  <a:lnTo>
                    <a:pt x="227" y="55"/>
                  </a:lnTo>
                  <a:lnTo>
                    <a:pt x="240" y="72"/>
                  </a:lnTo>
                  <a:lnTo>
                    <a:pt x="240" y="81"/>
                  </a:lnTo>
                  <a:lnTo>
                    <a:pt x="225" y="120"/>
                  </a:lnTo>
                  <a:lnTo>
                    <a:pt x="205" y="131"/>
                  </a:lnTo>
                  <a:lnTo>
                    <a:pt x="197" y="154"/>
                  </a:lnTo>
                  <a:lnTo>
                    <a:pt x="191" y="157"/>
                  </a:lnTo>
                  <a:lnTo>
                    <a:pt x="203" y="186"/>
                  </a:lnTo>
                  <a:lnTo>
                    <a:pt x="202" y="199"/>
                  </a:lnTo>
                  <a:lnTo>
                    <a:pt x="206" y="213"/>
                  </a:lnTo>
                  <a:lnTo>
                    <a:pt x="219" y="225"/>
                  </a:lnTo>
                  <a:lnTo>
                    <a:pt x="231" y="224"/>
                  </a:lnTo>
                  <a:lnTo>
                    <a:pt x="228" y="211"/>
                  </a:lnTo>
                  <a:lnTo>
                    <a:pt x="253" y="203"/>
                  </a:lnTo>
                  <a:lnTo>
                    <a:pt x="264" y="211"/>
                  </a:lnTo>
                  <a:lnTo>
                    <a:pt x="273" y="232"/>
                  </a:lnTo>
                  <a:lnTo>
                    <a:pt x="278" y="227"/>
                  </a:lnTo>
                  <a:lnTo>
                    <a:pt x="276" y="219"/>
                  </a:lnTo>
                  <a:lnTo>
                    <a:pt x="304" y="228"/>
                  </a:lnTo>
                  <a:lnTo>
                    <a:pt x="307" y="233"/>
                  </a:lnTo>
                  <a:lnTo>
                    <a:pt x="291" y="241"/>
                  </a:lnTo>
                  <a:lnTo>
                    <a:pt x="293" y="247"/>
                  </a:lnTo>
                  <a:lnTo>
                    <a:pt x="305" y="252"/>
                  </a:lnTo>
                  <a:lnTo>
                    <a:pt x="304" y="262"/>
                  </a:lnTo>
                  <a:lnTo>
                    <a:pt x="315" y="269"/>
                  </a:lnTo>
                  <a:lnTo>
                    <a:pt x="312" y="289"/>
                  </a:lnTo>
                  <a:lnTo>
                    <a:pt x="304" y="278"/>
                  </a:lnTo>
                  <a:lnTo>
                    <a:pt x="310" y="273"/>
                  </a:lnTo>
                  <a:lnTo>
                    <a:pt x="295" y="273"/>
                  </a:lnTo>
                  <a:lnTo>
                    <a:pt x="281" y="264"/>
                  </a:lnTo>
                  <a:lnTo>
                    <a:pt x="273" y="247"/>
                  </a:lnTo>
                  <a:lnTo>
                    <a:pt x="249" y="227"/>
                  </a:lnTo>
                  <a:lnTo>
                    <a:pt x="240" y="225"/>
                  </a:lnTo>
                  <a:lnTo>
                    <a:pt x="251" y="258"/>
                  </a:lnTo>
                  <a:lnTo>
                    <a:pt x="215" y="225"/>
                  </a:lnTo>
                  <a:lnTo>
                    <a:pt x="200" y="225"/>
                  </a:lnTo>
                  <a:lnTo>
                    <a:pt x="188" y="237"/>
                  </a:lnTo>
                  <a:lnTo>
                    <a:pt x="182" y="237"/>
                  </a:lnTo>
                  <a:lnTo>
                    <a:pt x="165" y="227"/>
                  </a:lnTo>
                  <a:lnTo>
                    <a:pt x="161" y="230"/>
                  </a:lnTo>
                  <a:lnTo>
                    <a:pt x="156" y="213"/>
                  </a:lnTo>
                  <a:lnTo>
                    <a:pt x="169" y="188"/>
                  </a:lnTo>
                  <a:lnTo>
                    <a:pt x="156" y="185"/>
                  </a:lnTo>
                  <a:lnTo>
                    <a:pt x="152" y="199"/>
                  </a:lnTo>
                  <a:lnTo>
                    <a:pt x="141" y="185"/>
                  </a:lnTo>
                  <a:lnTo>
                    <a:pt x="135" y="183"/>
                  </a:lnTo>
                  <a:lnTo>
                    <a:pt x="131" y="169"/>
                  </a:lnTo>
                  <a:lnTo>
                    <a:pt x="117" y="115"/>
                  </a:lnTo>
                  <a:lnTo>
                    <a:pt x="126" y="115"/>
                  </a:lnTo>
                  <a:lnTo>
                    <a:pt x="132" y="122"/>
                  </a:lnTo>
                  <a:lnTo>
                    <a:pt x="143" y="120"/>
                  </a:lnTo>
                  <a:lnTo>
                    <a:pt x="146" y="34"/>
                  </a:lnTo>
                  <a:lnTo>
                    <a:pt x="154" y="7"/>
                  </a:lnTo>
                  <a:lnTo>
                    <a:pt x="160" y="0"/>
                  </a:lnTo>
                  <a:lnTo>
                    <a:pt x="185" y="4"/>
                  </a:lnTo>
                  <a:lnTo>
                    <a:pt x="203" y="13"/>
                  </a:lnTo>
                  <a:lnTo>
                    <a:pt x="219" y="12"/>
                  </a:lnTo>
                  <a:lnTo>
                    <a:pt x="220" y="4"/>
                  </a:lnTo>
                  <a:lnTo>
                    <a:pt x="227" y="4"/>
                  </a:lnTo>
                  <a:lnTo>
                    <a:pt x="231" y="9"/>
                  </a:lnTo>
                  <a:close/>
                  <a:moveTo>
                    <a:pt x="144" y="247"/>
                  </a:moveTo>
                  <a:lnTo>
                    <a:pt x="174" y="245"/>
                  </a:lnTo>
                  <a:lnTo>
                    <a:pt x="195" y="259"/>
                  </a:lnTo>
                  <a:lnTo>
                    <a:pt x="198" y="286"/>
                  </a:lnTo>
                  <a:lnTo>
                    <a:pt x="195" y="296"/>
                  </a:lnTo>
                  <a:lnTo>
                    <a:pt x="183" y="304"/>
                  </a:lnTo>
                  <a:lnTo>
                    <a:pt x="173" y="293"/>
                  </a:lnTo>
                  <a:lnTo>
                    <a:pt x="160" y="258"/>
                  </a:lnTo>
                  <a:lnTo>
                    <a:pt x="144" y="247"/>
                  </a:lnTo>
                  <a:close/>
                  <a:moveTo>
                    <a:pt x="123" y="300"/>
                  </a:moveTo>
                  <a:lnTo>
                    <a:pt x="139" y="312"/>
                  </a:lnTo>
                  <a:lnTo>
                    <a:pt x="127" y="310"/>
                  </a:lnTo>
                  <a:lnTo>
                    <a:pt x="123" y="30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3" name="Freeform 10">
              <a:extLst>
                <a:ext uri="{FF2B5EF4-FFF2-40B4-BE49-F238E27FC236}">
                  <a16:creationId xmlns:a16="http://schemas.microsoft.com/office/drawing/2014/main" id="{6DD2A98A-7B07-B444-BBB2-ACA6A0742304}"/>
                </a:ext>
              </a:extLst>
            </p:cNvPr>
            <p:cNvSpPr>
              <a:spLocks noChangeAspect="1" noEditPoints="1"/>
            </p:cNvSpPr>
            <p:nvPr/>
          </p:nvSpPr>
          <p:spPr bwMode="gray">
            <a:xfrm>
              <a:off x="7808874" y="4302197"/>
              <a:ext cx="336002" cy="251502"/>
            </a:xfrm>
            <a:custGeom>
              <a:avLst/>
              <a:gdLst>
                <a:gd name="T0" fmla="*/ 5 w 690"/>
                <a:gd name="T1" fmla="*/ 230 h 430"/>
                <a:gd name="T2" fmla="*/ 12 w 690"/>
                <a:gd name="T3" fmla="*/ 359 h 430"/>
                <a:gd name="T4" fmla="*/ 95 w 690"/>
                <a:gd name="T5" fmla="*/ 323 h 430"/>
                <a:gd name="T6" fmla="*/ 136 w 690"/>
                <a:gd name="T7" fmla="*/ 305 h 430"/>
                <a:gd name="T8" fmla="*/ 159 w 690"/>
                <a:gd name="T9" fmla="*/ 283 h 430"/>
                <a:gd name="T10" fmla="*/ 278 w 690"/>
                <a:gd name="T11" fmla="*/ 355 h 430"/>
                <a:gd name="T12" fmla="*/ 416 w 690"/>
                <a:gd name="T13" fmla="*/ 418 h 430"/>
                <a:gd name="T14" fmla="*/ 447 w 690"/>
                <a:gd name="T15" fmla="*/ 421 h 430"/>
                <a:gd name="T16" fmla="*/ 458 w 690"/>
                <a:gd name="T17" fmla="*/ 413 h 430"/>
                <a:gd name="T18" fmla="*/ 408 w 690"/>
                <a:gd name="T19" fmla="*/ 394 h 430"/>
                <a:gd name="T20" fmla="*/ 383 w 690"/>
                <a:gd name="T21" fmla="*/ 357 h 430"/>
                <a:gd name="T22" fmla="*/ 353 w 690"/>
                <a:gd name="T23" fmla="*/ 351 h 430"/>
                <a:gd name="T24" fmla="*/ 325 w 690"/>
                <a:gd name="T25" fmla="*/ 308 h 430"/>
                <a:gd name="T26" fmla="*/ 285 w 690"/>
                <a:gd name="T27" fmla="*/ 250 h 430"/>
                <a:gd name="T28" fmla="*/ 308 w 690"/>
                <a:gd name="T29" fmla="*/ 218 h 430"/>
                <a:gd name="T30" fmla="*/ 212 w 690"/>
                <a:gd name="T31" fmla="*/ 150 h 430"/>
                <a:gd name="T32" fmla="*/ 70 w 690"/>
                <a:gd name="T33" fmla="*/ 85 h 430"/>
                <a:gd name="T34" fmla="*/ 645 w 690"/>
                <a:gd name="T35" fmla="*/ 189 h 430"/>
                <a:gd name="T36" fmla="*/ 676 w 690"/>
                <a:gd name="T37" fmla="*/ 252 h 430"/>
                <a:gd name="T38" fmla="*/ 636 w 690"/>
                <a:gd name="T39" fmla="*/ 203 h 430"/>
                <a:gd name="T40" fmla="*/ 464 w 690"/>
                <a:gd name="T41" fmla="*/ 396 h 430"/>
                <a:gd name="T42" fmla="*/ 469 w 690"/>
                <a:gd name="T43" fmla="*/ 404 h 430"/>
                <a:gd name="T44" fmla="*/ 459 w 690"/>
                <a:gd name="T45" fmla="*/ 376 h 430"/>
                <a:gd name="T46" fmla="*/ 441 w 690"/>
                <a:gd name="T47" fmla="*/ 368 h 430"/>
                <a:gd name="T48" fmla="*/ 552 w 690"/>
                <a:gd name="T49" fmla="*/ 365 h 430"/>
                <a:gd name="T50" fmla="*/ 315 w 690"/>
                <a:gd name="T51" fmla="*/ 193 h 430"/>
                <a:gd name="T52" fmla="*/ 323 w 690"/>
                <a:gd name="T53" fmla="*/ 204 h 430"/>
                <a:gd name="T54" fmla="*/ 289 w 690"/>
                <a:gd name="T55" fmla="*/ 186 h 430"/>
                <a:gd name="T56" fmla="*/ 416 w 690"/>
                <a:gd name="T57" fmla="*/ 52 h 430"/>
                <a:gd name="T58" fmla="*/ 427 w 690"/>
                <a:gd name="T59" fmla="*/ 62 h 430"/>
                <a:gd name="T60" fmla="*/ 283 w 690"/>
                <a:gd name="T61" fmla="*/ 31 h 430"/>
                <a:gd name="T62" fmla="*/ 263 w 690"/>
                <a:gd name="T63" fmla="*/ 42 h 430"/>
                <a:gd name="T64" fmla="*/ 405 w 690"/>
                <a:gd name="T65" fmla="*/ 8 h 430"/>
                <a:gd name="T66" fmla="*/ 456 w 690"/>
                <a:gd name="T67" fmla="*/ 59 h 430"/>
                <a:gd name="T68" fmla="*/ 544 w 690"/>
                <a:gd name="T69" fmla="*/ 118 h 430"/>
                <a:gd name="T70" fmla="*/ 555 w 690"/>
                <a:gd name="T71" fmla="*/ 157 h 430"/>
                <a:gd name="T72" fmla="*/ 527 w 690"/>
                <a:gd name="T73" fmla="*/ 103 h 430"/>
                <a:gd name="T74" fmla="*/ 339 w 690"/>
                <a:gd name="T75" fmla="*/ 190 h 430"/>
                <a:gd name="T76" fmla="*/ 407 w 690"/>
                <a:gd name="T77" fmla="*/ 190 h 430"/>
                <a:gd name="T78" fmla="*/ 421 w 690"/>
                <a:gd name="T79" fmla="*/ 187 h 430"/>
                <a:gd name="T80" fmla="*/ 495 w 690"/>
                <a:gd name="T81" fmla="*/ 162 h 430"/>
                <a:gd name="T82" fmla="*/ 527 w 690"/>
                <a:gd name="T83" fmla="*/ 142 h 430"/>
                <a:gd name="T84" fmla="*/ 517 w 690"/>
                <a:gd name="T85" fmla="*/ 182 h 430"/>
                <a:gd name="T86" fmla="*/ 481 w 690"/>
                <a:gd name="T87" fmla="*/ 213 h 430"/>
                <a:gd name="T88" fmla="*/ 395 w 690"/>
                <a:gd name="T89" fmla="*/ 220 h 430"/>
                <a:gd name="T90" fmla="*/ 339 w 690"/>
                <a:gd name="T91" fmla="*/ 19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90" h="430">
                  <a:moveTo>
                    <a:pt x="2" y="57"/>
                  </a:moveTo>
                  <a:lnTo>
                    <a:pt x="3" y="169"/>
                  </a:lnTo>
                  <a:lnTo>
                    <a:pt x="5" y="230"/>
                  </a:lnTo>
                  <a:lnTo>
                    <a:pt x="0" y="250"/>
                  </a:lnTo>
                  <a:lnTo>
                    <a:pt x="6" y="264"/>
                  </a:lnTo>
                  <a:lnTo>
                    <a:pt x="12" y="359"/>
                  </a:lnTo>
                  <a:lnTo>
                    <a:pt x="85" y="363"/>
                  </a:lnTo>
                  <a:lnTo>
                    <a:pt x="110" y="348"/>
                  </a:lnTo>
                  <a:lnTo>
                    <a:pt x="95" y="323"/>
                  </a:lnTo>
                  <a:lnTo>
                    <a:pt x="117" y="314"/>
                  </a:lnTo>
                  <a:lnTo>
                    <a:pt x="119" y="306"/>
                  </a:lnTo>
                  <a:lnTo>
                    <a:pt x="136" y="305"/>
                  </a:lnTo>
                  <a:lnTo>
                    <a:pt x="130" y="286"/>
                  </a:lnTo>
                  <a:lnTo>
                    <a:pt x="146" y="292"/>
                  </a:lnTo>
                  <a:lnTo>
                    <a:pt x="159" y="283"/>
                  </a:lnTo>
                  <a:lnTo>
                    <a:pt x="244" y="318"/>
                  </a:lnTo>
                  <a:lnTo>
                    <a:pt x="263" y="354"/>
                  </a:lnTo>
                  <a:lnTo>
                    <a:pt x="278" y="355"/>
                  </a:lnTo>
                  <a:lnTo>
                    <a:pt x="278" y="365"/>
                  </a:lnTo>
                  <a:lnTo>
                    <a:pt x="314" y="401"/>
                  </a:lnTo>
                  <a:lnTo>
                    <a:pt x="416" y="418"/>
                  </a:lnTo>
                  <a:lnTo>
                    <a:pt x="419" y="427"/>
                  </a:lnTo>
                  <a:lnTo>
                    <a:pt x="432" y="430"/>
                  </a:lnTo>
                  <a:lnTo>
                    <a:pt x="447" y="421"/>
                  </a:lnTo>
                  <a:lnTo>
                    <a:pt x="433" y="414"/>
                  </a:lnTo>
                  <a:lnTo>
                    <a:pt x="449" y="416"/>
                  </a:lnTo>
                  <a:lnTo>
                    <a:pt x="458" y="413"/>
                  </a:lnTo>
                  <a:lnTo>
                    <a:pt x="456" y="410"/>
                  </a:lnTo>
                  <a:lnTo>
                    <a:pt x="435" y="405"/>
                  </a:lnTo>
                  <a:lnTo>
                    <a:pt x="408" y="394"/>
                  </a:lnTo>
                  <a:lnTo>
                    <a:pt x="419" y="384"/>
                  </a:lnTo>
                  <a:lnTo>
                    <a:pt x="381" y="372"/>
                  </a:lnTo>
                  <a:lnTo>
                    <a:pt x="383" y="357"/>
                  </a:lnTo>
                  <a:lnTo>
                    <a:pt x="379" y="354"/>
                  </a:lnTo>
                  <a:lnTo>
                    <a:pt x="359" y="355"/>
                  </a:lnTo>
                  <a:lnTo>
                    <a:pt x="353" y="351"/>
                  </a:lnTo>
                  <a:lnTo>
                    <a:pt x="334" y="328"/>
                  </a:lnTo>
                  <a:lnTo>
                    <a:pt x="334" y="311"/>
                  </a:lnTo>
                  <a:lnTo>
                    <a:pt x="325" y="308"/>
                  </a:lnTo>
                  <a:lnTo>
                    <a:pt x="294" y="283"/>
                  </a:lnTo>
                  <a:lnTo>
                    <a:pt x="281" y="255"/>
                  </a:lnTo>
                  <a:lnTo>
                    <a:pt x="285" y="250"/>
                  </a:lnTo>
                  <a:lnTo>
                    <a:pt x="319" y="247"/>
                  </a:lnTo>
                  <a:lnTo>
                    <a:pt x="320" y="235"/>
                  </a:lnTo>
                  <a:lnTo>
                    <a:pt x="308" y="218"/>
                  </a:lnTo>
                  <a:lnTo>
                    <a:pt x="227" y="190"/>
                  </a:lnTo>
                  <a:lnTo>
                    <a:pt x="226" y="170"/>
                  </a:lnTo>
                  <a:lnTo>
                    <a:pt x="212" y="150"/>
                  </a:lnTo>
                  <a:lnTo>
                    <a:pt x="170" y="125"/>
                  </a:lnTo>
                  <a:lnTo>
                    <a:pt x="158" y="111"/>
                  </a:lnTo>
                  <a:lnTo>
                    <a:pt x="70" y="85"/>
                  </a:lnTo>
                  <a:lnTo>
                    <a:pt x="2" y="57"/>
                  </a:lnTo>
                  <a:close/>
                  <a:moveTo>
                    <a:pt x="634" y="187"/>
                  </a:moveTo>
                  <a:lnTo>
                    <a:pt x="645" y="189"/>
                  </a:lnTo>
                  <a:lnTo>
                    <a:pt x="688" y="233"/>
                  </a:lnTo>
                  <a:lnTo>
                    <a:pt x="690" y="249"/>
                  </a:lnTo>
                  <a:lnTo>
                    <a:pt x="676" y="252"/>
                  </a:lnTo>
                  <a:lnTo>
                    <a:pt x="661" y="243"/>
                  </a:lnTo>
                  <a:lnTo>
                    <a:pt x="657" y="224"/>
                  </a:lnTo>
                  <a:lnTo>
                    <a:pt x="636" y="203"/>
                  </a:lnTo>
                  <a:lnTo>
                    <a:pt x="634" y="187"/>
                  </a:lnTo>
                  <a:close/>
                  <a:moveTo>
                    <a:pt x="456" y="388"/>
                  </a:moveTo>
                  <a:lnTo>
                    <a:pt x="464" y="396"/>
                  </a:lnTo>
                  <a:lnTo>
                    <a:pt x="475" y="397"/>
                  </a:lnTo>
                  <a:lnTo>
                    <a:pt x="475" y="404"/>
                  </a:lnTo>
                  <a:lnTo>
                    <a:pt x="469" y="404"/>
                  </a:lnTo>
                  <a:lnTo>
                    <a:pt x="456" y="388"/>
                  </a:lnTo>
                  <a:close/>
                  <a:moveTo>
                    <a:pt x="441" y="368"/>
                  </a:moveTo>
                  <a:lnTo>
                    <a:pt x="459" y="376"/>
                  </a:lnTo>
                  <a:lnTo>
                    <a:pt x="461" y="384"/>
                  </a:lnTo>
                  <a:lnTo>
                    <a:pt x="444" y="380"/>
                  </a:lnTo>
                  <a:lnTo>
                    <a:pt x="441" y="368"/>
                  </a:lnTo>
                  <a:close/>
                  <a:moveTo>
                    <a:pt x="537" y="350"/>
                  </a:moveTo>
                  <a:lnTo>
                    <a:pt x="552" y="360"/>
                  </a:lnTo>
                  <a:lnTo>
                    <a:pt x="552" y="365"/>
                  </a:lnTo>
                  <a:lnTo>
                    <a:pt x="547" y="365"/>
                  </a:lnTo>
                  <a:lnTo>
                    <a:pt x="537" y="350"/>
                  </a:lnTo>
                  <a:close/>
                  <a:moveTo>
                    <a:pt x="315" y="193"/>
                  </a:moveTo>
                  <a:lnTo>
                    <a:pt x="327" y="196"/>
                  </a:lnTo>
                  <a:lnTo>
                    <a:pt x="329" y="204"/>
                  </a:lnTo>
                  <a:lnTo>
                    <a:pt x="323" y="204"/>
                  </a:lnTo>
                  <a:lnTo>
                    <a:pt x="315" y="193"/>
                  </a:lnTo>
                  <a:close/>
                  <a:moveTo>
                    <a:pt x="281" y="179"/>
                  </a:moveTo>
                  <a:lnTo>
                    <a:pt x="289" y="186"/>
                  </a:lnTo>
                  <a:lnTo>
                    <a:pt x="286" y="189"/>
                  </a:lnTo>
                  <a:lnTo>
                    <a:pt x="281" y="179"/>
                  </a:lnTo>
                  <a:close/>
                  <a:moveTo>
                    <a:pt x="416" y="52"/>
                  </a:moveTo>
                  <a:lnTo>
                    <a:pt x="433" y="49"/>
                  </a:lnTo>
                  <a:lnTo>
                    <a:pt x="438" y="59"/>
                  </a:lnTo>
                  <a:lnTo>
                    <a:pt x="427" y="62"/>
                  </a:lnTo>
                  <a:lnTo>
                    <a:pt x="416" y="52"/>
                  </a:lnTo>
                  <a:close/>
                  <a:moveTo>
                    <a:pt x="260" y="31"/>
                  </a:moveTo>
                  <a:lnTo>
                    <a:pt x="283" y="31"/>
                  </a:lnTo>
                  <a:lnTo>
                    <a:pt x="278" y="40"/>
                  </a:lnTo>
                  <a:lnTo>
                    <a:pt x="269" y="37"/>
                  </a:lnTo>
                  <a:lnTo>
                    <a:pt x="263" y="42"/>
                  </a:lnTo>
                  <a:lnTo>
                    <a:pt x="260" y="31"/>
                  </a:lnTo>
                  <a:close/>
                  <a:moveTo>
                    <a:pt x="396" y="0"/>
                  </a:moveTo>
                  <a:lnTo>
                    <a:pt x="405" y="8"/>
                  </a:lnTo>
                  <a:lnTo>
                    <a:pt x="402" y="12"/>
                  </a:lnTo>
                  <a:lnTo>
                    <a:pt x="396" y="0"/>
                  </a:lnTo>
                  <a:close/>
                  <a:moveTo>
                    <a:pt x="456" y="59"/>
                  </a:moveTo>
                  <a:lnTo>
                    <a:pt x="500" y="86"/>
                  </a:lnTo>
                  <a:lnTo>
                    <a:pt x="510" y="88"/>
                  </a:lnTo>
                  <a:lnTo>
                    <a:pt x="544" y="118"/>
                  </a:lnTo>
                  <a:lnTo>
                    <a:pt x="554" y="118"/>
                  </a:lnTo>
                  <a:lnTo>
                    <a:pt x="564" y="136"/>
                  </a:lnTo>
                  <a:lnTo>
                    <a:pt x="555" y="157"/>
                  </a:lnTo>
                  <a:lnTo>
                    <a:pt x="547" y="157"/>
                  </a:lnTo>
                  <a:lnTo>
                    <a:pt x="537" y="118"/>
                  </a:lnTo>
                  <a:lnTo>
                    <a:pt x="527" y="103"/>
                  </a:lnTo>
                  <a:lnTo>
                    <a:pt x="456" y="63"/>
                  </a:lnTo>
                  <a:lnTo>
                    <a:pt x="456" y="59"/>
                  </a:lnTo>
                  <a:close/>
                  <a:moveTo>
                    <a:pt x="339" y="190"/>
                  </a:moveTo>
                  <a:lnTo>
                    <a:pt x="344" y="187"/>
                  </a:lnTo>
                  <a:lnTo>
                    <a:pt x="381" y="195"/>
                  </a:lnTo>
                  <a:lnTo>
                    <a:pt x="407" y="190"/>
                  </a:lnTo>
                  <a:lnTo>
                    <a:pt x="413" y="187"/>
                  </a:lnTo>
                  <a:lnTo>
                    <a:pt x="422" y="170"/>
                  </a:lnTo>
                  <a:lnTo>
                    <a:pt x="421" y="187"/>
                  </a:lnTo>
                  <a:lnTo>
                    <a:pt x="452" y="190"/>
                  </a:lnTo>
                  <a:lnTo>
                    <a:pt x="475" y="170"/>
                  </a:lnTo>
                  <a:lnTo>
                    <a:pt x="495" y="162"/>
                  </a:lnTo>
                  <a:lnTo>
                    <a:pt x="492" y="133"/>
                  </a:lnTo>
                  <a:lnTo>
                    <a:pt x="517" y="131"/>
                  </a:lnTo>
                  <a:lnTo>
                    <a:pt x="527" y="142"/>
                  </a:lnTo>
                  <a:lnTo>
                    <a:pt x="526" y="161"/>
                  </a:lnTo>
                  <a:lnTo>
                    <a:pt x="515" y="167"/>
                  </a:lnTo>
                  <a:lnTo>
                    <a:pt x="517" y="182"/>
                  </a:lnTo>
                  <a:lnTo>
                    <a:pt x="510" y="193"/>
                  </a:lnTo>
                  <a:lnTo>
                    <a:pt x="493" y="193"/>
                  </a:lnTo>
                  <a:lnTo>
                    <a:pt x="481" y="213"/>
                  </a:lnTo>
                  <a:lnTo>
                    <a:pt x="450" y="224"/>
                  </a:lnTo>
                  <a:lnTo>
                    <a:pt x="405" y="229"/>
                  </a:lnTo>
                  <a:lnTo>
                    <a:pt x="395" y="220"/>
                  </a:lnTo>
                  <a:lnTo>
                    <a:pt x="379" y="223"/>
                  </a:lnTo>
                  <a:lnTo>
                    <a:pt x="351" y="207"/>
                  </a:lnTo>
                  <a:lnTo>
                    <a:pt x="339" y="19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4" name="Freeform 11">
              <a:extLst>
                <a:ext uri="{FF2B5EF4-FFF2-40B4-BE49-F238E27FC236}">
                  <a16:creationId xmlns:a16="http://schemas.microsoft.com/office/drawing/2014/main" id="{9A05B782-D4D0-3D4E-A5D9-BFEB1D57DE96}"/>
                </a:ext>
              </a:extLst>
            </p:cNvPr>
            <p:cNvSpPr>
              <a:spLocks noChangeAspect="1" noEditPoints="1"/>
            </p:cNvSpPr>
            <p:nvPr/>
          </p:nvSpPr>
          <p:spPr bwMode="gray">
            <a:xfrm>
              <a:off x="8157615" y="4442350"/>
              <a:ext cx="213385" cy="145910"/>
            </a:xfrm>
            <a:custGeom>
              <a:avLst/>
              <a:gdLst>
                <a:gd name="T0" fmla="*/ 154 w 439"/>
                <a:gd name="T1" fmla="*/ 240 h 246"/>
                <a:gd name="T2" fmla="*/ 173 w 439"/>
                <a:gd name="T3" fmla="*/ 246 h 246"/>
                <a:gd name="T4" fmla="*/ 422 w 439"/>
                <a:gd name="T5" fmla="*/ 195 h 246"/>
                <a:gd name="T6" fmla="*/ 437 w 439"/>
                <a:gd name="T7" fmla="*/ 190 h 246"/>
                <a:gd name="T8" fmla="*/ 427 w 439"/>
                <a:gd name="T9" fmla="*/ 198 h 246"/>
                <a:gd name="T10" fmla="*/ 227 w 439"/>
                <a:gd name="T11" fmla="*/ 167 h 246"/>
                <a:gd name="T12" fmla="*/ 269 w 439"/>
                <a:gd name="T13" fmla="*/ 194 h 246"/>
                <a:gd name="T14" fmla="*/ 247 w 439"/>
                <a:gd name="T15" fmla="*/ 190 h 246"/>
                <a:gd name="T16" fmla="*/ 142 w 439"/>
                <a:gd name="T17" fmla="*/ 124 h 246"/>
                <a:gd name="T18" fmla="*/ 201 w 439"/>
                <a:gd name="T19" fmla="*/ 143 h 246"/>
                <a:gd name="T20" fmla="*/ 196 w 439"/>
                <a:gd name="T21" fmla="*/ 153 h 246"/>
                <a:gd name="T22" fmla="*/ 142 w 439"/>
                <a:gd name="T23" fmla="*/ 135 h 246"/>
                <a:gd name="T24" fmla="*/ 170 w 439"/>
                <a:gd name="T25" fmla="*/ 110 h 246"/>
                <a:gd name="T26" fmla="*/ 181 w 439"/>
                <a:gd name="T27" fmla="*/ 118 h 246"/>
                <a:gd name="T28" fmla="*/ 195 w 439"/>
                <a:gd name="T29" fmla="*/ 84 h 246"/>
                <a:gd name="T30" fmla="*/ 201 w 439"/>
                <a:gd name="T31" fmla="*/ 84 h 246"/>
                <a:gd name="T32" fmla="*/ 222 w 439"/>
                <a:gd name="T33" fmla="*/ 118 h 246"/>
                <a:gd name="T34" fmla="*/ 230 w 439"/>
                <a:gd name="T35" fmla="*/ 126 h 246"/>
                <a:gd name="T36" fmla="*/ 210 w 439"/>
                <a:gd name="T37" fmla="*/ 121 h 246"/>
                <a:gd name="T38" fmla="*/ 94 w 439"/>
                <a:gd name="T39" fmla="*/ 43 h 246"/>
                <a:gd name="T40" fmla="*/ 154 w 439"/>
                <a:gd name="T41" fmla="*/ 85 h 246"/>
                <a:gd name="T42" fmla="*/ 94 w 439"/>
                <a:gd name="T43" fmla="*/ 43 h 246"/>
                <a:gd name="T44" fmla="*/ 72 w 439"/>
                <a:gd name="T45" fmla="*/ 88 h 246"/>
                <a:gd name="T46" fmla="*/ 68 w 439"/>
                <a:gd name="T47" fmla="*/ 93 h 246"/>
                <a:gd name="T48" fmla="*/ 40 w 439"/>
                <a:gd name="T49" fmla="*/ 84 h 246"/>
                <a:gd name="T50" fmla="*/ 37 w 439"/>
                <a:gd name="T51" fmla="*/ 90 h 246"/>
                <a:gd name="T52" fmla="*/ 37 w 439"/>
                <a:gd name="T53" fmla="*/ 65 h 246"/>
                <a:gd name="T54" fmla="*/ 59 w 439"/>
                <a:gd name="T55" fmla="*/ 77 h 246"/>
                <a:gd name="T56" fmla="*/ 35 w 439"/>
                <a:gd name="T57" fmla="*/ 73 h 246"/>
                <a:gd name="T58" fmla="*/ 30 w 439"/>
                <a:gd name="T59" fmla="*/ 67 h 246"/>
                <a:gd name="T60" fmla="*/ 23 w 439"/>
                <a:gd name="T61" fmla="*/ 55 h 246"/>
                <a:gd name="T62" fmla="*/ 3 w 439"/>
                <a:gd name="T63" fmla="*/ 42 h 246"/>
                <a:gd name="T64" fmla="*/ 10 w 439"/>
                <a:gd name="T65" fmla="*/ 60 h 246"/>
                <a:gd name="T66" fmla="*/ 0 w 439"/>
                <a:gd name="T67" fmla="*/ 0 h 246"/>
                <a:gd name="T68" fmla="*/ 47 w 439"/>
                <a:gd name="T69" fmla="*/ 31 h 246"/>
                <a:gd name="T70" fmla="*/ 0 w 439"/>
                <a:gd name="T7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9" h="246">
                  <a:moveTo>
                    <a:pt x="156" y="243"/>
                  </a:moveTo>
                  <a:lnTo>
                    <a:pt x="154" y="240"/>
                  </a:lnTo>
                  <a:lnTo>
                    <a:pt x="161" y="237"/>
                  </a:lnTo>
                  <a:lnTo>
                    <a:pt x="173" y="246"/>
                  </a:lnTo>
                  <a:lnTo>
                    <a:pt x="156" y="243"/>
                  </a:lnTo>
                  <a:close/>
                  <a:moveTo>
                    <a:pt x="422" y="195"/>
                  </a:moveTo>
                  <a:lnTo>
                    <a:pt x="427" y="189"/>
                  </a:lnTo>
                  <a:lnTo>
                    <a:pt x="437" y="190"/>
                  </a:lnTo>
                  <a:lnTo>
                    <a:pt x="439" y="194"/>
                  </a:lnTo>
                  <a:lnTo>
                    <a:pt x="427" y="198"/>
                  </a:lnTo>
                  <a:lnTo>
                    <a:pt x="422" y="195"/>
                  </a:lnTo>
                  <a:close/>
                  <a:moveTo>
                    <a:pt x="227" y="167"/>
                  </a:moveTo>
                  <a:lnTo>
                    <a:pt x="258" y="178"/>
                  </a:lnTo>
                  <a:lnTo>
                    <a:pt x="269" y="194"/>
                  </a:lnTo>
                  <a:lnTo>
                    <a:pt x="266" y="197"/>
                  </a:lnTo>
                  <a:lnTo>
                    <a:pt x="247" y="190"/>
                  </a:lnTo>
                  <a:lnTo>
                    <a:pt x="227" y="167"/>
                  </a:lnTo>
                  <a:close/>
                  <a:moveTo>
                    <a:pt x="142" y="124"/>
                  </a:moveTo>
                  <a:lnTo>
                    <a:pt x="178" y="127"/>
                  </a:lnTo>
                  <a:lnTo>
                    <a:pt x="201" y="143"/>
                  </a:lnTo>
                  <a:lnTo>
                    <a:pt x="201" y="150"/>
                  </a:lnTo>
                  <a:lnTo>
                    <a:pt x="196" y="153"/>
                  </a:lnTo>
                  <a:lnTo>
                    <a:pt x="161" y="150"/>
                  </a:lnTo>
                  <a:lnTo>
                    <a:pt x="142" y="135"/>
                  </a:lnTo>
                  <a:lnTo>
                    <a:pt x="142" y="124"/>
                  </a:lnTo>
                  <a:close/>
                  <a:moveTo>
                    <a:pt x="170" y="110"/>
                  </a:moveTo>
                  <a:lnTo>
                    <a:pt x="178" y="109"/>
                  </a:lnTo>
                  <a:lnTo>
                    <a:pt x="181" y="118"/>
                  </a:lnTo>
                  <a:lnTo>
                    <a:pt x="170" y="110"/>
                  </a:lnTo>
                  <a:close/>
                  <a:moveTo>
                    <a:pt x="195" y="84"/>
                  </a:moveTo>
                  <a:lnTo>
                    <a:pt x="196" y="80"/>
                  </a:lnTo>
                  <a:lnTo>
                    <a:pt x="201" y="84"/>
                  </a:lnTo>
                  <a:lnTo>
                    <a:pt x="208" y="101"/>
                  </a:lnTo>
                  <a:lnTo>
                    <a:pt x="222" y="118"/>
                  </a:lnTo>
                  <a:lnTo>
                    <a:pt x="222" y="124"/>
                  </a:lnTo>
                  <a:lnTo>
                    <a:pt x="230" y="126"/>
                  </a:lnTo>
                  <a:lnTo>
                    <a:pt x="233" y="139"/>
                  </a:lnTo>
                  <a:lnTo>
                    <a:pt x="210" y="121"/>
                  </a:lnTo>
                  <a:lnTo>
                    <a:pt x="195" y="84"/>
                  </a:lnTo>
                  <a:close/>
                  <a:moveTo>
                    <a:pt x="94" y="43"/>
                  </a:moveTo>
                  <a:lnTo>
                    <a:pt x="148" y="72"/>
                  </a:lnTo>
                  <a:lnTo>
                    <a:pt x="154" y="85"/>
                  </a:lnTo>
                  <a:lnTo>
                    <a:pt x="108" y="59"/>
                  </a:lnTo>
                  <a:lnTo>
                    <a:pt x="94" y="43"/>
                  </a:lnTo>
                  <a:close/>
                  <a:moveTo>
                    <a:pt x="68" y="93"/>
                  </a:moveTo>
                  <a:lnTo>
                    <a:pt x="72" y="88"/>
                  </a:lnTo>
                  <a:lnTo>
                    <a:pt x="72" y="93"/>
                  </a:lnTo>
                  <a:lnTo>
                    <a:pt x="68" y="93"/>
                  </a:lnTo>
                  <a:close/>
                  <a:moveTo>
                    <a:pt x="37" y="90"/>
                  </a:moveTo>
                  <a:lnTo>
                    <a:pt x="40" y="84"/>
                  </a:lnTo>
                  <a:lnTo>
                    <a:pt x="40" y="93"/>
                  </a:lnTo>
                  <a:lnTo>
                    <a:pt x="37" y="90"/>
                  </a:lnTo>
                  <a:close/>
                  <a:moveTo>
                    <a:pt x="35" y="73"/>
                  </a:moveTo>
                  <a:lnTo>
                    <a:pt x="37" y="65"/>
                  </a:lnTo>
                  <a:lnTo>
                    <a:pt x="47" y="64"/>
                  </a:lnTo>
                  <a:lnTo>
                    <a:pt x="59" y="77"/>
                  </a:lnTo>
                  <a:lnTo>
                    <a:pt x="63" y="87"/>
                  </a:lnTo>
                  <a:lnTo>
                    <a:pt x="35" y="73"/>
                  </a:lnTo>
                  <a:close/>
                  <a:moveTo>
                    <a:pt x="29" y="59"/>
                  </a:moveTo>
                  <a:lnTo>
                    <a:pt x="30" y="67"/>
                  </a:lnTo>
                  <a:lnTo>
                    <a:pt x="27" y="68"/>
                  </a:lnTo>
                  <a:lnTo>
                    <a:pt x="23" y="55"/>
                  </a:lnTo>
                  <a:lnTo>
                    <a:pt x="29" y="59"/>
                  </a:lnTo>
                  <a:close/>
                  <a:moveTo>
                    <a:pt x="3" y="42"/>
                  </a:moveTo>
                  <a:lnTo>
                    <a:pt x="13" y="51"/>
                  </a:lnTo>
                  <a:lnTo>
                    <a:pt x="10" y="60"/>
                  </a:lnTo>
                  <a:lnTo>
                    <a:pt x="3" y="42"/>
                  </a:lnTo>
                  <a:close/>
                  <a:moveTo>
                    <a:pt x="0" y="0"/>
                  </a:moveTo>
                  <a:lnTo>
                    <a:pt x="21" y="9"/>
                  </a:lnTo>
                  <a:lnTo>
                    <a:pt x="47" y="31"/>
                  </a:lnTo>
                  <a:lnTo>
                    <a:pt x="20" y="25"/>
                  </a:lnTo>
                  <a:lnTo>
                    <a:pt x="0" y="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5" name="Freeform 12">
              <a:extLst>
                <a:ext uri="{FF2B5EF4-FFF2-40B4-BE49-F238E27FC236}">
                  <a16:creationId xmlns:a16="http://schemas.microsoft.com/office/drawing/2014/main" id="{5E63759B-626C-4F43-8295-FF47BD5119B2}"/>
                </a:ext>
              </a:extLst>
            </p:cNvPr>
            <p:cNvSpPr>
              <a:spLocks noChangeAspect="1" noEditPoints="1"/>
            </p:cNvSpPr>
            <p:nvPr/>
          </p:nvSpPr>
          <p:spPr bwMode="gray">
            <a:xfrm>
              <a:off x="8378963" y="4665056"/>
              <a:ext cx="62104" cy="140149"/>
            </a:xfrm>
            <a:custGeom>
              <a:avLst/>
              <a:gdLst>
                <a:gd name="T0" fmla="*/ 0 w 128"/>
                <a:gd name="T1" fmla="*/ 0 h 234"/>
                <a:gd name="T2" fmla="*/ 8 w 128"/>
                <a:gd name="T3" fmla="*/ 22 h 234"/>
                <a:gd name="T4" fmla="*/ 22 w 128"/>
                <a:gd name="T5" fmla="*/ 14 h 234"/>
                <a:gd name="T6" fmla="*/ 25 w 128"/>
                <a:gd name="T7" fmla="*/ 38 h 234"/>
                <a:gd name="T8" fmla="*/ 9 w 128"/>
                <a:gd name="T9" fmla="*/ 42 h 234"/>
                <a:gd name="T10" fmla="*/ 0 w 128"/>
                <a:gd name="T11" fmla="*/ 0 h 234"/>
                <a:gd name="T12" fmla="*/ 121 w 128"/>
                <a:gd name="T13" fmla="*/ 223 h 234"/>
                <a:gd name="T14" fmla="*/ 128 w 128"/>
                <a:gd name="T15" fmla="*/ 228 h 234"/>
                <a:gd name="T16" fmla="*/ 127 w 128"/>
                <a:gd name="T17" fmla="*/ 234 h 234"/>
                <a:gd name="T18" fmla="*/ 119 w 128"/>
                <a:gd name="T19" fmla="*/ 228 h 234"/>
                <a:gd name="T20" fmla="*/ 121 w 128"/>
                <a:gd name="T21" fmla="*/ 223 h 234"/>
                <a:gd name="T22" fmla="*/ 110 w 128"/>
                <a:gd name="T23" fmla="*/ 187 h 234"/>
                <a:gd name="T24" fmla="*/ 114 w 128"/>
                <a:gd name="T25" fmla="*/ 187 h 234"/>
                <a:gd name="T26" fmla="*/ 118 w 128"/>
                <a:gd name="T27" fmla="*/ 203 h 234"/>
                <a:gd name="T28" fmla="*/ 111 w 128"/>
                <a:gd name="T29" fmla="*/ 197 h 234"/>
                <a:gd name="T30" fmla="*/ 110 w 128"/>
                <a:gd name="T31" fmla="*/ 187 h 234"/>
                <a:gd name="T32" fmla="*/ 111 w 128"/>
                <a:gd name="T33" fmla="*/ 197 h 234"/>
                <a:gd name="T34" fmla="*/ 110 w 128"/>
                <a:gd name="T35" fmla="*/ 187 h 234"/>
                <a:gd name="T36" fmla="*/ 84 w 128"/>
                <a:gd name="T37" fmla="*/ 135 h 234"/>
                <a:gd name="T38" fmla="*/ 90 w 128"/>
                <a:gd name="T39" fmla="*/ 144 h 234"/>
                <a:gd name="T40" fmla="*/ 77 w 128"/>
                <a:gd name="T41" fmla="*/ 146 h 234"/>
                <a:gd name="T42" fmla="*/ 76 w 128"/>
                <a:gd name="T43" fmla="*/ 140 h 234"/>
                <a:gd name="T44" fmla="*/ 84 w 128"/>
                <a:gd name="T45" fmla="*/ 135 h 234"/>
                <a:gd name="T46" fmla="*/ 71 w 128"/>
                <a:gd name="T47" fmla="*/ 65 h 234"/>
                <a:gd name="T48" fmla="*/ 77 w 128"/>
                <a:gd name="T49" fmla="*/ 77 h 234"/>
                <a:gd name="T50" fmla="*/ 68 w 128"/>
                <a:gd name="T51" fmla="*/ 77 h 234"/>
                <a:gd name="T52" fmla="*/ 62 w 128"/>
                <a:gd name="T53" fmla="*/ 72 h 234"/>
                <a:gd name="T54" fmla="*/ 71 w 128"/>
                <a:gd name="T55" fmla="*/ 65 h 234"/>
                <a:gd name="T56" fmla="*/ 73 w 128"/>
                <a:gd name="T57" fmla="*/ 36 h 234"/>
                <a:gd name="T58" fmla="*/ 76 w 128"/>
                <a:gd name="T59" fmla="*/ 56 h 234"/>
                <a:gd name="T60" fmla="*/ 73 w 128"/>
                <a:gd name="T61" fmla="*/ 36 h 234"/>
                <a:gd name="T62" fmla="*/ 26 w 128"/>
                <a:gd name="T63" fmla="*/ 55 h 234"/>
                <a:gd name="T64" fmla="*/ 50 w 128"/>
                <a:gd name="T65" fmla="*/ 76 h 234"/>
                <a:gd name="T66" fmla="*/ 52 w 128"/>
                <a:gd name="T67" fmla="*/ 84 h 234"/>
                <a:gd name="T68" fmla="*/ 39 w 128"/>
                <a:gd name="T69" fmla="*/ 84 h 234"/>
                <a:gd name="T70" fmla="*/ 35 w 128"/>
                <a:gd name="T71" fmla="*/ 64 h 234"/>
                <a:gd name="T72" fmla="*/ 28 w 128"/>
                <a:gd name="T73" fmla="*/ 62 h 234"/>
                <a:gd name="T74" fmla="*/ 26 w 128"/>
                <a:gd name="T75" fmla="*/ 5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 h="234">
                  <a:moveTo>
                    <a:pt x="0" y="0"/>
                  </a:moveTo>
                  <a:lnTo>
                    <a:pt x="8" y="22"/>
                  </a:lnTo>
                  <a:lnTo>
                    <a:pt x="22" y="14"/>
                  </a:lnTo>
                  <a:lnTo>
                    <a:pt x="25" y="38"/>
                  </a:lnTo>
                  <a:lnTo>
                    <a:pt x="9" y="42"/>
                  </a:lnTo>
                  <a:lnTo>
                    <a:pt x="0" y="0"/>
                  </a:lnTo>
                  <a:close/>
                  <a:moveTo>
                    <a:pt x="121" y="223"/>
                  </a:moveTo>
                  <a:lnTo>
                    <a:pt x="128" y="228"/>
                  </a:lnTo>
                  <a:lnTo>
                    <a:pt x="127" y="234"/>
                  </a:lnTo>
                  <a:lnTo>
                    <a:pt x="119" y="228"/>
                  </a:lnTo>
                  <a:lnTo>
                    <a:pt x="121" y="223"/>
                  </a:lnTo>
                  <a:close/>
                  <a:moveTo>
                    <a:pt x="110" y="187"/>
                  </a:moveTo>
                  <a:lnTo>
                    <a:pt x="114" y="187"/>
                  </a:lnTo>
                  <a:lnTo>
                    <a:pt x="118" y="203"/>
                  </a:lnTo>
                  <a:lnTo>
                    <a:pt x="111" y="197"/>
                  </a:lnTo>
                  <a:lnTo>
                    <a:pt x="110" y="187"/>
                  </a:lnTo>
                  <a:lnTo>
                    <a:pt x="111" y="197"/>
                  </a:lnTo>
                  <a:lnTo>
                    <a:pt x="110" y="187"/>
                  </a:lnTo>
                  <a:close/>
                  <a:moveTo>
                    <a:pt x="84" y="135"/>
                  </a:moveTo>
                  <a:lnTo>
                    <a:pt x="90" y="144"/>
                  </a:lnTo>
                  <a:lnTo>
                    <a:pt x="77" y="146"/>
                  </a:lnTo>
                  <a:lnTo>
                    <a:pt x="76" y="140"/>
                  </a:lnTo>
                  <a:lnTo>
                    <a:pt x="84" y="135"/>
                  </a:lnTo>
                  <a:close/>
                  <a:moveTo>
                    <a:pt x="71" y="65"/>
                  </a:moveTo>
                  <a:lnTo>
                    <a:pt x="77" y="77"/>
                  </a:lnTo>
                  <a:lnTo>
                    <a:pt x="68" y="77"/>
                  </a:lnTo>
                  <a:lnTo>
                    <a:pt x="62" y="72"/>
                  </a:lnTo>
                  <a:lnTo>
                    <a:pt x="71" y="65"/>
                  </a:lnTo>
                  <a:close/>
                  <a:moveTo>
                    <a:pt x="73" y="36"/>
                  </a:moveTo>
                  <a:lnTo>
                    <a:pt x="76" y="56"/>
                  </a:lnTo>
                  <a:lnTo>
                    <a:pt x="73" y="36"/>
                  </a:lnTo>
                  <a:close/>
                  <a:moveTo>
                    <a:pt x="26" y="55"/>
                  </a:moveTo>
                  <a:lnTo>
                    <a:pt x="50" y="76"/>
                  </a:lnTo>
                  <a:lnTo>
                    <a:pt x="52" y="84"/>
                  </a:lnTo>
                  <a:lnTo>
                    <a:pt x="39" y="84"/>
                  </a:lnTo>
                  <a:lnTo>
                    <a:pt x="35" y="64"/>
                  </a:lnTo>
                  <a:lnTo>
                    <a:pt x="28" y="62"/>
                  </a:lnTo>
                  <a:lnTo>
                    <a:pt x="26" y="55"/>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6" name="Freeform 13">
              <a:extLst>
                <a:ext uri="{FF2B5EF4-FFF2-40B4-BE49-F238E27FC236}">
                  <a16:creationId xmlns:a16="http://schemas.microsoft.com/office/drawing/2014/main" id="{26282272-8A4F-9E4D-BFC3-ACD9DAF1D5DB}"/>
                </a:ext>
              </a:extLst>
            </p:cNvPr>
            <p:cNvSpPr>
              <a:spLocks noChangeAspect="1" noEditPoints="1"/>
            </p:cNvSpPr>
            <p:nvPr/>
          </p:nvSpPr>
          <p:spPr bwMode="gray">
            <a:xfrm>
              <a:off x="8323227" y="4820563"/>
              <a:ext cx="89176" cy="67194"/>
            </a:xfrm>
            <a:custGeom>
              <a:avLst/>
              <a:gdLst>
                <a:gd name="T0" fmla="*/ 51 w 185"/>
                <a:gd name="T1" fmla="*/ 57 h 110"/>
                <a:gd name="T2" fmla="*/ 33 w 185"/>
                <a:gd name="T3" fmla="*/ 49 h 110"/>
                <a:gd name="T4" fmla="*/ 5 w 185"/>
                <a:gd name="T5" fmla="*/ 14 h 110"/>
                <a:gd name="T6" fmla="*/ 0 w 185"/>
                <a:gd name="T7" fmla="*/ 0 h 110"/>
                <a:gd name="T8" fmla="*/ 17 w 185"/>
                <a:gd name="T9" fmla="*/ 1 h 110"/>
                <a:gd name="T10" fmla="*/ 34 w 185"/>
                <a:gd name="T11" fmla="*/ 12 h 110"/>
                <a:gd name="T12" fmla="*/ 38 w 185"/>
                <a:gd name="T13" fmla="*/ 20 h 110"/>
                <a:gd name="T14" fmla="*/ 50 w 185"/>
                <a:gd name="T15" fmla="*/ 23 h 110"/>
                <a:gd name="T16" fmla="*/ 64 w 185"/>
                <a:gd name="T17" fmla="*/ 48 h 110"/>
                <a:gd name="T18" fmla="*/ 85 w 185"/>
                <a:gd name="T19" fmla="*/ 68 h 110"/>
                <a:gd name="T20" fmla="*/ 104 w 185"/>
                <a:gd name="T21" fmla="*/ 71 h 110"/>
                <a:gd name="T22" fmla="*/ 121 w 185"/>
                <a:gd name="T23" fmla="*/ 90 h 110"/>
                <a:gd name="T24" fmla="*/ 132 w 185"/>
                <a:gd name="T25" fmla="*/ 94 h 110"/>
                <a:gd name="T26" fmla="*/ 135 w 185"/>
                <a:gd name="T27" fmla="*/ 102 h 110"/>
                <a:gd name="T28" fmla="*/ 127 w 185"/>
                <a:gd name="T29" fmla="*/ 110 h 110"/>
                <a:gd name="T30" fmla="*/ 118 w 185"/>
                <a:gd name="T31" fmla="*/ 99 h 110"/>
                <a:gd name="T32" fmla="*/ 99 w 185"/>
                <a:gd name="T33" fmla="*/ 94 h 110"/>
                <a:gd name="T34" fmla="*/ 95 w 185"/>
                <a:gd name="T35" fmla="*/ 86 h 110"/>
                <a:gd name="T36" fmla="*/ 56 w 185"/>
                <a:gd name="T37" fmla="*/ 68 h 110"/>
                <a:gd name="T38" fmla="*/ 51 w 185"/>
                <a:gd name="T39" fmla="*/ 57 h 110"/>
                <a:gd name="T40" fmla="*/ 175 w 185"/>
                <a:gd name="T41" fmla="*/ 59 h 110"/>
                <a:gd name="T42" fmla="*/ 185 w 185"/>
                <a:gd name="T43" fmla="*/ 59 h 110"/>
                <a:gd name="T44" fmla="*/ 185 w 185"/>
                <a:gd name="T45" fmla="*/ 69 h 110"/>
                <a:gd name="T46" fmla="*/ 180 w 185"/>
                <a:gd name="T47" fmla="*/ 68 h 110"/>
                <a:gd name="T48" fmla="*/ 175 w 185"/>
                <a:gd name="T49" fmla="*/ 59 h 110"/>
                <a:gd name="T50" fmla="*/ 143 w 185"/>
                <a:gd name="T51" fmla="*/ 27 h 110"/>
                <a:gd name="T52" fmla="*/ 149 w 185"/>
                <a:gd name="T53" fmla="*/ 29 h 110"/>
                <a:gd name="T54" fmla="*/ 155 w 185"/>
                <a:gd name="T55" fmla="*/ 46 h 110"/>
                <a:gd name="T56" fmla="*/ 143 w 185"/>
                <a:gd name="T57" fmla="*/ 40 h 110"/>
                <a:gd name="T58" fmla="*/ 143 w 185"/>
                <a:gd name="T59" fmla="*/ 2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5" h="110">
                  <a:moveTo>
                    <a:pt x="51" y="57"/>
                  </a:moveTo>
                  <a:lnTo>
                    <a:pt x="33" y="49"/>
                  </a:lnTo>
                  <a:lnTo>
                    <a:pt x="5" y="14"/>
                  </a:lnTo>
                  <a:lnTo>
                    <a:pt x="0" y="0"/>
                  </a:lnTo>
                  <a:lnTo>
                    <a:pt x="17" y="1"/>
                  </a:lnTo>
                  <a:lnTo>
                    <a:pt x="34" y="12"/>
                  </a:lnTo>
                  <a:lnTo>
                    <a:pt x="38" y="20"/>
                  </a:lnTo>
                  <a:lnTo>
                    <a:pt x="50" y="23"/>
                  </a:lnTo>
                  <a:lnTo>
                    <a:pt x="64" y="48"/>
                  </a:lnTo>
                  <a:lnTo>
                    <a:pt x="85" y="68"/>
                  </a:lnTo>
                  <a:lnTo>
                    <a:pt x="104" y="71"/>
                  </a:lnTo>
                  <a:lnTo>
                    <a:pt x="121" y="90"/>
                  </a:lnTo>
                  <a:lnTo>
                    <a:pt x="132" y="94"/>
                  </a:lnTo>
                  <a:lnTo>
                    <a:pt x="135" y="102"/>
                  </a:lnTo>
                  <a:lnTo>
                    <a:pt x="127" y="110"/>
                  </a:lnTo>
                  <a:lnTo>
                    <a:pt x="118" y="99"/>
                  </a:lnTo>
                  <a:lnTo>
                    <a:pt x="99" y="94"/>
                  </a:lnTo>
                  <a:lnTo>
                    <a:pt x="95" y="86"/>
                  </a:lnTo>
                  <a:lnTo>
                    <a:pt x="56" y="68"/>
                  </a:lnTo>
                  <a:lnTo>
                    <a:pt x="51" y="57"/>
                  </a:lnTo>
                  <a:close/>
                  <a:moveTo>
                    <a:pt x="175" y="59"/>
                  </a:moveTo>
                  <a:lnTo>
                    <a:pt x="185" y="59"/>
                  </a:lnTo>
                  <a:lnTo>
                    <a:pt x="185" y="69"/>
                  </a:lnTo>
                  <a:lnTo>
                    <a:pt x="180" y="68"/>
                  </a:lnTo>
                  <a:lnTo>
                    <a:pt x="175" y="59"/>
                  </a:lnTo>
                  <a:close/>
                  <a:moveTo>
                    <a:pt x="143" y="27"/>
                  </a:moveTo>
                  <a:lnTo>
                    <a:pt x="149" y="29"/>
                  </a:lnTo>
                  <a:lnTo>
                    <a:pt x="155" y="46"/>
                  </a:lnTo>
                  <a:lnTo>
                    <a:pt x="143" y="40"/>
                  </a:lnTo>
                  <a:lnTo>
                    <a:pt x="143" y="27"/>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7" name="Freeform 14">
              <a:extLst>
                <a:ext uri="{FF2B5EF4-FFF2-40B4-BE49-F238E27FC236}">
                  <a16:creationId xmlns:a16="http://schemas.microsoft.com/office/drawing/2014/main" id="{8E28E705-C464-6340-92D5-B4A27978BA84}"/>
                </a:ext>
              </a:extLst>
            </p:cNvPr>
            <p:cNvSpPr>
              <a:spLocks noChangeAspect="1" noEditPoints="1"/>
            </p:cNvSpPr>
            <p:nvPr/>
          </p:nvSpPr>
          <p:spPr bwMode="gray">
            <a:xfrm>
              <a:off x="8619418" y="4705370"/>
              <a:ext cx="60513" cy="59517"/>
            </a:xfrm>
            <a:custGeom>
              <a:avLst/>
              <a:gdLst>
                <a:gd name="T0" fmla="*/ 31 w 124"/>
                <a:gd name="T1" fmla="*/ 59 h 101"/>
                <a:gd name="T2" fmla="*/ 40 w 124"/>
                <a:gd name="T3" fmla="*/ 58 h 101"/>
                <a:gd name="T4" fmla="*/ 53 w 124"/>
                <a:gd name="T5" fmla="*/ 67 h 101"/>
                <a:gd name="T6" fmla="*/ 59 w 124"/>
                <a:gd name="T7" fmla="*/ 93 h 101"/>
                <a:gd name="T8" fmla="*/ 34 w 124"/>
                <a:gd name="T9" fmla="*/ 101 h 101"/>
                <a:gd name="T10" fmla="*/ 0 w 124"/>
                <a:gd name="T11" fmla="*/ 90 h 101"/>
                <a:gd name="T12" fmla="*/ 3 w 124"/>
                <a:gd name="T13" fmla="*/ 72 h 101"/>
                <a:gd name="T14" fmla="*/ 14 w 124"/>
                <a:gd name="T15" fmla="*/ 64 h 101"/>
                <a:gd name="T16" fmla="*/ 31 w 124"/>
                <a:gd name="T17" fmla="*/ 59 h 101"/>
                <a:gd name="T18" fmla="*/ 74 w 124"/>
                <a:gd name="T19" fmla="*/ 14 h 101"/>
                <a:gd name="T20" fmla="*/ 79 w 124"/>
                <a:gd name="T21" fmla="*/ 17 h 101"/>
                <a:gd name="T22" fmla="*/ 107 w 124"/>
                <a:gd name="T23" fmla="*/ 4 h 101"/>
                <a:gd name="T24" fmla="*/ 124 w 124"/>
                <a:gd name="T25" fmla="*/ 0 h 101"/>
                <a:gd name="T26" fmla="*/ 117 w 124"/>
                <a:gd name="T27" fmla="*/ 14 h 101"/>
                <a:gd name="T28" fmla="*/ 119 w 124"/>
                <a:gd name="T29" fmla="*/ 30 h 101"/>
                <a:gd name="T30" fmla="*/ 93 w 124"/>
                <a:gd name="T31" fmla="*/ 30 h 101"/>
                <a:gd name="T32" fmla="*/ 90 w 124"/>
                <a:gd name="T33" fmla="*/ 24 h 101"/>
                <a:gd name="T34" fmla="*/ 82 w 124"/>
                <a:gd name="T35" fmla="*/ 36 h 101"/>
                <a:gd name="T36" fmla="*/ 70 w 124"/>
                <a:gd name="T37" fmla="*/ 39 h 101"/>
                <a:gd name="T38" fmla="*/ 56 w 124"/>
                <a:gd name="T39" fmla="*/ 30 h 101"/>
                <a:gd name="T40" fmla="*/ 56 w 124"/>
                <a:gd name="T41" fmla="*/ 24 h 101"/>
                <a:gd name="T42" fmla="*/ 74 w 124"/>
                <a:gd name="T43" fmla="*/ 1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4" h="101">
                  <a:moveTo>
                    <a:pt x="31" y="59"/>
                  </a:moveTo>
                  <a:lnTo>
                    <a:pt x="40" y="58"/>
                  </a:lnTo>
                  <a:lnTo>
                    <a:pt x="53" y="67"/>
                  </a:lnTo>
                  <a:lnTo>
                    <a:pt x="59" y="93"/>
                  </a:lnTo>
                  <a:lnTo>
                    <a:pt x="34" y="101"/>
                  </a:lnTo>
                  <a:lnTo>
                    <a:pt x="0" y="90"/>
                  </a:lnTo>
                  <a:lnTo>
                    <a:pt x="3" y="72"/>
                  </a:lnTo>
                  <a:lnTo>
                    <a:pt x="14" y="64"/>
                  </a:lnTo>
                  <a:lnTo>
                    <a:pt x="31" y="59"/>
                  </a:lnTo>
                  <a:close/>
                  <a:moveTo>
                    <a:pt x="74" y="14"/>
                  </a:moveTo>
                  <a:lnTo>
                    <a:pt x="79" y="17"/>
                  </a:lnTo>
                  <a:lnTo>
                    <a:pt x="107" y="4"/>
                  </a:lnTo>
                  <a:lnTo>
                    <a:pt x="124" y="0"/>
                  </a:lnTo>
                  <a:lnTo>
                    <a:pt x="117" y="14"/>
                  </a:lnTo>
                  <a:lnTo>
                    <a:pt x="119" y="30"/>
                  </a:lnTo>
                  <a:lnTo>
                    <a:pt x="93" y="30"/>
                  </a:lnTo>
                  <a:lnTo>
                    <a:pt x="90" y="24"/>
                  </a:lnTo>
                  <a:lnTo>
                    <a:pt x="82" y="36"/>
                  </a:lnTo>
                  <a:lnTo>
                    <a:pt x="70" y="39"/>
                  </a:lnTo>
                  <a:lnTo>
                    <a:pt x="56" y="30"/>
                  </a:lnTo>
                  <a:lnTo>
                    <a:pt x="56" y="24"/>
                  </a:lnTo>
                  <a:lnTo>
                    <a:pt x="74" y="14"/>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8" name="Freeform 15">
              <a:extLst>
                <a:ext uri="{FF2B5EF4-FFF2-40B4-BE49-F238E27FC236}">
                  <a16:creationId xmlns:a16="http://schemas.microsoft.com/office/drawing/2014/main" id="{17C43014-BB56-BD4B-AF3D-A9055D41C5F7}"/>
                </a:ext>
              </a:extLst>
            </p:cNvPr>
            <p:cNvSpPr>
              <a:spLocks noChangeAspect="1" noEditPoints="1"/>
            </p:cNvSpPr>
            <p:nvPr/>
          </p:nvSpPr>
          <p:spPr bwMode="gray">
            <a:xfrm>
              <a:off x="8367816" y="5254456"/>
              <a:ext cx="280267" cy="610520"/>
            </a:xfrm>
            <a:custGeom>
              <a:avLst/>
              <a:gdLst>
                <a:gd name="T0" fmla="*/ 0 w 575"/>
                <a:gd name="T1" fmla="*/ 1037 h 1037"/>
                <a:gd name="T2" fmla="*/ 318 w 575"/>
                <a:gd name="T3" fmla="*/ 0 h 1037"/>
                <a:gd name="T4" fmla="*/ 340 w 575"/>
                <a:gd name="T5" fmla="*/ 24 h 1037"/>
                <a:gd name="T6" fmla="*/ 374 w 575"/>
                <a:gd name="T7" fmla="*/ 41 h 1037"/>
                <a:gd name="T8" fmla="*/ 396 w 575"/>
                <a:gd name="T9" fmla="*/ 80 h 1037"/>
                <a:gd name="T10" fmla="*/ 410 w 575"/>
                <a:gd name="T11" fmla="*/ 114 h 1037"/>
                <a:gd name="T12" fmla="*/ 430 w 575"/>
                <a:gd name="T13" fmla="*/ 156 h 1037"/>
                <a:gd name="T14" fmla="*/ 431 w 575"/>
                <a:gd name="T15" fmla="*/ 118 h 1037"/>
                <a:gd name="T16" fmla="*/ 461 w 575"/>
                <a:gd name="T17" fmla="*/ 180 h 1037"/>
                <a:gd name="T18" fmla="*/ 557 w 575"/>
                <a:gd name="T19" fmla="*/ 175 h 1037"/>
                <a:gd name="T20" fmla="*/ 554 w 575"/>
                <a:gd name="T21" fmla="*/ 244 h 1037"/>
                <a:gd name="T22" fmla="*/ 547 w 575"/>
                <a:gd name="T23" fmla="*/ 266 h 1037"/>
                <a:gd name="T24" fmla="*/ 501 w 575"/>
                <a:gd name="T25" fmla="*/ 290 h 1037"/>
                <a:gd name="T26" fmla="*/ 493 w 575"/>
                <a:gd name="T27" fmla="*/ 346 h 1037"/>
                <a:gd name="T28" fmla="*/ 433 w 575"/>
                <a:gd name="T29" fmla="*/ 415 h 1037"/>
                <a:gd name="T30" fmla="*/ 403 w 575"/>
                <a:gd name="T31" fmla="*/ 398 h 1037"/>
                <a:gd name="T32" fmla="*/ 428 w 575"/>
                <a:gd name="T33" fmla="*/ 342 h 1037"/>
                <a:gd name="T34" fmla="*/ 393 w 575"/>
                <a:gd name="T35" fmla="*/ 308 h 1037"/>
                <a:gd name="T36" fmla="*/ 369 w 575"/>
                <a:gd name="T37" fmla="*/ 265 h 1037"/>
                <a:gd name="T38" fmla="*/ 410 w 575"/>
                <a:gd name="T39" fmla="*/ 208 h 1037"/>
                <a:gd name="T40" fmla="*/ 405 w 575"/>
                <a:gd name="T41" fmla="*/ 143 h 1037"/>
                <a:gd name="T42" fmla="*/ 379 w 575"/>
                <a:gd name="T43" fmla="*/ 115 h 1037"/>
                <a:gd name="T44" fmla="*/ 383 w 575"/>
                <a:gd name="T45" fmla="*/ 109 h 1037"/>
                <a:gd name="T46" fmla="*/ 374 w 575"/>
                <a:gd name="T47" fmla="*/ 109 h 1037"/>
                <a:gd name="T48" fmla="*/ 349 w 575"/>
                <a:gd name="T49" fmla="*/ 50 h 1037"/>
                <a:gd name="T50" fmla="*/ 329 w 575"/>
                <a:gd name="T51" fmla="*/ 30 h 1037"/>
                <a:gd name="T52" fmla="*/ 284 w 575"/>
                <a:gd name="T53" fmla="*/ 383 h 1037"/>
                <a:gd name="T54" fmla="*/ 309 w 575"/>
                <a:gd name="T55" fmla="*/ 366 h 1037"/>
                <a:gd name="T56" fmla="*/ 334 w 575"/>
                <a:gd name="T57" fmla="*/ 401 h 1037"/>
                <a:gd name="T58" fmla="*/ 362 w 575"/>
                <a:gd name="T59" fmla="*/ 384 h 1037"/>
                <a:gd name="T60" fmla="*/ 373 w 575"/>
                <a:gd name="T61" fmla="*/ 383 h 1037"/>
                <a:gd name="T62" fmla="*/ 379 w 575"/>
                <a:gd name="T63" fmla="*/ 403 h 1037"/>
                <a:gd name="T64" fmla="*/ 340 w 575"/>
                <a:gd name="T65" fmla="*/ 496 h 1037"/>
                <a:gd name="T66" fmla="*/ 326 w 575"/>
                <a:gd name="T67" fmla="*/ 553 h 1037"/>
                <a:gd name="T68" fmla="*/ 295 w 575"/>
                <a:gd name="T69" fmla="*/ 562 h 1037"/>
                <a:gd name="T70" fmla="*/ 255 w 575"/>
                <a:gd name="T71" fmla="*/ 570 h 1037"/>
                <a:gd name="T72" fmla="*/ 218 w 575"/>
                <a:gd name="T73" fmla="*/ 698 h 1037"/>
                <a:gd name="T74" fmla="*/ 170 w 575"/>
                <a:gd name="T75" fmla="*/ 735 h 1037"/>
                <a:gd name="T76" fmla="*/ 111 w 575"/>
                <a:gd name="T77" fmla="*/ 737 h 1037"/>
                <a:gd name="T78" fmla="*/ 78 w 575"/>
                <a:gd name="T79" fmla="*/ 709 h 1037"/>
                <a:gd name="T80" fmla="*/ 44 w 575"/>
                <a:gd name="T81" fmla="*/ 692 h 1037"/>
                <a:gd name="T82" fmla="*/ 27 w 575"/>
                <a:gd name="T83" fmla="*/ 696 h 1037"/>
                <a:gd name="T84" fmla="*/ 40 w 575"/>
                <a:gd name="T85" fmla="*/ 675 h 1037"/>
                <a:gd name="T86" fmla="*/ 46 w 575"/>
                <a:gd name="T87" fmla="*/ 657 h 1037"/>
                <a:gd name="T88" fmla="*/ 51 w 575"/>
                <a:gd name="T89" fmla="*/ 646 h 1037"/>
                <a:gd name="T90" fmla="*/ 69 w 575"/>
                <a:gd name="T91" fmla="*/ 633 h 1037"/>
                <a:gd name="T92" fmla="*/ 102 w 575"/>
                <a:gd name="T93" fmla="*/ 573 h 1037"/>
                <a:gd name="T94" fmla="*/ 241 w 575"/>
                <a:gd name="T95" fmla="*/ 476 h 1037"/>
                <a:gd name="T96" fmla="*/ 284 w 575"/>
                <a:gd name="T97" fmla="*/ 383 h 1037"/>
                <a:gd name="T98" fmla="*/ 93 w 575"/>
                <a:gd name="T99" fmla="*/ 760 h 1037"/>
                <a:gd name="T100" fmla="*/ 83 w 575"/>
                <a:gd name="T101" fmla="*/ 745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5" h="1037">
                  <a:moveTo>
                    <a:pt x="12" y="1014"/>
                  </a:moveTo>
                  <a:lnTo>
                    <a:pt x="15" y="1034"/>
                  </a:lnTo>
                  <a:lnTo>
                    <a:pt x="0" y="1037"/>
                  </a:lnTo>
                  <a:lnTo>
                    <a:pt x="1" y="1026"/>
                  </a:lnTo>
                  <a:lnTo>
                    <a:pt x="12" y="1014"/>
                  </a:lnTo>
                  <a:close/>
                  <a:moveTo>
                    <a:pt x="318" y="0"/>
                  </a:moveTo>
                  <a:lnTo>
                    <a:pt x="323" y="0"/>
                  </a:lnTo>
                  <a:lnTo>
                    <a:pt x="332" y="30"/>
                  </a:lnTo>
                  <a:lnTo>
                    <a:pt x="340" y="24"/>
                  </a:lnTo>
                  <a:lnTo>
                    <a:pt x="340" y="30"/>
                  </a:lnTo>
                  <a:lnTo>
                    <a:pt x="366" y="34"/>
                  </a:lnTo>
                  <a:lnTo>
                    <a:pt x="374" y="41"/>
                  </a:lnTo>
                  <a:lnTo>
                    <a:pt x="368" y="42"/>
                  </a:lnTo>
                  <a:lnTo>
                    <a:pt x="383" y="50"/>
                  </a:lnTo>
                  <a:lnTo>
                    <a:pt x="396" y="80"/>
                  </a:lnTo>
                  <a:lnTo>
                    <a:pt x="383" y="75"/>
                  </a:lnTo>
                  <a:lnTo>
                    <a:pt x="385" y="81"/>
                  </a:lnTo>
                  <a:lnTo>
                    <a:pt x="410" y="114"/>
                  </a:lnTo>
                  <a:lnTo>
                    <a:pt x="403" y="139"/>
                  </a:lnTo>
                  <a:lnTo>
                    <a:pt x="427" y="143"/>
                  </a:lnTo>
                  <a:lnTo>
                    <a:pt x="430" y="156"/>
                  </a:lnTo>
                  <a:lnTo>
                    <a:pt x="436" y="158"/>
                  </a:lnTo>
                  <a:lnTo>
                    <a:pt x="437" y="130"/>
                  </a:lnTo>
                  <a:lnTo>
                    <a:pt x="431" y="118"/>
                  </a:lnTo>
                  <a:lnTo>
                    <a:pt x="436" y="118"/>
                  </a:lnTo>
                  <a:lnTo>
                    <a:pt x="450" y="127"/>
                  </a:lnTo>
                  <a:lnTo>
                    <a:pt x="461" y="180"/>
                  </a:lnTo>
                  <a:lnTo>
                    <a:pt x="513" y="202"/>
                  </a:lnTo>
                  <a:lnTo>
                    <a:pt x="521" y="203"/>
                  </a:lnTo>
                  <a:lnTo>
                    <a:pt x="557" y="175"/>
                  </a:lnTo>
                  <a:lnTo>
                    <a:pt x="575" y="183"/>
                  </a:lnTo>
                  <a:lnTo>
                    <a:pt x="567" y="236"/>
                  </a:lnTo>
                  <a:lnTo>
                    <a:pt x="554" y="244"/>
                  </a:lnTo>
                  <a:lnTo>
                    <a:pt x="554" y="270"/>
                  </a:lnTo>
                  <a:lnTo>
                    <a:pt x="549" y="276"/>
                  </a:lnTo>
                  <a:lnTo>
                    <a:pt x="547" y="266"/>
                  </a:lnTo>
                  <a:lnTo>
                    <a:pt x="537" y="265"/>
                  </a:lnTo>
                  <a:lnTo>
                    <a:pt x="515" y="271"/>
                  </a:lnTo>
                  <a:lnTo>
                    <a:pt x="501" y="290"/>
                  </a:lnTo>
                  <a:lnTo>
                    <a:pt x="510" y="304"/>
                  </a:lnTo>
                  <a:lnTo>
                    <a:pt x="510" y="310"/>
                  </a:lnTo>
                  <a:lnTo>
                    <a:pt x="493" y="346"/>
                  </a:lnTo>
                  <a:lnTo>
                    <a:pt x="456" y="403"/>
                  </a:lnTo>
                  <a:lnTo>
                    <a:pt x="440" y="413"/>
                  </a:lnTo>
                  <a:lnTo>
                    <a:pt x="433" y="415"/>
                  </a:lnTo>
                  <a:lnTo>
                    <a:pt x="423" y="405"/>
                  </a:lnTo>
                  <a:lnTo>
                    <a:pt x="406" y="405"/>
                  </a:lnTo>
                  <a:lnTo>
                    <a:pt x="403" y="398"/>
                  </a:lnTo>
                  <a:lnTo>
                    <a:pt x="403" y="390"/>
                  </a:lnTo>
                  <a:lnTo>
                    <a:pt x="423" y="361"/>
                  </a:lnTo>
                  <a:lnTo>
                    <a:pt x="428" y="342"/>
                  </a:lnTo>
                  <a:lnTo>
                    <a:pt x="425" y="329"/>
                  </a:lnTo>
                  <a:lnTo>
                    <a:pt x="413" y="315"/>
                  </a:lnTo>
                  <a:lnTo>
                    <a:pt x="393" y="308"/>
                  </a:lnTo>
                  <a:lnTo>
                    <a:pt x="360" y="283"/>
                  </a:lnTo>
                  <a:lnTo>
                    <a:pt x="360" y="273"/>
                  </a:lnTo>
                  <a:lnTo>
                    <a:pt x="369" y="265"/>
                  </a:lnTo>
                  <a:lnTo>
                    <a:pt x="396" y="249"/>
                  </a:lnTo>
                  <a:lnTo>
                    <a:pt x="403" y="211"/>
                  </a:lnTo>
                  <a:lnTo>
                    <a:pt x="410" y="208"/>
                  </a:lnTo>
                  <a:lnTo>
                    <a:pt x="410" y="164"/>
                  </a:lnTo>
                  <a:lnTo>
                    <a:pt x="397" y="154"/>
                  </a:lnTo>
                  <a:lnTo>
                    <a:pt x="405" y="143"/>
                  </a:lnTo>
                  <a:lnTo>
                    <a:pt x="393" y="144"/>
                  </a:lnTo>
                  <a:lnTo>
                    <a:pt x="385" y="127"/>
                  </a:lnTo>
                  <a:lnTo>
                    <a:pt x="379" y="115"/>
                  </a:lnTo>
                  <a:lnTo>
                    <a:pt x="385" y="124"/>
                  </a:lnTo>
                  <a:lnTo>
                    <a:pt x="390" y="112"/>
                  </a:lnTo>
                  <a:lnTo>
                    <a:pt x="383" y="109"/>
                  </a:lnTo>
                  <a:lnTo>
                    <a:pt x="385" y="97"/>
                  </a:lnTo>
                  <a:lnTo>
                    <a:pt x="373" y="97"/>
                  </a:lnTo>
                  <a:lnTo>
                    <a:pt x="374" y="109"/>
                  </a:lnTo>
                  <a:lnTo>
                    <a:pt x="348" y="72"/>
                  </a:lnTo>
                  <a:lnTo>
                    <a:pt x="342" y="61"/>
                  </a:lnTo>
                  <a:lnTo>
                    <a:pt x="349" y="50"/>
                  </a:lnTo>
                  <a:lnTo>
                    <a:pt x="339" y="58"/>
                  </a:lnTo>
                  <a:lnTo>
                    <a:pt x="334" y="50"/>
                  </a:lnTo>
                  <a:lnTo>
                    <a:pt x="329" y="30"/>
                  </a:lnTo>
                  <a:lnTo>
                    <a:pt x="312" y="2"/>
                  </a:lnTo>
                  <a:lnTo>
                    <a:pt x="318" y="0"/>
                  </a:lnTo>
                  <a:close/>
                  <a:moveTo>
                    <a:pt x="284" y="383"/>
                  </a:moveTo>
                  <a:lnTo>
                    <a:pt x="286" y="373"/>
                  </a:lnTo>
                  <a:lnTo>
                    <a:pt x="308" y="355"/>
                  </a:lnTo>
                  <a:lnTo>
                    <a:pt x="309" y="366"/>
                  </a:lnTo>
                  <a:lnTo>
                    <a:pt x="323" y="373"/>
                  </a:lnTo>
                  <a:lnTo>
                    <a:pt x="326" y="392"/>
                  </a:lnTo>
                  <a:lnTo>
                    <a:pt x="334" y="401"/>
                  </a:lnTo>
                  <a:lnTo>
                    <a:pt x="362" y="380"/>
                  </a:lnTo>
                  <a:lnTo>
                    <a:pt x="368" y="380"/>
                  </a:lnTo>
                  <a:lnTo>
                    <a:pt x="362" y="384"/>
                  </a:lnTo>
                  <a:lnTo>
                    <a:pt x="362" y="400"/>
                  </a:lnTo>
                  <a:lnTo>
                    <a:pt x="371" y="395"/>
                  </a:lnTo>
                  <a:lnTo>
                    <a:pt x="373" y="383"/>
                  </a:lnTo>
                  <a:lnTo>
                    <a:pt x="382" y="388"/>
                  </a:lnTo>
                  <a:lnTo>
                    <a:pt x="374" y="398"/>
                  </a:lnTo>
                  <a:lnTo>
                    <a:pt x="379" y="403"/>
                  </a:lnTo>
                  <a:lnTo>
                    <a:pt x="376" y="412"/>
                  </a:lnTo>
                  <a:lnTo>
                    <a:pt x="379" y="434"/>
                  </a:lnTo>
                  <a:lnTo>
                    <a:pt x="340" y="496"/>
                  </a:lnTo>
                  <a:lnTo>
                    <a:pt x="317" y="514"/>
                  </a:lnTo>
                  <a:lnTo>
                    <a:pt x="314" y="545"/>
                  </a:lnTo>
                  <a:lnTo>
                    <a:pt x="326" y="553"/>
                  </a:lnTo>
                  <a:lnTo>
                    <a:pt x="329" y="562"/>
                  </a:lnTo>
                  <a:lnTo>
                    <a:pt x="300" y="553"/>
                  </a:lnTo>
                  <a:lnTo>
                    <a:pt x="295" y="562"/>
                  </a:lnTo>
                  <a:lnTo>
                    <a:pt x="288" y="559"/>
                  </a:lnTo>
                  <a:lnTo>
                    <a:pt x="266" y="576"/>
                  </a:lnTo>
                  <a:lnTo>
                    <a:pt x="255" y="570"/>
                  </a:lnTo>
                  <a:lnTo>
                    <a:pt x="241" y="637"/>
                  </a:lnTo>
                  <a:lnTo>
                    <a:pt x="221" y="683"/>
                  </a:lnTo>
                  <a:lnTo>
                    <a:pt x="218" y="698"/>
                  </a:lnTo>
                  <a:lnTo>
                    <a:pt x="205" y="703"/>
                  </a:lnTo>
                  <a:lnTo>
                    <a:pt x="182" y="721"/>
                  </a:lnTo>
                  <a:lnTo>
                    <a:pt x="170" y="735"/>
                  </a:lnTo>
                  <a:lnTo>
                    <a:pt x="140" y="743"/>
                  </a:lnTo>
                  <a:lnTo>
                    <a:pt x="134" y="734"/>
                  </a:lnTo>
                  <a:lnTo>
                    <a:pt x="111" y="737"/>
                  </a:lnTo>
                  <a:lnTo>
                    <a:pt x="110" y="726"/>
                  </a:lnTo>
                  <a:lnTo>
                    <a:pt x="86" y="723"/>
                  </a:lnTo>
                  <a:lnTo>
                    <a:pt x="78" y="709"/>
                  </a:lnTo>
                  <a:lnTo>
                    <a:pt x="57" y="715"/>
                  </a:lnTo>
                  <a:lnTo>
                    <a:pt x="35" y="709"/>
                  </a:lnTo>
                  <a:lnTo>
                    <a:pt x="44" y="692"/>
                  </a:lnTo>
                  <a:lnTo>
                    <a:pt x="32" y="703"/>
                  </a:lnTo>
                  <a:lnTo>
                    <a:pt x="35" y="691"/>
                  </a:lnTo>
                  <a:lnTo>
                    <a:pt x="27" y="696"/>
                  </a:lnTo>
                  <a:lnTo>
                    <a:pt x="26" y="691"/>
                  </a:lnTo>
                  <a:lnTo>
                    <a:pt x="44" y="680"/>
                  </a:lnTo>
                  <a:lnTo>
                    <a:pt x="40" y="675"/>
                  </a:lnTo>
                  <a:lnTo>
                    <a:pt x="48" y="667"/>
                  </a:lnTo>
                  <a:lnTo>
                    <a:pt x="37" y="661"/>
                  </a:lnTo>
                  <a:lnTo>
                    <a:pt x="46" y="657"/>
                  </a:lnTo>
                  <a:lnTo>
                    <a:pt x="43" y="652"/>
                  </a:lnTo>
                  <a:lnTo>
                    <a:pt x="57" y="652"/>
                  </a:lnTo>
                  <a:lnTo>
                    <a:pt x="51" y="646"/>
                  </a:lnTo>
                  <a:lnTo>
                    <a:pt x="54" y="630"/>
                  </a:lnTo>
                  <a:lnTo>
                    <a:pt x="63" y="624"/>
                  </a:lnTo>
                  <a:lnTo>
                    <a:pt x="69" y="633"/>
                  </a:lnTo>
                  <a:lnTo>
                    <a:pt x="71" y="620"/>
                  </a:lnTo>
                  <a:lnTo>
                    <a:pt x="88" y="603"/>
                  </a:lnTo>
                  <a:lnTo>
                    <a:pt x="102" y="573"/>
                  </a:lnTo>
                  <a:lnTo>
                    <a:pt x="144" y="559"/>
                  </a:lnTo>
                  <a:lnTo>
                    <a:pt x="229" y="493"/>
                  </a:lnTo>
                  <a:lnTo>
                    <a:pt x="241" y="476"/>
                  </a:lnTo>
                  <a:lnTo>
                    <a:pt x="252" y="432"/>
                  </a:lnTo>
                  <a:lnTo>
                    <a:pt x="276" y="415"/>
                  </a:lnTo>
                  <a:lnTo>
                    <a:pt x="284" y="383"/>
                  </a:lnTo>
                  <a:close/>
                  <a:moveTo>
                    <a:pt x="91" y="746"/>
                  </a:moveTo>
                  <a:lnTo>
                    <a:pt x="99" y="755"/>
                  </a:lnTo>
                  <a:lnTo>
                    <a:pt x="93" y="760"/>
                  </a:lnTo>
                  <a:lnTo>
                    <a:pt x="102" y="769"/>
                  </a:lnTo>
                  <a:lnTo>
                    <a:pt x="73" y="782"/>
                  </a:lnTo>
                  <a:lnTo>
                    <a:pt x="83" y="745"/>
                  </a:lnTo>
                  <a:lnTo>
                    <a:pt x="91" y="746"/>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19" name="Freeform 16">
              <a:extLst>
                <a:ext uri="{FF2B5EF4-FFF2-40B4-BE49-F238E27FC236}">
                  <a16:creationId xmlns:a16="http://schemas.microsoft.com/office/drawing/2014/main" id="{074A5D22-C7D3-E44E-B143-272CCC1BEA3D}"/>
                </a:ext>
              </a:extLst>
            </p:cNvPr>
            <p:cNvSpPr>
              <a:spLocks noChangeAspect="1" noEditPoints="1"/>
            </p:cNvSpPr>
            <p:nvPr/>
          </p:nvSpPr>
          <p:spPr bwMode="gray">
            <a:xfrm>
              <a:off x="6741951" y="4067975"/>
              <a:ext cx="1071701" cy="491487"/>
            </a:xfrm>
            <a:custGeom>
              <a:avLst/>
              <a:gdLst>
                <a:gd name="T0" fmla="*/ 391 w 2198"/>
                <a:gd name="T1" fmla="*/ 257 h 836"/>
                <a:gd name="T2" fmla="*/ 367 w 2198"/>
                <a:gd name="T3" fmla="*/ 249 h 836"/>
                <a:gd name="T4" fmla="*/ 1516 w 2198"/>
                <a:gd name="T5" fmla="*/ 508 h 836"/>
                <a:gd name="T6" fmla="*/ 1456 w 2198"/>
                <a:gd name="T7" fmla="*/ 417 h 836"/>
                <a:gd name="T8" fmla="*/ 1360 w 2198"/>
                <a:gd name="T9" fmla="*/ 386 h 836"/>
                <a:gd name="T10" fmla="*/ 1573 w 2198"/>
                <a:gd name="T11" fmla="*/ 398 h 836"/>
                <a:gd name="T12" fmla="*/ 1580 w 2198"/>
                <a:gd name="T13" fmla="*/ 232 h 836"/>
                <a:gd name="T14" fmla="*/ 1612 w 2198"/>
                <a:gd name="T15" fmla="*/ 308 h 836"/>
                <a:gd name="T16" fmla="*/ 1609 w 2198"/>
                <a:gd name="T17" fmla="*/ 212 h 836"/>
                <a:gd name="T18" fmla="*/ 1668 w 2198"/>
                <a:gd name="T19" fmla="*/ 698 h 836"/>
                <a:gd name="T20" fmla="*/ 1881 w 2198"/>
                <a:gd name="T21" fmla="*/ 635 h 836"/>
                <a:gd name="T22" fmla="*/ 1878 w 2198"/>
                <a:gd name="T23" fmla="*/ 618 h 836"/>
                <a:gd name="T24" fmla="*/ 1669 w 2198"/>
                <a:gd name="T25" fmla="*/ 472 h 836"/>
                <a:gd name="T26" fmla="*/ 1665 w 2198"/>
                <a:gd name="T27" fmla="*/ 418 h 836"/>
                <a:gd name="T28" fmla="*/ 1934 w 2198"/>
                <a:gd name="T29" fmla="*/ 409 h 836"/>
                <a:gd name="T30" fmla="*/ 2191 w 2198"/>
                <a:gd name="T31" fmla="*/ 625 h 836"/>
                <a:gd name="T32" fmla="*/ 2037 w 2198"/>
                <a:gd name="T33" fmla="*/ 720 h 836"/>
                <a:gd name="T34" fmla="*/ 2064 w 2198"/>
                <a:gd name="T35" fmla="*/ 599 h 836"/>
                <a:gd name="T36" fmla="*/ 1836 w 2198"/>
                <a:gd name="T37" fmla="*/ 515 h 836"/>
                <a:gd name="T38" fmla="*/ 1850 w 2198"/>
                <a:gd name="T39" fmla="*/ 447 h 836"/>
                <a:gd name="T40" fmla="*/ 1785 w 2198"/>
                <a:gd name="T41" fmla="*/ 350 h 836"/>
                <a:gd name="T42" fmla="*/ 1934 w 2198"/>
                <a:gd name="T43" fmla="*/ 488 h 836"/>
                <a:gd name="T44" fmla="*/ 1353 w 2198"/>
                <a:gd name="T45" fmla="*/ 518 h 836"/>
                <a:gd name="T46" fmla="*/ 1343 w 2198"/>
                <a:gd name="T47" fmla="*/ 562 h 836"/>
                <a:gd name="T48" fmla="*/ 1280 w 2198"/>
                <a:gd name="T49" fmla="*/ 274 h 836"/>
                <a:gd name="T50" fmla="*/ 1369 w 2198"/>
                <a:gd name="T51" fmla="*/ 320 h 836"/>
                <a:gd name="T52" fmla="*/ 1282 w 2198"/>
                <a:gd name="T53" fmla="*/ 378 h 836"/>
                <a:gd name="T54" fmla="*/ 1346 w 2198"/>
                <a:gd name="T55" fmla="*/ 378 h 836"/>
                <a:gd name="T56" fmla="*/ 1344 w 2198"/>
                <a:gd name="T57" fmla="*/ 534 h 836"/>
                <a:gd name="T58" fmla="*/ 1231 w 2198"/>
                <a:gd name="T59" fmla="*/ 467 h 836"/>
                <a:gd name="T60" fmla="*/ 1165 w 2198"/>
                <a:gd name="T61" fmla="*/ 483 h 836"/>
                <a:gd name="T62" fmla="*/ 1265 w 2198"/>
                <a:gd name="T63" fmla="*/ 273 h 836"/>
                <a:gd name="T64" fmla="*/ 1123 w 2198"/>
                <a:gd name="T65" fmla="*/ 229 h 836"/>
                <a:gd name="T66" fmla="*/ 1044 w 2198"/>
                <a:gd name="T67" fmla="*/ 415 h 836"/>
                <a:gd name="T68" fmla="*/ 927 w 2198"/>
                <a:gd name="T69" fmla="*/ 491 h 836"/>
                <a:gd name="T70" fmla="*/ 786 w 2198"/>
                <a:gd name="T71" fmla="*/ 472 h 836"/>
                <a:gd name="T72" fmla="*/ 716 w 2198"/>
                <a:gd name="T73" fmla="*/ 260 h 836"/>
                <a:gd name="T74" fmla="*/ 910 w 2198"/>
                <a:gd name="T75" fmla="*/ 277 h 836"/>
                <a:gd name="T76" fmla="*/ 670 w 2198"/>
                <a:gd name="T77" fmla="*/ 477 h 836"/>
                <a:gd name="T78" fmla="*/ 605 w 2198"/>
                <a:gd name="T79" fmla="*/ 472 h 836"/>
                <a:gd name="T80" fmla="*/ 1010 w 2198"/>
                <a:gd name="T81" fmla="*/ 650 h 836"/>
                <a:gd name="T82" fmla="*/ 986 w 2198"/>
                <a:gd name="T83" fmla="*/ 704 h 836"/>
                <a:gd name="T84" fmla="*/ 1114 w 2198"/>
                <a:gd name="T85" fmla="*/ 708 h 836"/>
                <a:gd name="T86" fmla="*/ 1078 w 2198"/>
                <a:gd name="T87" fmla="*/ 750 h 836"/>
                <a:gd name="T88" fmla="*/ 1214 w 2198"/>
                <a:gd name="T89" fmla="*/ 760 h 836"/>
                <a:gd name="T90" fmla="*/ 1241 w 2198"/>
                <a:gd name="T91" fmla="*/ 738 h 836"/>
                <a:gd name="T92" fmla="*/ 1399 w 2198"/>
                <a:gd name="T93" fmla="*/ 723 h 836"/>
                <a:gd name="T94" fmla="*/ 1348 w 2198"/>
                <a:gd name="T95" fmla="*/ 834 h 836"/>
                <a:gd name="T96" fmla="*/ 1383 w 2198"/>
                <a:gd name="T97" fmla="*/ 799 h 836"/>
                <a:gd name="T98" fmla="*/ 1482 w 2198"/>
                <a:gd name="T99" fmla="*/ 698 h 836"/>
                <a:gd name="T100" fmla="*/ 198 w 2198"/>
                <a:gd name="T101" fmla="*/ 107 h 836"/>
                <a:gd name="T102" fmla="*/ 388 w 2198"/>
                <a:gd name="T103" fmla="*/ 266 h 836"/>
                <a:gd name="T104" fmla="*/ 457 w 2198"/>
                <a:gd name="T105" fmla="*/ 342 h 836"/>
                <a:gd name="T106" fmla="*/ 572 w 2198"/>
                <a:gd name="T107" fmla="*/ 469 h 836"/>
                <a:gd name="T108" fmla="*/ 470 w 2198"/>
                <a:gd name="T109" fmla="*/ 560 h 836"/>
                <a:gd name="T110" fmla="*/ 193 w 2198"/>
                <a:gd name="T111" fmla="*/ 227 h 836"/>
                <a:gd name="T112" fmla="*/ 792 w 2198"/>
                <a:gd name="T113" fmla="*/ 709 h 836"/>
                <a:gd name="T114" fmla="*/ 571 w 2198"/>
                <a:gd name="T115" fmla="*/ 608 h 836"/>
                <a:gd name="T116" fmla="*/ 800 w 2198"/>
                <a:gd name="T117" fmla="*/ 627 h 836"/>
                <a:gd name="T118" fmla="*/ 953 w 2198"/>
                <a:gd name="T119" fmla="*/ 729 h 836"/>
                <a:gd name="T120" fmla="*/ 200 w 2198"/>
                <a:gd name="T121" fmla="*/ 305 h 836"/>
                <a:gd name="T122" fmla="*/ 464 w 2198"/>
                <a:gd name="T123" fmla="*/ 26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8" h="836">
                  <a:moveTo>
                    <a:pt x="882" y="652"/>
                  </a:moveTo>
                  <a:lnTo>
                    <a:pt x="935" y="649"/>
                  </a:lnTo>
                  <a:lnTo>
                    <a:pt x="939" y="657"/>
                  </a:lnTo>
                  <a:lnTo>
                    <a:pt x="914" y="666"/>
                  </a:lnTo>
                  <a:lnTo>
                    <a:pt x="889" y="662"/>
                  </a:lnTo>
                  <a:lnTo>
                    <a:pt x="882" y="652"/>
                  </a:lnTo>
                  <a:close/>
                  <a:moveTo>
                    <a:pt x="506" y="279"/>
                  </a:moveTo>
                  <a:lnTo>
                    <a:pt x="511" y="288"/>
                  </a:lnTo>
                  <a:lnTo>
                    <a:pt x="504" y="293"/>
                  </a:lnTo>
                  <a:lnTo>
                    <a:pt x="495" y="279"/>
                  </a:lnTo>
                  <a:lnTo>
                    <a:pt x="506" y="279"/>
                  </a:lnTo>
                  <a:close/>
                  <a:moveTo>
                    <a:pt x="391" y="257"/>
                  </a:moveTo>
                  <a:lnTo>
                    <a:pt x="408" y="259"/>
                  </a:lnTo>
                  <a:lnTo>
                    <a:pt x="412" y="271"/>
                  </a:lnTo>
                  <a:lnTo>
                    <a:pt x="391" y="257"/>
                  </a:lnTo>
                  <a:close/>
                  <a:moveTo>
                    <a:pt x="496" y="356"/>
                  </a:moveTo>
                  <a:lnTo>
                    <a:pt x="501" y="349"/>
                  </a:lnTo>
                  <a:lnTo>
                    <a:pt x="504" y="350"/>
                  </a:lnTo>
                  <a:lnTo>
                    <a:pt x="508" y="356"/>
                  </a:lnTo>
                  <a:lnTo>
                    <a:pt x="506" y="361"/>
                  </a:lnTo>
                  <a:lnTo>
                    <a:pt x="498" y="359"/>
                  </a:lnTo>
                  <a:lnTo>
                    <a:pt x="496" y="356"/>
                  </a:lnTo>
                  <a:close/>
                  <a:moveTo>
                    <a:pt x="374" y="252"/>
                  </a:moveTo>
                  <a:lnTo>
                    <a:pt x="367" y="249"/>
                  </a:lnTo>
                  <a:lnTo>
                    <a:pt x="362" y="239"/>
                  </a:lnTo>
                  <a:lnTo>
                    <a:pt x="374" y="235"/>
                  </a:lnTo>
                  <a:lnTo>
                    <a:pt x="379" y="240"/>
                  </a:lnTo>
                  <a:lnTo>
                    <a:pt x="374" y="252"/>
                  </a:lnTo>
                  <a:close/>
                  <a:moveTo>
                    <a:pt x="1493" y="474"/>
                  </a:moveTo>
                  <a:lnTo>
                    <a:pt x="1497" y="480"/>
                  </a:lnTo>
                  <a:lnTo>
                    <a:pt x="1524" y="472"/>
                  </a:lnTo>
                  <a:lnTo>
                    <a:pt x="1544" y="486"/>
                  </a:lnTo>
                  <a:lnTo>
                    <a:pt x="1547" y="497"/>
                  </a:lnTo>
                  <a:lnTo>
                    <a:pt x="1544" y="503"/>
                  </a:lnTo>
                  <a:lnTo>
                    <a:pt x="1527" y="509"/>
                  </a:lnTo>
                  <a:lnTo>
                    <a:pt x="1516" y="508"/>
                  </a:lnTo>
                  <a:lnTo>
                    <a:pt x="1501" y="497"/>
                  </a:lnTo>
                  <a:lnTo>
                    <a:pt x="1493" y="474"/>
                  </a:lnTo>
                  <a:close/>
                  <a:moveTo>
                    <a:pt x="1487" y="426"/>
                  </a:moveTo>
                  <a:lnTo>
                    <a:pt x="1488" y="423"/>
                  </a:lnTo>
                  <a:lnTo>
                    <a:pt x="1492" y="446"/>
                  </a:lnTo>
                  <a:lnTo>
                    <a:pt x="1487" y="426"/>
                  </a:lnTo>
                  <a:close/>
                  <a:moveTo>
                    <a:pt x="1463" y="417"/>
                  </a:moveTo>
                  <a:lnTo>
                    <a:pt x="1504" y="415"/>
                  </a:lnTo>
                  <a:lnTo>
                    <a:pt x="1470" y="423"/>
                  </a:lnTo>
                  <a:lnTo>
                    <a:pt x="1463" y="417"/>
                  </a:lnTo>
                  <a:close/>
                  <a:moveTo>
                    <a:pt x="1417" y="410"/>
                  </a:moveTo>
                  <a:lnTo>
                    <a:pt x="1456" y="417"/>
                  </a:lnTo>
                  <a:lnTo>
                    <a:pt x="1426" y="427"/>
                  </a:lnTo>
                  <a:lnTo>
                    <a:pt x="1420" y="426"/>
                  </a:lnTo>
                  <a:lnTo>
                    <a:pt x="1417" y="410"/>
                  </a:lnTo>
                  <a:close/>
                  <a:moveTo>
                    <a:pt x="1361" y="396"/>
                  </a:moveTo>
                  <a:lnTo>
                    <a:pt x="1369" y="392"/>
                  </a:lnTo>
                  <a:lnTo>
                    <a:pt x="1377" y="393"/>
                  </a:lnTo>
                  <a:lnTo>
                    <a:pt x="1374" y="404"/>
                  </a:lnTo>
                  <a:lnTo>
                    <a:pt x="1366" y="401"/>
                  </a:lnTo>
                  <a:lnTo>
                    <a:pt x="1365" y="407"/>
                  </a:lnTo>
                  <a:lnTo>
                    <a:pt x="1361" y="396"/>
                  </a:lnTo>
                  <a:close/>
                  <a:moveTo>
                    <a:pt x="1355" y="386"/>
                  </a:moveTo>
                  <a:lnTo>
                    <a:pt x="1360" y="386"/>
                  </a:lnTo>
                  <a:lnTo>
                    <a:pt x="1360" y="393"/>
                  </a:lnTo>
                  <a:lnTo>
                    <a:pt x="1353" y="404"/>
                  </a:lnTo>
                  <a:lnTo>
                    <a:pt x="1346" y="404"/>
                  </a:lnTo>
                  <a:lnTo>
                    <a:pt x="1346" y="393"/>
                  </a:lnTo>
                  <a:lnTo>
                    <a:pt x="1355" y="386"/>
                  </a:lnTo>
                  <a:close/>
                  <a:moveTo>
                    <a:pt x="1584" y="508"/>
                  </a:moveTo>
                  <a:lnTo>
                    <a:pt x="1584" y="500"/>
                  </a:lnTo>
                  <a:lnTo>
                    <a:pt x="1597" y="494"/>
                  </a:lnTo>
                  <a:lnTo>
                    <a:pt x="1593" y="505"/>
                  </a:lnTo>
                  <a:lnTo>
                    <a:pt x="1584" y="508"/>
                  </a:lnTo>
                  <a:close/>
                  <a:moveTo>
                    <a:pt x="1555" y="400"/>
                  </a:moveTo>
                  <a:lnTo>
                    <a:pt x="1573" y="398"/>
                  </a:lnTo>
                  <a:lnTo>
                    <a:pt x="1590" y="407"/>
                  </a:lnTo>
                  <a:lnTo>
                    <a:pt x="1589" y="412"/>
                  </a:lnTo>
                  <a:lnTo>
                    <a:pt x="1561" y="413"/>
                  </a:lnTo>
                  <a:lnTo>
                    <a:pt x="1556" y="410"/>
                  </a:lnTo>
                  <a:lnTo>
                    <a:pt x="1555" y="400"/>
                  </a:lnTo>
                  <a:close/>
                  <a:moveTo>
                    <a:pt x="1553" y="350"/>
                  </a:moveTo>
                  <a:lnTo>
                    <a:pt x="1559" y="350"/>
                  </a:lnTo>
                  <a:lnTo>
                    <a:pt x="1575" y="369"/>
                  </a:lnTo>
                  <a:lnTo>
                    <a:pt x="1573" y="373"/>
                  </a:lnTo>
                  <a:lnTo>
                    <a:pt x="1559" y="371"/>
                  </a:lnTo>
                  <a:lnTo>
                    <a:pt x="1553" y="350"/>
                  </a:lnTo>
                  <a:close/>
                  <a:moveTo>
                    <a:pt x="1580" y="232"/>
                  </a:moveTo>
                  <a:lnTo>
                    <a:pt x="1583" y="237"/>
                  </a:lnTo>
                  <a:lnTo>
                    <a:pt x="1576" y="249"/>
                  </a:lnTo>
                  <a:lnTo>
                    <a:pt x="1583" y="260"/>
                  </a:lnTo>
                  <a:lnTo>
                    <a:pt x="1583" y="276"/>
                  </a:lnTo>
                  <a:lnTo>
                    <a:pt x="1566" y="293"/>
                  </a:lnTo>
                  <a:lnTo>
                    <a:pt x="1573" y="294"/>
                  </a:lnTo>
                  <a:lnTo>
                    <a:pt x="1601" y="265"/>
                  </a:lnTo>
                  <a:lnTo>
                    <a:pt x="1610" y="265"/>
                  </a:lnTo>
                  <a:lnTo>
                    <a:pt x="1615" y="273"/>
                  </a:lnTo>
                  <a:lnTo>
                    <a:pt x="1615" y="283"/>
                  </a:lnTo>
                  <a:lnTo>
                    <a:pt x="1597" y="300"/>
                  </a:lnTo>
                  <a:lnTo>
                    <a:pt x="1612" y="308"/>
                  </a:lnTo>
                  <a:lnTo>
                    <a:pt x="1620" y="322"/>
                  </a:lnTo>
                  <a:lnTo>
                    <a:pt x="1584" y="311"/>
                  </a:lnTo>
                  <a:lnTo>
                    <a:pt x="1580" y="317"/>
                  </a:lnTo>
                  <a:lnTo>
                    <a:pt x="1580" y="345"/>
                  </a:lnTo>
                  <a:lnTo>
                    <a:pt x="1600" y="373"/>
                  </a:lnTo>
                  <a:lnTo>
                    <a:pt x="1595" y="375"/>
                  </a:lnTo>
                  <a:lnTo>
                    <a:pt x="1572" y="345"/>
                  </a:lnTo>
                  <a:lnTo>
                    <a:pt x="1564" y="299"/>
                  </a:lnTo>
                  <a:lnTo>
                    <a:pt x="1553" y="282"/>
                  </a:lnTo>
                  <a:lnTo>
                    <a:pt x="1561" y="252"/>
                  </a:lnTo>
                  <a:lnTo>
                    <a:pt x="1580" y="232"/>
                  </a:lnTo>
                  <a:close/>
                  <a:moveTo>
                    <a:pt x="1609" y="212"/>
                  </a:moveTo>
                  <a:lnTo>
                    <a:pt x="1612" y="229"/>
                  </a:lnTo>
                  <a:lnTo>
                    <a:pt x="1607" y="239"/>
                  </a:lnTo>
                  <a:lnTo>
                    <a:pt x="1598" y="239"/>
                  </a:lnTo>
                  <a:lnTo>
                    <a:pt x="1595" y="222"/>
                  </a:lnTo>
                  <a:lnTo>
                    <a:pt x="1609" y="212"/>
                  </a:lnTo>
                  <a:close/>
                  <a:moveTo>
                    <a:pt x="1610" y="664"/>
                  </a:moveTo>
                  <a:lnTo>
                    <a:pt x="1614" y="662"/>
                  </a:lnTo>
                  <a:lnTo>
                    <a:pt x="1614" y="666"/>
                  </a:lnTo>
                  <a:lnTo>
                    <a:pt x="1610" y="664"/>
                  </a:lnTo>
                  <a:close/>
                  <a:moveTo>
                    <a:pt x="1658" y="696"/>
                  </a:moveTo>
                  <a:lnTo>
                    <a:pt x="1668" y="695"/>
                  </a:lnTo>
                  <a:lnTo>
                    <a:pt x="1668" y="698"/>
                  </a:lnTo>
                  <a:lnTo>
                    <a:pt x="1665" y="703"/>
                  </a:lnTo>
                  <a:lnTo>
                    <a:pt x="1658" y="696"/>
                  </a:lnTo>
                  <a:close/>
                  <a:moveTo>
                    <a:pt x="1729" y="691"/>
                  </a:moveTo>
                  <a:lnTo>
                    <a:pt x="1733" y="689"/>
                  </a:lnTo>
                  <a:lnTo>
                    <a:pt x="1731" y="679"/>
                  </a:lnTo>
                  <a:lnTo>
                    <a:pt x="1745" y="662"/>
                  </a:lnTo>
                  <a:lnTo>
                    <a:pt x="1754" y="664"/>
                  </a:lnTo>
                  <a:lnTo>
                    <a:pt x="1753" y="683"/>
                  </a:lnTo>
                  <a:lnTo>
                    <a:pt x="1739" y="703"/>
                  </a:lnTo>
                  <a:lnTo>
                    <a:pt x="1729" y="691"/>
                  </a:lnTo>
                  <a:close/>
                  <a:moveTo>
                    <a:pt x="1867" y="619"/>
                  </a:moveTo>
                  <a:lnTo>
                    <a:pt x="1881" y="635"/>
                  </a:lnTo>
                  <a:lnTo>
                    <a:pt x="1878" y="650"/>
                  </a:lnTo>
                  <a:lnTo>
                    <a:pt x="1872" y="652"/>
                  </a:lnTo>
                  <a:lnTo>
                    <a:pt x="1864" y="638"/>
                  </a:lnTo>
                  <a:lnTo>
                    <a:pt x="1866" y="635"/>
                  </a:lnTo>
                  <a:lnTo>
                    <a:pt x="1869" y="641"/>
                  </a:lnTo>
                  <a:lnTo>
                    <a:pt x="1867" y="619"/>
                  </a:lnTo>
                  <a:close/>
                  <a:moveTo>
                    <a:pt x="1873" y="599"/>
                  </a:moveTo>
                  <a:lnTo>
                    <a:pt x="1883" y="582"/>
                  </a:lnTo>
                  <a:lnTo>
                    <a:pt x="1890" y="585"/>
                  </a:lnTo>
                  <a:lnTo>
                    <a:pt x="1895" y="596"/>
                  </a:lnTo>
                  <a:lnTo>
                    <a:pt x="1892" y="627"/>
                  </a:lnTo>
                  <a:lnTo>
                    <a:pt x="1878" y="618"/>
                  </a:lnTo>
                  <a:lnTo>
                    <a:pt x="1880" y="601"/>
                  </a:lnTo>
                  <a:lnTo>
                    <a:pt x="1873" y="599"/>
                  </a:lnTo>
                  <a:close/>
                  <a:moveTo>
                    <a:pt x="1818" y="581"/>
                  </a:moveTo>
                  <a:lnTo>
                    <a:pt x="1822" y="579"/>
                  </a:lnTo>
                  <a:lnTo>
                    <a:pt x="1813" y="594"/>
                  </a:lnTo>
                  <a:lnTo>
                    <a:pt x="1818" y="581"/>
                  </a:lnTo>
                  <a:close/>
                  <a:moveTo>
                    <a:pt x="1581" y="494"/>
                  </a:moveTo>
                  <a:lnTo>
                    <a:pt x="1578" y="483"/>
                  </a:lnTo>
                  <a:lnTo>
                    <a:pt x="1593" y="464"/>
                  </a:lnTo>
                  <a:lnTo>
                    <a:pt x="1637" y="467"/>
                  </a:lnTo>
                  <a:lnTo>
                    <a:pt x="1654" y="463"/>
                  </a:lnTo>
                  <a:lnTo>
                    <a:pt x="1669" y="472"/>
                  </a:lnTo>
                  <a:lnTo>
                    <a:pt x="1699" y="474"/>
                  </a:lnTo>
                  <a:lnTo>
                    <a:pt x="1707" y="491"/>
                  </a:lnTo>
                  <a:lnTo>
                    <a:pt x="1714" y="492"/>
                  </a:lnTo>
                  <a:lnTo>
                    <a:pt x="1716" y="505"/>
                  </a:lnTo>
                  <a:lnTo>
                    <a:pt x="1711" y="513"/>
                  </a:lnTo>
                  <a:lnTo>
                    <a:pt x="1661" y="488"/>
                  </a:lnTo>
                  <a:lnTo>
                    <a:pt x="1640" y="491"/>
                  </a:lnTo>
                  <a:lnTo>
                    <a:pt x="1624" y="484"/>
                  </a:lnTo>
                  <a:lnTo>
                    <a:pt x="1607" y="492"/>
                  </a:lnTo>
                  <a:lnTo>
                    <a:pt x="1590" y="480"/>
                  </a:lnTo>
                  <a:lnTo>
                    <a:pt x="1581" y="494"/>
                  </a:lnTo>
                  <a:close/>
                  <a:moveTo>
                    <a:pt x="1665" y="418"/>
                  </a:moveTo>
                  <a:lnTo>
                    <a:pt x="1688" y="412"/>
                  </a:lnTo>
                  <a:lnTo>
                    <a:pt x="1694" y="426"/>
                  </a:lnTo>
                  <a:lnTo>
                    <a:pt x="1677" y="429"/>
                  </a:lnTo>
                  <a:lnTo>
                    <a:pt x="1665" y="418"/>
                  </a:lnTo>
                  <a:close/>
                  <a:moveTo>
                    <a:pt x="1694" y="339"/>
                  </a:moveTo>
                  <a:lnTo>
                    <a:pt x="1707" y="336"/>
                  </a:lnTo>
                  <a:lnTo>
                    <a:pt x="1733" y="349"/>
                  </a:lnTo>
                  <a:lnTo>
                    <a:pt x="1714" y="354"/>
                  </a:lnTo>
                  <a:lnTo>
                    <a:pt x="1695" y="347"/>
                  </a:lnTo>
                  <a:lnTo>
                    <a:pt x="1691" y="344"/>
                  </a:lnTo>
                  <a:lnTo>
                    <a:pt x="1694" y="339"/>
                  </a:lnTo>
                  <a:close/>
                  <a:moveTo>
                    <a:pt x="1934" y="409"/>
                  </a:moveTo>
                  <a:lnTo>
                    <a:pt x="1986" y="412"/>
                  </a:lnTo>
                  <a:lnTo>
                    <a:pt x="1991" y="420"/>
                  </a:lnTo>
                  <a:lnTo>
                    <a:pt x="1965" y="418"/>
                  </a:lnTo>
                  <a:lnTo>
                    <a:pt x="1934" y="409"/>
                  </a:lnTo>
                  <a:close/>
                  <a:moveTo>
                    <a:pt x="1927" y="367"/>
                  </a:moveTo>
                  <a:lnTo>
                    <a:pt x="1946" y="367"/>
                  </a:lnTo>
                  <a:lnTo>
                    <a:pt x="1966" y="386"/>
                  </a:lnTo>
                  <a:lnTo>
                    <a:pt x="1954" y="387"/>
                  </a:lnTo>
                  <a:lnTo>
                    <a:pt x="1927" y="367"/>
                  </a:lnTo>
                  <a:close/>
                  <a:moveTo>
                    <a:pt x="2188" y="452"/>
                  </a:moveTo>
                  <a:lnTo>
                    <a:pt x="2189" y="564"/>
                  </a:lnTo>
                  <a:lnTo>
                    <a:pt x="2191" y="625"/>
                  </a:lnTo>
                  <a:lnTo>
                    <a:pt x="2186" y="645"/>
                  </a:lnTo>
                  <a:lnTo>
                    <a:pt x="2192" y="659"/>
                  </a:lnTo>
                  <a:lnTo>
                    <a:pt x="2198" y="754"/>
                  </a:lnTo>
                  <a:lnTo>
                    <a:pt x="2181" y="745"/>
                  </a:lnTo>
                  <a:lnTo>
                    <a:pt x="2137" y="704"/>
                  </a:lnTo>
                  <a:lnTo>
                    <a:pt x="2118" y="709"/>
                  </a:lnTo>
                  <a:lnTo>
                    <a:pt x="2101" y="706"/>
                  </a:lnTo>
                  <a:lnTo>
                    <a:pt x="2095" y="713"/>
                  </a:lnTo>
                  <a:lnTo>
                    <a:pt x="2091" y="708"/>
                  </a:lnTo>
                  <a:lnTo>
                    <a:pt x="2088" y="718"/>
                  </a:lnTo>
                  <a:lnTo>
                    <a:pt x="2078" y="715"/>
                  </a:lnTo>
                  <a:lnTo>
                    <a:pt x="2037" y="720"/>
                  </a:lnTo>
                  <a:lnTo>
                    <a:pt x="2047" y="691"/>
                  </a:lnTo>
                  <a:lnTo>
                    <a:pt x="2061" y="675"/>
                  </a:lnTo>
                  <a:lnTo>
                    <a:pt x="2079" y="672"/>
                  </a:lnTo>
                  <a:lnTo>
                    <a:pt x="2093" y="681"/>
                  </a:lnTo>
                  <a:lnTo>
                    <a:pt x="2093" y="674"/>
                  </a:lnTo>
                  <a:lnTo>
                    <a:pt x="2084" y="667"/>
                  </a:lnTo>
                  <a:lnTo>
                    <a:pt x="2091" y="662"/>
                  </a:lnTo>
                  <a:lnTo>
                    <a:pt x="2073" y="653"/>
                  </a:lnTo>
                  <a:lnTo>
                    <a:pt x="2078" y="650"/>
                  </a:lnTo>
                  <a:lnTo>
                    <a:pt x="2081" y="636"/>
                  </a:lnTo>
                  <a:lnTo>
                    <a:pt x="2068" y="619"/>
                  </a:lnTo>
                  <a:lnTo>
                    <a:pt x="2064" y="599"/>
                  </a:lnTo>
                  <a:lnTo>
                    <a:pt x="2053" y="582"/>
                  </a:lnTo>
                  <a:lnTo>
                    <a:pt x="2042" y="581"/>
                  </a:lnTo>
                  <a:lnTo>
                    <a:pt x="2033" y="571"/>
                  </a:lnTo>
                  <a:lnTo>
                    <a:pt x="1983" y="552"/>
                  </a:lnTo>
                  <a:lnTo>
                    <a:pt x="1912" y="539"/>
                  </a:lnTo>
                  <a:lnTo>
                    <a:pt x="1900" y="530"/>
                  </a:lnTo>
                  <a:lnTo>
                    <a:pt x="1893" y="517"/>
                  </a:lnTo>
                  <a:lnTo>
                    <a:pt x="1878" y="517"/>
                  </a:lnTo>
                  <a:lnTo>
                    <a:pt x="1878" y="522"/>
                  </a:lnTo>
                  <a:lnTo>
                    <a:pt x="1852" y="501"/>
                  </a:lnTo>
                  <a:lnTo>
                    <a:pt x="1855" y="469"/>
                  </a:lnTo>
                  <a:lnTo>
                    <a:pt x="1836" y="515"/>
                  </a:lnTo>
                  <a:lnTo>
                    <a:pt x="1830" y="522"/>
                  </a:lnTo>
                  <a:lnTo>
                    <a:pt x="1810" y="522"/>
                  </a:lnTo>
                  <a:lnTo>
                    <a:pt x="1805" y="488"/>
                  </a:lnTo>
                  <a:lnTo>
                    <a:pt x="1801" y="488"/>
                  </a:lnTo>
                  <a:lnTo>
                    <a:pt x="1785" y="471"/>
                  </a:lnTo>
                  <a:lnTo>
                    <a:pt x="1767" y="469"/>
                  </a:lnTo>
                  <a:lnTo>
                    <a:pt x="1768" y="461"/>
                  </a:lnTo>
                  <a:lnTo>
                    <a:pt x="1776" y="457"/>
                  </a:lnTo>
                  <a:lnTo>
                    <a:pt x="1798" y="458"/>
                  </a:lnTo>
                  <a:lnTo>
                    <a:pt x="1824" y="447"/>
                  </a:lnTo>
                  <a:lnTo>
                    <a:pt x="1842" y="450"/>
                  </a:lnTo>
                  <a:lnTo>
                    <a:pt x="1850" y="447"/>
                  </a:lnTo>
                  <a:lnTo>
                    <a:pt x="1856" y="429"/>
                  </a:lnTo>
                  <a:lnTo>
                    <a:pt x="1812" y="440"/>
                  </a:lnTo>
                  <a:lnTo>
                    <a:pt x="1784" y="440"/>
                  </a:lnTo>
                  <a:lnTo>
                    <a:pt x="1771" y="433"/>
                  </a:lnTo>
                  <a:lnTo>
                    <a:pt x="1758" y="407"/>
                  </a:lnTo>
                  <a:lnTo>
                    <a:pt x="1736" y="400"/>
                  </a:lnTo>
                  <a:lnTo>
                    <a:pt x="1734" y="407"/>
                  </a:lnTo>
                  <a:lnTo>
                    <a:pt x="1719" y="400"/>
                  </a:lnTo>
                  <a:lnTo>
                    <a:pt x="1733" y="373"/>
                  </a:lnTo>
                  <a:lnTo>
                    <a:pt x="1759" y="367"/>
                  </a:lnTo>
                  <a:lnTo>
                    <a:pt x="1775" y="353"/>
                  </a:lnTo>
                  <a:lnTo>
                    <a:pt x="1785" y="350"/>
                  </a:lnTo>
                  <a:lnTo>
                    <a:pt x="1809" y="353"/>
                  </a:lnTo>
                  <a:lnTo>
                    <a:pt x="1832" y="369"/>
                  </a:lnTo>
                  <a:lnTo>
                    <a:pt x="1861" y="369"/>
                  </a:lnTo>
                  <a:lnTo>
                    <a:pt x="1869" y="392"/>
                  </a:lnTo>
                  <a:lnTo>
                    <a:pt x="1866" y="427"/>
                  </a:lnTo>
                  <a:lnTo>
                    <a:pt x="1869" y="446"/>
                  </a:lnTo>
                  <a:lnTo>
                    <a:pt x="1881" y="463"/>
                  </a:lnTo>
                  <a:lnTo>
                    <a:pt x="1883" y="450"/>
                  </a:lnTo>
                  <a:lnTo>
                    <a:pt x="1892" y="452"/>
                  </a:lnTo>
                  <a:lnTo>
                    <a:pt x="1901" y="480"/>
                  </a:lnTo>
                  <a:lnTo>
                    <a:pt x="1917" y="488"/>
                  </a:lnTo>
                  <a:lnTo>
                    <a:pt x="1934" y="488"/>
                  </a:lnTo>
                  <a:lnTo>
                    <a:pt x="1939" y="477"/>
                  </a:lnTo>
                  <a:lnTo>
                    <a:pt x="1968" y="450"/>
                  </a:lnTo>
                  <a:lnTo>
                    <a:pt x="1973" y="437"/>
                  </a:lnTo>
                  <a:lnTo>
                    <a:pt x="2002" y="432"/>
                  </a:lnTo>
                  <a:lnTo>
                    <a:pt x="2010" y="427"/>
                  </a:lnTo>
                  <a:lnTo>
                    <a:pt x="2011" y="415"/>
                  </a:lnTo>
                  <a:lnTo>
                    <a:pt x="2039" y="398"/>
                  </a:lnTo>
                  <a:lnTo>
                    <a:pt x="2122" y="438"/>
                  </a:lnTo>
                  <a:lnTo>
                    <a:pt x="2159" y="440"/>
                  </a:lnTo>
                  <a:lnTo>
                    <a:pt x="2176" y="452"/>
                  </a:lnTo>
                  <a:lnTo>
                    <a:pt x="2188" y="452"/>
                  </a:lnTo>
                  <a:close/>
                  <a:moveTo>
                    <a:pt x="1353" y="518"/>
                  </a:moveTo>
                  <a:lnTo>
                    <a:pt x="1361" y="518"/>
                  </a:lnTo>
                  <a:lnTo>
                    <a:pt x="1361" y="526"/>
                  </a:lnTo>
                  <a:lnTo>
                    <a:pt x="1355" y="525"/>
                  </a:lnTo>
                  <a:lnTo>
                    <a:pt x="1353" y="518"/>
                  </a:lnTo>
                  <a:close/>
                  <a:moveTo>
                    <a:pt x="1343" y="562"/>
                  </a:moveTo>
                  <a:lnTo>
                    <a:pt x="1351" y="534"/>
                  </a:lnTo>
                  <a:lnTo>
                    <a:pt x="1361" y="552"/>
                  </a:lnTo>
                  <a:lnTo>
                    <a:pt x="1353" y="560"/>
                  </a:lnTo>
                  <a:lnTo>
                    <a:pt x="1360" y="579"/>
                  </a:lnTo>
                  <a:lnTo>
                    <a:pt x="1343" y="593"/>
                  </a:lnTo>
                  <a:lnTo>
                    <a:pt x="1336" y="582"/>
                  </a:lnTo>
                  <a:lnTo>
                    <a:pt x="1343" y="562"/>
                  </a:lnTo>
                  <a:close/>
                  <a:moveTo>
                    <a:pt x="1323" y="551"/>
                  </a:moveTo>
                  <a:lnTo>
                    <a:pt x="1338" y="547"/>
                  </a:lnTo>
                  <a:lnTo>
                    <a:pt x="1336" y="581"/>
                  </a:lnTo>
                  <a:lnTo>
                    <a:pt x="1321" y="577"/>
                  </a:lnTo>
                  <a:lnTo>
                    <a:pt x="1323" y="551"/>
                  </a:lnTo>
                  <a:close/>
                  <a:moveTo>
                    <a:pt x="1298" y="573"/>
                  </a:moveTo>
                  <a:lnTo>
                    <a:pt x="1307" y="569"/>
                  </a:lnTo>
                  <a:lnTo>
                    <a:pt x="1310" y="581"/>
                  </a:lnTo>
                  <a:lnTo>
                    <a:pt x="1306" y="582"/>
                  </a:lnTo>
                  <a:lnTo>
                    <a:pt x="1298" y="573"/>
                  </a:lnTo>
                  <a:close/>
                  <a:moveTo>
                    <a:pt x="1265" y="273"/>
                  </a:moveTo>
                  <a:lnTo>
                    <a:pt x="1280" y="274"/>
                  </a:lnTo>
                  <a:lnTo>
                    <a:pt x="1287" y="283"/>
                  </a:lnTo>
                  <a:lnTo>
                    <a:pt x="1326" y="285"/>
                  </a:lnTo>
                  <a:lnTo>
                    <a:pt x="1346" y="293"/>
                  </a:lnTo>
                  <a:lnTo>
                    <a:pt x="1363" y="288"/>
                  </a:lnTo>
                  <a:lnTo>
                    <a:pt x="1394" y="293"/>
                  </a:lnTo>
                  <a:lnTo>
                    <a:pt x="1405" y="290"/>
                  </a:lnTo>
                  <a:lnTo>
                    <a:pt x="1446" y="254"/>
                  </a:lnTo>
                  <a:lnTo>
                    <a:pt x="1453" y="257"/>
                  </a:lnTo>
                  <a:lnTo>
                    <a:pt x="1453" y="271"/>
                  </a:lnTo>
                  <a:lnTo>
                    <a:pt x="1428" y="305"/>
                  </a:lnTo>
                  <a:lnTo>
                    <a:pt x="1411" y="317"/>
                  </a:lnTo>
                  <a:lnTo>
                    <a:pt x="1369" y="320"/>
                  </a:lnTo>
                  <a:lnTo>
                    <a:pt x="1348" y="311"/>
                  </a:lnTo>
                  <a:lnTo>
                    <a:pt x="1302" y="315"/>
                  </a:lnTo>
                  <a:lnTo>
                    <a:pt x="1276" y="310"/>
                  </a:lnTo>
                  <a:lnTo>
                    <a:pt x="1265" y="315"/>
                  </a:lnTo>
                  <a:lnTo>
                    <a:pt x="1236" y="313"/>
                  </a:lnTo>
                  <a:lnTo>
                    <a:pt x="1230" y="322"/>
                  </a:lnTo>
                  <a:lnTo>
                    <a:pt x="1221" y="344"/>
                  </a:lnTo>
                  <a:lnTo>
                    <a:pt x="1221" y="367"/>
                  </a:lnTo>
                  <a:lnTo>
                    <a:pt x="1236" y="378"/>
                  </a:lnTo>
                  <a:lnTo>
                    <a:pt x="1248" y="398"/>
                  </a:lnTo>
                  <a:lnTo>
                    <a:pt x="1267" y="396"/>
                  </a:lnTo>
                  <a:lnTo>
                    <a:pt x="1282" y="378"/>
                  </a:lnTo>
                  <a:lnTo>
                    <a:pt x="1290" y="373"/>
                  </a:lnTo>
                  <a:lnTo>
                    <a:pt x="1309" y="378"/>
                  </a:lnTo>
                  <a:lnTo>
                    <a:pt x="1312" y="371"/>
                  </a:lnTo>
                  <a:lnTo>
                    <a:pt x="1344" y="369"/>
                  </a:lnTo>
                  <a:lnTo>
                    <a:pt x="1346" y="362"/>
                  </a:lnTo>
                  <a:lnTo>
                    <a:pt x="1360" y="359"/>
                  </a:lnTo>
                  <a:lnTo>
                    <a:pt x="1368" y="359"/>
                  </a:lnTo>
                  <a:lnTo>
                    <a:pt x="1374" y="366"/>
                  </a:lnTo>
                  <a:lnTo>
                    <a:pt x="1374" y="375"/>
                  </a:lnTo>
                  <a:lnTo>
                    <a:pt x="1368" y="381"/>
                  </a:lnTo>
                  <a:lnTo>
                    <a:pt x="1357" y="375"/>
                  </a:lnTo>
                  <a:lnTo>
                    <a:pt x="1346" y="378"/>
                  </a:lnTo>
                  <a:lnTo>
                    <a:pt x="1323" y="404"/>
                  </a:lnTo>
                  <a:lnTo>
                    <a:pt x="1293" y="418"/>
                  </a:lnTo>
                  <a:lnTo>
                    <a:pt x="1278" y="417"/>
                  </a:lnTo>
                  <a:lnTo>
                    <a:pt x="1280" y="426"/>
                  </a:lnTo>
                  <a:lnTo>
                    <a:pt x="1292" y="432"/>
                  </a:lnTo>
                  <a:lnTo>
                    <a:pt x="1327" y="481"/>
                  </a:lnTo>
                  <a:lnTo>
                    <a:pt x="1319" y="488"/>
                  </a:lnTo>
                  <a:lnTo>
                    <a:pt x="1319" y="500"/>
                  </a:lnTo>
                  <a:lnTo>
                    <a:pt x="1335" y="513"/>
                  </a:lnTo>
                  <a:lnTo>
                    <a:pt x="1335" y="520"/>
                  </a:lnTo>
                  <a:lnTo>
                    <a:pt x="1344" y="523"/>
                  </a:lnTo>
                  <a:lnTo>
                    <a:pt x="1344" y="534"/>
                  </a:lnTo>
                  <a:lnTo>
                    <a:pt x="1315" y="540"/>
                  </a:lnTo>
                  <a:lnTo>
                    <a:pt x="1302" y="557"/>
                  </a:lnTo>
                  <a:lnTo>
                    <a:pt x="1290" y="556"/>
                  </a:lnTo>
                  <a:lnTo>
                    <a:pt x="1285" y="534"/>
                  </a:lnTo>
                  <a:lnTo>
                    <a:pt x="1289" y="523"/>
                  </a:lnTo>
                  <a:lnTo>
                    <a:pt x="1265" y="501"/>
                  </a:lnTo>
                  <a:lnTo>
                    <a:pt x="1258" y="489"/>
                  </a:lnTo>
                  <a:lnTo>
                    <a:pt x="1265" y="475"/>
                  </a:lnTo>
                  <a:lnTo>
                    <a:pt x="1264" y="458"/>
                  </a:lnTo>
                  <a:lnTo>
                    <a:pt x="1261" y="454"/>
                  </a:lnTo>
                  <a:lnTo>
                    <a:pt x="1252" y="454"/>
                  </a:lnTo>
                  <a:lnTo>
                    <a:pt x="1231" y="467"/>
                  </a:lnTo>
                  <a:lnTo>
                    <a:pt x="1228" y="477"/>
                  </a:lnTo>
                  <a:lnTo>
                    <a:pt x="1233" y="489"/>
                  </a:lnTo>
                  <a:lnTo>
                    <a:pt x="1236" y="551"/>
                  </a:lnTo>
                  <a:lnTo>
                    <a:pt x="1231" y="562"/>
                  </a:lnTo>
                  <a:lnTo>
                    <a:pt x="1235" y="588"/>
                  </a:lnTo>
                  <a:lnTo>
                    <a:pt x="1199" y="593"/>
                  </a:lnTo>
                  <a:lnTo>
                    <a:pt x="1193" y="590"/>
                  </a:lnTo>
                  <a:lnTo>
                    <a:pt x="1187" y="576"/>
                  </a:lnTo>
                  <a:lnTo>
                    <a:pt x="1199" y="520"/>
                  </a:lnTo>
                  <a:lnTo>
                    <a:pt x="1193" y="492"/>
                  </a:lnTo>
                  <a:lnTo>
                    <a:pt x="1171" y="494"/>
                  </a:lnTo>
                  <a:lnTo>
                    <a:pt x="1165" y="483"/>
                  </a:lnTo>
                  <a:lnTo>
                    <a:pt x="1163" y="455"/>
                  </a:lnTo>
                  <a:lnTo>
                    <a:pt x="1185" y="418"/>
                  </a:lnTo>
                  <a:lnTo>
                    <a:pt x="1185" y="393"/>
                  </a:lnTo>
                  <a:lnTo>
                    <a:pt x="1204" y="361"/>
                  </a:lnTo>
                  <a:lnTo>
                    <a:pt x="1207" y="342"/>
                  </a:lnTo>
                  <a:lnTo>
                    <a:pt x="1202" y="336"/>
                  </a:lnTo>
                  <a:lnTo>
                    <a:pt x="1210" y="327"/>
                  </a:lnTo>
                  <a:lnTo>
                    <a:pt x="1216" y="302"/>
                  </a:lnTo>
                  <a:lnTo>
                    <a:pt x="1226" y="293"/>
                  </a:lnTo>
                  <a:lnTo>
                    <a:pt x="1241" y="296"/>
                  </a:lnTo>
                  <a:lnTo>
                    <a:pt x="1252" y="276"/>
                  </a:lnTo>
                  <a:lnTo>
                    <a:pt x="1265" y="273"/>
                  </a:lnTo>
                  <a:close/>
                  <a:moveTo>
                    <a:pt x="1041" y="484"/>
                  </a:moveTo>
                  <a:lnTo>
                    <a:pt x="1046" y="511"/>
                  </a:lnTo>
                  <a:lnTo>
                    <a:pt x="1038" y="518"/>
                  </a:lnTo>
                  <a:lnTo>
                    <a:pt x="1035" y="494"/>
                  </a:lnTo>
                  <a:lnTo>
                    <a:pt x="1041" y="484"/>
                  </a:lnTo>
                  <a:close/>
                  <a:moveTo>
                    <a:pt x="1104" y="142"/>
                  </a:moveTo>
                  <a:lnTo>
                    <a:pt x="1095" y="147"/>
                  </a:lnTo>
                  <a:lnTo>
                    <a:pt x="1112" y="158"/>
                  </a:lnTo>
                  <a:lnTo>
                    <a:pt x="1112" y="164"/>
                  </a:lnTo>
                  <a:lnTo>
                    <a:pt x="1087" y="171"/>
                  </a:lnTo>
                  <a:lnTo>
                    <a:pt x="1103" y="197"/>
                  </a:lnTo>
                  <a:lnTo>
                    <a:pt x="1123" y="229"/>
                  </a:lnTo>
                  <a:lnTo>
                    <a:pt x="1119" y="248"/>
                  </a:lnTo>
                  <a:lnTo>
                    <a:pt x="1167" y="293"/>
                  </a:lnTo>
                  <a:lnTo>
                    <a:pt x="1143" y="296"/>
                  </a:lnTo>
                  <a:lnTo>
                    <a:pt x="1129" y="293"/>
                  </a:lnTo>
                  <a:lnTo>
                    <a:pt x="1123" y="285"/>
                  </a:lnTo>
                  <a:lnTo>
                    <a:pt x="1123" y="296"/>
                  </a:lnTo>
                  <a:lnTo>
                    <a:pt x="1114" y="302"/>
                  </a:lnTo>
                  <a:lnTo>
                    <a:pt x="1104" y="317"/>
                  </a:lnTo>
                  <a:lnTo>
                    <a:pt x="1099" y="356"/>
                  </a:lnTo>
                  <a:lnTo>
                    <a:pt x="1082" y="387"/>
                  </a:lnTo>
                  <a:lnTo>
                    <a:pt x="1070" y="392"/>
                  </a:lnTo>
                  <a:lnTo>
                    <a:pt x="1044" y="415"/>
                  </a:lnTo>
                  <a:lnTo>
                    <a:pt x="1050" y="418"/>
                  </a:lnTo>
                  <a:lnTo>
                    <a:pt x="1052" y="432"/>
                  </a:lnTo>
                  <a:lnTo>
                    <a:pt x="1061" y="437"/>
                  </a:lnTo>
                  <a:lnTo>
                    <a:pt x="1057" y="452"/>
                  </a:lnTo>
                  <a:lnTo>
                    <a:pt x="1050" y="452"/>
                  </a:lnTo>
                  <a:lnTo>
                    <a:pt x="1032" y="497"/>
                  </a:lnTo>
                  <a:lnTo>
                    <a:pt x="979" y="523"/>
                  </a:lnTo>
                  <a:lnTo>
                    <a:pt x="972" y="525"/>
                  </a:lnTo>
                  <a:lnTo>
                    <a:pt x="965" y="497"/>
                  </a:lnTo>
                  <a:lnTo>
                    <a:pt x="958" y="492"/>
                  </a:lnTo>
                  <a:lnTo>
                    <a:pt x="952" y="488"/>
                  </a:lnTo>
                  <a:lnTo>
                    <a:pt x="927" y="491"/>
                  </a:lnTo>
                  <a:lnTo>
                    <a:pt x="922" y="480"/>
                  </a:lnTo>
                  <a:lnTo>
                    <a:pt x="908" y="480"/>
                  </a:lnTo>
                  <a:lnTo>
                    <a:pt x="894" y="472"/>
                  </a:lnTo>
                  <a:lnTo>
                    <a:pt x="893" y="480"/>
                  </a:lnTo>
                  <a:lnTo>
                    <a:pt x="874" y="488"/>
                  </a:lnTo>
                  <a:lnTo>
                    <a:pt x="868" y="489"/>
                  </a:lnTo>
                  <a:lnTo>
                    <a:pt x="842" y="492"/>
                  </a:lnTo>
                  <a:lnTo>
                    <a:pt x="833" y="461"/>
                  </a:lnTo>
                  <a:lnTo>
                    <a:pt x="826" y="469"/>
                  </a:lnTo>
                  <a:lnTo>
                    <a:pt x="818" y="466"/>
                  </a:lnTo>
                  <a:lnTo>
                    <a:pt x="806" y="472"/>
                  </a:lnTo>
                  <a:lnTo>
                    <a:pt x="786" y="472"/>
                  </a:lnTo>
                  <a:lnTo>
                    <a:pt x="777" y="466"/>
                  </a:lnTo>
                  <a:lnTo>
                    <a:pt x="767" y="469"/>
                  </a:lnTo>
                  <a:lnTo>
                    <a:pt x="753" y="418"/>
                  </a:lnTo>
                  <a:lnTo>
                    <a:pt x="755" y="404"/>
                  </a:lnTo>
                  <a:lnTo>
                    <a:pt x="752" y="387"/>
                  </a:lnTo>
                  <a:lnTo>
                    <a:pt x="738" y="366"/>
                  </a:lnTo>
                  <a:lnTo>
                    <a:pt x="718" y="354"/>
                  </a:lnTo>
                  <a:lnTo>
                    <a:pt x="716" y="345"/>
                  </a:lnTo>
                  <a:lnTo>
                    <a:pt x="715" y="327"/>
                  </a:lnTo>
                  <a:lnTo>
                    <a:pt x="706" y="311"/>
                  </a:lnTo>
                  <a:lnTo>
                    <a:pt x="706" y="285"/>
                  </a:lnTo>
                  <a:lnTo>
                    <a:pt x="716" y="260"/>
                  </a:lnTo>
                  <a:lnTo>
                    <a:pt x="735" y="239"/>
                  </a:lnTo>
                  <a:lnTo>
                    <a:pt x="736" y="251"/>
                  </a:lnTo>
                  <a:lnTo>
                    <a:pt x="755" y="285"/>
                  </a:lnTo>
                  <a:lnTo>
                    <a:pt x="767" y="288"/>
                  </a:lnTo>
                  <a:lnTo>
                    <a:pt x="778" y="291"/>
                  </a:lnTo>
                  <a:lnTo>
                    <a:pt x="797" y="286"/>
                  </a:lnTo>
                  <a:lnTo>
                    <a:pt x="806" y="291"/>
                  </a:lnTo>
                  <a:lnTo>
                    <a:pt x="829" y="290"/>
                  </a:lnTo>
                  <a:lnTo>
                    <a:pt x="860" y="263"/>
                  </a:lnTo>
                  <a:lnTo>
                    <a:pt x="884" y="265"/>
                  </a:lnTo>
                  <a:lnTo>
                    <a:pt x="889" y="271"/>
                  </a:lnTo>
                  <a:lnTo>
                    <a:pt x="910" y="277"/>
                  </a:lnTo>
                  <a:lnTo>
                    <a:pt x="945" y="269"/>
                  </a:lnTo>
                  <a:lnTo>
                    <a:pt x="962" y="260"/>
                  </a:lnTo>
                  <a:lnTo>
                    <a:pt x="972" y="246"/>
                  </a:lnTo>
                  <a:lnTo>
                    <a:pt x="984" y="209"/>
                  </a:lnTo>
                  <a:lnTo>
                    <a:pt x="1006" y="183"/>
                  </a:lnTo>
                  <a:lnTo>
                    <a:pt x="1023" y="134"/>
                  </a:lnTo>
                  <a:lnTo>
                    <a:pt x="1080" y="134"/>
                  </a:lnTo>
                  <a:lnTo>
                    <a:pt x="1104" y="142"/>
                  </a:lnTo>
                  <a:close/>
                  <a:moveTo>
                    <a:pt x="650" y="450"/>
                  </a:moveTo>
                  <a:lnTo>
                    <a:pt x="662" y="449"/>
                  </a:lnTo>
                  <a:lnTo>
                    <a:pt x="676" y="458"/>
                  </a:lnTo>
                  <a:lnTo>
                    <a:pt x="670" y="477"/>
                  </a:lnTo>
                  <a:lnTo>
                    <a:pt x="648" y="474"/>
                  </a:lnTo>
                  <a:lnTo>
                    <a:pt x="645" y="463"/>
                  </a:lnTo>
                  <a:lnTo>
                    <a:pt x="650" y="450"/>
                  </a:lnTo>
                  <a:close/>
                  <a:moveTo>
                    <a:pt x="534" y="420"/>
                  </a:moveTo>
                  <a:lnTo>
                    <a:pt x="545" y="404"/>
                  </a:lnTo>
                  <a:lnTo>
                    <a:pt x="555" y="404"/>
                  </a:lnTo>
                  <a:lnTo>
                    <a:pt x="560" y="412"/>
                  </a:lnTo>
                  <a:lnTo>
                    <a:pt x="563" y="401"/>
                  </a:lnTo>
                  <a:lnTo>
                    <a:pt x="569" y="401"/>
                  </a:lnTo>
                  <a:lnTo>
                    <a:pt x="586" y="444"/>
                  </a:lnTo>
                  <a:lnTo>
                    <a:pt x="605" y="449"/>
                  </a:lnTo>
                  <a:lnTo>
                    <a:pt x="605" y="472"/>
                  </a:lnTo>
                  <a:lnTo>
                    <a:pt x="599" y="474"/>
                  </a:lnTo>
                  <a:lnTo>
                    <a:pt x="577" y="463"/>
                  </a:lnTo>
                  <a:lnTo>
                    <a:pt x="562" y="432"/>
                  </a:lnTo>
                  <a:lnTo>
                    <a:pt x="534" y="420"/>
                  </a:lnTo>
                  <a:close/>
                  <a:moveTo>
                    <a:pt x="6" y="0"/>
                  </a:moveTo>
                  <a:lnTo>
                    <a:pt x="0" y="3"/>
                  </a:lnTo>
                  <a:lnTo>
                    <a:pt x="3" y="20"/>
                  </a:lnTo>
                  <a:lnTo>
                    <a:pt x="8" y="16"/>
                  </a:lnTo>
                  <a:lnTo>
                    <a:pt x="6" y="0"/>
                  </a:lnTo>
                  <a:close/>
                  <a:moveTo>
                    <a:pt x="998" y="645"/>
                  </a:moveTo>
                  <a:lnTo>
                    <a:pt x="1007" y="644"/>
                  </a:lnTo>
                  <a:lnTo>
                    <a:pt x="1010" y="650"/>
                  </a:lnTo>
                  <a:lnTo>
                    <a:pt x="1001" y="655"/>
                  </a:lnTo>
                  <a:lnTo>
                    <a:pt x="998" y="645"/>
                  </a:lnTo>
                  <a:close/>
                  <a:moveTo>
                    <a:pt x="986" y="704"/>
                  </a:moveTo>
                  <a:lnTo>
                    <a:pt x="1001" y="704"/>
                  </a:lnTo>
                  <a:lnTo>
                    <a:pt x="1015" y="715"/>
                  </a:lnTo>
                  <a:lnTo>
                    <a:pt x="1015" y="721"/>
                  </a:lnTo>
                  <a:lnTo>
                    <a:pt x="1001" y="729"/>
                  </a:lnTo>
                  <a:lnTo>
                    <a:pt x="996" y="738"/>
                  </a:lnTo>
                  <a:lnTo>
                    <a:pt x="981" y="720"/>
                  </a:lnTo>
                  <a:lnTo>
                    <a:pt x="964" y="715"/>
                  </a:lnTo>
                  <a:lnTo>
                    <a:pt x="965" y="703"/>
                  </a:lnTo>
                  <a:lnTo>
                    <a:pt x="986" y="704"/>
                  </a:lnTo>
                  <a:close/>
                  <a:moveTo>
                    <a:pt x="1035" y="721"/>
                  </a:moveTo>
                  <a:lnTo>
                    <a:pt x="1046" y="711"/>
                  </a:lnTo>
                  <a:lnTo>
                    <a:pt x="1061" y="715"/>
                  </a:lnTo>
                  <a:lnTo>
                    <a:pt x="1060" y="743"/>
                  </a:lnTo>
                  <a:lnTo>
                    <a:pt x="1027" y="741"/>
                  </a:lnTo>
                  <a:lnTo>
                    <a:pt x="1035" y="721"/>
                  </a:lnTo>
                  <a:close/>
                  <a:moveTo>
                    <a:pt x="1080" y="720"/>
                  </a:moveTo>
                  <a:lnTo>
                    <a:pt x="1104" y="721"/>
                  </a:lnTo>
                  <a:lnTo>
                    <a:pt x="1117" y="733"/>
                  </a:lnTo>
                  <a:lnTo>
                    <a:pt x="1133" y="729"/>
                  </a:lnTo>
                  <a:lnTo>
                    <a:pt x="1116" y="715"/>
                  </a:lnTo>
                  <a:lnTo>
                    <a:pt x="1114" y="708"/>
                  </a:lnTo>
                  <a:lnTo>
                    <a:pt x="1121" y="704"/>
                  </a:lnTo>
                  <a:lnTo>
                    <a:pt x="1134" y="716"/>
                  </a:lnTo>
                  <a:lnTo>
                    <a:pt x="1148" y="713"/>
                  </a:lnTo>
                  <a:lnTo>
                    <a:pt x="1154" y="724"/>
                  </a:lnTo>
                  <a:lnTo>
                    <a:pt x="1163" y="713"/>
                  </a:lnTo>
                  <a:lnTo>
                    <a:pt x="1177" y="733"/>
                  </a:lnTo>
                  <a:lnTo>
                    <a:pt x="1165" y="732"/>
                  </a:lnTo>
                  <a:lnTo>
                    <a:pt x="1163" y="738"/>
                  </a:lnTo>
                  <a:lnTo>
                    <a:pt x="1153" y="740"/>
                  </a:lnTo>
                  <a:lnTo>
                    <a:pt x="1143" y="733"/>
                  </a:lnTo>
                  <a:lnTo>
                    <a:pt x="1108" y="746"/>
                  </a:lnTo>
                  <a:lnTo>
                    <a:pt x="1078" y="750"/>
                  </a:lnTo>
                  <a:lnTo>
                    <a:pt x="1070" y="746"/>
                  </a:lnTo>
                  <a:lnTo>
                    <a:pt x="1067" y="729"/>
                  </a:lnTo>
                  <a:lnTo>
                    <a:pt x="1080" y="720"/>
                  </a:lnTo>
                  <a:close/>
                  <a:moveTo>
                    <a:pt x="1214" y="760"/>
                  </a:moveTo>
                  <a:lnTo>
                    <a:pt x="1241" y="780"/>
                  </a:lnTo>
                  <a:lnTo>
                    <a:pt x="1253" y="799"/>
                  </a:lnTo>
                  <a:lnTo>
                    <a:pt x="1239" y="808"/>
                  </a:lnTo>
                  <a:lnTo>
                    <a:pt x="1228" y="806"/>
                  </a:lnTo>
                  <a:lnTo>
                    <a:pt x="1199" y="783"/>
                  </a:lnTo>
                  <a:lnTo>
                    <a:pt x="1179" y="782"/>
                  </a:lnTo>
                  <a:lnTo>
                    <a:pt x="1171" y="769"/>
                  </a:lnTo>
                  <a:lnTo>
                    <a:pt x="1214" y="760"/>
                  </a:lnTo>
                  <a:close/>
                  <a:moveTo>
                    <a:pt x="1214" y="721"/>
                  </a:moveTo>
                  <a:lnTo>
                    <a:pt x="1244" y="711"/>
                  </a:lnTo>
                  <a:lnTo>
                    <a:pt x="1267" y="716"/>
                  </a:lnTo>
                  <a:lnTo>
                    <a:pt x="1282" y="728"/>
                  </a:lnTo>
                  <a:lnTo>
                    <a:pt x="1309" y="721"/>
                  </a:lnTo>
                  <a:lnTo>
                    <a:pt x="1326" y="728"/>
                  </a:lnTo>
                  <a:lnTo>
                    <a:pt x="1348" y="715"/>
                  </a:lnTo>
                  <a:lnTo>
                    <a:pt x="1346" y="703"/>
                  </a:lnTo>
                  <a:lnTo>
                    <a:pt x="1353" y="716"/>
                  </a:lnTo>
                  <a:lnTo>
                    <a:pt x="1332" y="733"/>
                  </a:lnTo>
                  <a:lnTo>
                    <a:pt x="1265" y="745"/>
                  </a:lnTo>
                  <a:lnTo>
                    <a:pt x="1241" y="738"/>
                  </a:lnTo>
                  <a:lnTo>
                    <a:pt x="1211" y="738"/>
                  </a:lnTo>
                  <a:lnTo>
                    <a:pt x="1207" y="723"/>
                  </a:lnTo>
                  <a:lnTo>
                    <a:pt x="1214" y="721"/>
                  </a:lnTo>
                  <a:close/>
                  <a:moveTo>
                    <a:pt x="1368" y="724"/>
                  </a:moveTo>
                  <a:lnTo>
                    <a:pt x="1374" y="711"/>
                  </a:lnTo>
                  <a:lnTo>
                    <a:pt x="1378" y="716"/>
                  </a:lnTo>
                  <a:lnTo>
                    <a:pt x="1386" y="709"/>
                  </a:lnTo>
                  <a:lnTo>
                    <a:pt x="1391" y="713"/>
                  </a:lnTo>
                  <a:lnTo>
                    <a:pt x="1382" y="724"/>
                  </a:lnTo>
                  <a:lnTo>
                    <a:pt x="1377" y="728"/>
                  </a:lnTo>
                  <a:lnTo>
                    <a:pt x="1368" y="724"/>
                  </a:lnTo>
                  <a:close/>
                  <a:moveTo>
                    <a:pt x="1399" y="723"/>
                  </a:moveTo>
                  <a:lnTo>
                    <a:pt x="1399" y="718"/>
                  </a:lnTo>
                  <a:lnTo>
                    <a:pt x="1411" y="711"/>
                  </a:lnTo>
                  <a:lnTo>
                    <a:pt x="1405" y="726"/>
                  </a:lnTo>
                  <a:lnTo>
                    <a:pt x="1399" y="723"/>
                  </a:lnTo>
                  <a:close/>
                  <a:moveTo>
                    <a:pt x="1420" y="709"/>
                  </a:moveTo>
                  <a:lnTo>
                    <a:pt x="1446" y="708"/>
                  </a:lnTo>
                  <a:lnTo>
                    <a:pt x="1450" y="713"/>
                  </a:lnTo>
                  <a:lnTo>
                    <a:pt x="1439" y="721"/>
                  </a:lnTo>
                  <a:lnTo>
                    <a:pt x="1425" y="721"/>
                  </a:lnTo>
                  <a:lnTo>
                    <a:pt x="1419" y="720"/>
                  </a:lnTo>
                  <a:lnTo>
                    <a:pt x="1420" y="709"/>
                  </a:lnTo>
                  <a:close/>
                  <a:moveTo>
                    <a:pt x="1348" y="834"/>
                  </a:moveTo>
                  <a:lnTo>
                    <a:pt x="1348" y="830"/>
                  </a:lnTo>
                  <a:lnTo>
                    <a:pt x="1372" y="816"/>
                  </a:lnTo>
                  <a:lnTo>
                    <a:pt x="1363" y="831"/>
                  </a:lnTo>
                  <a:lnTo>
                    <a:pt x="1357" y="836"/>
                  </a:lnTo>
                  <a:lnTo>
                    <a:pt x="1348" y="834"/>
                  </a:lnTo>
                  <a:close/>
                  <a:moveTo>
                    <a:pt x="1450" y="767"/>
                  </a:moveTo>
                  <a:lnTo>
                    <a:pt x="1446" y="779"/>
                  </a:lnTo>
                  <a:lnTo>
                    <a:pt x="1431" y="796"/>
                  </a:lnTo>
                  <a:lnTo>
                    <a:pt x="1397" y="809"/>
                  </a:lnTo>
                  <a:lnTo>
                    <a:pt x="1382" y="809"/>
                  </a:lnTo>
                  <a:lnTo>
                    <a:pt x="1378" y="806"/>
                  </a:lnTo>
                  <a:lnTo>
                    <a:pt x="1383" y="799"/>
                  </a:lnTo>
                  <a:lnTo>
                    <a:pt x="1385" y="775"/>
                  </a:lnTo>
                  <a:lnTo>
                    <a:pt x="1391" y="771"/>
                  </a:lnTo>
                  <a:lnTo>
                    <a:pt x="1434" y="750"/>
                  </a:lnTo>
                  <a:lnTo>
                    <a:pt x="1450" y="732"/>
                  </a:lnTo>
                  <a:lnTo>
                    <a:pt x="1538" y="718"/>
                  </a:lnTo>
                  <a:lnTo>
                    <a:pt x="1546" y="720"/>
                  </a:lnTo>
                  <a:lnTo>
                    <a:pt x="1543" y="733"/>
                  </a:lnTo>
                  <a:lnTo>
                    <a:pt x="1468" y="760"/>
                  </a:lnTo>
                  <a:lnTo>
                    <a:pt x="1454" y="769"/>
                  </a:lnTo>
                  <a:lnTo>
                    <a:pt x="1450" y="767"/>
                  </a:lnTo>
                  <a:close/>
                  <a:moveTo>
                    <a:pt x="1487" y="703"/>
                  </a:moveTo>
                  <a:lnTo>
                    <a:pt x="1482" y="698"/>
                  </a:lnTo>
                  <a:lnTo>
                    <a:pt x="1488" y="687"/>
                  </a:lnTo>
                  <a:lnTo>
                    <a:pt x="1502" y="687"/>
                  </a:lnTo>
                  <a:lnTo>
                    <a:pt x="1519" y="679"/>
                  </a:lnTo>
                  <a:lnTo>
                    <a:pt x="1529" y="689"/>
                  </a:lnTo>
                  <a:lnTo>
                    <a:pt x="1514" y="700"/>
                  </a:lnTo>
                  <a:lnTo>
                    <a:pt x="1487" y="703"/>
                  </a:lnTo>
                  <a:close/>
                  <a:moveTo>
                    <a:pt x="76" y="76"/>
                  </a:moveTo>
                  <a:lnTo>
                    <a:pt x="99" y="76"/>
                  </a:lnTo>
                  <a:lnTo>
                    <a:pt x="110" y="88"/>
                  </a:lnTo>
                  <a:lnTo>
                    <a:pt x="127" y="92"/>
                  </a:lnTo>
                  <a:lnTo>
                    <a:pt x="184" y="96"/>
                  </a:lnTo>
                  <a:lnTo>
                    <a:pt x="198" y="107"/>
                  </a:lnTo>
                  <a:lnTo>
                    <a:pt x="218" y="142"/>
                  </a:lnTo>
                  <a:lnTo>
                    <a:pt x="238" y="163"/>
                  </a:lnTo>
                  <a:lnTo>
                    <a:pt x="269" y="175"/>
                  </a:lnTo>
                  <a:lnTo>
                    <a:pt x="293" y="198"/>
                  </a:lnTo>
                  <a:lnTo>
                    <a:pt x="296" y="206"/>
                  </a:lnTo>
                  <a:lnTo>
                    <a:pt x="306" y="210"/>
                  </a:lnTo>
                  <a:lnTo>
                    <a:pt x="323" y="232"/>
                  </a:lnTo>
                  <a:lnTo>
                    <a:pt x="334" y="237"/>
                  </a:lnTo>
                  <a:lnTo>
                    <a:pt x="337" y="231"/>
                  </a:lnTo>
                  <a:lnTo>
                    <a:pt x="344" y="231"/>
                  </a:lnTo>
                  <a:lnTo>
                    <a:pt x="359" y="252"/>
                  </a:lnTo>
                  <a:lnTo>
                    <a:pt x="388" y="266"/>
                  </a:lnTo>
                  <a:lnTo>
                    <a:pt x="396" y="277"/>
                  </a:lnTo>
                  <a:lnTo>
                    <a:pt x="399" y="282"/>
                  </a:lnTo>
                  <a:lnTo>
                    <a:pt x="401" y="271"/>
                  </a:lnTo>
                  <a:lnTo>
                    <a:pt x="415" y="285"/>
                  </a:lnTo>
                  <a:lnTo>
                    <a:pt x="437" y="286"/>
                  </a:lnTo>
                  <a:lnTo>
                    <a:pt x="437" y="293"/>
                  </a:lnTo>
                  <a:lnTo>
                    <a:pt x="432" y="296"/>
                  </a:lnTo>
                  <a:lnTo>
                    <a:pt x="435" y="313"/>
                  </a:lnTo>
                  <a:lnTo>
                    <a:pt x="454" y="310"/>
                  </a:lnTo>
                  <a:lnTo>
                    <a:pt x="464" y="319"/>
                  </a:lnTo>
                  <a:lnTo>
                    <a:pt x="467" y="330"/>
                  </a:lnTo>
                  <a:lnTo>
                    <a:pt x="457" y="342"/>
                  </a:lnTo>
                  <a:lnTo>
                    <a:pt x="466" y="345"/>
                  </a:lnTo>
                  <a:lnTo>
                    <a:pt x="454" y="364"/>
                  </a:lnTo>
                  <a:lnTo>
                    <a:pt x="457" y="371"/>
                  </a:lnTo>
                  <a:lnTo>
                    <a:pt x="474" y="379"/>
                  </a:lnTo>
                  <a:lnTo>
                    <a:pt x="484" y="383"/>
                  </a:lnTo>
                  <a:lnTo>
                    <a:pt x="496" y="383"/>
                  </a:lnTo>
                  <a:lnTo>
                    <a:pt x="504" y="420"/>
                  </a:lnTo>
                  <a:lnTo>
                    <a:pt x="521" y="429"/>
                  </a:lnTo>
                  <a:lnTo>
                    <a:pt x="517" y="440"/>
                  </a:lnTo>
                  <a:lnTo>
                    <a:pt x="523" y="441"/>
                  </a:lnTo>
                  <a:lnTo>
                    <a:pt x="555" y="446"/>
                  </a:lnTo>
                  <a:lnTo>
                    <a:pt x="572" y="469"/>
                  </a:lnTo>
                  <a:lnTo>
                    <a:pt x="574" y="477"/>
                  </a:lnTo>
                  <a:lnTo>
                    <a:pt x="568" y="505"/>
                  </a:lnTo>
                  <a:lnTo>
                    <a:pt x="571" y="511"/>
                  </a:lnTo>
                  <a:lnTo>
                    <a:pt x="562" y="598"/>
                  </a:lnTo>
                  <a:lnTo>
                    <a:pt x="542" y="585"/>
                  </a:lnTo>
                  <a:lnTo>
                    <a:pt x="537" y="596"/>
                  </a:lnTo>
                  <a:lnTo>
                    <a:pt x="532" y="598"/>
                  </a:lnTo>
                  <a:lnTo>
                    <a:pt x="515" y="585"/>
                  </a:lnTo>
                  <a:lnTo>
                    <a:pt x="509" y="588"/>
                  </a:lnTo>
                  <a:lnTo>
                    <a:pt x="515" y="599"/>
                  </a:lnTo>
                  <a:lnTo>
                    <a:pt x="511" y="602"/>
                  </a:lnTo>
                  <a:lnTo>
                    <a:pt x="470" y="560"/>
                  </a:lnTo>
                  <a:lnTo>
                    <a:pt x="412" y="522"/>
                  </a:lnTo>
                  <a:lnTo>
                    <a:pt x="398" y="498"/>
                  </a:lnTo>
                  <a:lnTo>
                    <a:pt x="342" y="440"/>
                  </a:lnTo>
                  <a:lnTo>
                    <a:pt x="337" y="420"/>
                  </a:lnTo>
                  <a:lnTo>
                    <a:pt x="322" y="387"/>
                  </a:lnTo>
                  <a:lnTo>
                    <a:pt x="308" y="362"/>
                  </a:lnTo>
                  <a:lnTo>
                    <a:pt x="293" y="347"/>
                  </a:lnTo>
                  <a:lnTo>
                    <a:pt x="285" y="332"/>
                  </a:lnTo>
                  <a:lnTo>
                    <a:pt x="260" y="320"/>
                  </a:lnTo>
                  <a:lnTo>
                    <a:pt x="242" y="256"/>
                  </a:lnTo>
                  <a:lnTo>
                    <a:pt x="227" y="240"/>
                  </a:lnTo>
                  <a:lnTo>
                    <a:pt x="193" y="227"/>
                  </a:lnTo>
                  <a:lnTo>
                    <a:pt x="184" y="201"/>
                  </a:lnTo>
                  <a:lnTo>
                    <a:pt x="180" y="198"/>
                  </a:lnTo>
                  <a:lnTo>
                    <a:pt x="163" y="175"/>
                  </a:lnTo>
                  <a:lnTo>
                    <a:pt x="147" y="163"/>
                  </a:lnTo>
                  <a:lnTo>
                    <a:pt x="139" y="163"/>
                  </a:lnTo>
                  <a:lnTo>
                    <a:pt x="90" y="115"/>
                  </a:lnTo>
                  <a:lnTo>
                    <a:pt x="78" y="93"/>
                  </a:lnTo>
                  <a:lnTo>
                    <a:pt x="76" y="76"/>
                  </a:lnTo>
                  <a:close/>
                  <a:moveTo>
                    <a:pt x="851" y="713"/>
                  </a:moveTo>
                  <a:lnTo>
                    <a:pt x="833" y="718"/>
                  </a:lnTo>
                  <a:lnTo>
                    <a:pt x="811" y="708"/>
                  </a:lnTo>
                  <a:lnTo>
                    <a:pt x="792" y="709"/>
                  </a:lnTo>
                  <a:lnTo>
                    <a:pt x="741" y="687"/>
                  </a:lnTo>
                  <a:lnTo>
                    <a:pt x="698" y="684"/>
                  </a:lnTo>
                  <a:lnTo>
                    <a:pt x="686" y="691"/>
                  </a:lnTo>
                  <a:lnTo>
                    <a:pt x="645" y="679"/>
                  </a:lnTo>
                  <a:lnTo>
                    <a:pt x="616" y="678"/>
                  </a:lnTo>
                  <a:lnTo>
                    <a:pt x="589" y="666"/>
                  </a:lnTo>
                  <a:lnTo>
                    <a:pt x="596" y="653"/>
                  </a:lnTo>
                  <a:lnTo>
                    <a:pt x="542" y="644"/>
                  </a:lnTo>
                  <a:lnTo>
                    <a:pt x="538" y="633"/>
                  </a:lnTo>
                  <a:lnTo>
                    <a:pt x="543" y="638"/>
                  </a:lnTo>
                  <a:lnTo>
                    <a:pt x="554" y="636"/>
                  </a:lnTo>
                  <a:lnTo>
                    <a:pt x="571" y="608"/>
                  </a:lnTo>
                  <a:lnTo>
                    <a:pt x="582" y="605"/>
                  </a:lnTo>
                  <a:lnTo>
                    <a:pt x="611" y="610"/>
                  </a:lnTo>
                  <a:lnTo>
                    <a:pt x="631" y="605"/>
                  </a:lnTo>
                  <a:lnTo>
                    <a:pt x="640" y="616"/>
                  </a:lnTo>
                  <a:lnTo>
                    <a:pt x="676" y="621"/>
                  </a:lnTo>
                  <a:lnTo>
                    <a:pt x="693" y="644"/>
                  </a:lnTo>
                  <a:lnTo>
                    <a:pt x="701" y="645"/>
                  </a:lnTo>
                  <a:lnTo>
                    <a:pt x="733" y="645"/>
                  </a:lnTo>
                  <a:lnTo>
                    <a:pt x="772" y="652"/>
                  </a:lnTo>
                  <a:lnTo>
                    <a:pt x="777" y="649"/>
                  </a:lnTo>
                  <a:lnTo>
                    <a:pt x="786" y="630"/>
                  </a:lnTo>
                  <a:lnTo>
                    <a:pt x="800" y="627"/>
                  </a:lnTo>
                  <a:lnTo>
                    <a:pt x="809" y="638"/>
                  </a:lnTo>
                  <a:lnTo>
                    <a:pt x="825" y="635"/>
                  </a:lnTo>
                  <a:lnTo>
                    <a:pt x="850" y="647"/>
                  </a:lnTo>
                  <a:lnTo>
                    <a:pt x="871" y="650"/>
                  </a:lnTo>
                  <a:lnTo>
                    <a:pt x="884" y="667"/>
                  </a:lnTo>
                  <a:lnTo>
                    <a:pt x="885" y="681"/>
                  </a:lnTo>
                  <a:lnTo>
                    <a:pt x="894" y="684"/>
                  </a:lnTo>
                  <a:lnTo>
                    <a:pt x="942" y="684"/>
                  </a:lnTo>
                  <a:lnTo>
                    <a:pt x="956" y="691"/>
                  </a:lnTo>
                  <a:lnTo>
                    <a:pt x="955" y="720"/>
                  </a:lnTo>
                  <a:lnTo>
                    <a:pt x="962" y="738"/>
                  </a:lnTo>
                  <a:lnTo>
                    <a:pt x="953" y="729"/>
                  </a:lnTo>
                  <a:lnTo>
                    <a:pt x="901" y="715"/>
                  </a:lnTo>
                  <a:lnTo>
                    <a:pt x="879" y="720"/>
                  </a:lnTo>
                  <a:lnTo>
                    <a:pt x="851" y="713"/>
                  </a:lnTo>
                  <a:close/>
                  <a:moveTo>
                    <a:pt x="99" y="205"/>
                  </a:moveTo>
                  <a:lnTo>
                    <a:pt x="104" y="200"/>
                  </a:lnTo>
                  <a:lnTo>
                    <a:pt x="129" y="217"/>
                  </a:lnTo>
                  <a:lnTo>
                    <a:pt x="132" y="225"/>
                  </a:lnTo>
                  <a:lnTo>
                    <a:pt x="99" y="205"/>
                  </a:lnTo>
                  <a:close/>
                  <a:moveTo>
                    <a:pt x="167" y="269"/>
                  </a:moveTo>
                  <a:lnTo>
                    <a:pt x="176" y="263"/>
                  </a:lnTo>
                  <a:lnTo>
                    <a:pt x="200" y="286"/>
                  </a:lnTo>
                  <a:lnTo>
                    <a:pt x="200" y="305"/>
                  </a:lnTo>
                  <a:lnTo>
                    <a:pt x="195" y="305"/>
                  </a:lnTo>
                  <a:lnTo>
                    <a:pt x="167" y="269"/>
                  </a:lnTo>
                  <a:close/>
                  <a:moveTo>
                    <a:pt x="237" y="376"/>
                  </a:moveTo>
                  <a:lnTo>
                    <a:pt x="249" y="378"/>
                  </a:lnTo>
                  <a:lnTo>
                    <a:pt x="263" y="412"/>
                  </a:lnTo>
                  <a:lnTo>
                    <a:pt x="251" y="412"/>
                  </a:lnTo>
                  <a:lnTo>
                    <a:pt x="240" y="401"/>
                  </a:lnTo>
                  <a:lnTo>
                    <a:pt x="234" y="384"/>
                  </a:lnTo>
                  <a:lnTo>
                    <a:pt x="237" y="376"/>
                  </a:lnTo>
                  <a:close/>
                  <a:moveTo>
                    <a:pt x="478" y="268"/>
                  </a:moveTo>
                  <a:lnTo>
                    <a:pt x="472" y="263"/>
                  </a:lnTo>
                  <a:lnTo>
                    <a:pt x="464" y="266"/>
                  </a:lnTo>
                  <a:lnTo>
                    <a:pt x="464" y="273"/>
                  </a:lnTo>
                  <a:lnTo>
                    <a:pt x="478" y="268"/>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20" name="Freeform 17">
              <a:extLst>
                <a:ext uri="{FF2B5EF4-FFF2-40B4-BE49-F238E27FC236}">
                  <a16:creationId xmlns:a16="http://schemas.microsoft.com/office/drawing/2014/main" id="{2625819C-3A0E-394C-9345-0FB56D76DB36}"/>
                </a:ext>
              </a:extLst>
            </p:cNvPr>
            <p:cNvSpPr>
              <a:spLocks noChangeAspect="1" noEditPoints="1"/>
            </p:cNvSpPr>
            <p:nvPr/>
          </p:nvSpPr>
          <p:spPr bwMode="gray">
            <a:xfrm>
              <a:off x="8195833" y="3956622"/>
              <a:ext cx="363073" cy="332139"/>
            </a:xfrm>
            <a:custGeom>
              <a:avLst/>
              <a:gdLst>
                <a:gd name="T0" fmla="*/ 399 w 744"/>
                <a:gd name="T1" fmla="*/ 100 h 569"/>
                <a:gd name="T2" fmla="*/ 424 w 744"/>
                <a:gd name="T3" fmla="*/ 99 h 569"/>
                <a:gd name="T4" fmla="*/ 433 w 744"/>
                <a:gd name="T5" fmla="*/ 114 h 569"/>
                <a:gd name="T6" fmla="*/ 433 w 744"/>
                <a:gd name="T7" fmla="*/ 127 h 569"/>
                <a:gd name="T8" fmla="*/ 421 w 744"/>
                <a:gd name="T9" fmla="*/ 108 h 569"/>
                <a:gd name="T10" fmla="*/ 399 w 744"/>
                <a:gd name="T11" fmla="*/ 100 h 569"/>
                <a:gd name="T12" fmla="*/ 0 w 744"/>
                <a:gd name="T13" fmla="*/ 205 h 569"/>
                <a:gd name="T14" fmla="*/ 6 w 744"/>
                <a:gd name="T15" fmla="*/ 213 h 569"/>
                <a:gd name="T16" fmla="*/ 0 w 744"/>
                <a:gd name="T17" fmla="*/ 212 h 569"/>
                <a:gd name="T18" fmla="*/ 0 w 744"/>
                <a:gd name="T19" fmla="*/ 205 h 569"/>
                <a:gd name="T20" fmla="*/ 741 w 744"/>
                <a:gd name="T21" fmla="*/ 555 h 569"/>
                <a:gd name="T22" fmla="*/ 744 w 744"/>
                <a:gd name="T23" fmla="*/ 564 h 569"/>
                <a:gd name="T24" fmla="*/ 741 w 744"/>
                <a:gd name="T25" fmla="*/ 555 h 569"/>
                <a:gd name="T26" fmla="*/ 673 w 744"/>
                <a:gd name="T27" fmla="*/ 441 h 569"/>
                <a:gd name="T28" fmla="*/ 682 w 744"/>
                <a:gd name="T29" fmla="*/ 467 h 569"/>
                <a:gd name="T30" fmla="*/ 676 w 744"/>
                <a:gd name="T31" fmla="*/ 464 h 569"/>
                <a:gd name="T32" fmla="*/ 673 w 744"/>
                <a:gd name="T33" fmla="*/ 441 h 569"/>
                <a:gd name="T34" fmla="*/ 521 w 744"/>
                <a:gd name="T35" fmla="*/ 566 h 569"/>
                <a:gd name="T36" fmla="*/ 523 w 744"/>
                <a:gd name="T37" fmla="*/ 569 h 569"/>
                <a:gd name="T38" fmla="*/ 521 w 744"/>
                <a:gd name="T39" fmla="*/ 566 h 569"/>
                <a:gd name="T40" fmla="*/ 224 w 744"/>
                <a:gd name="T41" fmla="*/ 281 h 569"/>
                <a:gd name="T42" fmla="*/ 219 w 744"/>
                <a:gd name="T43" fmla="*/ 285 h 569"/>
                <a:gd name="T44" fmla="*/ 224 w 744"/>
                <a:gd name="T45" fmla="*/ 281 h 569"/>
                <a:gd name="T46" fmla="*/ 582 w 744"/>
                <a:gd name="T47" fmla="*/ 119 h 569"/>
                <a:gd name="T48" fmla="*/ 595 w 744"/>
                <a:gd name="T49" fmla="*/ 128 h 569"/>
                <a:gd name="T50" fmla="*/ 592 w 744"/>
                <a:gd name="T51" fmla="*/ 137 h 569"/>
                <a:gd name="T52" fmla="*/ 583 w 744"/>
                <a:gd name="T53" fmla="*/ 128 h 569"/>
                <a:gd name="T54" fmla="*/ 582 w 744"/>
                <a:gd name="T55" fmla="*/ 119 h 569"/>
                <a:gd name="T56" fmla="*/ 399 w 744"/>
                <a:gd name="T57" fmla="*/ 0 h 569"/>
                <a:gd name="T58" fmla="*/ 405 w 744"/>
                <a:gd name="T59" fmla="*/ 2 h 569"/>
                <a:gd name="T60" fmla="*/ 397 w 744"/>
                <a:gd name="T61" fmla="*/ 14 h 569"/>
                <a:gd name="T62" fmla="*/ 392 w 744"/>
                <a:gd name="T63" fmla="*/ 14 h 569"/>
                <a:gd name="T64" fmla="*/ 390 w 744"/>
                <a:gd name="T65" fmla="*/ 3 h 569"/>
                <a:gd name="T66" fmla="*/ 399 w 744"/>
                <a:gd name="T67" fmla="*/ 0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4" h="569">
                  <a:moveTo>
                    <a:pt x="399" y="100"/>
                  </a:moveTo>
                  <a:lnTo>
                    <a:pt x="424" y="99"/>
                  </a:lnTo>
                  <a:lnTo>
                    <a:pt x="433" y="114"/>
                  </a:lnTo>
                  <a:lnTo>
                    <a:pt x="433" y="127"/>
                  </a:lnTo>
                  <a:lnTo>
                    <a:pt x="421" y="108"/>
                  </a:lnTo>
                  <a:lnTo>
                    <a:pt x="399" y="100"/>
                  </a:lnTo>
                  <a:close/>
                  <a:moveTo>
                    <a:pt x="0" y="205"/>
                  </a:moveTo>
                  <a:lnTo>
                    <a:pt x="6" y="213"/>
                  </a:lnTo>
                  <a:lnTo>
                    <a:pt x="0" y="212"/>
                  </a:lnTo>
                  <a:lnTo>
                    <a:pt x="0" y="205"/>
                  </a:lnTo>
                  <a:close/>
                  <a:moveTo>
                    <a:pt x="741" y="555"/>
                  </a:moveTo>
                  <a:lnTo>
                    <a:pt x="744" y="564"/>
                  </a:lnTo>
                  <a:lnTo>
                    <a:pt x="741" y="555"/>
                  </a:lnTo>
                  <a:close/>
                  <a:moveTo>
                    <a:pt x="673" y="441"/>
                  </a:moveTo>
                  <a:lnTo>
                    <a:pt x="682" y="467"/>
                  </a:lnTo>
                  <a:lnTo>
                    <a:pt x="676" y="464"/>
                  </a:lnTo>
                  <a:lnTo>
                    <a:pt x="673" y="441"/>
                  </a:lnTo>
                  <a:close/>
                  <a:moveTo>
                    <a:pt x="521" y="566"/>
                  </a:moveTo>
                  <a:lnTo>
                    <a:pt x="523" y="569"/>
                  </a:lnTo>
                  <a:lnTo>
                    <a:pt x="521" y="566"/>
                  </a:lnTo>
                  <a:close/>
                  <a:moveTo>
                    <a:pt x="224" y="281"/>
                  </a:moveTo>
                  <a:lnTo>
                    <a:pt x="219" y="285"/>
                  </a:lnTo>
                  <a:lnTo>
                    <a:pt x="224" y="281"/>
                  </a:lnTo>
                  <a:close/>
                  <a:moveTo>
                    <a:pt x="582" y="119"/>
                  </a:moveTo>
                  <a:lnTo>
                    <a:pt x="595" y="128"/>
                  </a:lnTo>
                  <a:lnTo>
                    <a:pt x="592" y="137"/>
                  </a:lnTo>
                  <a:lnTo>
                    <a:pt x="583" y="128"/>
                  </a:lnTo>
                  <a:lnTo>
                    <a:pt x="582" y="119"/>
                  </a:lnTo>
                  <a:close/>
                  <a:moveTo>
                    <a:pt x="399" y="0"/>
                  </a:moveTo>
                  <a:lnTo>
                    <a:pt x="405" y="2"/>
                  </a:lnTo>
                  <a:lnTo>
                    <a:pt x="397" y="14"/>
                  </a:lnTo>
                  <a:lnTo>
                    <a:pt x="392" y="14"/>
                  </a:lnTo>
                  <a:lnTo>
                    <a:pt x="390" y="3"/>
                  </a:lnTo>
                  <a:lnTo>
                    <a:pt x="399" y="0"/>
                  </a:lnTo>
                  <a:close/>
                </a:path>
              </a:pathLst>
            </a:custGeom>
            <a:no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1" name="Freeform 18">
              <a:extLst>
                <a:ext uri="{FF2B5EF4-FFF2-40B4-BE49-F238E27FC236}">
                  <a16:creationId xmlns:a16="http://schemas.microsoft.com/office/drawing/2014/main" id="{C76957A9-1B24-EC4E-ADE0-AD67893E5657}"/>
                </a:ext>
              </a:extLst>
            </p:cNvPr>
            <p:cNvSpPr>
              <a:spLocks noChangeAspect="1" noEditPoints="1"/>
            </p:cNvSpPr>
            <p:nvPr/>
          </p:nvSpPr>
          <p:spPr bwMode="gray">
            <a:xfrm>
              <a:off x="7179865" y="4555622"/>
              <a:ext cx="910866" cy="1015612"/>
            </a:xfrm>
            <a:custGeom>
              <a:avLst/>
              <a:gdLst>
                <a:gd name="T0" fmla="*/ 219 w 1865"/>
                <a:gd name="T1" fmla="*/ 1224 h 1730"/>
                <a:gd name="T2" fmla="*/ 417 w 1865"/>
                <a:gd name="T3" fmla="*/ 1161 h 1730"/>
                <a:gd name="T4" fmla="*/ 856 w 1865"/>
                <a:gd name="T5" fmla="*/ 1034 h 1730"/>
                <a:gd name="T6" fmla="*/ 979 w 1865"/>
                <a:gd name="T7" fmla="*/ 1119 h 1730"/>
                <a:gd name="T8" fmla="*/ 1047 w 1865"/>
                <a:gd name="T9" fmla="*/ 1209 h 1730"/>
                <a:gd name="T10" fmla="*/ 1136 w 1865"/>
                <a:gd name="T11" fmla="*/ 1084 h 1730"/>
                <a:gd name="T12" fmla="*/ 1100 w 1865"/>
                <a:gd name="T13" fmla="*/ 1238 h 1730"/>
                <a:gd name="T14" fmla="*/ 1208 w 1865"/>
                <a:gd name="T15" fmla="*/ 1245 h 1730"/>
                <a:gd name="T16" fmla="*/ 1308 w 1865"/>
                <a:gd name="T17" fmla="*/ 1413 h 1730"/>
                <a:gd name="T18" fmla="*/ 1464 w 1865"/>
                <a:gd name="T19" fmla="*/ 1385 h 1730"/>
                <a:gd name="T20" fmla="*/ 1496 w 1865"/>
                <a:gd name="T21" fmla="*/ 1410 h 1730"/>
                <a:gd name="T22" fmla="*/ 1595 w 1865"/>
                <a:gd name="T23" fmla="*/ 1395 h 1730"/>
                <a:gd name="T24" fmla="*/ 1710 w 1865"/>
                <a:gd name="T25" fmla="*/ 1299 h 1730"/>
                <a:gd name="T26" fmla="*/ 1785 w 1865"/>
                <a:gd name="T27" fmla="*/ 1105 h 1730"/>
                <a:gd name="T28" fmla="*/ 1849 w 1865"/>
                <a:gd name="T29" fmla="*/ 960 h 1730"/>
                <a:gd name="T30" fmla="*/ 1840 w 1865"/>
                <a:gd name="T31" fmla="*/ 737 h 1730"/>
                <a:gd name="T32" fmla="*/ 1765 w 1865"/>
                <a:gd name="T33" fmla="*/ 640 h 1730"/>
                <a:gd name="T34" fmla="*/ 1697 w 1865"/>
                <a:gd name="T35" fmla="*/ 562 h 1730"/>
                <a:gd name="T36" fmla="*/ 1650 w 1865"/>
                <a:gd name="T37" fmla="*/ 468 h 1730"/>
                <a:gd name="T38" fmla="*/ 1574 w 1865"/>
                <a:gd name="T39" fmla="*/ 412 h 1730"/>
                <a:gd name="T40" fmla="*/ 1509 w 1865"/>
                <a:gd name="T41" fmla="*/ 293 h 1730"/>
                <a:gd name="T42" fmla="*/ 1423 w 1865"/>
                <a:gd name="T43" fmla="*/ 178 h 1730"/>
                <a:gd name="T44" fmla="*/ 1363 w 1865"/>
                <a:gd name="T45" fmla="*/ 2 h 1730"/>
                <a:gd name="T46" fmla="*/ 1311 w 1865"/>
                <a:gd name="T47" fmla="*/ 90 h 1730"/>
                <a:gd name="T48" fmla="*/ 1241 w 1865"/>
                <a:gd name="T49" fmla="*/ 335 h 1730"/>
                <a:gd name="T50" fmla="*/ 1047 w 1865"/>
                <a:gd name="T51" fmla="*/ 212 h 1730"/>
                <a:gd name="T52" fmla="*/ 1062 w 1865"/>
                <a:gd name="T53" fmla="*/ 115 h 1730"/>
                <a:gd name="T54" fmla="*/ 1077 w 1865"/>
                <a:gd name="T55" fmla="*/ 78 h 1730"/>
                <a:gd name="T56" fmla="*/ 1047 w 1865"/>
                <a:gd name="T57" fmla="*/ 61 h 1730"/>
                <a:gd name="T58" fmla="*/ 916 w 1865"/>
                <a:gd name="T59" fmla="*/ 50 h 1730"/>
                <a:gd name="T60" fmla="*/ 862 w 1865"/>
                <a:gd name="T61" fmla="*/ 33 h 1730"/>
                <a:gd name="T62" fmla="*/ 822 w 1865"/>
                <a:gd name="T63" fmla="*/ 75 h 1730"/>
                <a:gd name="T64" fmla="*/ 788 w 1865"/>
                <a:gd name="T65" fmla="*/ 129 h 1730"/>
                <a:gd name="T66" fmla="*/ 760 w 1865"/>
                <a:gd name="T67" fmla="*/ 214 h 1730"/>
                <a:gd name="T68" fmla="*/ 662 w 1865"/>
                <a:gd name="T69" fmla="*/ 163 h 1730"/>
                <a:gd name="T70" fmla="*/ 588 w 1865"/>
                <a:gd name="T71" fmla="*/ 160 h 1730"/>
                <a:gd name="T72" fmla="*/ 539 w 1865"/>
                <a:gd name="T73" fmla="*/ 214 h 1730"/>
                <a:gd name="T74" fmla="*/ 519 w 1865"/>
                <a:gd name="T75" fmla="*/ 276 h 1730"/>
                <a:gd name="T76" fmla="*/ 478 w 1865"/>
                <a:gd name="T77" fmla="*/ 304 h 1730"/>
                <a:gd name="T78" fmla="*/ 395 w 1865"/>
                <a:gd name="T79" fmla="*/ 369 h 1730"/>
                <a:gd name="T80" fmla="*/ 161 w 1865"/>
                <a:gd name="T81" fmla="*/ 471 h 1730"/>
                <a:gd name="T82" fmla="*/ 41 w 1865"/>
                <a:gd name="T83" fmla="*/ 528 h 1730"/>
                <a:gd name="T84" fmla="*/ 33 w 1865"/>
                <a:gd name="T85" fmla="*/ 709 h 1730"/>
                <a:gd name="T86" fmla="*/ 11 w 1865"/>
                <a:gd name="T87" fmla="*/ 720 h 1730"/>
                <a:gd name="T88" fmla="*/ 0 w 1865"/>
                <a:gd name="T89" fmla="*/ 752 h 1730"/>
                <a:gd name="T90" fmla="*/ 119 w 1865"/>
                <a:gd name="T91" fmla="*/ 1082 h 1730"/>
                <a:gd name="T92" fmla="*/ 1840 w 1865"/>
                <a:gd name="T93" fmla="*/ 725 h 1730"/>
                <a:gd name="T94" fmla="*/ 1074 w 1865"/>
                <a:gd name="T95" fmla="*/ 39 h 1730"/>
                <a:gd name="T96" fmla="*/ 840 w 1865"/>
                <a:gd name="T97" fmla="*/ 33 h 1730"/>
                <a:gd name="T98" fmla="*/ 786 w 1865"/>
                <a:gd name="T99" fmla="*/ 34 h 1730"/>
                <a:gd name="T100" fmla="*/ 1072 w 1865"/>
                <a:gd name="T101" fmla="*/ 146 h 1730"/>
                <a:gd name="T102" fmla="*/ 1072 w 1865"/>
                <a:gd name="T103" fmla="*/ 146 h 1730"/>
                <a:gd name="T104" fmla="*/ 1614 w 1865"/>
                <a:gd name="T105" fmla="*/ 1536 h 1730"/>
                <a:gd name="T106" fmla="*/ 1123 w 1865"/>
                <a:gd name="T107" fmla="*/ 1282 h 1730"/>
                <a:gd name="T108" fmla="*/ 1543 w 1865"/>
                <a:gd name="T109" fmla="*/ 1582 h 1730"/>
                <a:gd name="T110" fmla="*/ 1626 w 1865"/>
                <a:gd name="T111" fmla="*/ 1653 h 1730"/>
                <a:gd name="T112" fmla="*/ 1563 w 1865"/>
                <a:gd name="T113" fmla="*/ 1724 h 1730"/>
                <a:gd name="T114" fmla="*/ 1490 w 1865"/>
                <a:gd name="T115" fmla="*/ 1659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65" h="1730">
                  <a:moveTo>
                    <a:pt x="89" y="1139"/>
                  </a:moveTo>
                  <a:lnTo>
                    <a:pt x="90" y="1177"/>
                  </a:lnTo>
                  <a:lnTo>
                    <a:pt x="109" y="1181"/>
                  </a:lnTo>
                  <a:lnTo>
                    <a:pt x="138" y="1209"/>
                  </a:lnTo>
                  <a:lnTo>
                    <a:pt x="160" y="1220"/>
                  </a:lnTo>
                  <a:lnTo>
                    <a:pt x="200" y="1220"/>
                  </a:lnTo>
                  <a:lnTo>
                    <a:pt x="206" y="1226"/>
                  </a:lnTo>
                  <a:lnTo>
                    <a:pt x="219" y="1224"/>
                  </a:lnTo>
                  <a:lnTo>
                    <a:pt x="220" y="1215"/>
                  </a:lnTo>
                  <a:lnTo>
                    <a:pt x="236" y="1217"/>
                  </a:lnTo>
                  <a:lnTo>
                    <a:pt x="265" y="1190"/>
                  </a:lnTo>
                  <a:lnTo>
                    <a:pt x="288" y="1187"/>
                  </a:lnTo>
                  <a:lnTo>
                    <a:pt x="299" y="1170"/>
                  </a:lnTo>
                  <a:lnTo>
                    <a:pt x="316" y="1158"/>
                  </a:lnTo>
                  <a:lnTo>
                    <a:pt x="409" y="1153"/>
                  </a:lnTo>
                  <a:lnTo>
                    <a:pt x="417" y="1161"/>
                  </a:lnTo>
                  <a:lnTo>
                    <a:pt x="485" y="1153"/>
                  </a:lnTo>
                  <a:lnTo>
                    <a:pt x="505" y="1110"/>
                  </a:lnTo>
                  <a:lnTo>
                    <a:pt x="596" y="1067"/>
                  </a:lnTo>
                  <a:lnTo>
                    <a:pt x="638" y="1070"/>
                  </a:lnTo>
                  <a:lnTo>
                    <a:pt x="690" y="1060"/>
                  </a:lnTo>
                  <a:lnTo>
                    <a:pt x="740" y="1033"/>
                  </a:lnTo>
                  <a:lnTo>
                    <a:pt x="819" y="1029"/>
                  </a:lnTo>
                  <a:lnTo>
                    <a:pt x="856" y="1034"/>
                  </a:lnTo>
                  <a:lnTo>
                    <a:pt x="885" y="1059"/>
                  </a:lnTo>
                  <a:lnTo>
                    <a:pt x="898" y="1053"/>
                  </a:lnTo>
                  <a:lnTo>
                    <a:pt x="933" y="1068"/>
                  </a:lnTo>
                  <a:lnTo>
                    <a:pt x="932" y="1062"/>
                  </a:lnTo>
                  <a:lnTo>
                    <a:pt x="955" y="1082"/>
                  </a:lnTo>
                  <a:lnTo>
                    <a:pt x="972" y="1085"/>
                  </a:lnTo>
                  <a:lnTo>
                    <a:pt x="966" y="1105"/>
                  </a:lnTo>
                  <a:lnTo>
                    <a:pt x="979" y="1119"/>
                  </a:lnTo>
                  <a:lnTo>
                    <a:pt x="995" y="1121"/>
                  </a:lnTo>
                  <a:lnTo>
                    <a:pt x="1025" y="1180"/>
                  </a:lnTo>
                  <a:lnTo>
                    <a:pt x="1026" y="1200"/>
                  </a:lnTo>
                  <a:lnTo>
                    <a:pt x="1013" y="1190"/>
                  </a:lnTo>
                  <a:lnTo>
                    <a:pt x="1013" y="1198"/>
                  </a:lnTo>
                  <a:lnTo>
                    <a:pt x="1052" y="1223"/>
                  </a:lnTo>
                  <a:lnTo>
                    <a:pt x="1052" y="1207"/>
                  </a:lnTo>
                  <a:lnTo>
                    <a:pt x="1047" y="1209"/>
                  </a:lnTo>
                  <a:lnTo>
                    <a:pt x="1051" y="1198"/>
                  </a:lnTo>
                  <a:lnTo>
                    <a:pt x="1068" y="1181"/>
                  </a:lnTo>
                  <a:lnTo>
                    <a:pt x="1072" y="1169"/>
                  </a:lnTo>
                  <a:lnTo>
                    <a:pt x="1096" y="1152"/>
                  </a:lnTo>
                  <a:lnTo>
                    <a:pt x="1108" y="1150"/>
                  </a:lnTo>
                  <a:lnTo>
                    <a:pt x="1123" y="1119"/>
                  </a:lnTo>
                  <a:lnTo>
                    <a:pt x="1133" y="1107"/>
                  </a:lnTo>
                  <a:lnTo>
                    <a:pt x="1136" y="1084"/>
                  </a:lnTo>
                  <a:lnTo>
                    <a:pt x="1147" y="1119"/>
                  </a:lnTo>
                  <a:lnTo>
                    <a:pt x="1142" y="1118"/>
                  </a:lnTo>
                  <a:lnTo>
                    <a:pt x="1142" y="1139"/>
                  </a:lnTo>
                  <a:lnTo>
                    <a:pt x="1122" y="1173"/>
                  </a:lnTo>
                  <a:lnTo>
                    <a:pt x="1120" y="1212"/>
                  </a:lnTo>
                  <a:lnTo>
                    <a:pt x="1097" y="1217"/>
                  </a:lnTo>
                  <a:lnTo>
                    <a:pt x="1094" y="1232"/>
                  </a:lnTo>
                  <a:lnTo>
                    <a:pt x="1100" y="1238"/>
                  </a:lnTo>
                  <a:lnTo>
                    <a:pt x="1136" y="1229"/>
                  </a:lnTo>
                  <a:lnTo>
                    <a:pt x="1140" y="1197"/>
                  </a:lnTo>
                  <a:lnTo>
                    <a:pt x="1150" y="1177"/>
                  </a:lnTo>
                  <a:lnTo>
                    <a:pt x="1169" y="1207"/>
                  </a:lnTo>
                  <a:lnTo>
                    <a:pt x="1167" y="1234"/>
                  </a:lnTo>
                  <a:lnTo>
                    <a:pt x="1154" y="1257"/>
                  </a:lnTo>
                  <a:lnTo>
                    <a:pt x="1169" y="1258"/>
                  </a:lnTo>
                  <a:lnTo>
                    <a:pt x="1208" y="1245"/>
                  </a:lnTo>
                  <a:lnTo>
                    <a:pt x="1202" y="1260"/>
                  </a:lnTo>
                  <a:lnTo>
                    <a:pt x="1221" y="1287"/>
                  </a:lnTo>
                  <a:lnTo>
                    <a:pt x="1230" y="1311"/>
                  </a:lnTo>
                  <a:lnTo>
                    <a:pt x="1227" y="1334"/>
                  </a:lnTo>
                  <a:lnTo>
                    <a:pt x="1236" y="1359"/>
                  </a:lnTo>
                  <a:lnTo>
                    <a:pt x="1258" y="1387"/>
                  </a:lnTo>
                  <a:lnTo>
                    <a:pt x="1286" y="1395"/>
                  </a:lnTo>
                  <a:lnTo>
                    <a:pt x="1308" y="1413"/>
                  </a:lnTo>
                  <a:lnTo>
                    <a:pt x="1323" y="1407"/>
                  </a:lnTo>
                  <a:lnTo>
                    <a:pt x="1352" y="1413"/>
                  </a:lnTo>
                  <a:lnTo>
                    <a:pt x="1396" y="1441"/>
                  </a:lnTo>
                  <a:lnTo>
                    <a:pt x="1422" y="1429"/>
                  </a:lnTo>
                  <a:lnTo>
                    <a:pt x="1438" y="1410"/>
                  </a:lnTo>
                  <a:lnTo>
                    <a:pt x="1455" y="1405"/>
                  </a:lnTo>
                  <a:lnTo>
                    <a:pt x="1442" y="1395"/>
                  </a:lnTo>
                  <a:lnTo>
                    <a:pt x="1464" y="1385"/>
                  </a:lnTo>
                  <a:lnTo>
                    <a:pt x="1472" y="1388"/>
                  </a:lnTo>
                  <a:lnTo>
                    <a:pt x="1472" y="1398"/>
                  </a:lnTo>
                  <a:lnTo>
                    <a:pt x="1470" y="1409"/>
                  </a:lnTo>
                  <a:lnTo>
                    <a:pt x="1461" y="1409"/>
                  </a:lnTo>
                  <a:lnTo>
                    <a:pt x="1464" y="1413"/>
                  </a:lnTo>
                  <a:lnTo>
                    <a:pt x="1472" y="1418"/>
                  </a:lnTo>
                  <a:lnTo>
                    <a:pt x="1490" y="1405"/>
                  </a:lnTo>
                  <a:lnTo>
                    <a:pt x="1496" y="1410"/>
                  </a:lnTo>
                  <a:lnTo>
                    <a:pt x="1494" y="1426"/>
                  </a:lnTo>
                  <a:lnTo>
                    <a:pt x="1524" y="1443"/>
                  </a:lnTo>
                  <a:lnTo>
                    <a:pt x="1536" y="1458"/>
                  </a:lnTo>
                  <a:lnTo>
                    <a:pt x="1544" y="1436"/>
                  </a:lnTo>
                  <a:lnTo>
                    <a:pt x="1532" y="1444"/>
                  </a:lnTo>
                  <a:lnTo>
                    <a:pt x="1530" y="1434"/>
                  </a:lnTo>
                  <a:lnTo>
                    <a:pt x="1553" y="1432"/>
                  </a:lnTo>
                  <a:lnTo>
                    <a:pt x="1595" y="1395"/>
                  </a:lnTo>
                  <a:lnTo>
                    <a:pt x="1616" y="1385"/>
                  </a:lnTo>
                  <a:lnTo>
                    <a:pt x="1672" y="1382"/>
                  </a:lnTo>
                  <a:lnTo>
                    <a:pt x="1687" y="1376"/>
                  </a:lnTo>
                  <a:lnTo>
                    <a:pt x="1688" y="1365"/>
                  </a:lnTo>
                  <a:lnTo>
                    <a:pt x="1699" y="1368"/>
                  </a:lnTo>
                  <a:lnTo>
                    <a:pt x="1701" y="1362"/>
                  </a:lnTo>
                  <a:lnTo>
                    <a:pt x="1699" y="1334"/>
                  </a:lnTo>
                  <a:lnTo>
                    <a:pt x="1710" y="1299"/>
                  </a:lnTo>
                  <a:lnTo>
                    <a:pt x="1711" y="1266"/>
                  </a:lnTo>
                  <a:lnTo>
                    <a:pt x="1730" y="1229"/>
                  </a:lnTo>
                  <a:lnTo>
                    <a:pt x="1736" y="1234"/>
                  </a:lnTo>
                  <a:lnTo>
                    <a:pt x="1748" y="1187"/>
                  </a:lnTo>
                  <a:lnTo>
                    <a:pt x="1764" y="1160"/>
                  </a:lnTo>
                  <a:lnTo>
                    <a:pt x="1758" y="1143"/>
                  </a:lnTo>
                  <a:lnTo>
                    <a:pt x="1773" y="1133"/>
                  </a:lnTo>
                  <a:lnTo>
                    <a:pt x="1785" y="1105"/>
                  </a:lnTo>
                  <a:lnTo>
                    <a:pt x="1801" y="1099"/>
                  </a:lnTo>
                  <a:lnTo>
                    <a:pt x="1798" y="1094"/>
                  </a:lnTo>
                  <a:lnTo>
                    <a:pt x="1816" y="1080"/>
                  </a:lnTo>
                  <a:lnTo>
                    <a:pt x="1815" y="1070"/>
                  </a:lnTo>
                  <a:lnTo>
                    <a:pt x="1826" y="1053"/>
                  </a:lnTo>
                  <a:lnTo>
                    <a:pt x="1838" y="1019"/>
                  </a:lnTo>
                  <a:lnTo>
                    <a:pt x="1841" y="979"/>
                  </a:lnTo>
                  <a:lnTo>
                    <a:pt x="1849" y="960"/>
                  </a:lnTo>
                  <a:lnTo>
                    <a:pt x="1865" y="884"/>
                  </a:lnTo>
                  <a:lnTo>
                    <a:pt x="1863" y="861"/>
                  </a:lnTo>
                  <a:lnTo>
                    <a:pt x="1843" y="801"/>
                  </a:lnTo>
                  <a:lnTo>
                    <a:pt x="1844" y="794"/>
                  </a:lnTo>
                  <a:lnTo>
                    <a:pt x="1848" y="797"/>
                  </a:lnTo>
                  <a:lnTo>
                    <a:pt x="1841" y="757"/>
                  </a:lnTo>
                  <a:lnTo>
                    <a:pt x="1841" y="731"/>
                  </a:lnTo>
                  <a:lnTo>
                    <a:pt x="1840" y="737"/>
                  </a:lnTo>
                  <a:lnTo>
                    <a:pt x="1836" y="734"/>
                  </a:lnTo>
                  <a:lnTo>
                    <a:pt x="1827" y="703"/>
                  </a:lnTo>
                  <a:lnTo>
                    <a:pt x="1818" y="698"/>
                  </a:lnTo>
                  <a:lnTo>
                    <a:pt x="1819" y="692"/>
                  </a:lnTo>
                  <a:lnTo>
                    <a:pt x="1809" y="675"/>
                  </a:lnTo>
                  <a:lnTo>
                    <a:pt x="1793" y="666"/>
                  </a:lnTo>
                  <a:lnTo>
                    <a:pt x="1781" y="644"/>
                  </a:lnTo>
                  <a:lnTo>
                    <a:pt x="1765" y="640"/>
                  </a:lnTo>
                  <a:lnTo>
                    <a:pt x="1739" y="616"/>
                  </a:lnTo>
                  <a:lnTo>
                    <a:pt x="1731" y="559"/>
                  </a:lnTo>
                  <a:lnTo>
                    <a:pt x="1728" y="556"/>
                  </a:lnTo>
                  <a:lnTo>
                    <a:pt x="1724" y="569"/>
                  </a:lnTo>
                  <a:lnTo>
                    <a:pt x="1704" y="554"/>
                  </a:lnTo>
                  <a:lnTo>
                    <a:pt x="1702" y="547"/>
                  </a:lnTo>
                  <a:lnTo>
                    <a:pt x="1697" y="550"/>
                  </a:lnTo>
                  <a:lnTo>
                    <a:pt x="1697" y="562"/>
                  </a:lnTo>
                  <a:lnTo>
                    <a:pt x="1685" y="564"/>
                  </a:lnTo>
                  <a:lnTo>
                    <a:pt x="1677" y="542"/>
                  </a:lnTo>
                  <a:lnTo>
                    <a:pt x="1676" y="514"/>
                  </a:lnTo>
                  <a:lnTo>
                    <a:pt x="1668" y="513"/>
                  </a:lnTo>
                  <a:lnTo>
                    <a:pt x="1655" y="483"/>
                  </a:lnTo>
                  <a:lnTo>
                    <a:pt x="1643" y="476"/>
                  </a:lnTo>
                  <a:lnTo>
                    <a:pt x="1643" y="468"/>
                  </a:lnTo>
                  <a:lnTo>
                    <a:pt x="1650" y="468"/>
                  </a:lnTo>
                  <a:lnTo>
                    <a:pt x="1646" y="459"/>
                  </a:lnTo>
                  <a:lnTo>
                    <a:pt x="1629" y="446"/>
                  </a:lnTo>
                  <a:lnTo>
                    <a:pt x="1625" y="449"/>
                  </a:lnTo>
                  <a:lnTo>
                    <a:pt x="1614" y="437"/>
                  </a:lnTo>
                  <a:lnTo>
                    <a:pt x="1601" y="431"/>
                  </a:lnTo>
                  <a:lnTo>
                    <a:pt x="1592" y="434"/>
                  </a:lnTo>
                  <a:lnTo>
                    <a:pt x="1583" y="409"/>
                  </a:lnTo>
                  <a:lnTo>
                    <a:pt x="1574" y="412"/>
                  </a:lnTo>
                  <a:lnTo>
                    <a:pt x="1557" y="409"/>
                  </a:lnTo>
                  <a:lnTo>
                    <a:pt x="1535" y="397"/>
                  </a:lnTo>
                  <a:lnTo>
                    <a:pt x="1532" y="375"/>
                  </a:lnTo>
                  <a:lnTo>
                    <a:pt x="1530" y="378"/>
                  </a:lnTo>
                  <a:lnTo>
                    <a:pt x="1530" y="375"/>
                  </a:lnTo>
                  <a:lnTo>
                    <a:pt x="1521" y="367"/>
                  </a:lnTo>
                  <a:lnTo>
                    <a:pt x="1519" y="330"/>
                  </a:lnTo>
                  <a:lnTo>
                    <a:pt x="1509" y="293"/>
                  </a:lnTo>
                  <a:lnTo>
                    <a:pt x="1502" y="293"/>
                  </a:lnTo>
                  <a:lnTo>
                    <a:pt x="1493" y="279"/>
                  </a:lnTo>
                  <a:lnTo>
                    <a:pt x="1482" y="232"/>
                  </a:lnTo>
                  <a:lnTo>
                    <a:pt x="1484" y="203"/>
                  </a:lnTo>
                  <a:lnTo>
                    <a:pt x="1455" y="181"/>
                  </a:lnTo>
                  <a:lnTo>
                    <a:pt x="1448" y="168"/>
                  </a:lnTo>
                  <a:lnTo>
                    <a:pt x="1442" y="166"/>
                  </a:lnTo>
                  <a:lnTo>
                    <a:pt x="1423" y="178"/>
                  </a:lnTo>
                  <a:lnTo>
                    <a:pt x="1410" y="168"/>
                  </a:lnTo>
                  <a:lnTo>
                    <a:pt x="1393" y="92"/>
                  </a:lnTo>
                  <a:lnTo>
                    <a:pt x="1379" y="75"/>
                  </a:lnTo>
                  <a:lnTo>
                    <a:pt x="1379" y="58"/>
                  </a:lnTo>
                  <a:lnTo>
                    <a:pt x="1369" y="58"/>
                  </a:lnTo>
                  <a:lnTo>
                    <a:pt x="1368" y="50"/>
                  </a:lnTo>
                  <a:lnTo>
                    <a:pt x="1365" y="16"/>
                  </a:lnTo>
                  <a:lnTo>
                    <a:pt x="1363" y="2"/>
                  </a:lnTo>
                  <a:lnTo>
                    <a:pt x="1360" y="0"/>
                  </a:lnTo>
                  <a:lnTo>
                    <a:pt x="1342" y="14"/>
                  </a:lnTo>
                  <a:lnTo>
                    <a:pt x="1342" y="25"/>
                  </a:lnTo>
                  <a:lnTo>
                    <a:pt x="1332" y="39"/>
                  </a:lnTo>
                  <a:lnTo>
                    <a:pt x="1325" y="61"/>
                  </a:lnTo>
                  <a:lnTo>
                    <a:pt x="1315" y="64"/>
                  </a:lnTo>
                  <a:lnTo>
                    <a:pt x="1311" y="80"/>
                  </a:lnTo>
                  <a:lnTo>
                    <a:pt x="1311" y="90"/>
                  </a:lnTo>
                  <a:lnTo>
                    <a:pt x="1318" y="92"/>
                  </a:lnTo>
                  <a:lnTo>
                    <a:pt x="1312" y="123"/>
                  </a:lnTo>
                  <a:lnTo>
                    <a:pt x="1306" y="140"/>
                  </a:lnTo>
                  <a:lnTo>
                    <a:pt x="1306" y="180"/>
                  </a:lnTo>
                  <a:lnTo>
                    <a:pt x="1312" y="206"/>
                  </a:lnTo>
                  <a:lnTo>
                    <a:pt x="1292" y="279"/>
                  </a:lnTo>
                  <a:lnTo>
                    <a:pt x="1275" y="324"/>
                  </a:lnTo>
                  <a:lnTo>
                    <a:pt x="1241" y="335"/>
                  </a:lnTo>
                  <a:lnTo>
                    <a:pt x="1202" y="312"/>
                  </a:lnTo>
                  <a:lnTo>
                    <a:pt x="1187" y="291"/>
                  </a:lnTo>
                  <a:lnTo>
                    <a:pt x="1152" y="281"/>
                  </a:lnTo>
                  <a:lnTo>
                    <a:pt x="1110" y="249"/>
                  </a:lnTo>
                  <a:lnTo>
                    <a:pt x="1080" y="244"/>
                  </a:lnTo>
                  <a:lnTo>
                    <a:pt x="1072" y="251"/>
                  </a:lnTo>
                  <a:lnTo>
                    <a:pt x="1068" y="222"/>
                  </a:lnTo>
                  <a:lnTo>
                    <a:pt x="1047" y="212"/>
                  </a:lnTo>
                  <a:lnTo>
                    <a:pt x="1042" y="212"/>
                  </a:lnTo>
                  <a:lnTo>
                    <a:pt x="1034" y="203"/>
                  </a:lnTo>
                  <a:lnTo>
                    <a:pt x="1054" y="143"/>
                  </a:lnTo>
                  <a:lnTo>
                    <a:pt x="1046" y="144"/>
                  </a:lnTo>
                  <a:lnTo>
                    <a:pt x="1051" y="123"/>
                  </a:lnTo>
                  <a:lnTo>
                    <a:pt x="1060" y="131"/>
                  </a:lnTo>
                  <a:lnTo>
                    <a:pt x="1057" y="121"/>
                  </a:lnTo>
                  <a:lnTo>
                    <a:pt x="1062" y="115"/>
                  </a:lnTo>
                  <a:lnTo>
                    <a:pt x="1064" y="121"/>
                  </a:lnTo>
                  <a:lnTo>
                    <a:pt x="1074" y="118"/>
                  </a:lnTo>
                  <a:lnTo>
                    <a:pt x="1079" y="110"/>
                  </a:lnTo>
                  <a:lnTo>
                    <a:pt x="1074" y="101"/>
                  </a:lnTo>
                  <a:lnTo>
                    <a:pt x="1083" y="98"/>
                  </a:lnTo>
                  <a:lnTo>
                    <a:pt x="1093" y="78"/>
                  </a:lnTo>
                  <a:lnTo>
                    <a:pt x="1089" y="73"/>
                  </a:lnTo>
                  <a:lnTo>
                    <a:pt x="1077" y="78"/>
                  </a:lnTo>
                  <a:lnTo>
                    <a:pt x="1071" y="59"/>
                  </a:lnTo>
                  <a:lnTo>
                    <a:pt x="1062" y="67"/>
                  </a:lnTo>
                  <a:lnTo>
                    <a:pt x="1059" y="85"/>
                  </a:lnTo>
                  <a:lnTo>
                    <a:pt x="1051" y="89"/>
                  </a:lnTo>
                  <a:lnTo>
                    <a:pt x="1051" y="70"/>
                  </a:lnTo>
                  <a:lnTo>
                    <a:pt x="1046" y="73"/>
                  </a:lnTo>
                  <a:lnTo>
                    <a:pt x="1042" y="70"/>
                  </a:lnTo>
                  <a:lnTo>
                    <a:pt x="1047" y="61"/>
                  </a:lnTo>
                  <a:lnTo>
                    <a:pt x="1026" y="64"/>
                  </a:lnTo>
                  <a:lnTo>
                    <a:pt x="1013" y="76"/>
                  </a:lnTo>
                  <a:lnTo>
                    <a:pt x="991" y="63"/>
                  </a:lnTo>
                  <a:lnTo>
                    <a:pt x="967" y="64"/>
                  </a:lnTo>
                  <a:lnTo>
                    <a:pt x="947" y="56"/>
                  </a:lnTo>
                  <a:lnTo>
                    <a:pt x="947" y="51"/>
                  </a:lnTo>
                  <a:lnTo>
                    <a:pt x="939" y="56"/>
                  </a:lnTo>
                  <a:lnTo>
                    <a:pt x="916" y="50"/>
                  </a:lnTo>
                  <a:lnTo>
                    <a:pt x="904" y="36"/>
                  </a:lnTo>
                  <a:lnTo>
                    <a:pt x="898" y="42"/>
                  </a:lnTo>
                  <a:lnTo>
                    <a:pt x="878" y="25"/>
                  </a:lnTo>
                  <a:lnTo>
                    <a:pt x="871" y="39"/>
                  </a:lnTo>
                  <a:lnTo>
                    <a:pt x="865" y="24"/>
                  </a:lnTo>
                  <a:lnTo>
                    <a:pt x="862" y="29"/>
                  </a:lnTo>
                  <a:lnTo>
                    <a:pt x="856" y="29"/>
                  </a:lnTo>
                  <a:lnTo>
                    <a:pt x="862" y="33"/>
                  </a:lnTo>
                  <a:lnTo>
                    <a:pt x="873" y="42"/>
                  </a:lnTo>
                  <a:lnTo>
                    <a:pt x="888" y="41"/>
                  </a:lnTo>
                  <a:lnTo>
                    <a:pt x="893" y="46"/>
                  </a:lnTo>
                  <a:lnTo>
                    <a:pt x="893" y="67"/>
                  </a:lnTo>
                  <a:lnTo>
                    <a:pt x="870" y="76"/>
                  </a:lnTo>
                  <a:lnTo>
                    <a:pt x="834" y="75"/>
                  </a:lnTo>
                  <a:lnTo>
                    <a:pt x="834" y="78"/>
                  </a:lnTo>
                  <a:lnTo>
                    <a:pt x="822" y="75"/>
                  </a:lnTo>
                  <a:lnTo>
                    <a:pt x="815" y="83"/>
                  </a:lnTo>
                  <a:lnTo>
                    <a:pt x="819" y="97"/>
                  </a:lnTo>
                  <a:lnTo>
                    <a:pt x="803" y="87"/>
                  </a:lnTo>
                  <a:lnTo>
                    <a:pt x="802" y="93"/>
                  </a:lnTo>
                  <a:lnTo>
                    <a:pt x="786" y="98"/>
                  </a:lnTo>
                  <a:lnTo>
                    <a:pt x="781" y="121"/>
                  </a:lnTo>
                  <a:lnTo>
                    <a:pt x="788" y="118"/>
                  </a:lnTo>
                  <a:lnTo>
                    <a:pt x="788" y="129"/>
                  </a:lnTo>
                  <a:lnTo>
                    <a:pt x="783" y="135"/>
                  </a:lnTo>
                  <a:lnTo>
                    <a:pt x="769" y="134"/>
                  </a:lnTo>
                  <a:lnTo>
                    <a:pt x="755" y="160"/>
                  </a:lnTo>
                  <a:lnTo>
                    <a:pt x="749" y="160"/>
                  </a:lnTo>
                  <a:lnTo>
                    <a:pt x="746" y="173"/>
                  </a:lnTo>
                  <a:lnTo>
                    <a:pt x="763" y="195"/>
                  </a:lnTo>
                  <a:lnTo>
                    <a:pt x="755" y="200"/>
                  </a:lnTo>
                  <a:lnTo>
                    <a:pt x="760" y="214"/>
                  </a:lnTo>
                  <a:lnTo>
                    <a:pt x="734" y="195"/>
                  </a:lnTo>
                  <a:lnTo>
                    <a:pt x="707" y="195"/>
                  </a:lnTo>
                  <a:lnTo>
                    <a:pt x="703" y="202"/>
                  </a:lnTo>
                  <a:lnTo>
                    <a:pt x="690" y="205"/>
                  </a:lnTo>
                  <a:lnTo>
                    <a:pt x="678" y="232"/>
                  </a:lnTo>
                  <a:lnTo>
                    <a:pt x="683" y="222"/>
                  </a:lnTo>
                  <a:lnTo>
                    <a:pt x="687" y="189"/>
                  </a:lnTo>
                  <a:lnTo>
                    <a:pt x="662" y="163"/>
                  </a:lnTo>
                  <a:lnTo>
                    <a:pt x="630" y="148"/>
                  </a:lnTo>
                  <a:lnTo>
                    <a:pt x="624" y="148"/>
                  </a:lnTo>
                  <a:lnTo>
                    <a:pt x="622" y="158"/>
                  </a:lnTo>
                  <a:lnTo>
                    <a:pt x="607" y="163"/>
                  </a:lnTo>
                  <a:lnTo>
                    <a:pt x="605" y="158"/>
                  </a:lnTo>
                  <a:lnTo>
                    <a:pt x="596" y="166"/>
                  </a:lnTo>
                  <a:lnTo>
                    <a:pt x="590" y="154"/>
                  </a:lnTo>
                  <a:lnTo>
                    <a:pt x="588" y="160"/>
                  </a:lnTo>
                  <a:lnTo>
                    <a:pt x="593" y="171"/>
                  </a:lnTo>
                  <a:lnTo>
                    <a:pt x="588" y="180"/>
                  </a:lnTo>
                  <a:lnTo>
                    <a:pt x="578" y="188"/>
                  </a:lnTo>
                  <a:lnTo>
                    <a:pt x="576" y="181"/>
                  </a:lnTo>
                  <a:lnTo>
                    <a:pt x="553" y="186"/>
                  </a:lnTo>
                  <a:lnTo>
                    <a:pt x="557" y="211"/>
                  </a:lnTo>
                  <a:lnTo>
                    <a:pt x="544" y="205"/>
                  </a:lnTo>
                  <a:lnTo>
                    <a:pt x="539" y="214"/>
                  </a:lnTo>
                  <a:lnTo>
                    <a:pt x="544" y="223"/>
                  </a:lnTo>
                  <a:lnTo>
                    <a:pt x="532" y="220"/>
                  </a:lnTo>
                  <a:lnTo>
                    <a:pt x="522" y="227"/>
                  </a:lnTo>
                  <a:lnTo>
                    <a:pt x="525" y="242"/>
                  </a:lnTo>
                  <a:lnTo>
                    <a:pt x="515" y="256"/>
                  </a:lnTo>
                  <a:lnTo>
                    <a:pt x="514" y="266"/>
                  </a:lnTo>
                  <a:lnTo>
                    <a:pt x="520" y="270"/>
                  </a:lnTo>
                  <a:lnTo>
                    <a:pt x="519" y="276"/>
                  </a:lnTo>
                  <a:lnTo>
                    <a:pt x="505" y="273"/>
                  </a:lnTo>
                  <a:lnTo>
                    <a:pt x="495" y="259"/>
                  </a:lnTo>
                  <a:lnTo>
                    <a:pt x="480" y="257"/>
                  </a:lnTo>
                  <a:lnTo>
                    <a:pt x="475" y="261"/>
                  </a:lnTo>
                  <a:lnTo>
                    <a:pt x="475" y="278"/>
                  </a:lnTo>
                  <a:lnTo>
                    <a:pt x="485" y="291"/>
                  </a:lnTo>
                  <a:lnTo>
                    <a:pt x="486" y="302"/>
                  </a:lnTo>
                  <a:lnTo>
                    <a:pt x="478" y="304"/>
                  </a:lnTo>
                  <a:lnTo>
                    <a:pt x="475" y="325"/>
                  </a:lnTo>
                  <a:lnTo>
                    <a:pt x="446" y="271"/>
                  </a:lnTo>
                  <a:lnTo>
                    <a:pt x="441" y="285"/>
                  </a:lnTo>
                  <a:lnTo>
                    <a:pt x="418" y="299"/>
                  </a:lnTo>
                  <a:lnTo>
                    <a:pt x="412" y="321"/>
                  </a:lnTo>
                  <a:lnTo>
                    <a:pt x="421" y="347"/>
                  </a:lnTo>
                  <a:lnTo>
                    <a:pt x="400" y="369"/>
                  </a:lnTo>
                  <a:lnTo>
                    <a:pt x="395" y="369"/>
                  </a:lnTo>
                  <a:lnTo>
                    <a:pt x="383" y="401"/>
                  </a:lnTo>
                  <a:lnTo>
                    <a:pt x="356" y="423"/>
                  </a:lnTo>
                  <a:lnTo>
                    <a:pt x="290" y="443"/>
                  </a:lnTo>
                  <a:lnTo>
                    <a:pt x="271" y="440"/>
                  </a:lnTo>
                  <a:lnTo>
                    <a:pt x="253" y="455"/>
                  </a:lnTo>
                  <a:lnTo>
                    <a:pt x="228" y="460"/>
                  </a:lnTo>
                  <a:lnTo>
                    <a:pt x="202" y="474"/>
                  </a:lnTo>
                  <a:lnTo>
                    <a:pt x="161" y="471"/>
                  </a:lnTo>
                  <a:lnTo>
                    <a:pt x="122" y="493"/>
                  </a:lnTo>
                  <a:lnTo>
                    <a:pt x="102" y="519"/>
                  </a:lnTo>
                  <a:lnTo>
                    <a:pt x="85" y="522"/>
                  </a:lnTo>
                  <a:lnTo>
                    <a:pt x="61" y="536"/>
                  </a:lnTo>
                  <a:lnTo>
                    <a:pt x="42" y="565"/>
                  </a:lnTo>
                  <a:lnTo>
                    <a:pt x="38" y="564"/>
                  </a:lnTo>
                  <a:lnTo>
                    <a:pt x="38" y="553"/>
                  </a:lnTo>
                  <a:lnTo>
                    <a:pt x="41" y="528"/>
                  </a:lnTo>
                  <a:lnTo>
                    <a:pt x="36" y="533"/>
                  </a:lnTo>
                  <a:lnTo>
                    <a:pt x="22" y="556"/>
                  </a:lnTo>
                  <a:lnTo>
                    <a:pt x="19" y="574"/>
                  </a:lnTo>
                  <a:lnTo>
                    <a:pt x="24" y="586"/>
                  </a:lnTo>
                  <a:lnTo>
                    <a:pt x="24" y="610"/>
                  </a:lnTo>
                  <a:lnTo>
                    <a:pt x="7" y="637"/>
                  </a:lnTo>
                  <a:lnTo>
                    <a:pt x="7" y="663"/>
                  </a:lnTo>
                  <a:lnTo>
                    <a:pt x="33" y="709"/>
                  </a:lnTo>
                  <a:lnTo>
                    <a:pt x="31" y="717"/>
                  </a:lnTo>
                  <a:lnTo>
                    <a:pt x="45" y="730"/>
                  </a:lnTo>
                  <a:lnTo>
                    <a:pt x="47" y="745"/>
                  </a:lnTo>
                  <a:lnTo>
                    <a:pt x="39" y="762"/>
                  </a:lnTo>
                  <a:lnTo>
                    <a:pt x="33" y="760"/>
                  </a:lnTo>
                  <a:lnTo>
                    <a:pt x="30" y="743"/>
                  </a:lnTo>
                  <a:lnTo>
                    <a:pt x="24" y="748"/>
                  </a:lnTo>
                  <a:lnTo>
                    <a:pt x="11" y="720"/>
                  </a:lnTo>
                  <a:lnTo>
                    <a:pt x="11" y="722"/>
                  </a:lnTo>
                  <a:lnTo>
                    <a:pt x="30" y="767"/>
                  </a:lnTo>
                  <a:lnTo>
                    <a:pt x="19" y="772"/>
                  </a:lnTo>
                  <a:lnTo>
                    <a:pt x="17" y="767"/>
                  </a:lnTo>
                  <a:lnTo>
                    <a:pt x="14" y="768"/>
                  </a:lnTo>
                  <a:lnTo>
                    <a:pt x="11" y="754"/>
                  </a:lnTo>
                  <a:lnTo>
                    <a:pt x="0" y="748"/>
                  </a:lnTo>
                  <a:lnTo>
                    <a:pt x="0" y="752"/>
                  </a:lnTo>
                  <a:lnTo>
                    <a:pt x="17" y="779"/>
                  </a:lnTo>
                  <a:lnTo>
                    <a:pt x="34" y="794"/>
                  </a:lnTo>
                  <a:lnTo>
                    <a:pt x="45" y="825"/>
                  </a:lnTo>
                  <a:lnTo>
                    <a:pt x="47" y="844"/>
                  </a:lnTo>
                  <a:lnTo>
                    <a:pt x="81" y="907"/>
                  </a:lnTo>
                  <a:lnTo>
                    <a:pt x="87" y="966"/>
                  </a:lnTo>
                  <a:lnTo>
                    <a:pt x="119" y="1037"/>
                  </a:lnTo>
                  <a:lnTo>
                    <a:pt x="119" y="1082"/>
                  </a:lnTo>
                  <a:lnTo>
                    <a:pt x="115" y="1097"/>
                  </a:lnTo>
                  <a:lnTo>
                    <a:pt x="119" y="1116"/>
                  </a:lnTo>
                  <a:lnTo>
                    <a:pt x="106" y="1141"/>
                  </a:lnTo>
                  <a:lnTo>
                    <a:pt x="89" y="1139"/>
                  </a:lnTo>
                  <a:close/>
                  <a:moveTo>
                    <a:pt x="1843" y="680"/>
                  </a:moveTo>
                  <a:lnTo>
                    <a:pt x="1852" y="689"/>
                  </a:lnTo>
                  <a:lnTo>
                    <a:pt x="1852" y="701"/>
                  </a:lnTo>
                  <a:lnTo>
                    <a:pt x="1840" y="725"/>
                  </a:lnTo>
                  <a:lnTo>
                    <a:pt x="1838" y="701"/>
                  </a:lnTo>
                  <a:lnTo>
                    <a:pt x="1846" y="686"/>
                  </a:lnTo>
                  <a:lnTo>
                    <a:pt x="1843" y="680"/>
                  </a:lnTo>
                  <a:close/>
                  <a:moveTo>
                    <a:pt x="1860" y="810"/>
                  </a:moveTo>
                  <a:lnTo>
                    <a:pt x="1863" y="813"/>
                  </a:lnTo>
                  <a:lnTo>
                    <a:pt x="1860" y="825"/>
                  </a:lnTo>
                  <a:lnTo>
                    <a:pt x="1860" y="810"/>
                  </a:lnTo>
                  <a:close/>
                  <a:moveTo>
                    <a:pt x="1074" y="39"/>
                  </a:moveTo>
                  <a:lnTo>
                    <a:pt x="1074" y="27"/>
                  </a:lnTo>
                  <a:lnTo>
                    <a:pt x="1083" y="19"/>
                  </a:lnTo>
                  <a:lnTo>
                    <a:pt x="1074" y="39"/>
                  </a:lnTo>
                  <a:close/>
                  <a:moveTo>
                    <a:pt x="789" y="25"/>
                  </a:moveTo>
                  <a:lnTo>
                    <a:pt x="806" y="36"/>
                  </a:lnTo>
                  <a:lnTo>
                    <a:pt x="822" y="34"/>
                  </a:lnTo>
                  <a:lnTo>
                    <a:pt x="832" y="25"/>
                  </a:lnTo>
                  <a:lnTo>
                    <a:pt x="840" y="33"/>
                  </a:lnTo>
                  <a:lnTo>
                    <a:pt x="842" y="41"/>
                  </a:lnTo>
                  <a:lnTo>
                    <a:pt x="836" y="50"/>
                  </a:lnTo>
                  <a:lnTo>
                    <a:pt x="817" y="56"/>
                  </a:lnTo>
                  <a:lnTo>
                    <a:pt x="798" y="44"/>
                  </a:lnTo>
                  <a:lnTo>
                    <a:pt x="789" y="25"/>
                  </a:lnTo>
                  <a:close/>
                  <a:moveTo>
                    <a:pt x="780" y="53"/>
                  </a:moveTo>
                  <a:lnTo>
                    <a:pt x="776" y="46"/>
                  </a:lnTo>
                  <a:lnTo>
                    <a:pt x="786" y="34"/>
                  </a:lnTo>
                  <a:lnTo>
                    <a:pt x="798" y="53"/>
                  </a:lnTo>
                  <a:lnTo>
                    <a:pt x="780" y="53"/>
                  </a:lnTo>
                  <a:close/>
                  <a:moveTo>
                    <a:pt x="1219" y="271"/>
                  </a:moveTo>
                  <a:lnTo>
                    <a:pt x="1228" y="276"/>
                  </a:lnTo>
                  <a:lnTo>
                    <a:pt x="1207" y="287"/>
                  </a:lnTo>
                  <a:lnTo>
                    <a:pt x="1202" y="281"/>
                  </a:lnTo>
                  <a:lnTo>
                    <a:pt x="1219" y="271"/>
                  </a:lnTo>
                  <a:close/>
                  <a:moveTo>
                    <a:pt x="1072" y="146"/>
                  </a:moveTo>
                  <a:lnTo>
                    <a:pt x="1077" y="149"/>
                  </a:lnTo>
                  <a:lnTo>
                    <a:pt x="1080" y="143"/>
                  </a:lnTo>
                  <a:lnTo>
                    <a:pt x="1083" y="149"/>
                  </a:lnTo>
                  <a:lnTo>
                    <a:pt x="1089" y="146"/>
                  </a:lnTo>
                  <a:lnTo>
                    <a:pt x="1094" y="166"/>
                  </a:lnTo>
                  <a:lnTo>
                    <a:pt x="1077" y="169"/>
                  </a:lnTo>
                  <a:lnTo>
                    <a:pt x="1072" y="163"/>
                  </a:lnTo>
                  <a:lnTo>
                    <a:pt x="1072" y="146"/>
                  </a:lnTo>
                  <a:close/>
                  <a:moveTo>
                    <a:pt x="1604" y="1498"/>
                  </a:moveTo>
                  <a:lnTo>
                    <a:pt x="1606" y="1495"/>
                  </a:lnTo>
                  <a:lnTo>
                    <a:pt x="1621" y="1506"/>
                  </a:lnTo>
                  <a:lnTo>
                    <a:pt x="1623" y="1523"/>
                  </a:lnTo>
                  <a:lnTo>
                    <a:pt x="1614" y="1528"/>
                  </a:lnTo>
                  <a:lnTo>
                    <a:pt x="1601" y="1502"/>
                  </a:lnTo>
                  <a:lnTo>
                    <a:pt x="1604" y="1498"/>
                  </a:lnTo>
                  <a:close/>
                  <a:moveTo>
                    <a:pt x="1614" y="1536"/>
                  </a:moveTo>
                  <a:lnTo>
                    <a:pt x="1625" y="1529"/>
                  </a:lnTo>
                  <a:lnTo>
                    <a:pt x="1631" y="1537"/>
                  </a:lnTo>
                  <a:lnTo>
                    <a:pt x="1614" y="1536"/>
                  </a:lnTo>
                  <a:close/>
                  <a:moveTo>
                    <a:pt x="1079" y="1266"/>
                  </a:moveTo>
                  <a:lnTo>
                    <a:pt x="1114" y="1253"/>
                  </a:lnTo>
                  <a:lnTo>
                    <a:pt x="1152" y="1271"/>
                  </a:lnTo>
                  <a:lnTo>
                    <a:pt x="1130" y="1271"/>
                  </a:lnTo>
                  <a:lnTo>
                    <a:pt x="1123" y="1282"/>
                  </a:lnTo>
                  <a:lnTo>
                    <a:pt x="1094" y="1279"/>
                  </a:lnTo>
                  <a:lnTo>
                    <a:pt x="1085" y="1279"/>
                  </a:lnTo>
                  <a:lnTo>
                    <a:pt x="1079" y="1266"/>
                  </a:lnTo>
                  <a:close/>
                  <a:moveTo>
                    <a:pt x="1461" y="1551"/>
                  </a:moveTo>
                  <a:lnTo>
                    <a:pt x="1476" y="1559"/>
                  </a:lnTo>
                  <a:lnTo>
                    <a:pt x="1496" y="1562"/>
                  </a:lnTo>
                  <a:lnTo>
                    <a:pt x="1516" y="1576"/>
                  </a:lnTo>
                  <a:lnTo>
                    <a:pt x="1543" y="1582"/>
                  </a:lnTo>
                  <a:lnTo>
                    <a:pt x="1584" y="1570"/>
                  </a:lnTo>
                  <a:lnTo>
                    <a:pt x="1592" y="1559"/>
                  </a:lnTo>
                  <a:lnTo>
                    <a:pt x="1604" y="1565"/>
                  </a:lnTo>
                  <a:lnTo>
                    <a:pt x="1606" y="1556"/>
                  </a:lnTo>
                  <a:lnTo>
                    <a:pt x="1614" y="1559"/>
                  </a:lnTo>
                  <a:lnTo>
                    <a:pt x="1621" y="1568"/>
                  </a:lnTo>
                  <a:lnTo>
                    <a:pt x="1625" y="1587"/>
                  </a:lnTo>
                  <a:lnTo>
                    <a:pt x="1626" y="1653"/>
                  </a:lnTo>
                  <a:lnTo>
                    <a:pt x="1621" y="1630"/>
                  </a:lnTo>
                  <a:lnTo>
                    <a:pt x="1611" y="1649"/>
                  </a:lnTo>
                  <a:lnTo>
                    <a:pt x="1608" y="1679"/>
                  </a:lnTo>
                  <a:lnTo>
                    <a:pt x="1591" y="1679"/>
                  </a:lnTo>
                  <a:lnTo>
                    <a:pt x="1577" y="1710"/>
                  </a:lnTo>
                  <a:lnTo>
                    <a:pt x="1569" y="1703"/>
                  </a:lnTo>
                  <a:lnTo>
                    <a:pt x="1566" y="1707"/>
                  </a:lnTo>
                  <a:lnTo>
                    <a:pt x="1563" y="1724"/>
                  </a:lnTo>
                  <a:lnTo>
                    <a:pt x="1557" y="1730"/>
                  </a:lnTo>
                  <a:lnTo>
                    <a:pt x="1519" y="1726"/>
                  </a:lnTo>
                  <a:lnTo>
                    <a:pt x="1518" y="1720"/>
                  </a:lnTo>
                  <a:lnTo>
                    <a:pt x="1526" y="1712"/>
                  </a:lnTo>
                  <a:lnTo>
                    <a:pt x="1509" y="1709"/>
                  </a:lnTo>
                  <a:lnTo>
                    <a:pt x="1489" y="1676"/>
                  </a:lnTo>
                  <a:lnTo>
                    <a:pt x="1479" y="1641"/>
                  </a:lnTo>
                  <a:lnTo>
                    <a:pt x="1490" y="1659"/>
                  </a:lnTo>
                  <a:lnTo>
                    <a:pt x="1496" y="1649"/>
                  </a:lnTo>
                  <a:lnTo>
                    <a:pt x="1479" y="1627"/>
                  </a:lnTo>
                  <a:lnTo>
                    <a:pt x="1459" y="1583"/>
                  </a:lnTo>
                  <a:lnTo>
                    <a:pt x="1461" y="1551"/>
                  </a:lnTo>
                  <a:close/>
                </a:path>
              </a:pathLst>
            </a:custGeom>
            <a:solidFill>
              <a:schemeClr val="accent1"/>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22" name="Freeform 19">
              <a:extLst>
                <a:ext uri="{FF2B5EF4-FFF2-40B4-BE49-F238E27FC236}">
                  <a16:creationId xmlns:a16="http://schemas.microsoft.com/office/drawing/2014/main" id="{0E938E57-7F7E-D542-BBA8-DE83252DC683}"/>
                </a:ext>
              </a:extLst>
            </p:cNvPr>
            <p:cNvSpPr>
              <a:spLocks noChangeAspect="1" noEditPoints="1"/>
            </p:cNvSpPr>
            <p:nvPr/>
          </p:nvSpPr>
          <p:spPr bwMode="gray">
            <a:xfrm>
              <a:off x="7417139" y="2887254"/>
              <a:ext cx="500021" cy="704591"/>
            </a:xfrm>
            <a:custGeom>
              <a:avLst/>
              <a:gdLst>
                <a:gd name="T0" fmla="*/ 838 w 1023"/>
                <a:gd name="T1" fmla="*/ 330 h 1195"/>
                <a:gd name="T2" fmla="*/ 827 w 1023"/>
                <a:gd name="T3" fmla="*/ 438 h 1195"/>
                <a:gd name="T4" fmla="*/ 804 w 1023"/>
                <a:gd name="T5" fmla="*/ 516 h 1195"/>
                <a:gd name="T6" fmla="*/ 793 w 1023"/>
                <a:gd name="T7" fmla="*/ 588 h 1195"/>
                <a:gd name="T8" fmla="*/ 761 w 1023"/>
                <a:gd name="T9" fmla="*/ 592 h 1195"/>
                <a:gd name="T10" fmla="*/ 710 w 1023"/>
                <a:gd name="T11" fmla="*/ 650 h 1195"/>
                <a:gd name="T12" fmla="*/ 673 w 1023"/>
                <a:gd name="T13" fmla="*/ 653 h 1195"/>
                <a:gd name="T14" fmla="*/ 615 w 1023"/>
                <a:gd name="T15" fmla="*/ 644 h 1195"/>
                <a:gd name="T16" fmla="*/ 612 w 1023"/>
                <a:gd name="T17" fmla="*/ 660 h 1195"/>
                <a:gd name="T18" fmla="*/ 569 w 1023"/>
                <a:gd name="T19" fmla="*/ 707 h 1195"/>
                <a:gd name="T20" fmla="*/ 532 w 1023"/>
                <a:gd name="T21" fmla="*/ 669 h 1195"/>
                <a:gd name="T22" fmla="*/ 496 w 1023"/>
                <a:gd name="T23" fmla="*/ 643 h 1195"/>
                <a:gd name="T24" fmla="*/ 407 w 1023"/>
                <a:gd name="T25" fmla="*/ 667 h 1195"/>
                <a:gd name="T26" fmla="*/ 335 w 1023"/>
                <a:gd name="T27" fmla="*/ 684 h 1195"/>
                <a:gd name="T28" fmla="*/ 478 w 1023"/>
                <a:gd name="T29" fmla="*/ 601 h 1195"/>
                <a:gd name="T30" fmla="*/ 572 w 1023"/>
                <a:gd name="T31" fmla="*/ 588 h 1195"/>
                <a:gd name="T32" fmla="*/ 623 w 1023"/>
                <a:gd name="T33" fmla="*/ 487 h 1195"/>
                <a:gd name="T34" fmla="*/ 618 w 1023"/>
                <a:gd name="T35" fmla="*/ 529 h 1195"/>
                <a:gd name="T36" fmla="*/ 722 w 1023"/>
                <a:gd name="T37" fmla="*/ 458 h 1195"/>
                <a:gd name="T38" fmla="*/ 742 w 1023"/>
                <a:gd name="T39" fmla="*/ 344 h 1195"/>
                <a:gd name="T40" fmla="*/ 767 w 1023"/>
                <a:gd name="T41" fmla="*/ 277 h 1195"/>
                <a:gd name="T42" fmla="*/ 806 w 1023"/>
                <a:gd name="T43" fmla="*/ 284 h 1195"/>
                <a:gd name="T44" fmla="*/ 795 w 1023"/>
                <a:gd name="T45" fmla="*/ 252 h 1195"/>
                <a:gd name="T46" fmla="*/ 74 w 1023"/>
                <a:gd name="T47" fmla="*/ 1175 h 1195"/>
                <a:gd name="T48" fmla="*/ 24 w 1023"/>
                <a:gd name="T49" fmla="*/ 1190 h 1195"/>
                <a:gd name="T50" fmla="*/ 7 w 1023"/>
                <a:gd name="T51" fmla="*/ 1193 h 1195"/>
                <a:gd name="T52" fmla="*/ 803 w 1023"/>
                <a:gd name="T53" fmla="*/ 19 h 1195"/>
                <a:gd name="T54" fmla="*/ 263 w 1023"/>
                <a:gd name="T55" fmla="*/ 648 h 1195"/>
                <a:gd name="T56" fmla="*/ 258 w 1023"/>
                <a:gd name="T57" fmla="*/ 667 h 1195"/>
                <a:gd name="T58" fmla="*/ 255 w 1023"/>
                <a:gd name="T59" fmla="*/ 741 h 1195"/>
                <a:gd name="T60" fmla="*/ 238 w 1023"/>
                <a:gd name="T61" fmla="*/ 752 h 1195"/>
                <a:gd name="T62" fmla="*/ 238 w 1023"/>
                <a:gd name="T63" fmla="*/ 752 h 1195"/>
                <a:gd name="T64" fmla="*/ 297 w 1023"/>
                <a:gd name="T65" fmla="*/ 766 h 1195"/>
                <a:gd name="T66" fmla="*/ 337 w 1023"/>
                <a:gd name="T67" fmla="*/ 881 h 1195"/>
                <a:gd name="T68" fmla="*/ 259 w 1023"/>
                <a:gd name="T69" fmla="*/ 995 h 1195"/>
                <a:gd name="T70" fmla="*/ 239 w 1023"/>
                <a:gd name="T71" fmla="*/ 1009 h 1195"/>
                <a:gd name="T72" fmla="*/ 207 w 1023"/>
                <a:gd name="T73" fmla="*/ 1063 h 1195"/>
                <a:gd name="T74" fmla="*/ 183 w 1023"/>
                <a:gd name="T75" fmla="*/ 1093 h 1195"/>
                <a:gd name="T76" fmla="*/ 314 w 1023"/>
                <a:gd name="T77" fmla="*/ 888 h 1195"/>
                <a:gd name="T78" fmla="*/ 331 w 1023"/>
                <a:gd name="T79" fmla="*/ 690 h 1195"/>
                <a:gd name="T80" fmla="*/ 275 w 1023"/>
                <a:gd name="T81" fmla="*/ 729 h 1195"/>
                <a:gd name="T82" fmla="*/ 281 w 1023"/>
                <a:gd name="T83" fmla="*/ 761 h 1195"/>
                <a:gd name="T84" fmla="*/ 300 w 1023"/>
                <a:gd name="T85" fmla="*/ 744 h 1195"/>
                <a:gd name="T86" fmla="*/ 318 w 1023"/>
                <a:gd name="T87" fmla="*/ 771 h 1195"/>
                <a:gd name="T88" fmla="*/ 322 w 1023"/>
                <a:gd name="T89" fmla="*/ 811 h 1195"/>
                <a:gd name="T90" fmla="*/ 340 w 1023"/>
                <a:gd name="T91" fmla="*/ 837 h 1195"/>
                <a:gd name="T92" fmla="*/ 383 w 1023"/>
                <a:gd name="T93" fmla="*/ 746 h 1195"/>
                <a:gd name="T94" fmla="*/ 348 w 1023"/>
                <a:gd name="T95" fmla="*/ 707 h 1195"/>
                <a:gd name="T96" fmla="*/ 464 w 1023"/>
                <a:gd name="T97" fmla="*/ 714 h 1195"/>
                <a:gd name="T98" fmla="*/ 424 w 1023"/>
                <a:gd name="T99" fmla="*/ 754 h 1195"/>
                <a:gd name="T100" fmla="*/ 424 w 1023"/>
                <a:gd name="T101" fmla="*/ 686 h 1195"/>
                <a:gd name="T102" fmla="*/ 510 w 1023"/>
                <a:gd name="T103" fmla="*/ 695 h 1195"/>
                <a:gd name="T104" fmla="*/ 1002 w 1023"/>
                <a:gd name="T105" fmla="*/ 79 h 1195"/>
                <a:gd name="T106" fmla="*/ 1023 w 1023"/>
                <a:gd name="T107" fmla="*/ 129 h 1195"/>
                <a:gd name="T108" fmla="*/ 974 w 1023"/>
                <a:gd name="T109" fmla="*/ 160 h 1195"/>
                <a:gd name="T110" fmla="*/ 905 w 1023"/>
                <a:gd name="T111" fmla="*/ 221 h 1195"/>
                <a:gd name="T112" fmla="*/ 776 w 1023"/>
                <a:gd name="T113" fmla="*/ 186 h 1195"/>
                <a:gd name="T114" fmla="*/ 804 w 1023"/>
                <a:gd name="T115" fmla="*/ 235 h 1195"/>
                <a:gd name="T116" fmla="*/ 756 w 1023"/>
                <a:gd name="T117" fmla="*/ 243 h 1195"/>
                <a:gd name="T118" fmla="*/ 774 w 1023"/>
                <a:gd name="T119" fmla="*/ 160 h 1195"/>
                <a:gd name="T120" fmla="*/ 818 w 1023"/>
                <a:gd name="T121" fmla="*/ 110 h 1195"/>
                <a:gd name="T122" fmla="*/ 829 w 1023"/>
                <a:gd name="T123" fmla="*/ 10 h 1195"/>
                <a:gd name="T124" fmla="*/ 913 w 1023"/>
                <a:gd name="T125" fmla="*/ 74 h 1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3" h="1195">
                  <a:moveTo>
                    <a:pt x="806" y="255"/>
                  </a:moveTo>
                  <a:lnTo>
                    <a:pt x="820" y="255"/>
                  </a:lnTo>
                  <a:lnTo>
                    <a:pt x="821" y="294"/>
                  </a:lnTo>
                  <a:lnTo>
                    <a:pt x="838" y="330"/>
                  </a:lnTo>
                  <a:lnTo>
                    <a:pt x="850" y="370"/>
                  </a:lnTo>
                  <a:lnTo>
                    <a:pt x="846" y="394"/>
                  </a:lnTo>
                  <a:lnTo>
                    <a:pt x="835" y="401"/>
                  </a:lnTo>
                  <a:lnTo>
                    <a:pt x="827" y="438"/>
                  </a:lnTo>
                  <a:lnTo>
                    <a:pt x="815" y="436"/>
                  </a:lnTo>
                  <a:lnTo>
                    <a:pt x="803" y="444"/>
                  </a:lnTo>
                  <a:lnTo>
                    <a:pt x="799" y="460"/>
                  </a:lnTo>
                  <a:lnTo>
                    <a:pt x="804" y="516"/>
                  </a:lnTo>
                  <a:lnTo>
                    <a:pt x="796" y="525"/>
                  </a:lnTo>
                  <a:lnTo>
                    <a:pt x="786" y="556"/>
                  </a:lnTo>
                  <a:lnTo>
                    <a:pt x="786" y="576"/>
                  </a:lnTo>
                  <a:lnTo>
                    <a:pt x="793" y="588"/>
                  </a:lnTo>
                  <a:lnTo>
                    <a:pt x="773" y="619"/>
                  </a:lnTo>
                  <a:lnTo>
                    <a:pt x="750" y="636"/>
                  </a:lnTo>
                  <a:lnTo>
                    <a:pt x="752" y="607"/>
                  </a:lnTo>
                  <a:lnTo>
                    <a:pt x="761" y="592"/>
                  </a:lnTo>
                  <a:lnTo>
                    <a:pt x="748" y="592"/>
                  </a:lnTo>
                  <a:lnTo>
                    <a:pt x="740" y="619"/>
                  </a:lnTo>
                  <a:lnTo>
                    <a:pt x="723" y="613"/>
                  </a:lnTo>
                  <a:lnTo>
                    <a:pt x="710" y="650"/>
                  </a:lnTo>
                  <a:lnTo>
                    <a:pt x="703" y="648"/>
                  </a:lnTo>
                  <a:lnTo>
                    <a:pt x="703" y="626"/>
                  </a:lnTo>
                  <a:lnTo>
                    <a:pt x="694" y="624"/>
                  </a:lnTo>
                  <a:lnTo>
                    <a:pt x="673" y="653"/>
                  </a:lnTo>
                  <a:lnTo>
                    <a:pt x="622" y="653"/>
                  </a:lnTo>
                  <a:lnTo>
                    <a:pt x="631" y="644"/>
                  </a:lnTo>
                  <a:lnTo>
                    <a:pt x="618" y="639"/>
                  </a:lnTo>
                  <a:lnTo>
                    <a:pt x="615" y="644"/>
                  </a:lnTo>
                  <a:lnTo>
                    <a:pt x="609" y="638"/>
                  </a:lnTo>
                  <a:lnTo>
                    <a:pt x="609" y="626"/>
                  </a:lnTo>
                  <a:lnTo>
                    <a:pt x="595" y="650"/>
                  </a:lnTo>
                  <a:lnTo>
                    <a:pt x="612" y="660"/>
                  </a:lnTo>
                  <a:lnTo>
                    <a:pt x="612" y="673"/>
                  </a:lnTo>
                  <a:lnTo>
                    <a:pt x="605" y="669"/>
                  </a:lnTo>
                  <a:lnTo>
                    <a:pt x="588" y="675"/>
                  </a:lnTo>
                  <a:lnTo>
                    <a:pt x="569" y="707"/>
                  </a:lnTo>
                  <a:lnTo>
                    <a:pt x="559" y="714"/>
                  </a:lnTo>
                  <a:lnTo>
                    <a:pt x="547" y="707"/>
                  </a:lnTo>
                  <a:lnTo>
                    <a:pt x="532" y="686"/>
                  </a:lnTo>
                  <a:lnTo>
                    <a:pt x="532" y="669"/>
                  </a:lnTo>
                  <a:lnTo>
                    <a:pt x="544" y="652"/>
                  </a:lnTo>
                  <a:lnTo>
                    <a:pt x="542" y="646"/>
                  </a:lnTo>
                  <a:lnTo>
                    <a:pt x="527" y="650"/>
                  </a:lnTo>
                  <a:lnTo>
                    <a:pt x="496" y="643"/>
                  </a:lnTo>
                  <a:lnTo>
                    <a:pt x="473" y="660"/>
                  </a:lnTo>
                  <a:lnTo>
                    <a:pt x="465" y="656"/>
                  </a:lnTo>
                  <a:lnTo>
                    <a:pt x="413" y="672"/>
                  </a:lnTo>
                  <a:lnTo>
                    <a:pt x="407" y="667"/>
                  </a:lnTo>
                  <a:lnTo>
                    <a:pt x="390" y="690"/>
                  </a:lnTo>
                  <a:lnTo>
                    <a:pt x="371" y="684"/>
                  </a:lnTo>
                  <a:lnTo>
                    <a:pt x="351" y="689"/>
                  </a:lnTo>
                  <a:lnTo>
                    <a:pt x="335" y="684"/>
                  </a:lnTo>
                  <a:lnTo>
                    <a:pt x="335" y="667"/>
                  </a:lnTo>
                  <a:lnTo>
                    <a:pt x="357" y="660"/>
                  </a:lnTo>
                  <a:lnTo>
                    <a:pt x="424" y="601"/>
                  </a:lnTo>
                  <a:lnTo>
                    <a:pt x="478" y="601"/>
                  </a:lnTo>
                  <a:lnTo>
                    <a:pt x="535" y="588"/>
                  </a:lnTo>
                  <a:lnTo>
                    <a:pt x="535" y="596"/>
                  </a:lnTo>
                  <a:lnTo>
                    <a:pt x="559" y="601"/>
                  </a:lnTo>
                  <a:lnTo>
                    <a:pt x="572" y="588"/>
                  </a:lnTo>
                  <a:lnTo>
                    <a:pt x="574" y="562"/>
                  </a:lnTo>
                  <a:lnTo>
                    <a:pt x="598" y="534"/>
                  </a:lnTo>
                  <a:lnTo>
                    <a:pt x="608" y="495"/>
                  </a:lnTo>
                  <a:lnTo>
                    <a:pt x="623" y="487"/>
                  </a:lnTo>
                  <a:lnTo>
                    <a:pt x="631" y="489"/>
                  </a:lnTo>
                  <a:lnTo>
                    <a:pt x="628" y="495"/>
                  </a:lnTo>
                  <a:lnTo>
                    <a:pt x="615" y="509"/>
                  </a:lnTo>
                  <a:lnTo>
                    <a:pt x="618" y="529"/>
                  </a:lnTo>
                  <a:lnTo>
                    <a:pt x="632" y="528"/>
                  </a:lnTo>
                  <a:lnTo>
                    <a:pt x="681" y="497"/>
                  </a:lnTo>
                  <a:lnTo>
                    <a:pt x="705" y="465"/>
                  </a:lnTo>
                  <a:lnTo>
                    <a:pt x="722" y="458"/>
                  </a:lnTo>
                  <a:lnTo>
                    <a:pt x="744" y="407"/>
                  </a:lnTo>
                  <a:lnTo>
                    <a:pt x="757" y="367"/>
                  </a:lnTo>
                  <a:lnTo>
                    <a:pt x="757" y="353"/>
                  </a:lnTo>
                  <a:lnTo>
                    <a:pt x="742" y="344"/>
                  </a:lnTo>
                  <a:lnTo>
                    <a:pt x="756" y="328"/>
                  </a:lnTo>
                  <a:lnTo>
                    <a:pt x="753" y="301"/>
                  </a:lnTo>
                  <a:lnTo>
                    <a:pt x="765" y="291"/>
                  </a:lnTo>
                  <a:lnTo>
                    <a:pt x="767" y="277"/>
                  </a:lnTo>
                  <a:lnTo>
                    <a:pt x="776" y="267"/>
                  </a:lnTo>
                  <a:lnTo>
                    <a:pt x="789" y="291"/>
                  </a:lnTo>
                  <a:lnTo>
                    <a:pt x="795" y="282"/>
                  </a:lnTo>
                  <a:lnTo>
                    <a:pt x="806" y="284"/>
                  </a:lnTo>
                  <a:lnTo>
                    <a:pt x="813" y="263"/>
                  </a:lnTo>
                  <a:lnTo>
                    <a:pt x="795" y="272"/>
                  </a:lnTo>
                  <a:lnTo>
                    <a:pt x="791" y="262"/>
                  </a:lnTo>
                  <a:lnTo>
                    <a:pt x="795" y="252"/>
                  </a:lnTo>
                  <a:lnTo>
                    <a:pt x="806" y="255"/>
                  </a:lnTo>
                  <a:close/>
                  <a:moveTo>
                    <a:pt x="73" y="1167"/>
                  </a:moveTo>
                  <a:lnTo>
                    <a:pt x="80" y="1173"/>
                  </a:lnTo>
                  <a:lnTo>
                    <a:pt x="74" y="1175"/>
                  </a:lnTo>
                  <a:lnTo>
                    <a:pt x="73" y="1167"/>
                  </a:lnTo>
                  <a:close/>
                  <a:moveTo>
                    <a:pt x="17" y="1187"/>
                  </a:moveTo>
                  <a:lnTo>
                    <a:pt x="24" y="1183"/>
                  </a:lnTo>
                  <a:lnTo>
                    <a:pt x="24" y="1190"/>
                  </a:lnTo>
                  <a:lnTo>
                    <a:pt x="18" y="1193"/>
                  </a:lnTo>
                  <a:lnTo>
                    <a:pt x="17" y="1187"/>
                  </a:lnTo>
                  <a:close/>
                  <a:moveTo>
                    <a:pt x="0" y="1187"/>
                  </a:moveTo>
                  <a:lnTo>
                    <a:pt x="7" y="1193"/>
                  </a:lnTo>
                  <a:lnTo>
                    <a:pt x="0" y="1195"/>
                  </a:lnTo>
                  <a:lnTo>
                    <a:pt x="0" y="1187"/>
                  </a:lnTo>
                  <a:close/>
                  <a:moveTo>
                    <a:pt x="807" y="13"/>
                  </a:moveTo>
                  <a:lnTo>
                    <a:pt x="803" y="19"/>
                  </a:lnTo>
                  <a:lnTo>
                    <a:pt x="813" y="23"/>
                  </a:lnTo>
                  <a:lnTo>
                    <a:pt x="813" y="13"/>
                  </a:lnTo>
                  <a:lnTo>
                    <a:pt x="807" y="13"/>
                  </a:lnTo>
                  <a:close/>
                  <a:moveTo>
                    <a:pt x="263" y="648"/>
                  </a:moveTo>
                  <a:lnTo>
                    <a:pt x="266" y="652"/>
                  </a:lnTo>
                  <a:lnTo>
                    <a:pt x="264" y="667"/>
                  </a:lnTo>
                  <a:lnTo>
                    <a:pt x="263" y="648"/>
                  </a:lnTo>
                  <a:close/>
                  <a:moveTo>
                    <a:pt x="258" y="667"/>
                  </a:moveTo>
                  <a:lnTo>
                    <a:pt x="255" y="680"/>
                  </a:lnTo>
                  <a:lnTo>
                    <a:pt x="258" y="675"/>
                  </a:lnTo>
                  <a:lnTo>
                    <a:pt x="258" y="667"/>
                  </a:lnTo>
                  <a:close/>
                  <a:moveTo>
                    <a:pt x="255" y="741"/>
                  </a:moveTo>
                  <a:lnTo>
                    <a:pt x="249" y="735"/>
                  </a:lnTo>
                  <a:lnTo>
                    <a:pt x="247" y="749"/>
                  </a:lnTo>
                  <a:lnTo>
                    <a:pt x="255" y="741"/>
                  </a:lnTo>
                  <a:close/>
                  <a:moveTo>
                    <a:pt x="238" y="752"/>
                  </a:moveTo>
                  <a:lnTo>
                    <a:pt x="230" y="757"/>
                  </a:lnTo>
                  <a:lnTo>
                    <a:pt x="230" y="763"/>
                  </a:lnTo>
                  <a:lnTo>
                    <a:pt x="238" y="761"/>
                  </a:lnTo>
                  <a:lnTo>
                    <a:pt x="238" y="752"/>
                  </a:lnTo>
                  <a:close/>
                  <a:moveTo>
                    <a:pt x="297" y="766"/>
                  </a:moveTo>
                  <a:lnTo>
                    <a:pt x="295" y="785"/>
                  </a:lnTo>
                  <a:lnTo>
                    <a:pt x="301" y="769"/>
                  </a:lnTo>
                  <a:lnTo>
                    <a:pt x="297" y="766"/>
                  </a:lnTo>
                  <a:close/>
                  <a:moveTo>
                    <a:pt x="340" y="867"/>
                  </a:moveTo>
                  <a:lnTo>
                    <a:pt x="340" y="859"/>
                  </a:lnTo>
                  <a:lnTo>
                    <a:pt x="337" y="867"/>
                  </a:lnTo>
                  <a:lnTo>
                    <a:pt x="337" y="881"/>
                  </a:lnTo>
                  <a:lnTo>
                    <a:pt x="340" y="867"/>
                  </a:lnTo>
                  <a:close/>
                  <a:moveTo>
                    <a:pt x="263" y="983"/>
                  </a:moveTo>
                  <a:lnTo>
                    <a:pt x="273" y="980"/>
                  </a:lnTo>
                  <a:lnTo>
                    <a:pt x="259" y="995"/>
                  </a:lnTo>
                  <a:lnTo>
                    <a:pt x="256" y="988"/>
                  </a:lnTo>
                  <a:lnTo>
                    <a:pt x="263" y="983"/>
                  </a:lnTo>
                  <a:close/>
                  <a:moveTo>
                    <a:pt x="241" y="1015"/>
                  </a:moveTo>
                  <a:lnTo>
                    <a:pt x="239" y="1009"/>
                  </a:lnTo>
                  <a:lnTo>
                    <a:pt x="241" y="1015"/>
                  </a:lnTo>
                  <a:close/>
                  <a:moveTo>
                    <a:pt x="188" y="1082"/>
                  </a:moveTo>
                  <a:lnTo>
                    <a:pt x="191" y="1071"/>
                  </a:lnTo>
                  <a:lnTo>
                    <a:pt x="207" y="1063"/>
                  </a:lnTo>
                  <a:lnTo>
                    <a:pt x="204" y="1077"/>
                  </a:lnTo>
                  <a:lnTo>
                    <a:pt x="191" y="1088"/>
                  </a:lnTo>
                  <a:lnTo>
                    <a:pt x="185" y="1100"/>
                  </a:lnTo>
                  <a:lnTo>
                    <a:pt x="183" y="1093"/>
                  </a:lnTo>
                  <a:lnTo>
                    <a:pt x="188" y="1082"/>
                  </a:lnTo>
                  <a:close/>
                  <a:moveTo>
                    <a:pt x="315" y="881"/>
                  </a:moveTo>
                  <a:lnTo>
                    <a:pt x="310" y="884"/>
                  </a:lnTo>
                  <a:lnTo>
                    <a:pt x="314" y="888"/>
                  </a:lnTo>
                  <a:lnTo>
                    <a:pt x="320" y="890"/>
                  </a:lnTo>
                  <a:lnTo>
                    <a:pt x="320" y="884"/>
                  </a:lnTo>
                  <a:lnTo>
                    <a:pt x="315" y="881"/>
                  </a:lnTo>
                  <a:close/>
                  <a:moveTo>
                    <a:pt x="331" y="690"/>
                  </a:moveTo>
                  <a:lnTo>
                    <a:pt x="320" y="692"/>
                  </a:lnTo>
                  <a:lnTo>
                    <a:pt x="309" y="707"/>
                  </a:lnTo>
                  <a:lnTo>
                    <a:pt x="288" y="712"/>
                  </a:lnTo>
                  <a:lnTo>
                    <a:pt x="275" y="729"/>
                  </a:lnTo>
                  <a:lnTo>
                    <a:pt x="288" y="741"/>
                  </a:lnTo>
                  <a:lnTo>
                    <a:pt x="288" y="748"/>
                  </a:lnTo>
                  <a:lnTo>
                    <a:pt x="278" y="740"/>
                  </a:lnTo>
                  <a:lnTo>
                    <a:pt x="281" y="761"/>
                  </a:lnTo>
                  <a:lnTo>
                    <a:pt x="297" y="754"/>
                  </a:lnTo>
                  <a:lnTo>
                    <a:pt x="305" y="758"/>
                  </a:lnTo>
                  <a:lnTo>
                    <a:pt x="309" y="751"/>
                  </a:lnTo>
                  <a:lnTo>
                    <a:pt x="300" y="744"/>
                  </a:lnTo>
                  <a:lnTo>
                    <a:pt x="300" y="734"/>
                  </a:lnTo>
                  <a:lnTo>
                    <a:pt x="305" y="731"/>
                  </a:lnTo>
                  <a:lnTo>
                    <a:pt x="317" y="751"/>
                  </a:lnTo>
                  <a:lnTo>
                    <a:pt x="318" y="771"/>
                  </a:lnTo>
                  <a:lnTo>
                    <a:pt x="303" y="797"/>
                  </a:lnTo>
                  <a:lnTo>
                    <a:pt x="303" y="829"/>
                  </a:lnTo>
                  <a:lnTo>
                    <a:pt x="320" y="839"/>
                  </a:lnTo>
                  <a:lnTo>
                    <a:pt x="322" y="811"/>
                  </a:lnTo>
                  <a:lnTo>
                    <a:pt x="329" y="812"/>
                  </a:lnTo>
                  <a:lnTo>
                    <a:pt x="326" y="822"/>
                  </a:lnTo>
                  <a:lnTo>
                    <a:pt x="327" y="845"/>
                  </a:lnTo>
                  <a:lnTo>
                    <a:pt x="340" y="837"/>
                  </a:lnTo>
                  <a:lnTo>
                    <a:pt x="348" y="822"/>
                  </a:lnTo>
                  <a:lnTo>
                    <a:pt x="352" y="825"/>
                  </a:lnTo>
                  <a:lnTo>
                    <a:pt x="369" y="771"/>
                  </a:lnTo>
                  <a:lnTo>
                    <a:pt x="383" y="746"/>
                  </a:lnTo>
                  <a:lnTo>
                    <a:pt x="377" y="729"/>
                  </a:lnTo>
                  <a:lnTo>
                    <a:pt x="368" y="726"/>
                  </a:lnTo>
                  <a:lnTo>
                    <a:pt x="368" y="704"/>
                  </a:lnTo>
                  <a:lnTo>
                    <a:pt x="348" y="707"/>
                  </a:lnTo>
                  <a:lnTo>
                    <a:pt x="337" y="690"/>
                  </a:lnTo>
                  <a:lnTo>
                    <a:pt x="331" y="690"/>
                  </a:lnTo>
                  <a:close/>
                  <a:moveTo>
                    <a:pt x="487" y="724"/>
                  </a:moveTo>
                  <a:lnTo>
                    <a:pt x="464" y="714"/>
                  </a:lnTo>
                  <a:lnTo>
                    <a:pt x="454" y="715"/>
                  </a:lnTo>
                  <a:lnTo>
                    <a:pt x="445" y="723"/>
                  </a:lnTo>
                  <a:lnTo>
                    <a:pt x="433" y="754"/>
                  </a:lnTo>
                  <a:lnTo>
                    <a:pt x="424" y="754"/>
                  </a:lnTo>
                  <a:lnTo>
                    <a:pt x="413" y="744"/>
                  </a:lnTo>
                  <a:lnTo>
                    <a:pt x="405" y="723"/>
                  </a:lnTo>
                  <a:lnTo>
                    <a:pt x="393" y="720"/>
                  </a:lnTo>
                  <a:lnTo>
                    <a:pt x="424" y="686"/>
                  </a:lnTo>
                  <a:lnTo>
                    <a:pt x="448" y="687"/>
                  </a:lnTo>
                  <a:lnTo>
                    <a:pt x="478" y="664"/>
                  </a:lnTo>
                  <a:lnTo>
                    <a:pt x="503" y="673"/>
                  </a:lnTo>
                  <a:lnTo>
                    <a:pt x="510" y="695"/>
                  </a:lnTo>
                  <a:lnTo>
                    <a:pt x="487" y="724"/>
                  </a:lnTo>
                  <a:close/>
                  <a:moveTo>
                    <a:pt x="985" y="87"/>
                  </a:moveTo>
                  <a:lnTo>
                    <a:pt x="999" y="76"/>
                  </a:lnTo>
                  <a:lnTo>
                    <a:pt x="1002" y="79"/>
                  </a:lnTo>
                  <a:lnTo>
                    <a:pt x="991" y="104"/>
                  </a:lnTo>
                  <a:lnTo>
                    <a:pt x="1001" y="120"/>
                  </a:lnTo>
                  <a:lnTo>
                    <a:pt x="1001" y="133"/>
                  </a:lnTo>
                  <a:lnTo>
                    <a:pt x="1023" y="129"/>
                  </a:lnTo>
                  <a:lnTo>
                    <a:pt x="1019" y="138"/>
                  </a:lnTo>
                  <a:lnTo>
                    <a:pt x="993" y="153"/>
                  </a:lnTo>
                  <a:lnTo>
                    <a:pt x="979" y="153"/>
                  </a:lnTo>
                  <a:lnTo>
                    <a:pt x="974" y="160"/>
                  </a:lnTo>
                  <a:lnTo>
                    <a:pt x="947" y="160"/>
                  </a:lnTo>
                  <a:lnTo>
                    <a:pt x="934" y="167"/>
                  </a:lnTo>
                  <a:lnTo>
                    <a:pt x="926" y="174"/>
                  </a:lnTo>
                  <a:lnTo>
                    <a:pt x="905" y="221"/>
                  </a:lnTo>
                  <a:lnTo>
                    <a:pt x="841" y="184"/>
                  </a:lnTo>
                  <a:lnTo>
                    <a:pt x="827" y="183"/>
                  </a:lnTo>
                  <a:lnTo>
                    <a:pt x="807" y="194"/>
                  </a:lnTo>
                  <a:lnTo>
                    <a:pt x="776" y="186"/>
                  </a:lnTo>
                  <a:lnTo>
                    <a:pt x="769" y="198"/>
                  </a:lnTo>
                  <a:lnTo>
                    <a:pt x="774" y="208"/>
                  </a:lnTo>
                  <a:lnTo>
                    <a:pt x="807" y="228"/>
                  </a:lnTo>
                  <a:lnTo>
                    <a:pt x="804" y="235"/>
                  </a:lnTo>
                  <a:lnTo>
                    <a:pt x="787" y="235"/>
                  </a:lnTo>
                  <a:lnTo>
                    <a:pt x="764" y="255"/>
                  </a:lnTo>
                  <a:lnTo>
                    <a:pt x="757" y="252"/>
                  </a:lnTo>
                  <a:lnTo>
                    <a:pt x="756" y="243"/>
                  </a:lnTo>
                  <a:lnTo>
                    <a:pt x="761" y="218"/>
                  </a:lnTo>
                  <a:lnTo>
                    <a:pt x="745" y="203"/>
                  </a:lnTo>
                  <a:lnTo>
                    <a:pt x="747" y="184"/>
                  </a:lnTo>
                  <a:lnTo>
                    <a:pt x="774" y="160"/>
                  </a:lnTo>
                  <a:lnTo>
                    <a:pt x="774" y="137"/>
                  </a:lnTo>
                  <a:lnTo>
                    <a:pt x="813" y="144"/>
                  </a:lnTo>
                  <a:lnTo>
                    <a:pt x="820" y="130"/>
                  </a:lnTo>
                  <a:lnTo>
                    <a:pt x="818" y="110"/>
                  </a:lnTo>
                  <a:lnTo>
                    <a:pt x="830" y="87"/>
                  </a:lnTo>
                  <a:lnTo>
                    <a:pt x="837" y="47"/>
                  </a:lnTo>
                  <a:lnTo>
                    <a:pt x="833" y="30"/>
                  </a:lnTo>
                  <a:lnTo>
                    <a:pt x="829" y="10"/>
                  </a:lnTo>
                  <a:lnTo>
                    <a:pt x="838" y="0"/>
                  </a:lnTo>
                  <a:lnTo>
                    <a:pt x="849" y="5"/>
                  </a:lnTo>
                  <a:lnTo>
                    <a:pt x="880" y="44"/>
                  </a:lnTo>
                  <a:lnTo>
                    <a:pt x="913" y="74"/>
                  </a:lnTo>
                  <a:lnTo>
                    <a:pt x="965" y="98"/>
                  </a:lnTo>
                  <a:lnTo>
                    <a:pt x="985" y="87"/>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3" name="Freeform 20">
              <a:extLst>
                <a:ext uri="{FF2B5EF4-FFF2-40B4-BE49-F238E27FC236}">
                  <a16:creationId xmlns:a16="http://schemas.microsoft.com/office/drawing/2014/main" id="{DD69D55F-09BB-CA4B-8FEA-06C2C3FE7A65}"/>
                </a:ext>
              </a:extLst>
            </p:cNvPr>
            <p:cNvSpPr>
              <a:spLocks noChangeAspect="1" noEditPoints="1"/>
            </p:cNvSpPr>
            <p:nvPr/>
          </p:nvSpPr>
          <p:spPr bwMode="gray">
            <a:xfrm>
              <a:off x="8855097" y="4926156"/>
              <a:ext cx="68474" cy="159348"/>
            </a:xfrm>
            <a:custGeom>
              <a:avLst/>
              <a:gdLst>
                <a:gd name="T0" fmla="*/ 13 w 142"/>
                <a:gd name="T1" fmla="*/ 0 h 270"/>
                <a:gd name="T2" fmla="*/ 27 w 142"/>
                <a:gd name="T3" fmla="*/ 3 h 270"/>
                <a:gd name="T4" fmla="*/ 34 w 142"/>
                <a:gd name="T5" fmla="*/ 20 h 270"/>
                <a:gd name="T6" fmla="*/ 10 w 142"/>
                <a:gd name="T7" fmla="*/ 13 h 270"/>
                <a:gd name="T8" fmla="*/ 0 w 142"/>
                <a:gd name="T9" fmla="*/ 0 h 270"/>
                <a:gd name="T10" fmla="*/ 13 w 142"/>
                <a:gd name="T11" fmla="*/ 0 h 270"/>
                <a:gd name="T12" fmla="*/ 142 w 142"/>
                <a:gd name="T13" fmla="*/ 261 h 270"/>
                <a:gd name="T14" fmla="*/ 142 w 142"/>
                <a:gd name="T15" fmla="*/ 270 h 270"/>
                <a:gd name="T16" fmla="*/ 137 w 142"/>
                <a:gd name="T17" fmla="*/ 261 h 270"/>
                <a:gd name="T18" fmla="*/ 142 w 142"/>
                <a:gd name="T19" fmla="*/ 258 h 270"/>
                <a:gd name="T20" fmla="*/ 142 w 142"/>
                <a:gd name="T21" fmla="*/ 261 h 270"/>
                <a:gd name="T22" fmla="*/ 54 w 142"/>
                <a:gd name="T23" fmla="*/ 18 h 270"/>
                <a:gd name="T24" fmla="*/ 69 w 142"/>
                <a:gd name="T25" fmla="*/ 26 h 270"/>
                <a:gd name="T26" fmla="*/ 46 w 142"/>
                <a:gd name="T27" fmla="*/ 26 h 270"/>
                <a:gd name="T28" fmla="*/ 38 w 142"/>
                <a:gd name="T29" fmla="*/ 20 h 270"/>
                <a:gd name="T30" fmla="*/ 54 w 142"/>
                <a:gd name="T31" fmla="*/ 1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2" h="270">
                  <a:moveTo>
                    <a:pt x="13" y="0"/>
                  </a:moveTo>
                  <a:lnTo>
                    <a:pt x="27" y="3"/>
                  </a:lnTo>
                  <a:lnTo>
                    <a:pt x="34" y="20"/>
                  </a:lnTo>
                  <a:lnTo>
                    <a:pt x="10" y="13"/>
                  </a:lnTo>
                  <a:lnTo>
                    <a:pt x="0" y="0"/>
                  </a:lnTo>
                  <a:lnTo>
                    <a:pt x="13" y="0"/>
                  </a:lnTo>
                  <a:close/>
                  <a:moveTo>
                    <a:pt x="142" y="261"/>
                  </a:moveTo>
                  <a:lnTo>
                    <a:pt x="142" y="270"/>
                  </a:lnTo>
                  <a:lnTo>
                    <a:pt x="137" y="261"/>
                  </a:lnTo>
                  <a:lnTo>
                    <a:pt x="142" y="258"/>
                  </a:lnTo>
                  <a:lnTo>
                    <a:pt x="142" y="261"/>
                  </a:lnTo>
                  <a:close/>
                  <a:moveTo>
                    <a:pt x="54" y="18"/>
                  </a:moveTo>
                  <a:lnTo>
                    <a:pt x="69" y="26"/>
                  </a:lnTo>
                  <a:lnTo>
                    <a:pt x="46" y="26"/>
                  </a:lnTo>
                  <a:lnTo>
                    <a:pt x="38" y="20"/>
                  </a:lnTo>
                  <a:lnTo>
                    <a:pt x="54" y="18"/>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4" name="Freeform 21">
              <a:extLst>
                <a:ext uri="{FF2B5EF4-FFF2-40B4-BE49-F238E27FC236}">
                  <a16:creationId xmlns:a16="http://schemas.microsoft.com/office/drawing/2014/main" id="{5C606C1D-B488-FA43-87AF-199F9E8D5210}"/>
                </a:ext>
              </a:extLst>
            </p:cNvPr>
            <p:cNvSpPr>
              <a:spLocks noChangeAspect="1"/>
            </p:cNvSpPr>
            <p:nvPr/>
          </p:nvSpPr>
          <p:spPr bwMode="gray">
            <a:xfrm>
              <a:off x="5362911" y="3232830"/>
              <a:ext cx="50958" cy="38398"/>
            </a:xfrm>
            <a:custGeom>
              <a:avLst/>
              <a:gdLst>
                <a:gd name="T0" fmla="*/ 78 w 105"/>
                <a:gd name="T1" fmla="*/ 14 h 63"/>
                <a:gd name="T2" fmla="*/ 105 w 105"/>
                <a:gd name="T3" fmla="*/ 0 h 63"/>
                <a:gd name="T4" fmla="*/ 90 w 105"/>
                <a:gd name="T5" fmla="*/ 17 h 63"/>
                <a:gd name="T6" fmla="*/ 78 w 105"/>
                <a:gd name="T7" fmla="*/ 44 h 63"/>
                <a:gd name="T8" fmla="*/ 36 w 105"/>
                <a:gd name="T9" fmla="*/ 63 h 63"/>
                <a:gd name="T10" fmla="*/ 10 w 105"/>
                <a:gd name="T11" fmla="*/ 57 h 63"/>
                <a:gd name="T12" fmla="*/ 0 w 105"/>
                <a:gd name="T13" fmla="*/ 39 h 63"/>
                <a:gd name="T14" fmla="*/ 31 w 105"/>
                <a:gd name="T15" fmla="*/ 29 h 63"/>
                <a:gd name="T16" fmla="*/ 31 w 105"/>
                <a:gd name="T17" fmla="*/ 20 h 63"/>
                <a:gd name="T18" fmla="*/ 78 w 105"/>
                <a:gd name="T19" fmla="*/ 1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63">
                  <a:moveTo>
                    <a:pt x="78" y="14"/>
                  </a:moveTo>
                  <a:lnTo>
                    <a:pt x="105" y="0"/>
                  </a:lnTo>
                  <a:lnTo>
                    <a:pt x="90" y="17"/>
                  </a:lnTo>
                  <a:lnTo>
                    <a:pt x="78" y="44"/>
                  </a:lnTo>
                  <a:lnTo>
                    <a:pt x="36" y="63"/>
                  </a:lnTo>
                  <a:lnTo>
                    <a:pt x="10" y="57"/>
                  </a:lnTo>
                  <a:lnTo>
                    <a:pt x="0" y="39"/>
                  </a:lnTo>
                  <a:lnTo>
                    <a:pt x="31" y="29"/>
                  </a:lnTo>
                  <a:lnTo>
                    <a:pt x="31" y="20"/>
                  </a:lnTo>
                  <a:lnTo>
                    <a:pt x="78" y="14"/>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5" name="Freeform 22">
              <a:extLst>
                <a:ext uri="{FF2B5EF4-FFF2-40B4-BE49-F238E27FC236}">
                  <a16:creationId xmlns:a16="http://schemas.microsoft.com/office/drawing/2014/main" id="{7AFEB953-1D20-3B4D-958F-0BC1F3C41E7F}"/>
                </a:ext>
              </a:extLst>
            </p:cNvPr>
            <p:cNvSpPr>
              <a:spLocks noChangeAspect="1" noEditPoints="1"/>
            </p:cNvSpPr>
            <p:nvPr/>
          </p:nvSpPr>
          <p:spPr bwMode="gray">
            <a:xfrm>
              <a:off x="5076275" y="3023563"/>
              <a:ext cx="195868" cy="238065"/>
            </a:xfrm>
            <a:custGeom>
              <a:avLst/>
              <a:gdLst>
                <a:gd name="T0" fmla="*/ 0 w 399"/>
                <a:gd name="T1" fmla="*/ 125 h 407"/>
                <a:gd name="T2" fmla="*/ 266 w 399"/>
                <a:gd name="T3" fmla="*/ 291 h 407"/>
                <a:gd name="T4" fmla="*/ 264 w 399"/>
                <a:gd name="T5" fmla="*/ 283 h 407"/>
                <a:gd name="T6" fmla="*/ 260 w 399"/>
                <a:gd name="T7" fmla="*/ 111 h 407"/>
                <a:gd name="T8" fmla="*/ 259 w 399"/>
                <a:gd name="T9" fmla="*/ 122 h 407"/>
                <a:gd name="T10" fmla="*/ 399 w 399"/>
                <a:gd name="T11" fmla="*/ 317 h 407"/>
                <a:gd name="T12" fmla="*/ 390 w 399"/>
                <a:gd name="T13" fmla="*/ 339 h 407"/>
                <a:gd name="T14" fmla="*/ 79 w 399"/>
                <a:gd name="T15" fmla="*/ 216 h 407"/>
                <a:gd name="T16" fmla="*/ 90 w 399"/>
                <a:gd name="T17" fmla="*/ 292 h 407"/>
                <a:gd name="T18" fmla="*/ 119 w 399"/>
                <a:gd name="T19" fmla="*/ 297 h 407"/>
                <a:gd name="T20" fmla="*/ 132 w 399"/>
                <a:gd name="T21" fmla="*/ 303 h 407"/>
                <a:gd name="T22" fmla="*/ 150 w 399"/>
                <a:gd name="T23" fmla="*/ 274 h 407"/>
                <a:gd name="T24" fmla="*/ 176 w 399"/>
                <a:gd name="T25" fmla="*/ 263 h 407"/>
                <a:gd name="T26" fmla="*/ 158 w 399"/>
                <a:gd name="T27" fmla="*/ 232 h 407"/>
                <a:gd name="T28" fmla="*/ 200 w 399"/>
                <a:gd name="T29" fmla="*/ 215 h 407"/>
                <a:gd name="T30" fmla="*/ 132 w 399"/>
                <a:gd name="T31" fmla="*/ 173 h 407"/>
                <a:gd name="T32" fmla="*/ 158 w 399"/>
                <a:gd name="T33" fmla="*/ 151 h 407"/>
                <a:gd name="T34" fmla="*/ 137 w 399"/>
                <a:gd name="T35" fmla="*/ 111 h 407"/>
                <a:gd name="T36" fmla="*/ 147 w 399"/>
                <a:gd name="T37" fmla="*/ 82 h 407"/>
                <a:gd name="T38" fmla="*/ 184 w 399"/>
                <a:gd name="T39" fmla="*/ 110 h 407"/>
                <a:gd name="T40" fmla="*/ 198 w 399"/>
                <a:gd name="T41" fmla="*/ 111 h 407"/>
                <a:gd name="T42" fmla="*/ 192 w 399"/>
                <a:gd name="T43" fmla="*/ 88 h 407"/>
                <a:gd name="T44" fmla="*/ 184 w 399"/>
                <a:gd name="T45" fmla="*/ 73 h 407"/>
                <a:gd name="T46" fmla="*/ 247 w 399"/>
                <a:gd name="T47" fmla="*/ 49 h 407"/>
                <a:gd name="T48" fmla="*/ 308 w 399"/>
                <a:gd name="T49" fmla="*/ 29 h 407"/>
                <a:gd name="T50" fmla="*/ 308 w 399"/>
                <a:gd name="T51" fmla="*/ 0 h 407"/>
                <a:gd name="T52" fmla="*/ 286 w 399"/>
                <a:gd name="T53" fmla="*/ 29 h 407"/>
                <a:gd name="T54" fmla="*/ 152 w 399"/>
                <a:gd name="T55" fmla="*/ 26 h 407"/>
                <a:gd name="T56" fmla="*/ 91 w 399"/>
                <a:gd name="T57" fmla="*/ 52 h 407"/>
                <a:gd name="T58" fmla="*/ 23 w 399"/>
                <a:gd name="T59" fmla="*/ 128 h 407"/>
                <a:gd name="T60" fmla="*/ 64 w 399"/>
                <a:gd name="T61" fmla="*/ 170 h 407"/>
                <a:gd name="T62" fmla="*/ 69 w 399"/>
                <a:gd name="T63" fmla="*/ 208 h 407"/>
                <a:gd name="T64" fmla="*/ 139 w 399"/>
                <a:gd name="T65" fmla="*/ 205 h 407"/>
                <a:gd name="T66" fmla="*/ 150 w 399"/>
                <a:gd name="T67" fmla="*/ 227 h 407"/>
                <a:gd name="T68" fmla="*/ 217 w 399"/>
                <a:gd name="T69" fmla="*/ 381 h 407"/>
                <a:gd name="T70" fmla="*/ 200 w 399"/>
                <a:gd name="T71" fmla="*/ 371 h 407"/>
                <a:gd name="T72" fmla="*/ 181 w 399"/>
                <a:gd name="T73" fmla="*/ 371 h 407"/>
                <a:gd name="T74" fmla="*/ 237 w 399"/>
                <a:gd name="T75" fmla="*/ 407 h 407"/>
                <a:gd name="T76" fmla="*/ 305 w 399"/>
                <a:gd name="T77" fmla="*/ 385 h 407"/>
                <a:gd name="T78" fmla="*/ 249 w 399"/>
                <a:gd name="T79" fmla="*/ 379 h 407"/>
                <a:gd name="T80" fmla="*/ 310 w 399"/>
                <a:gd name="T81" fmla="*/ 142 h 407"/>
                <a:gd name="T82" fmla="*/ 303 w 399"/>
                <a:gd name="T83" fmla="*/ 158 h 407"/>
                <a:gd name="T84" fmla="*/ 291 w 399"/>
                <a:gd name="T85" fmla="*/ 215 h 407"/>
                <a:gd name="T86" fmla="*/ 286 w 399"/>
                <a:gd name="T87" fmla="*/ 192 h 407"/>
                <a:gd name="T88" fmla="*/ 244 w 399"/>
                <a:gd name="T89" fmla="*/ 235 h 407"/>
                <a:gd name="T90" fmla="*/ 234 w 399"/>
                <a:gd name="T91" fmla="*/ 73 h 407"/>
                <a:gd name="T92" fmla="*/ 223 w 399"/>
                <a:gd name="T93" fmla="*/ 69 h 407"/>
                <a:gd name="T94" fmla="*/ 229 w 399"/>
                <a:gd name="T95" fmla="*/ 220 h 407"/>
                <a:gd name="T96" fmla="*/ 183 w 399"/>
                <a:gd name="T97" fmla="*/ 184 h 407"/>
                <a:gd name="T98" fmla="*/ 161 w 399"/>
                <a:gd name="T99" fmla="*/ 179 h 407"/>
                <a:gd name="T100" fmla="*/ 215 w 399"/>
                <a:gd name="T101" fmla="*/ 230 h 407"/>
                <a:gd name="T102" fmla="*/ 49 w 399"/>
                <a:gd name="T103" fmla="*/ 225 h 407"/>
                <a:gd name="T104" fmla="*/ 32 w 399"/>
                <a:gd name="T105" fmla="*/ 213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9" h="407">
                  <a:moveTo>
                    <a:pt x="19" y="145"/>
                  </a:moveTo>
                  <a:lnTo>
                    <a:pt x="10" y="127"/>
                  </a:lnTo>
                  <a:lnTo>
                    <a:pt x="0" y="125"/>
                  </a:lnTo>
                  <a:lnTo>
                    <a:pt x="6" y="141"/>
                  </a:lnTo>
                  <a:lnTo>
                    <a:pt x="19" y="145"/>
                  </a:lnTo>
                  <a:close/>
                  <a:moveTo>
                    <a:pt x="266" y="291"/>
                  </a:moveTo>
                  <a:lnTo>
                    <a:pt x="271" y="291"/>
                  </a:lnTo>
                  <a:lnTo>
                    <a:pt x="272" y="278"/>
                  </a:lnTo>
                  <a:lnTo>
                    <a:pt x="264" y="283"/>
                  </a:lnTo>
                  <a:lnTo>
                    <a:pt x="266" y="291"/>
                  </a:lnTo>
                  <a:close/>
                  <a:moveTo>
                    <a:pt x="263" y="116"/>
                  </a:moveTo>
                  <a:lnTo>
                    <a:pt x="260" y="111"/>
                  </a:lnTo>
                  <a:lnTo>
                    <a:pt x="249" y="111"/>
                  </a:lnTo>
                  <a:lnTo>
                    <a:pt x="247" y="120"/>
                  </a:lnTo>
                  <a:lnTo>
                    <a:pt x="259" y="122"/>
                  </a:lnTo>
                  <a:lnTo>
                    <a:pt x="263" y="116"/>
                  </a:lnTo>
                  <a:close/>
                  <a:moveTo>
                    <a:pt x="390" y="339"/>
                  </a:moveTo>
                  <a:lnTo>
                    <a:pt x="399" y="317"/>
                  </a:lnTo>
                  <a:lnTo>
                    <a:pt x="374" y="334"/>
                  </a:lnTo>
                  <a:lnTo>
                    <a:pt x="374" y="348"/>
                  </a:lnTo>
                  <a:lnTo>
                    <a:pt x="390" y="339"/>
                  </a:lnTo>
                  <a:close/>
                  <a:moveTo>
                    <a:pt x="110" y="210"/>
                  </a:moveTo>
                  <a:lnTo>
                    <a:pt x="86" y="220"/>
                  </a:lnTo>
                  <a:lnTo>
                    <a:pt x="79" y="216"/>
                  </a:lnTo>
                  <a:lnTo>
                    <a:pt x="68" y="241"/>
                  </a:lnTo>
                  <a:lnTo>
                    <a:pt x="91" y="269"/>
                  </a:lnTo>
                  <a:lnTo>
                    <a:pt x="90" y="292"/>
                  </a:lnTo>
                  <a:lnTo>
                    <a:pt x="102" y="301"/>
                  </a:lnTo>
                  <a:lnTo>
                    <a:pt x="108" y="284"/>
                  </a:lnTo>
                  <a:lnTo>
                    <a:pt x="119" y="297"/>
                  </a:lnTo>
                  <a:lnTo>
                    <a:pt x="124" y="320"/>
                  </a:lnTo>
                  <a:lnTo>
                    <a:pt x="128" y="320"/>
                  </a:lnTo>
                  <a:lnTo>
                    <a:pt x="132" y="303"/>
                  </a:lnTo>
                  <a:lnTo>
                    <a:pt x="139" y="300"/>
                  </a:lnTo>
                  <a:lnTo>
                    <a:pt x="158" y="318"/>
                  </a:lnTo>
                  <a:lnTo>
                    <a:pt x="150" y="274"/>
                  </a:lnTo>
                  <a:lnTo>
                    <a:pt x="142" y="255"/>
                  </a:lnTo>
                  <a:lnTo>
                    <a:pt x="159" y="271"/>
                  </a:lnTo>
                  <a:lnTo>
                    <a:pt x="176" y="263"/>
                  </a:lnTo>
                  <a:lnTo>
                    <a:pt x="175" y="258"/>
                  </a:lnTo>
                  <a:lnTo>
                    <a:pt x="164" y="250"/>
                  </a:lnTo>
                  <a:lnTo>
                    <a:pt x="158" y="232"/>
                  </a:lnTo>
                  <a:lnTo>
                    <a:pt x="181" y="229"/>
                  </a:lnTo>
                  <a:lnTo>
                    <a:pt x="201" y="247"/>
                  </a:lnTo>
                  <a:lnTo>
                    <a:pt x="200" y="215"/>
                  </a:lnTo>
                  <a:lnTo>
                    <a:pt x="170" y="200"/>
                  </a:lnTo>
                  <a:lnTo>
                    <a:pt x="167" y="190"/>
                  </a:lnTo>
                  <a:lnTo>
                    <a:pt x="132" y="173"/>
                  </a:lnTo>
                  <a:lnTo>
                    <a:pt x="152" y="170"/>
                  </a:lnTo>
                  <a:lnTo>
                    <a:pt x="150" y="151"/>
                  </a:lnTo>
                  <a:lnTo>
                    <a:pt x="158" y="151"/>
                  </a:lnTo>
                  <a:lnTo>
                    <a:pt x="159" y="161"/>
                  </a:lnTo>
                  <a:lnTo>
                    <a:pt x="167" y="161"/>
                  </a:lnTo>
                  <a:lnTo>
                    <a:pt x="137" y="111"/>
                  </a:lnTo>
                  <a:lnTo>
                    <a:pt x="137" y="76"/>
                  </a:lnTo>
                  <a:lnTo>
                    <a:pt x="149" y="73"/>
                  </a:lnTo>
                  <a:lnTo>
                    <a:pt x="147" y="82"/>
                  </a:lnTo>
                  <a:lnTo>
                    <a:pt x="167" y="94"/>
                  </a:lnTo>
                  <a:lnTo>
                    <a:pt x="179" y="114"/>
                  </a:lnTo>
                  <a:lnTo>
                    <a:pt x="184" y="110"/>
                  </a:lnTo>
                  <a:lnTo>
                    <a:pt x="175" y="94"/>
                  </a:lnTo>
                  <a:lnTo>
                    <a:pt x="186" y="97"/>
                  </a:lnTo>
                  <a:lnTo>
                    <a:pt x="198" y="111"/>
                  </a:lnTo>
                  <a:lnTo>
                    <a:pt x="198" y="102"/>
                  </a:lnTo>
                  <a:lnTo>
                    <a:pt x="187" y="94"/>
                  </a:lnTo>
                  <a:lnTo>
                    <a:pt x="192" y="88"/>
                  </a:lnTo>
                  <a:lnTo>
                    <a:pt x="213" y="99"/>
                  </a:lnTo>
                  <a:lnTo>
                    <a:pt x="203" y="85"/>
                  </a:lnTo>
                  <a:lnTo>
                    <a:pt x="184" y="73"/>
                  </a:lnTo>
                  <a:lnTo>
                    <a:pt x="220" y="52"/>
                  </a:lnTo>
                  <a:lnTo>
                    <a:pt x="235" y="56"/>
                  </a:lnTo>
                  <a:lnTo>
                    <a:pt x="247" y="49"/>
                  </a:lnTo>
                  <a:lnTo>
                    <a:pt x="294" y="66"/>
                  </a:lnTo>
                  <a:lnTo>
                    <a:pt x="303" y="54"/>
                  </a:lnTo>
                  <a:lnTo>
                    <a:pt x="308" y="29"/>
                  </a:lnTo>
                  <a:lnTo>
                    <a:pt x="319" y="22"/>
                  </a:lnTo>
                  <a:lnTo>
                    <a:pt x="319" y="12"/>
                  </a:lnTo>
                  <a:lnTo>
                    <a:pt x="308" y="0"/>
                  </a:lnTo>
                  <a:lnTo>
                    <a:pt x="300" y="1"/>
                  </a:lnTo>
                  <a:lnTo>
                    <a:pt x="298" y="18"/>
                  </a:lnTo>
                  <a:lnTo>
                    <a:pt x="286" y="29"/>
                  </a:lnTo>
                  <a:lnTo>
                    <a:pt x="269" y="32"/>
                  </a:lnTo>
                  <a:lnTo>
                    <a:pt x="221" y="14"/>
                  </a:lnTo>
                  <a:lnTo>
                    <a:pt x="152" y="26"/>
                  </a:lnTo>
                  <a:lnTo>
                    <a:pt x="133" y="39"/>
                  </a:lnTo>
                  <a:lnTo>
                    <a:pt x="116" y="39"/>
                  </a:lnTo>
                  <a:lnTo>
                    <a:pt x="91" y="52"/>
                  </a:lnTo>
                  <a:lnTo>
                    <a:pt x="62" y="57"/>
                  </a:lnTo>
                  <a:lnTo>
                    <a:pt x="64" y="78"/>
                  </a:lnTo>
                  <a:lnTo>
                    <a:pt x="23" y="128"/>
                  </a:lnTo>
                  <a:lnTo>
                    <a:pt x="49" y="171"/>
                  </a:lnTo>
                  <a:lnTo>
                    <a:pt x="53" y="164"/>
                  </a:lnTo>
                  <a:lnTo>
                    <a:pt x="64" y="170"/>
                  </a:lnTo>
                  <a:lnTo>
                    <a:pt x="68" y="176"/>
                  </a:lnTo>
                  <a:lnTo>
                    <a:pt x="51" y="176"/>
                  </a:lnTo>
                  <a:lnTo>
                    <a:pt x="69" y="208"/>
                  </a:lnTo>
                  <a:lnTo>
                    <a:pt x="79" y="204"/>
                  </a:lnTo>
                  <a:lnTo>
                    <a:pt x="133" y="210"/>
                  </a:lnTo>
                  <a:lnTo>
                    <a:pt x="139" y="205"/>
                  </a:lnTo>
                  <a:lnTo>
                    <a:pt x="161" y="218"/>
                  </a:lnTo>
                  <a:lnTo>
                    <a:pt x="159" y="225"/>
                  </a:lnTo>
                  <a:lnTo>
                    <a:pt x="150" y="227"/>
                  </a:lnTo>
                  <a:lnTo>
                    <a:pt x="110" y="210"/>
                  </a:lnTo>
                  <a:close/>
                  <a:moveTo>
                    <a:pt x="249" y="379"/>
                  </a:moveTo>
                  <a:lnTo>
                    <a:pt x="217" y="381"/>
                  </a:lnTo>
                  <a:lnTo>
                    <a:pt x="206" y="376"/>
                  </a:lnTo>
                  <a:lnTo>
                    <a:pt x="204" y="366"/>
                  </a:lnTo>
                  <a:lnTo>
                    <a:pt x="200" y="371"/>
                  </a:lnTo>
                  <a:lnTo>
                    <a:pt x="187" y="366"/>
                  </a:lnTo>
                  <a:lnTo>
                    <a:pt x="186" y="371"/>
                  </a:lnTo>
                  <a:lnTo>
                    <a:pt x="181" y="371"/>
                  </a:lnTo>
                  <a:lnTo>
                    <a:pt x="179" y="390"/>
                  </a:lnTo>
                  <a:lnTo>
                    <a:pt x="221" y="391"/>
                  </a:lnTo>
                  <a:lnTo>
                    <a:pt x="237" y="407"/>
                  </a:lnTo>
                  <a:lnTo>
                    <a:pt x="291" y="398"/>
                  </a:lnTo>
                  <a:lnTo>
                    <a:pt x="300" y="402"/>
                  </a:lnTo>
                  <a:lnTo>
                    <a:pt x="305" y="385"/>
                  </a:lnTo>
                  <a:lnTo>
                    <a:pt x="289" y="391"/>
                  </a:lnTo>
                  <a:lnTo>
                    <a:pt x="277" y="382"/>
                  </a:lnTo>
                  <a:lnTo>
                    <a:pt x="249" y="379"/>
                  </a:lnTo>
                  <a:close/>
                  <a:moveTo>
                    <a:pt x="317" y="166"/>
                  </a:moveTo>
                  <a:lnTo>
                    <a:pt x="322" y="166"/>
                  </a:lnTo>
                  <a:lnTo>
                    <a:pt x="310" y="142"/>
                  </a:lnTo>
                  <a:lnTo>
                    <a:pt x="288" y="153"/>
                  </a:lnTo>
                  <a:lnTo>
                    <a:pt x="286" y="161"/>
                  </a:lnTo>
                  <a:lnTo>
                    <a:pt x="303" y="158"/>
                  </a:lnTo>
                  <a:lnTo>
                    <a:pt x="300" y="166"/>
                  </a:lnTo>
                  <a:lnTo>
                    <a:pt x="317" y="166"/>
                  </a:lnTo>
                  <a:close/>
                  <a:moveTo>
                    <a:pt x="291" y="215"/>
                  </a:moveTo>
                  <a:lnTo>
                    <a:pt x="296" y="210"/>
                  </a:lnTo>
                  <a:lnTo>
                    <a:pt x="298" y="195"/>
                  </a:lnTo>
                  <a:lnTo>
                    <a:pt x="286" y="192"/>
                  </a:lnTo>
                  <a:lnTo>
                    <a:pt x="291" y="215"/>
                  </a:lnTo>
                  <a:close/>
                  <a:moveTo>
                    <a:pt x="244" y="249"/>
                  </a:moveTo>
                  <a:lnTo>
                    <a:pt x="244" y="235"/>
                  </a:lnTo>
                  <a:lnTo>
                    <a:pt x="234" y="230"/>
                  </a:lnTo>
                  <a:lnTo>
                    <a:pt x="244" y="249"/>
                  </a:lnTo>
                  <a:close/>
                  <a:moveTo>
                    <a:pt x="234" y="73"/>
                  </a:moveTo>
                  <a:lnTo>
                    <a:pt x="237" y="71"/>
                  </a:lnTo>
                  <a:lnTo>
                    <a:pt x="235" y="63"/>
                  </a:lnTo>
                  <a:lnTo>
                    <a:pt x="223" y="69"/>
                  </a:lnTo>
                  <a:lnTo>
                    <a:pt x="234" y="73"/>
                  </a:lnTo>
                  <a:close/>
                  <a:moveTo>
                    <a:pt x="227" y="224"/>
                  </a:moveTo>
                  <a:lnTo>
                    <a:pt x="229" y="220"/>
                  </a:lnTo>
                  <a:lnTo>
                    <a:pt x="215" y="215"/>
                  </a:lnTo>
                  <a:lnTo>
                    <a:pt x="204" y="192"/>
                  </a:lnTo>
                  <a:lnTo>
                    <a:pt x="183" y="184"/>
                  </a:lnTo>
                  <a:lnTo>
                    <a:pt x="169" y="168"/>
                  </a:lnTo>
                  <a:lnTo>
                    <a:pt x="152" y="179"/>
                  </a:lnTo>
                  <a:lnTo>
                    <a:pt x="161" y="179"/>
                  </a:lnTo>
                  <a:lnTo>
                    <a:pt x="179" y="201"/>
                  </a:lnTo>
                  <a:lnTo>
                    <a:pt x="206" y="213"/>
                  </a:lnTo>
                  <a:lnTo>
                    <a:pt x="215" y="230"/>
                  </a:lnTo>
                  <a:lnTo>
                    <a:pt x="227" y="232"/>
                  </a:lnTo>
                  <a:lnTo>
                    <a:pt x="227" y="224"/>
                  </a:lnTo>
                  <a:close/>
                  <a:moveTo>
                    <a:pt x="49" y="225"/>
                  </a:moveTo>
                  <a:lnTo>
                    <a:pt x="51" y="216"/>
                  </a:lnTo>
                  <a:lnTo>
                    <a:pt x="44" y="205"/>
                  </a:lnTo>
                  <a:lnTo>
                    <a:pt x="32" y="213"/>
                  </a:lnTo>
                  <a:lnTo>
                    <a:pt x="49" y="225"/>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6" name="Freeform 23">
              <a:extLst>
                <a:ext uri="{FF2B5EF4-FFF2-40B4-BE49-F238E27FC236}">
                  <a16:creationId xmlns:a16="http://schemas.microsoft.com/office/drawing/2014/main" id="{92C8CEEC-EACB-794F-8E1F-0DC009658075}"/>
                </a:ext>
              </a:extLst>
            </p:cNvPr>
            <p:cNvSpPr>
              <a:spLocks noChangeAspect="1"/>
            </p:cNvSpPr>
            <p:nvPr/>
          </p:nvSpPr>
          <p:spPr bwMode="gray">
            <a:xfrm>
              <a:off x="5402720" y="3313465"/>
              <a:ext cx="33441" cy="124792"/>
            </a:xfrm>
            <a:custGeom>
              <a:avLst/>
              <a:gdLst>
                <a:gd name="T0" fmla="*/ 0 w 66"/>
                <a:gd name="T1" fmla="*/ 113 h 208"/>
                <a:gd name="T2" fmla="*/ 6 w 66"/>
                <a:gd name="T3" fmla="*/ 110 h 208"/>
                <a:gd name="T4" fmla="*/ 6 w 66"/>
                <a:gd name="T5" fmla="*/ 107 h 208"/>
                <a:gd name="T6" fmla="*/ 14 w 66"/>
                <a:gd name="T7" fmla="*/ 96 h 208"/>
                <a:gd name="T8" fmla="*/ 10 w 66"/>
                <a:gd name="T9" fmla="*/ 93 h 208"/>
                <a:gd name="T10" fmla="*/ 17 w 66"/>
                <a:gd name="T11" fmla="*/ 84 h 208"/>
                <a:gd name="T12" fmla="*/ 22 w 66"/>
                <a:gd name="T13" fmla="*/ 71 h 208"/>
                <a:gd name="T14" fmla="*/ 39 w 66"/>
                <a:gd name="T15" fmla="*/ 8 h 208"/>
                <a:gd name="T16" fmla="*/ 61 w 66"/>
                <a:gd name="T17" fmla="*/ 10 h 208"/>
                <a:gd name="T18" fmla="*/ 63 w 66"/>
                <a:gd name="T19" fmla="*/ 0 h 208"/>
                <a:gd name="T20" fmla="*/ 66 w 66"/>
                <a:gd name="T21" fmla="*/ 2 h 208"/>
                <a:gd name="T22" fmla="*/ 63 w 66"/>
                <a:gd name="T23" fmla="*/ 30 h 208"/>
                <a:gd name="T24" fmla="*/ 63 w 66"/>
                <a:gd name="T25" fmla="*/ 47 h 208"/>
                <a:gd name="T26" fmla="*/ 56 w 66"/>
                <a:gd name="T27" fmla="*/ 39 h 208"/>
                <a:gd name="T28" fmla="*/ 44 w 66"/>
                <a:gd name="T29" fmla="*/ 39 h 208"/>
                <a:gd name="T30" fmla="*/ 34 w 66"/>
                <a:gd name="T31" fmla="*/ 56 h 208"/>
                <a:gd name="T32" fmla="*/ 35 w 66"/>
                <a:gd name="T33" fmla="*/ 76 h 208"/>
                <a:gd name="T34" fmla="*/ 48 w 66"/>
                <a:gd name="T35" fmla="*/ 79 h 208"/>
                <a:gd name="T36" fmla="*/ 37 w 66"/>
                <a:gd name="T37" fmla="*/ 83 h 208"/>
                <a:gd name="T38" fmla="*/ 31 w 66"/>
                <a:gd name="T39" fmla="*/ 101 h 208"/>
                <a:gd name="T40" fmla="*/ 34 w 66"/>
                <a:gd name="T41" fmla="*/ 105 h 208"/>
                <a:gd name="T42" fmla="*/ 52 w 66"/>
                <a:gd name="T43" fmla="*/ 95 h 208"/>
                <a:gd name="T44" fmla="*/ 57 w 66"/>
                <a:gd name="T45" fmla="*/ 98 h 208"/>
                <a:gd name="T46" fmla="*/ 57 w 66"/>
                <a:gd name="T47" fmla="*/ 118 h 208"/>
                <a:gd name="T48" fmla="*/ 44 w 66"/>
                <a:gd name="T49" fmla="*/ 147 h 208"/>
                <a:gd name="T50" fmla="*/ 35 w 66"/>
                <a:gd name="T51" fmla="*/ 206 h 208"/>
                <a:gd name="T52" fmla="*/ 32 w 66"/>
                <a:gd name="T53" fmla="*/ 208 h 208"/>
                <a:gd name="T54" fmla="*/ 22 w 66"/>
                <a:gd name="T55" fmla="*/ 183 h 208"/>
                <a:gd name="T56" fmla="*/ 14 w 66"/>
                <a:gd name="T57" fmla="*/ 157 h 208"/>
                <a:gd name="T58" fmla="*/ 6 w 66"/>
                <a:gd name="T59" fmla="*/ 132 h 208"/>
                <a:gd name="T60" fmla="*/ 0 w 66"/>
                <a:gd name="T61" fmla="*/ 11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6" h="208">
                  <a:moveTo>
                    <a:pt x="0" y="113"/>
                  </a:moveTo>
                  <a:lnTo>
                    <a:pt x="6" y="110"/>
                  </a:lnTo>
                  <a:lnTo>
                    <a:pt x="6" y="107"/>
                  </a:lnTo>
                  <a:lnTo>
                    <a:pt x="14" y="96"/>
                  </a:lnTo>
                  <a:lnTo>
                    <a:pt x="10" y="93"/>
                  </a:lnTo>
                  <a:lnTo>
                    <a:pt x="17" y="84"/>
                  </a:lnTo>
                  <a:lnTo>
                    <a:pt x="22" y="71"/>
                  </a:lnTo>
                  <a:lnTo>
                    <a:pt x="39" y="8"/>
                  </a:lnTo>
                  <a:lnTo>
                    <a:pt x="61" y="10"/>
                  </a:lnTo>
                  <a:lnTo>
                    <a:pt x="63" y="0"/>
                  </a:lnTo>
                  <a:lnTo>
                    <a:pt x="66" y="2"/>
                  </a:lnTo>
                  <a:lnTo>
                    <a:pt x="63" y="30"/>
                  </a:lnTo>
                  <a:lnTo>
                    <a:pt x="63" y="47"/>
                  </a:lnTo>
                  <a:lnTo>
                    <a:pt x="56" y="39"/>
                  </a:lnTo>
                  <a:lnTo>
                    <a:pt x="44" y="39"/>
                  </a:lnTo>
                  <a:lnTo>
                    <a:pt x="34" y="56"/>
                  </a:lnTo>
                  <a:lnTo>
                    <a:pt x="35" y="76"/>
                  </a:lnTo>
                  <a:lnTo>
                    <a:pt x="48" y="79"/>
                  </a:lnTo>
                  <a:lnTo>
                    <a:pt x="37" y="83"/>
                  </a:lnTo>
                  <a:lnTo>
                    <a:pt x="31" y="101"/>
                  </a:lnTo>
                  <a:lnTo>
                    <a:pt x="34" y="105"/>
                  </a:lnTo>
                  <a:lnTo>
                    <a:pt x="52" y="95"/>
                  </a:lnTo>
                  <a:lnTo>
                    <a:pt x="57" y="98"/>
                  </a:lnTo>
                  <a:lnTo>
                    <a:pt x="57" y="118"/>
                  </a:lnTo>
                  <a:lnTo>
                    <a:pt x="44" y="147"/>
                  </a:lnTo>
                  <a:lnTo>
                    <a:pt x="35" y="206"/>
                  </a:lnTo>
                  <a:lnTo>
                    <a:pt x="32" y="208"/>
                  </a:lnTo>
                  <a:lnTo>
                    <a:pt x="22" y="183"/>
                  </a:lnTo>
                  <a:lnTo>
                    <a:pt x="14" y="157"/>
                  </a:lnTo>
                  <a:lnTo>
                    <a:pt x="6" y="132"/>
                  </a:lnTo>
                  <a:lnTo>
                    <a:pt x="0" y="113"/>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7" name="Freeform 24">
              <a:extLst>
                <a:ext uri="{FF2B5EF4-FFF2-40B4-BE49-F238E27FC236}">
                  <a16:creationId xmlns:a16="http://schemas.microsoft.com/office/drawing/2014/main" id="{90FA484C-4377-CE4B-B4E5-D0E908A44ED4}"/>
                </a:ext>
              </a:extLst>
            </p:cNvPr>
            <p:cNvSpPr>
              <a:spLocks noChangeAspect="1"/>
            </p:cNvSpPr>
            <p:nvPr/>
          </p:nvSpPr>
          <p:spPr bwMode="gray">
            <a:xfrm>
              <a:off x="6890043" y="3643681"/>
              <a:ext cx="162427" cy="241905"/>
            </a:xfrm>
            <a:custGeom>
              <a:avLst/>
              <a:gdLst>
                <a:gd name="T0" fmla="*/ 90 w 332"/>
                <a:gd name="T1" fmla="*/ 211 h 413"/>
                <a:gd name="T2" fmla="*/ 109 w 332"/>
                <a:gd name="T3" fmla="*/ 225 h 413"/>
                <a:gd name="T4" fmla="*/ 132 w 332"/>
                <a:gd name="T5" fmla="*/ 205 h 413"/>
                <a:gd name="T6" fmla="*/ 161 w 332"/>
                <a:gd name="T7" fmla="*/ 203 h 413"/>
                <a:gd name="T8" fmla="*/ 203 w 332"/>
                <a:gd name="T9" fmla="*/ 261 h 413"/>
                <a:gd name="T10" fmla="*/ 220 w 332"/>
                <a:gd name="T11" fmla="*/ 315 h 413"/>
                <a:gd name="T12" fmla="*/ 242 w 332"/>
                <a:gd name="T13" fmla="*/ 335 h 413"/>
                <a:gd name="T14" fmla="*/ 239 w 332"/>
                <a:gd name="T15" fmla="*/ 387 h 413"/>
                <a:gd name="T16" fmla="*/ 235 w 332"/>
                <a:gd name="T17" fmla="*/ 406 h 413"/>
                <a:gd name="T18" fmla="*/ 268 w 332"/>
                <a:gd name="T19" fmla="*/ 412 h 413"/>
                <a:gd name="T20" fmla="*/ 282 w 332"/>
                <a:gd name="T21" fmla="*/ 391 h 413"/>
                <a:gd name="T22" fmla="*/ 311 w 332"/>
                <a:gd name="T23" fmla="*/ 395 h 413"/>
                <a:gd name="T24" fmla="*/ 332 w 332"/>
                <a:gd name="T25" fmla="*/ 350 h 413"/>
                <a:gd name="T26" fmla="*/ 299 w 332"/>
                <a:gd name="T27" fmla="*/ 291 h 413"/>
                <a:gd name="T28" fmla="*/ 286 w 332"/>
                <a:gd name="T29" fmla="*/ 279 h 413"/>
                <a:gd name="T30" fmla="*/ 260 w 332"/>
                <a:gd name="T31" fmla="*/ 244 h 413"/>
                <a:gd name="T32" fmla="*/ 222 w 332"/>
                <a:gd name="T33" fmla="*/ 191 h 413"/>
                <a:gd name="T34" fmla="*/ 176 w 332"/>
                <a:gd name="T35" fmla="*/ 140 h 413"/>
                <a:gd name="T36" fmla="*/ 208 w 332"/>
                <a:gd name="T37" fmla="*/ 129 h 413"/>
                <a:gd name="T38" fmla="*/ 189 w 332"/>
                <a:gd name="T39" fmla="*/ 90 h 413"/>
                <a:gd name="T40" fmla="*/ 135 w 332"/>
                <a:gd name="T41" fmla="*/ 81 h 413"/>
                <a:gd name="T42" fmla="*/ 124 w 332"/>
                <a:gd name="T43" fmla="*/ 50 h 413"/>
                <a:gd name="T44" fmla="*/ 92 w 332"/>
                <a:gd name="T45" fmla="*/ 7 h 413"/>
                <a:gd name="T46" fmla="*/ 62 w 332"/>
                <a:gd name="T47" fmla="*/ 8 h 413"/>
                <a:gd name="T48" fmla="*/ 70 w 332"/>
                <a:gd name="T49" fmla="*/ 45 h 413"/>
                <a:gd name="T50" fmla="*/ 47 w 332"/>
                <a:gd name="T51" fmla="*/ 64 h 413"/>
                <a:gd name="T52" fmla="*/ 37 w 332"/>
                <a:gd name="T53" fmla="*/ 53 h 413"/>
                <a:gd name="T54" fmla="*/ 17 w 332"/>
                <a:gd name="T55" fmla="*/ 79 h 413"/>
                <a:gd name="T56" fmla="*/ 0 w 332"/>
                <a:gd name="T57" fmla="*/ 90 h 413"/>
                <a:gd name="T58" fmla="*/ 5 w 332"/>
                <a:gd name="T59" fmla="*/ 100 h 413"/>
                <a:gd name="T60" fmla="*/ 16 w 332"/>
                <a:gd name="T61" fmla="*/ 134 h 413"/>
                <a:gd name="T62" fmla="*/ 42 w 332"/>
                <a:gd name="T63" fmla="*/ 144 h 413"/>
                <a:gd name="T64" fmla="*/ 31 w 332"/>
                <a:gd name="T65" fmla="*/ 227 h 413"/>
                <a:gd name="T66" fmla="*/ 76 w 332"/>
                <a:gd name="T67" fmla="*/ 211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2" h="413">
                  <a:moveTo>
                    <a:pt x="76" y="211"/>
                  </a:moveTo>
                  <a:lnTo>
                    <a:pt x="90" y="211"/>
                  </a:lnTo>
                  <a:lnTo>
                    <a:pt x="95" y="220"/>
                  </a:lnTo>
                  <a:lnTo>
                    <a:pt x="109" y="225"/>
                  </a:lnTo>
                  <a:lnTo>
                    <a:pt x="126" y="219"/>
                  </a:lnTo>
                  <a:lnTo>
                    <a:pt x="132" y="205"/>
                  </a:lnTo>
                  <a:lnTo>
                    <a:pt x="151" y="203"/>
                  </a:lnTo>
                  <a:lnTo>
                    <a:pt x="161" y="203"/>
                  </a:lnTo>
                  <a:lnTo>
                    <a:pt x="197" y="242"/>
                  </a:lnTo>
                  <a:lnTo>
                    <a:pt x="203" y="261"/>
                  </a:lnTo>
                  <a:lnTo>
                    <a:pt x="206" y="301"/>
                  </a:lnTo>
                  <a:lnTo>
                    <a:pt x="220" y="315"/>
                  </a:lnTo>
                  <a:lnTo>
                    <a:pt x="226" y="315"/>
                  </a:lnTo>
                  <a:lnTo>
                    <a:pt x="242" y="335"/>
                  </a:lnTo>
                  <a:lnTo>
                    <a:pt x="242" y="349"/>
                  </a:lnTo>
                  <a:lnTo>
                    <a:pt x="239" y="387"/>
                  </a:lnTo>
                  <a:lnTo>
                    <a:pt x="229" y="400"/>
                  </a:lnTo>
                  <a:lnTo>
                    <a:pt x="235" y="406"/>
                  </a:lnTo>
                  <a:lnTo>
                    <a:pt x="260" y="413"/>
                  </a:lnTo>
                  <a:lnTo>
                    <a:pt x="268" y="412"/>
                  </a:lnTo>
                  <a:lnTo>
                    <a:pt x="268" y="398"/>
                  </a:lnTo>
                  <a:lnTo>
                    <a:pt x="282" y="391"/>
                  </a:lnTo>
                  <a:lnTo>
                    <a:pt x="299" y="387"/>
                  </a:lnTo>
                  <a:lnTo>
                    <a:pt x="311" y="395"/>
                  </a:lnTo>
                  <a:lnTo>
                    <a:pt x="332" y="379"/>
                  </a:lnTo>
                  <a:lnTo>
                    <a:pt x="332" y="350"/>
                  </a:lnTo>
                  <a:lnTo>
                    <a:pt x="317" y="307"/>
                  </a:lnTo>
                  <a:lnTo>
                    <a:pt x="299" y="291"/>
                  </a:lnTo>
                  <a:lnTo>
                    <a:pt x="291" y="291"/>
                  </a:lnTo>
                  <a:lnTo>
                    <a:pt x="286" y="279"/>
                  </a:lnTo>
                  <a:lnTo>
                    <a:pt x="279" y="256"/>
                  </a:lnTo>
                  <a:lnTo>
                    <a:pt x="260" y="244"/>
                  </a:lnTo>
                  <a:lnTo>
                    <a:pt x="225" y="203"/>
                  </a:lnTo>
                  <a:lnTo>
                    <a:pt x="222" y="191"/>
                  </a:lnTo>
                  <a:lnTo>
                    <a:pt x="171" y="160"/>
                  </a:lnTo>
                  <a:lnTo>
                    <a:pt x="176" y="140"/>
                  </a:lnTo>
                  <a:lnTo>
                    <a:pt x="197" y="140"/>
                  </a:lnTo>
                  <a:lnTo>
                    <a:pt x="208" y="129"/>
                  </a:lnTo>
                  <a:lnTo>
                    <a:pt x="210" y="120"/>
                  </a:lnTo>
                  <a:lnTo>
                    <a:pt x="189" y="90"/>
                  </a:lnTo>
                  <a:lnTo>
                    <a:pt x="181" y="79"/>
                  </a:lnTo>
                  <a:lnTo>
                    <a:pt x="135" y="81"/>
                  </a:lnTo>
                  <a:lnTo>
                    <a:pt x="122" y="67"/>
                  </a:lnTo>
                  <a:lnTo>
                    <a:pt x="124" y="50"/>
                  </a:lnTo>
                  <a:lnTo>
                    <a:pt x="118" y="42"/>
                  </a:lnTo>
                  <a:lnTo>
                    <a:pt x="92" y="7"/>
                  </a:lnTo>
                  <a:lnTo>
                    <a:pt x="70" y="0"/>
                  </a:lnTo>
                  <a:lnTo>
                    <a:pt x="62" y="8"/>
                  </a:lnTo>
                  <a:lnTo>
                    <a:pt x="62" y="32"/>
                  </a:lnTo>
                  <a:lnTo>
                    <a:pt x="70" y="45"/>
                  </a:lnTo>
                  <a:lnTo>
                    <a:pt x="64" y="61"/>
                  </a:lnTo>
                  <a:lnTo>
                    <a:pt x="47" y="64"/>
                  </a:lnTo>
                  <a:lnTo>
                    <a:pt x="42" y="42"/>
                  </a:lnTo>
                  <a:lnTo>
                    <a:pt x="37" y="53"/>
                  </a:lnTo>
                  <a:lnTo>
                    <a:pt x="16" y="67"/>
                  </a:lnTo>
                  <a:lnTo>
                    <a:pt x="17" y="79"/>
                  </a:lnTo>
                  <a:lnTo>
                    <a:pt x="5" y="81"/>
                  </a:lnTo>
                  <a:lnTo>
                    <a:pt x="0" y="90"/>
                  </a:lnTo>
                  <a:lnTo>
                    <a:pt x="0" y="100"/>
                  </a:lnTo>
                  <a:lnTo>
                    <a:pt x="5" y="100"/>
                  </a:lnTo>
                  <a:lnTo>
                    <a:pt x="14" y="110"/>
                  </a:lnTo>
                  <a:lnTo>
                    <a:pt x="16" y="134"/>
                  </a:lnTo>
                  <a:lnTo>
                    <a:pt x="16" y="138"/>
                  </a:lnTo>
                  <a:lnTo>
                    <a:pt x="42" y="144"/>
                  </a:lnTo>
                  <a:lnTo>
                    <a:pt x="41" y="185"/>
                  </a:lnTo>
                  <a:lnTo>
                    <a:pt x="31" y="227"/>
                  </a:lnTo>
                  <a:lnTo>
                    <a:pt x="34" y="242"/>
                  </a:lnTo>
                  <a:lnTo>
                    <a:pt x="76" y="211"/>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8" name="Freeform 25">
              <a:extLst>
                <a:ext uri="{FF2B5EF4-FFF2-40B4-BE49-F238E27FC236}">
                  <a16:creationId xmlns:a16="http://schemas.microsoft.com/office/drawing/2014/main" id="{BBE011FD-E788-3448-AF5D-BF387CDE0556}"/>
                </a:ext>
              </a:extLst>
            </p:cNvPr>
            <p:cNvSpPr>
              <a:spLocks noChangeAspect="1"/>
            </p:cNvSpPr>
            <p:nvPr/>
          </p:nvSpPr>
          <p:spPr bwMode="gray">
            <a:xfrm>
              <a:off x="5681395" y="2462960"/>
              <a:ext cx="912459" cy="585561"/>
            </a:xfrm>
            <a:custGeom>
              <a:avLst/>
              <a:gdLst>
                <a:gd name="T0" fmla="*/ 1126 w 1874"/>
                <a:gd name="T1" fmla="*/ 16 h 999"/>
                <a:gd name="T2" fmla="*/ 1136 w 1874"/>
                <a:gd name="T3" fmla="*/ 101 h 999"/>
                <a:gd name="T4" fmla="*/ 1192 w 1874"/>
                <a:gd name="T5" fmla="*/ 115 h 999"/>
                <a:gd name="T6" fmla="*/ 1236 w 1874"/>
                <a:gd name="T7" fmla="*/ 117 h 999"/>
                <a:gd name="T8" fmla="*/ 1239 w 1874"/>
                <a:gd name="T9" fmla="*/ 152 h 999"/>
                <a:gd name="T10" fmla="*/ 1397 w 1874"/>
                <a:gd name="T11" fmla="*/ 92 h 999"/>
                <a:gd name="T12" fmla="*/ 1548 w 1874"/>
                <a:gd name="T13" fmla="*/ 355 h 999"/>
                <a:gd name="T14" fmla="*/ 1664 w 1874"/>
                <a:gd name="T15" fmla="*/ 358 h 999"/>
                <a:gd name="T16" fmla="*/ 1849 w 1874"/>
                <a:gd name="T17" fmla="*/ 431 h 999"/>
                <a:gd name="T18" fmla="*/ 1816 w 1874"/>
                <a:gd name="T19" fmla="*/ 530 h 999"/>
                <a:gd name="T20" fmla="*/ 1754 w 1874"/>
                <a:gd name="T21" fmla="*/ 620 h 999"/>
                <a:gd name="T22" fmla="*/ 1666 w 1874"/>
                <a:gd name="T23" fmla="*/ 649 h 999"/>
                <a:gd name="T24" fmla="*/ 1600 w 1874"/>
                <a:gd name="T25" fmla="*/ 744 h 999"/>
                <a:gd name="T26" fmla="*/ 1559 w 1874"/>
                <a:gd name="T27" fmla="*/ 815 h 999"/>
                <a:gd name="T28" fmla="*/ 1556 w 1874"/>
                <a:gd name="T29" fmla="*/ 920 h 999"/>
                <a:gd name="T30" fmla="*/ 1327 w 1874"/>
                <a:gd name="T31" fmla="*/ 883 h 999"/>
                <a:gd name="T32" fmla="*/ 1234 w 1874"/>
                <a:gd name="T33" fmla="*/ 911 h 999"/>
                <a:gd name="T34" fmla="*/ 1123 w 1874"/>
                <a:gd name="T35" fmla="*/ 917 h 999"/>
                <a:gd name="T36" fmla="*/ 1056 w 1874"/>
                <a:gd name="T37" fmla="*/ 966 h 999"/>
                <a:gd name="T38" fmla="*/ 929 w 1874"/>
                <a:gd name="T39" fmla="*/ 949 h 999"/>
                <a:gd name="T40" fmla="*/ 908 w 1874"/>
                <a:gd name="T41" fmla="*/ 881 h 999"/>
                <a:gd name="T42" fmla="*/ 816 w 1874"/>
                <a:gd name="T43" fmla="*/ 834 h 999"/>
                <a:gd name="T44" fmla="*/ 691 w 1874"/>
                <a:gd name="T45" fmla="*/ 823 h 999"/>
                <a:gd name="T46" fmla="*/ 578 w 1874"/>
                <a:gd name="T47" fmla="*/ 722 h 999"/>
                <a:gd name="T48" fmla="*/ 464 w 1874"/>
                <a:gd name="T49" fmla="*/ 742 h 999"/>
                <a:gd name="T50" fmla="*/ 437 w 1874"/>
                <a:gd name="T51" fmla="*/ 923 h 999"/>
                <a:gd name="T52" fmla="*/ 376 w 1874"/>
                <a:gd name="T53" fmla="*/ 929 h 999"/>
                <a:gd name="T54" fmla="*/ 274 w 1874"/>
                <a:gd name="T55" fmla="*/ 920 h 999"/>
                <a:gd name="T56" fmla="*/ 238 w 1874"/>
                <a:gd name="T57" fmla="*/ 872 h 999"/>
                <a:gd name="T58" fmla="*/ 196 w 1874"/>
                <a:gd name="T59" fmla="*/ 804 h 999"/>
                <a:gd name="T60" fmla="*/ 230 w 1874"/>
                <a:gd name="T61" fmla="*/ 784 h 999"/>
                <a:gd name="T62" fmla="*/ 262 w 1874"/>
                <a:gd name="T63" fmla="*/ 728 h 999"/>
                <a:gd name="T64" fmla="*/ 359 w 1874"/>
                <a:gd name="T65" fmla="*/ 747 h 999"/>
                <a:gd name="T66" fmla="*/ 383 w 1874"/>
                <a:gd name="T67" fmla="*/ 731 h 999"/>
                <a:gd name="T68" fmla="*/ 337 w 1874"/>
                <a:gd name="T69" fmla="*/ 679 h 999"/>
                <a:gd name="T70" fmla="*/ 284 w 1874"/>
                <a:gd name="T71" fmla="*/ 611 h 999"/>
                <a:gd name="T72" fmla="*/ 176 w 1874"/>
                <a:gd name="T73" fmla="*/ 632 h 999"/>
                <a:gd name="T74" fmla="*/ 69 w 1874"/>
                <a:gd name="T75" fmla="*/ 648 h 999"/>
                <a:gd name="T76" fmla="*/ 72 w 1874"/>
                <a:gd name="T77" fmla="*/ 563 h 999"/>
                <a:gd name="T78" fmla="*/ 10 w 1874"/>
                <a:gd name="T79" fmla="*/ 484 h 999"/>
                <a:gd name="T80" fmla="*/ 37 w 1874"/>
                <a:gd name="T81" fmla="*/ 406 h 999"/>
                <a:gd name="T82" fmla="*/ 93 w 1874"/>
                <a:gd name="T83" fmla="*/ 365 h 999"/>
                <a:gd name="T84" fmla="*/ 191 w 1874"/>
                <a:gd name="T85" fmla="*/ 291 h 999"/>
                <a:gd name="T86" fmla="*/ 267 w 1874"/>
                <a:gd name="T87" fmla="*/ 283 h 999"/>
                <a:gd name="T88" fmla="*/ 369 w 1874"/>
                <a:gd name="T89" fmla="*/ 371 h 999"/>
                <a:gd name="T90" fmla="*/ 423 w 1874"/>
                <a:gd name="T91" fmla="*/ 369 h 999"/>
                <a:gd name="T92" fmla="*/ 540 w 1874"/>
                <a:gd name="T93" fmla="*/ 329 h 999"/>
                <a:gd name="T94" fmla="*/ 667 w 1874"/>
                <a:gd name="T95" fmla="*/ 362 h 999"/>
                <a:gd name="T96" fmla="*/ 669 w 1874"/>
                <a:gd name="T97" fmla="*/ 307 h 999"/>
                <a:gd name="T98" fmla="*/ 669 w 1874"/>
                <a:gd name="T99" fmla="*/ 230 h 999"/>
                <a:gd name="T100" fmla="*/ 679 w 1874"/>
                <a:gd name="T101" fmla="*/ 165 h 999"/>
                <a:gd name="T102" fmla="*/ 676 w 1874"/>
                <a:gd name="T103" fmla="*/ 125 h 999"/>
                <a:gd name="T104" fmla="*/ 807 w 1874"/>
                <a:gd name="T105" fmla="*/ 98 h 9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74" h="999">
                  <a:moveTo>
                    <a:pt x="999" y="33"/>
                  </a:moveTo>
                  <a:lnTo>
                    <a:pt x="1002" y="15"/>
                  </a:lnTo>
                  <a:lnTo>
                    <a:pt x="1036" y="0"/>
                  </a:lnTo>
                  <a:lnTo>
                    <a:pt x="1126" y="16"/>
                  </a:lnTo>
                  <a:lnTo>
                    <a:pt x="1131" y="49"/>
                  </a:lnTo>
                  <a:lnTo>
                    <a:pt x="1141" y="58"/>
                  </a:lnTo>
                  <a:lnTo>
                    <a:pt x="1129" y="89"/>
                  </a:lnTo>
                  <a:lnTo>
                    <a:pt x="1136" y="101"/>
                  </a:lnTo>
                  <a:lnTo>
                    <a:pt x="1177" y="97"/>
                  </a:lnTo>
                  <a:lnTo>
                    <a:pt x="1178" y="83"/>
                  </a:lnTo>
                  <a:lnTo>
                    <a:pt x="1194" y="101"/>
                  </a:lnTo>
                  <a:lnTo>
                    <a:pt x="1192" y="115"/>
                  </a:lnTo>
                  <a:lnTo>
                    <a:pt x="1206" y="117"/>
                  </a:lnTo>
                  <a:lnTo>
                    <a:pt x="1199" y="105"/>
                  </a:lnTo>
                  <a:lnTo>
                    <a:pt x="1206" y="101"/>
                  </a:lnTo>
                  <a:lnTo>
                    <a:pt x="1236" y="117"/>
                  </a:lnTo>
                  <a:lnTo>
                    <a:pt x="1251" y="108"/>
                  </a:lnTo>
                  <a:lnTo>
                    <a:pt x="1253" y="122"/>
                  </a:lnTo>
                  <a:lnTo>
                    <a:pt x="1234" y="140"/>
                  </a:lnTo>
                  <a:lnTo>
                    <a:pt x="1239" y="152"/>
                  </a:lnTo>
                  <a:lnTo>
                    <a:pt x="1287" y="148"/>
                  </a:lnTo>
                  <a:lnTo>
                    <a:pt x="1339" y="98"/>
                  </a:lnTo>
                  <a:lnTo>
                    <a:pt x="1393" y="80"/>
                  </a:lnTo>
                  <a:lnTo>
                    <a:pt x="1397" y="92"/>
                  </a:lnTo>
                  <a:lnTo>
                    <a:pt x="1381" y="100"/>
                  </a:lnTo>
                  <a:lnTo>
                    <a:pt x="1384" y="113"/>
                  </a:lnTo>
                  <a:lnTo>
                    <a:pt x="1448" y="171"/>
                  </a:lnTo>
                  <a:lnTo>
                    <a:pt x="1548" y="355"/>
                  </a:lnTo>
                  <a:lnTo>
                    <a:pt x="1578" y="320"/>
                  </a:lnTo>
                  <a:lnTo>
                    <a:pt x="1600" y="333"/>
                  </a:lnTo>
                  <a:lnTo>
                    <a:pt x="1610" y="358"/>
                  </a:lnTo>
                  <a:lnTo>
                    <a:pt x="1664" y="358"/>
                  </a:lnTo>
                  <a:lnTo>
                    <a:pt x="1706" y="341"/>
                  </a:lnTo>
                  <a:lnTo>
                    <a:pt x="1785" y="436"/>
                  </a:lnTo>
                  <a:lnTo>
                    <a:pt x="1831" y="448"/>
                  </a:lnTo>
                  <a:lnTo>
                    <a:pt x="1849" y="431"/>
                  </a:lnTo>
                  <a:lnTo>
                    <a:pt x="1874" y="470"/>
                  </a:lnTo>
                  <a:lnTo>
                    <a:pt x="1868" y="496"/>
                  </a:lnTo>
                  <a:lnTo>
                    <a:pt x="1844" y="526"/>
                  </a:lnTo>
                  <a:lnTo>
                    <a:pt x="1816" y="530"/>
                  </a:lnTo>
                  <a:lnTo>
                    <a:pt x="1802" y="567"/>
                  </a:lnTo>
                  <a:lnTo>
                    <a:pt x="1802" y="617"/>
                  </a:lnTo>
                  <a:lnTo>
                    <a:pt x="1769" y="632"/>
                  </a:lnTo>
                  <a:lnTo>
                    <a:pt x="1754" y="620"/>
                  </a:lnTo>
                  <a:lnTo>
                    <a:pt x="1724" y="623"/>
                  </a:lnTo>
                  <a:lnTo>
                    <a:pt x="1701" y="612"/>
                  </a:lnTo>
                  <a:lnTo>
                    <a:pt x="1681" y="611"/>
                  </a:lnTo>
                  <a:lnTo>
                    <a:pt x="1666" y="649"/>
                  </a:lnTo>
                  <a:lnTo>
                    <a:pt x="1649" y="694"/>
                  </a:lnTo>
                  <a:lnTo>
                    <a:pt x="1647" y="711"/>
                  </a:lnTo>
                  <a:lnTo>
                    <a:pt x="1655" y="738"/>
                  </a:lnTo>
                  <a:lnTo>
                    <a:pt x="1600" y="744"/>
                  </a:lnTo>
                  <a:lnTo>
                    <a:pt x="1578" y="753"/>
                  </a:lnTo>
                  <a:lnTo>
                    <a:pt x="1542" y="765"/>
                  </a:lnTo>
                  <a:lnTo>
                    <a:pt x="1556" y="784"/>
                  </a:lnTo>
                  <a:lnTo>
                    <a:pt x="1559" y="815"/>
                  </a:lnTo>
                  <a:lnTo>
                    <a:pt x="1576" y="860"/>
                  </a:lnTo>
                  <a:lnTo>
                    <a:pt x="1576" y="872"/>
                  </a:lnTo>
                  <a:lnTo>
                    <a:pt x="1565" y="880"/>
                  </a:lnTo>
                  <a:lnTo>
                    <a:pt x="1556" y="920"/>
                  </a:lnTo>
                  <a:lnTo>
                    <a:pt x="1520" y="909"/>
                  </a:lnTo>
                  <a:lnTo>
                    <a:pt x="1507" y="892"/>
                  </a:lnTo>
                  <a:lnTo>
                    <a:pt x="1409" y="878"/>
                  </a:lnTo>
                  <a:lnTo>
                    <a:pt x="1327" y="883"/>
                  </a:lnTo>
                  <a:lnTo>
                    <a:pt x="1296" y="878"/>
                  </a:lnTo>
                  <a:lnTo>
                    <a:pt x="1273" y="863"/>
                  </a:lnTo>
                  <a:lnTo>
                    <a:pt x="1243" y="878"/>
                  </a:lnTo>
                  <a:lnTo>
                    <a:pt x="1234" y="911"/>
                  </a:lnTo>
                  <a:lnTo>
                    <a:pt x="1191" y="894"/>
                  </a:lnTo>
                  <a:lnTo>
                    <a:pt x="1149" y="888"/>
                  </a:lnTo>
                  <a:lnTo>
                    <a:pt x="1129" y="894"/>
                  </a:lnTo>
                  <a:lnTo>
                    <a:pt x="1123" y="917"/>
                  </a:lnTo>
                  <a:lnTo>
                    <a:pt x="1110" y="934"/>
                  </a:lnTo>
                  <a:lnTo>
                    <a:pt x="1099" y="934"/>
                  </a:lnTo>
                  <a:lnTo>
                    <a:pt x="1087" y="951"/>
                  </a:lnTo>
                  <a:lnTo>
                    <a:pt x="1056" y="966"/>
                  </a:lnTo>
                  <a:lnTo>
                    <a:pt x="1024" y="999"/>
                  </a:lnTo>
                  <a:lnTo>
                    <a:pt x="985" y="983"/>
                  </a:lnTo>
                  <a:lnTo>
                    <a:pt x="938" y="988"/>
                  </a:lnTo>
                  <a:lnTo>
                    <a:pt x="929" y="949"/>
                  </a:lnTo>
                  <a:lnTo>
                    <a:pt x="903" y="945"/>
                  </a:lnTo>
                  <a:lnTo>
                    <a:pt x="901" y="919"/>
                  </a:lnTo>
                  <a:lnTo>
                    <a:pt x="908" y="917"/>
                  </a:lnTo>
                  <a:lnTo>
                    <a:pt x="908" y="881"/>
                  </a:lnTo>
                  <a:lnTo>
                    <a:pt x="895" y="883"/>
                  </a:lnTo>
                  <a:lnTo>
                    <a:pt x="880" y="855"/>
                  </a:lnTo>
                  <a:lnTo>
                    <a:pt x="850" y="831"/>
                  </a:lnTo>
                  <a:lnTo>
                    <a:pt x="816" y="834"/>
                  </a:lnTo>
                  <a:lnTo>
                    <a:pt x="782" y="838"/>
                  </a:lnTo>
                  <a:lnTo>
                    <a:pt x="748" y="841"/>
                  </a:lnTo>
                  <a:lnTo>
                    <a:pt x="714" y="844"/>
                  </a:lnTo>
                  <a:lnTo>
                    <a:pt x="691" y="823"/>
                  </a:lnTo>
                  <a:lnTo>
                    <a:pt x="669" y="801"/>
                  </a:lnTo>
                  <a:lnTo>
                    <a:pt x="646" y="778"/>
                  </a:lnTo>
                  <a:lnTo>
                    <a:pt x="623" y="755"/>
                  </a:lnTo>
                  <a:lnTo>
                    <a:pt x="578" y="722"/>
                  </a:lnTo>
                  <a:lnTo>
                    <a:pt x="553" y="711"/>
                  </a:lnTo>
                  <a:lnTo>
                    <a:pt x="524" y="722"/>
                  </a:lnTo>
                  <a:lnTo>
                    <a:pt x="494" y="733"/>
                  </a:lnTo>
                  <a:lnTo>
                    <a:pt x="464" y="742"/>
                  </a:lnTo>
                  <a:lnTo>
                    <a:pt x="435" y="753"/>
                  </a:lnTo>
                  <a:lnTo>
                    <a:pt x="435" y="812"/>
                  </a:lnTo>
                  <a:lnTo>
                    <a:pt x="435" y="866"/>
                  </a:lnTo>
                  <a:lnTo>
                    <a:pt x="437" y="923"/>
                  </a:lnTo>
                  <a:lnTo>
                    <a:pt x="437" y="980"/>
                  </a:lnTo>
                  <a:lnTo>
                    <a:pt x="425" y="983"/>
                  </a:lnTo>
                  <a:lnTo>
                    <a:pt x="402" y="978"/>
                  </a:lnTo>
                  <a:lnTo>
                    <a:pt x="376" y="929"/>
                  </a:lnTo>
                  <a:lnTo>
                    <a:pt x="352" y="915"/>
                  </a:lnTo>
                  <a:lnTo>
                    <a:pt x="300" y="929"/>
                  </a:lnTo>
                  <a:lnTo>
                    <a:pt x="274" y="951"/>
                  </a:lnTo>
                  <a:lnTo>
                    <a:pt x="274" y="920"/>
                  </a:lnTo>
                  <a:lnTo>
                    <a:pt x="283" y="911"/>
                  </a:lnTo>
                  <a:lnTo>
                    <a:pt x="283" y="895"/>
                  </a:lnTo>
                  <a:lnTo>
                    <a:pt x="247" y="881"/>
                  </a:lnTo>
                  <a:lnTo>
                    <a:pt x="238" y="872"/>
                  </a:lnTo>
                  <a:lnTo>
                    <a:pt x="222" y="869"/>
                  </a:lnTo>
                  <a:lnTo>
                    <a:pt x="219" y="838"/>
                  </a:lnTo>
                  <a:lnTo>
                    <a:pt x="210" y="821"/>
                  </a:lnTo>
                  <a:lnTo>
                    <a:pt x="196" y="804"/>
                  </a:lnTo>
                  <a:lnTo>
                    <a:pt x="178" y="797"/>
                  </a:lnTo>
                  <a:lnTo>
                    <a:pt x="168" y="784"/>
                  </a:lnTo>
                  <a:lnTo>
                    <a:pt x="190" y="776"/>
                  </a:lnTo>
                  <a:lnTo>
                    <a:pt x="230" y="784"/>
                  </a:lnTo>
                  <a:lnTo>
                    <a:pt x="222" y="753"/>
                  </a:lnTo>
                  <a:lnTo>
                    <a:pt x="227" y="742"/>
                  </a:lnTo>
                  <a:lnTo>
                    <a:pt x="252" y="742"/>
                  </a:lnTo>
                  <a:lnTo>
                    <a:pt x="262" y="728"/>
                  </a:lnTo>
                  <a:lnTo>
                    <a:pt x="278" y="728"/>
                  </a:lnTo>
                  <a:lnTo>
                    <a:pt x="304" y="739"/>
                  </a:lnTo>
                  <a:lnTo>
                    <a:pt x="326" y="731"/>
                  </a:lnTo>
                  <a:lnTo>
                    <a:pt x="359" y="747"/>
                  </a:lnTo>
                  <a:lnTo>
                    <a:pt x="377" y="747"/>
                  </a:lnTo>
                  <a:lnTo>
                    <a:pt x="380" y="739"/>
                  </a:lnTo>
                  <a:lnTo>
                    <a:pt x="374" y="731"/>
                  </a:lnTo>
                  <a:lnTo>
                    <a:pt x="383" y="731"/>
                  </a:lnTo>
                  <a:lnTo>
                    <a:pt x="377" y="719"/>
                  </a:lnTo>
                  <a:lnTo>
                    <a:pt x="355" y="694"/>
                  </a:lnTo>
                  <a:lnTo>
                    <a:pt x="345" y="692"/>
                  </a:lnTo>
                  <a:lnTo>
                    <a:pt x="337" y="679"/>
                  </a:lnTo>
                  <a:lnTo>
                    <a:pt x="332" y="658"/>
                  </a:lnTo>
                  <a:lnTo>
                    <a:pt x="313" y="641"/>
                  </a:lnTo>
                  <a:lnTo>
                    <a:pt x="312" y="631"/>
                  </a:lnTo>
                  <a:lnTo>
                    <a:pt x="284" y="611"/>
                  </a:lnTo>
                  <a:lnTo>
                    <a:pt x="247" y="620"/>
                  </a:lnTo>
                  <a:lnTo>
                    <a:pt x="245" y="611"/>
                  </a:lnTo>
                  <a:lnTo>
                    <a:pt x="205" y="606"/>
                  </a:lnTo>
                  <a:lnTo>
                    <a:pt x="176" y="632"/>
                  </a:lnTo>
                  <a:lnTo>
                    <a:pt x="98" y="649"/>
                  </a:lnTo>
                  <a:lnTo>
                    <a:pt x="117" y="662"/>
                  </a:lnTo>
                  <a:lnTo>
                    <a:pt x="103" y="668"/>
                  </a:lnTo>
                  <a:lnTo>
                    <a:pt x="69" y="648"/>
                  </a:lnTo>
                  <a:lnTo>
                    <a:pt x="76" y="636"/>
                  </a:lnTo>
                  <a:lnTo>
                    <a:pt x="100" y="636"/>
                  </a:lnTo>
                  <a:lnTo>
                    <a:pt x="93" y="589"/>
                  </a:lnTo>
                  <a:lnTo>
                    <a:pt x="72" y="563"/>
                  </a:lnTo>
                  <a:lnTo>
                    <a:pt x="38" y="570"/>
                  </a:lnTo>
                  <a:lnTo>
                    <a:pt x="23" y="530"/>
                  </a:lnTo>
                  <a:lnTo>
                    <a:pt x="0" y="521"/>
                  </a:lnTo>
                  <a:lnTo>
                    <a:pt x="10" y="484"/>
                  </a:lnTo>
                  <a:lnTo>
                    <a:pt x="26" y="472"/>
                  </a:lnTo>
                  <a:lnTo>
                    <a:pt x="13" y="456"/>
                  </a:lnTo>
                  <a:lnTo>
                    <a:pt x="21" y="417"/>
                  </a:lnTo>
                  <a:lnTo>
                    <a:pt x="37" y="406"/>
                  </a:lnTo>
                  <a:lnTo>
                    <a:pt x="46" y="374"/>
                  </a:lnTo>
                  <a:lnTo>
                    <a:pt x="85" y="426"/>
                  </a:lnTo>
                  <a:lnTo>
                    <a:pt x="106" y="411"/>
                  </a:lnTo>
                  <a:lnTo>
                    <a:pt x="93" y="365"/>
                  </a:lnTo>
                  <a:lnTo>
                    <a:pt x="128" y="348"/>
                  </a:lnTo>
                  <a:lnTo>
                    <a:pt x="134" y="329"/>
                  </a:lnTo>
                  <a:lnTo>
                    <a:pt x="170" y="316"/>
                  </a:lnTo>
                  <a:lnTo>
                    <a:pt x="191" y="291"/>
                  </a:lnTo>
                  <a:lnTo>
                    <a:pt x="216" y="287"/>
                  </a:lnTo>
                  <a:lnTo>
                    <a:pt x="238" y="303"/>
                  </a:lnTo>
                  <a:lnTo>
                    <a:pt x="249" y="284"/>
                  </a:lnTo>
                  <a:lnTo>
                    <a:pt x="267" y="283"/>
                  </a:lnTo>
                  <a:lnTo>
                    <a:pt x="278" y="299"/>
                  </a:lnTo>
                  <a:lnTo>
                    <a:pt x="323" y="301"/>
                  </a:lnTo>
                  <a:lnTo>
                    <a:pt x="354" y="333"/>
                  </a:lnTo>
                  <a:lnTo>
                    <a:pt x="369" y="371"/>
                  </a:lnTo>
                  <a:lnTo>
                    <a:pt x="376" y="366"/>
                  </a:lnTo>
                  <a:lnTo>
                    <a:pt x="372" y="341"/>
                  </a:lnTo>
                  <a:lnTo>
                    <a:pt x="383" y="335"/>
                  </a:lnTo>
                  <a:lnTo>
                    <a:pt x="423" y="369"/>
                  </a:lnTo>
                  <a:lnTo>
                    <a:pt x="470" y="335"/>
                  </a:lnTo>
                  <a:lnTo>
                    <a:pt x="504" y="346"/>
                  </a:lnTo>
                  <a:lnTo>
                    <a:pt x="516" y="337"/>
                  </a:lnTo>
                  <a:lnTo>
                    <a:pt x="540" y="329"/>
                  </a:lnTo>
                  <a:lnTo>
                    <a:pt x="567" y="363"/>
                  </a:lnTo>
                  <a:lnTo>
                    <a:pt x="595" y="374"/>
                  </a:lnTo>
                  <a:lnTo>
                    <a:pt x="625" y="350"/>
                  </a:lnTo>
                  <a:lnTo>
                    <a:pt x="667" y="362"/>
                  </a:lnTo>
                  <a:lnTo>
                    <a:pt x="685" y="354"/>
                  </a:lnTo>
                  <a:lnTo>
                    <a:pt x="697" y="315"/>
                  </a:lnTo>
                  <a:lnTo>
                    <a:pt x="694" y="309"/>
                  </a:lnTo>
                  <a:lnTo>
                    <a:pt x="669" y="307"/>
                  </a:lnTo>
                  <a:lnTo>
                    <a:pt x="638" y="289"/>
                  </a:lnTo>
                  <a:lnTo>
                    <a:pt x="623" y="266"/>
                  </a:lnTo>
                  <a:lnTo>
                    <a:pt x="665" y="244"/>
                  </a:lnTo>
                  <a:lnTo>
                    <a:pt x="669" y="230"/>
                  </a:lnTo>
                  <a:lnTo>
                    <a:pt x="654" y="208"/>
                  </a:lnTo>
                  <a:lnTo>
                    <a:pt x="672" y="190"/>
                  </a:lnTo>
                  <a:lnTo>
                    <a:pt x="721" y="182"/>
                  </a:lnTo>
                  <a:lnTo>
                    <a:pt x="679" y="165"/>
                  </a:lnTo>
                  <a:lnTo>
                    <a:pt x="676" y="154"/>
                  </a:lnTo>
                  <a:lnTo>
                    <a:pt x="693" y="145"/>
                  </a:lnTo>
                  <a:lnTo>
                    <a:pt x="669" y="143"/>
                  </a:lnTo>
                  <a:lnTo>
                    <a:pt x="676" y="125"/>
                  </a:lnTo>
                  <a:lnTo>
                    <a:pt x="665" y="115"/>
                  </a:lnTo>
                  <a:lnTo>
                    <a:pt x="738" y="118"/>
                  </a:lnTo>
                  <a:lnTo>
                    <a:pt x="790" y="91"/>
                  </a:lnTo>
                  <a:lnTo>
                    <a:pt x="807" y="98"/>
                  </a:lnTo>
                  <a:lnTo>
                    <a:pt x="843" y="77"/>
                  </a:lnTo>
                  <a:lnTo>
                    <a:pt x="870" y="61"/>
                  </a:lnTo>
                  <a:lnTo>
                    <a:pt x="999" y="33"/>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29" name="Freeform 26">
              <a:extLst>
                <a:ext uri="{FF2B5EF4-FFF2-40B4-BE49-F238E27FC236}">
                  <a16:creationId xmlns:a16="http://schemas.microsoft.com/office/drawing/2014/main" id="{12F883D6-A5A1-D94B-8E3C-ED4ACF2ABB2B}"/>
                </a:ext>
              </a:extLst>
            </p:cNvPr>
            <p:cNvSpPr>
              <a:spLocks noChangeAspect="1"/>
            </p:cNvSpPr>
            <p:nvPr/>
          </p:nvSpPr>
          <p:spPr bwMode="gray">
            <a:xfrm>
              <a:off x="5646362" y="3017806"/>
              <a:ext cx="121023" cy="119031"/>
            </a:xfrm>
            <a:custGeom>
              <a:avLst/>
              <a:gdLst>
                <a:gd name="T0" fmla="*/ 183 w 249"/>
                <a:gd name="T1" fmla="*/ 205 h 205"/>
                <a:gd name="T2" fmla="*/ 183 w 249"/>
                <a:gd name="T3" fmla="*/ 166 h 205"/>
                <a:gd name="T4" fmla="*/ 190 w 249"/>
                <a:gd name="T5" fmla="*/ 163 h 205"/>
                <a:gd name="T6" fmla="*/ 200 w 249"/>
                <a:gd name="T7" fmla="*/ 172 h 205"/>
                <a:gd name="T8" fmla="*/ 200 w 249"/>
                <a:gd name="T9" fmla="*/ 164 h 205"/>
                <a:gd name="T10" fmla="*/ 213 w 249"/>
                <a:gd name="T11" fmla="*/ 107 h 205"/>
                <a:gd name="T12" fmla="*/ 229 w 249"/>
                <a:gd name="T13" fmla="*/ 93 h 205"/>
                <a:gd name="T14" fmla="*/ 241 w 249"/>
                <a:gd name="T15" fmla="*/ 92 h 205"/>
                <a:gd name="T16" fmla="*/ 249 w 249"/>
                <a:gd name="T17" fmla="*/ 100 h 205"/>
                <a:gd name="T18" fmla="*/ 243 w 249"/>
                <a:gd name="T19" fmla="*/ 84 h 205"/>
                <a:gd name="T20" fmla="*/ 232 w 249"/>
                <a:gd name="T21" fmla="*/ 78 h 205"/>
                <a:gd name="T22" fmla="*/ 215 w 249"/>
                <a:gd name="T23" fmla="*/ 79 h 205"/>
                <a:gd name="T24" fmla="*/ 186 w 249"/>
                <a:gd name="T25" fmla="*/ 28 h 205"/>
                <a:gd name="T26" fmla="*/ 161 w 249"/>
                <a:gd name="T27" fmla="*/ 5 h 205"/>
                <a:gd name="T28" fmla="*/ 127 w 249"/>
                <a:gd name="T29" fmla="*/ 41 h 205"/>
                <a:gd name="T30" fmla="*/ 107 w 249"/>
                <a:gd name="T31" fmla="*/ 39 h 205"/>
                <a:gd name="T32" fmla="*/ 100 w 249"/>
                <a:gd name="T33" fmla="*/ 19 h 205"/>
                <a:gd name="T34" fmla="*/ 66 w 249"/>
                <a:gd name="T35" fmla="*/ 0 h 205"/>
                <a:gd name="T36" fmla="*/ 56 w 249"/>
                <a:gd name="T37" fmla="*/ 16 h 205"/>
                <a:gd name="T38" fmla="*/ 73 w 249"/>
                <a:gd name="T39" fmla="*/ 34 h 205"/>
                <a:gd name="T40" fmla="*/ 76 w 249"/>
                <a:gd name="T41" fmla="*/ 41 h 205"/>
                <a:gd name="T42" fmla="*/ 73 w 249"/>
                <a:gd name="T43" fmla="*/ 45 h 205"/>
                <a:gd name="T44" fmla="*/ 46 w 249"/>
                <a:gd name="T45" fmla="*/ 41 h 205"/>
                <a:gd name="T46" fmla="*/ 22 w 249"/>
                <a:gd name="T47" fmla="*/ 27 h 205"/>
                <a:gd name="T48" fmla="*/ 0 w 249"/>
                <a:gd name="T49" fmla="*/ 36 h 205"/>
                <a:gd name="T50" fmla="*/ 10 w 249"/>
                <a:gd name="T51" fmla="*/ 53 h 205"/>
                <a:gd name="T52" fmla="*/ 22 w 249"/>
                <a:gd name="T53" fmla="*/ 56 h 205"/>
                <a:gd name="T54" fmla="*/ 22 w 249"/>
                <a:gd name="T55" fmla="*/ 81 h 205"/>
                <a:gd name="T56" fmla="*/ 42 w 249"/>
                <a:gd name="T57" fmla="*/ 100 h 205"/>
                <a:gd name="T58" fmla="*/ 40 w 249"/>
                <a:gd name="T59" fmla="*/ 112 h 205"/>
                <a:gd name="T60" fmla="*/ 34 w 249"/>
                <a:gd name="T61" fmla="*/ 113 h 205"/>
                <a:gd name="T62" fmla="*/ 35 w 249"/>
                <a:gd name="T63" fmla="*/ 120 h 205"/>
                <a:gd name="T64" fmla="*/ 56 w 249"/>
                <a:gd name="T65" fmla="*/ 137 h 205"/>
                <a:gd name="T66" fmla="*/ 69 w 249"/>
                <a:gd name="T67" fmla="*/ 138 h 205"/>
                <a:gd name="T68" fmla="*/ 65 w 249"/>
                <a:gd name="T69" fmla="*/ 152 h 205"/>
                <a:gd name="T70" fmla="*/ 69 w 249"/>
                <a:gd name="T71" fmla="*/ 155 h 205"/>
                <a:gd name="T72" fmla="*/ 69 w 249"/>
                <a:gd name="T73" fmla="*/ 163 h 205"/>
                <a:gd name="T74" fmla="*/ 63 w 249"/>
                <a:gd name="T75" fmla="*/ 164 h 205"/>
                <a:gd name="T76" fmla="*/ 71 w 249"/>
                <a:gd name="T77" fmla="*/ 181 h 205"/>
                <a:gd name="T78" fmla="*/ 82 w 249"/>
                <a:gd name="T79" fmla="*/ 183 h 205"/>
                <a:gd name="T80" fmla="*/ 105 w 249"/>
                <a:gd name="T81" fmla="*/ 151 h 205"/>
                <a:gd name="T82" fmla="*/ 136 w 249"/>
                <a:gd name="T83" fmla="*/ 137 h 205"/>
                <a:gd name="T84" fmla="*/ 150 w 249"/>
                <a:gd name="T85" fmla="*/ 146 h 205"/>
                <a:gd name="T86" fmla="*/ 156 w 249"/>
                <a:gd name="T87" fmla="*/ 174 h 205"/>
                <a:gd name="T88" fmla="*/ 141 w 249"/>
                <a:gd name="T89" fmla="*/ 186 h 205"/>
                <a:gd name="T90" fmla="*/ 167 w 249"/>
                <a:gd name="T91" fmla="*/ 205 h 205"/>
                <a:gd name="T92" fmla="*/ 183 w 249"/>
                <a:gd name="T93"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9" h="205">
                  <a:moveTo>
                    <a:pt x="183" y="205"/>
                  </a:moveTo>
                  <a:lnTo>
                    <a:pt x="183" y="166"/>
                  </a:lnTo>
                  <a:lnTo>
                    <a:pt x="190" y="163"/>
                  </a:lnTo>
                  <a:lnTo>
                    <a:pt x="200" y="172"/>
                  </a:lnTo>
                  <a:lnTo>
                    <a:pt x="200" y="164"/>
                  </a:lnTo>
                  <a:lnTo>
                    <a:pt x="213" y="107"/>
                  </a:lnTo>
                  <a:lnTo>
                    <a:pt x="229" y="93"/>
                  </a:lnTo>
                  <a:lnTo>
                    <a:pt x="241" y="92"/>
                  </a:lnTo>
                  <a:lnTo>
                    <a:pt x="249" y="100"/>
                  </a:lnTo>
                  <a:lnTo>
                    <a:pt x="243" y="84"/>
                  </a:lnTo>
                  <a:lnTo>
                    <a:pt x="232" y="78"/>
                  </a:lnTo>
                  <a:lnTo>
                    <a:pt x="215" y="79"/>
                  </a:lnTo>
                  <a:lnTo>
                    <a:pt x="186" y="28"/>
                  </a:lnTo>
                  <a:lnTo>
                    <a:pt x="161" y="5"/>
                  </a:lnTo>
                  <a:lnTo>
                    <a:pt x="127" y="41"/>
                  </a:lnTo>
                  <a:lnTo>
                    <a:pt x="107" y="39"/>
                  </a:lnTo>
                  <a:lnTo>
                    <a:pt x="100" y="19"/>
                  </a:lnTo>
                  <a:lnTo>
                    <a:pt x="66" y="0"/>
                  </a:lnTo>
                  <a:lnTo>
                    <a:pt x="56" y="16"/>
                  </a:lnTo>
                  <a:lnTo>
                    <a:pt x="73" y="34"/>
                  </a:lnTo>
                  <a:lnTo>
                    <a:pt x="76" y="41"/>
                  </a:lnTo>
                  <a:lnTo>
                    <a:pt x="73" y="45"/>
                  </a:lnTo>
                  <a:lnTo>
                    <a:pt x="46" y="41"/>
                  </a:lnTo>
                  <a:lnTo>
                    <a:pt x="22" y="27"/>
                  </a:lnTo>
                  <a:lnTo>
                    <a:pt x="0" y="36"/>
                  </a:lnTo>
                  <a:lnTo>
                    <a:pt x="10" y="53"/>
                  </a:lnTo>
                  <a:lnTo>
                    <a:pt x="22" y="56"/>
                  </a:lnTo>
                  <a:lnTo>
                    <a:pt x="22" y="81"/>
                  </a:lnTo>
                  <a:lnTo>
                    <a:pt x="42" y="100"/>
                  </a:lnTo>
                  <a:lnTo>
                    <a:pt x="40" y="112"/>
                  </a:lnTo>
                  <a:lnTo>
                    <a:pt x="34" y="113"/>
                  </a:lnTo>
                  <a:lnTo>
                    <a:pt x="35" y="120"/>
                  </a:lnTo>
                  <a:lnTo>
                    <a:pt x="56" y="137"/>
                  </a:lnTo>
                  <a:lnTo>
                    <a:pt x="69" y="138"/>
                  </a:lnTo>
                  <a:lnTo>
                    <a:pt x="65" y="152"/>
                  </a:lnTo>
                  <a:lnTo>
                    <a:pt x="69" y="155"/>
                  </a:lnTo>
                  <a:lnTo>
                    <a:pt x="69" y="163"/>
                  </a:lnTo>
                  <a:lnTo>
                    <a:pt x="63" y="164"/>
                  </a:lnTo>
                  <a:lnTo>
                    <a:pt x="71" y="181"/>
                  </a:lnTo>
                  <a:lnTo>
                    <a:pt x="82" y="183"/>
                  </a:lnTo>
                  <a:lnTo>
                    <a:pt x="105" y="151"/>
                  </a:lnTo>
                  <a:lnTo>
                    <a:pt x="136" y="137"/>
                  </a:lnTo>
                  <a:lnTo>
                    <a:pt x="150" y="146"/>
                  </a:lnTo>
                  <a:lnTo>
                    <a:pt x="156" y="174"/>
                  </a:lnTo>
                  <a:lnTo>
                    <a:pt x="141" y="186"/>
                  </a:lnTo>
                  <a:lnTo>
                    <a:pt x="167" y="205"/>
                  </a:lnTo>
                  <a:lnTo>
                    <a:pt x="183" y="205"/>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0" name="Freeform 27">
              <a:extLst>
                <a:ext uri="{FF2B5EF4-FFF2-40B4-BE49-F238E27FC236}">
                  <a16:creationId xmlns:a16="http://schemas.microsoft.com/office/drawing/2014/main" id="{73EEF863-C3E4-F847-9BBD-B91E7AF9199B}"/>
                </a:ext>
              </a:extLst>
            </p:cNvPr>
            <p:cNvSpPr>
              <a:spLocks noChangeAspect="1"/>
            </p:cNvSpPr>
            <p:nvPr/>
          </p:nvSpPr>
          <p:spPr bwMode="gray">
            <a:xfrm>
              <a:off x="6609779" y="2612711"/>
              <a:ext cx="711814" cy="418532"/>
            </a:xfrm>
            <a:custGeom>
              <a:avLst/>
              <a:gdLst>
                <a:gd name="T0" fmla="*/ 1283 w 1459"/>
                <a:gd name="T1" fmla="*/ 215 h 713"/>
                <a:gd name="T2" fmla="*/ 1275 w 1459"/>
                <a:gd name="T3" fmla="*/ 275 h 713"/>
                <a:gd name="T4" fmla="*/ 1287 w 1459"/>
                <a:gd name="T5" fmla="*/ 321 h 713"/>
                <a:gd name="T6" fmla="*/ 1362 w 1459"/>
                <a:gd name="T7" fmla="*/ 321 h 713"/>
                <a:gd name="T8" fmla="*/ 1419 w 1459"/>
                <a:gd name="T9" fmla="*/ 318 h 713"/>
                <a:gd name="T10" fmla="*/ 1448 w 1459"/>
                <a:gd name="T11" fmla="*/ 349 h 713"/>
                <a:gd name="T12" fmla="*/ 1458 w 1459"/>
                <a:gd name="T13" fmla="*/ 374 h 713"/>
                <a:gd name="T14" fmla="*/ 1402 w 1459"/>
                <a:gd name="T15" fmla="*/ 389 h 713"/>
                <a:gd name="T16" fmla="*/ 1283 w 1459"/>
                <a:gd name="T17" fmla="*/ 451 h 713"/>
                <a:gd name="T18" fmla="*/ 1243 w 1459"/>
                <a:gd name="T19" fmla="*/ 464 h 713"/>
                <a:gd name="T20" fmla="*/ 1187 w 1459"/>
                <a:gd name="T21" fmla="*/ 515 h 713"/>
                <a:gd name="T22" fmla="*/ 1131 w 1459"/>
                <a:gd name="T23" fmla="*/ 494 h 713"/>
                <a:gd name="T24" fmla="*/ 1092 w 1459"/>
                <a:gd name="T25" fmla="*/ 544 h 713"/>
                <a:gd name="T26" fmla="*/ 1113 w 1459"/>
                <a:gd name="T27" fmla="*/ 577 h 713"/>
                <a:gd name="T28" fmla="*/ 974 w 1459"/>
                <a:gd name="T29" fmla="*/ 663 h 713"/>
                <a:gd name="T30" fmla="*/ 916 w 1459"/>
                <a:gd name="T31" fmla="*/ 660 h 713"/>
                <a:gd name="T32" fmla="*/ 853 w 1459"/>
                <a:gd name="T33" fmla="*/ 683 h 713"/>
                <a:gd name="T34" fmla="*/ 760 w 1459"/>
                <a:gd name="T35" fmla="*/ 699 h 713"/>
                <a:gd name="T36" fmla="*/ 674 w 1459"/>
                <a:gd name="T37" fmla="*/ 675 h 713"/>
                <a:gd name="T38" fmla="*/ 598 w 1459"/>
                <a:gd name="T39" fmla="*/ 635 h 713"/>
                <a:gd name="T40" fmla="*/ 413 w 1459"/>
                <a:gd name="T41" fmla="*/ 638 h 713"/>
                <a:gd name="T42" fmla="*/ 344 w 1459"/>
                <a:gd name="T43" fmla="*/ 541 h 713"/>
                <a:gd name="T44" fmla="*/ 206 w 1459"/>
                <a:gd name="T45" fmla="*/ 501 h 713"/>
                <a:gd name="T46" fmla="*/ 141 w 1459"/>
                <a:gd name="T47" fmla="*/ 451 h 713"/>
                <a:gd name="T48" fmla="*/ 112 w 1459"/>
                <a:gd name="T49" fmla="*/ 327 h 713"/>
                <a:gd name="T50" fmla="*/ 64 w 1459"/>
                <a:gd name="T51" fmla="*/ 301 h 713"/>
                <a:gd name="T52" fmla="*/ 45 w 1459"/>
                <a:gd name="T53" fmla="*/ 301 h 713"/>
                <a:gd name="T54" fmla="*/ 11 w 1459"/>
                <a:gd name="T55" fmla="*/ 264 h 713"/>
                <a:gd name="T56" fmla="*/ 24 w 1459"/>
                <a:gd name="T57" fmla="*/ 198 h 713"/>
                <a:gd name="T58" fmla="*/ 296 w 1459"/>
                <a:gd name="T59" fmla="*/ 126 h 713"/>
                <a:gd name="T60" fmla="*/ 460 w 1459"/>
                <a:gd name="T61" fmla="*/ 157 h 713"/>
                <a:gd name="T62" fmla="*/ 467 w 1459"/>
                <a:gd name="T63" fmla="*/ 123 h 713"/>
                <a:gd name="T64" fmla="*/ 464 w 1459"/>
                <a:gd name="T65" fmla="*/ 54 h 713"/>
                <a:gd name="T66" fmla="*/ 650 w 1459"/>
                <a:gd name="T67" fmla="*/ 49 h 713"/>
                <a:gd name="T68" fmla="*/ 700 w 1459"/>
                <a:gd name="T69" fmla="*/ 131 h 713"/>
                <a:gd name="T70" fmla="*/ 796 w 1459"/>
                <a:gd name="T71" fmla="*/ 112 h 713"/>
                <a:gd name="T72" fmla="*/ 930 w 1459"/>
                <a:gd name="T73" fmla="*/ 169 h 713"/>
                <a:gd name="T74" fmla="*/ 1062 w 1459"/>
                <a:gd name="T75" fmla="*/ 216 h 713"/>
                <a:gd name="T76" fmla="*/ 1232 w 1459"/>
                <a:gd name="T77" fmla="*/ 143 h 713"/>
                <a:gd name="T78" fmla="*/ 1315 w 1459"/>
                <a:gd name="T79" fmla="*/ 16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59" h="713">
                  <a:moveTo>
                    <a:pt x="1315" y="160"/>
                  </a:moveTo>
                  <a:lnTo>
                    <a:pt x="1283" y="215"/>
                  </a:lnTo>
                  <a:lnTo>
                    <a:pt x="1286" y="244"/>
                  </a:lnTo>
                  <a:lnTo>
                    <a:pt x="1275" y="275"/>
                  </a:lnTo>
                  <a:lnTo>
                    <a:pt x="1277" y="293"/>
                  </a:lnTo>
                  <a:lnTo>
                    <a:pt x="1287" y="321"/>
                  </a:lnTo>
                  <a:lnTo>
                    <a:pt x="1343" y="329"/>
                  </a:lnTo>
                  <a:lnTo>
                    <a:pt x="1362" y="321"/>
                  </a:lnTo>
                  <a:lnTo>
                    <a:pt x="1402" y="295"/>
                  </a:lnTo>
                  <a:lnTo>
                    <a:pt x="1419" y="318"/>
                  </a:lnTo>
                  <a:lnTo>
                    <a:pt x="1442" y="338"/>
                  </a:lnTo>
                  <a:lnTo>
                    <a:pt x="1448" y="349"/>
                  </a:lnTo>
                  <a:lnTo>
                    <a:pt x="1447" y="367"/>
                  </a:lnTo>
                  <a:lnTo>
                    <a:pt x="1458" y="374"/>
                  </a:lnTo>
                  <a:lnTo>
                    <a:pt x="1459" y="386"/>
                  </a:lnTo>
                  <a:lnTo>
                    <a:pt x="1402" y="389"/>
                  </a:lnTo>
                  <a:lnTo>
                    <a:pt x="1340" y="394"/>
                  </a:lnTo>
                  <a:lnTo>
                    <a:pt x="1283" y="451"/>
                  </a:lnTo>
                  <a:lnTo>
                    <a:pt x="1261" y="465"/>
                  </a:lnTo>
                  <a:lnTo>
                    <a:pt x="1243" y="464"/>
                  </a:lnTo>
                  <a:lnTo>
                    <a:pt x="1210" y="499"/>
                  </a:lnTo>
                  <a:lnTo>
                    <a:pt x="1187" y="515"/>
                  </a:lnTo>
                  <a:lnTo>
                    <a:pt x="1155" y="510"/>
                  </a:lnTo>
                  <a:lnTo>
                    <a:pt x="1131" y="494"/>
                  </a:lnTo>
                  <a:lnTo>
                    <a:pt x="1113" y="499"/>
                  </a:lnTo>
                  <a:lnTo>
                    <a:pt x="1092" y="544"/>
                  </a:lnTo>
                  <a:lnTo>
                    <a:pt x="1111" y="567"/>
                  </a:lnTo>
                  <a:lnTo>
                    <a:pt x="1113" y="577"/>
                  </a:lnTo>
                  <a:lnTo>
                    <a:pt x="1028" y="649"/>
                  </a:lnTo>
                  <a:lnTo>
                    <a:pt x="974" y="663"/>
                  </a:lnTo>
                  <a:lnTo>
                    <a:pt x="952" y="657"/>
                  </a:lnTo>
                  <a:lnTo>
                    <a:pt x="916" y="660"/>
                  </a:lnTo>
                  <a:lnTo>
                    <a:pt x="860" y="675"/>
                  </a:lnTo>
                  <a:lnTo>
                    <a:pt x="853" y="683"/>
                  </a:lnTo>
                  <a:lnTo>
                    <a:pt x="784" y="713"/>
                  </a:lnTo>
                  <a:lnTo>
                    <a:pt x="760" y="699"/>
                  </a:lnTo>
                  <a:lnTo>
                    <a:pt x="737" y="697"/>
                  </a:lnTo>
                  <a:lnTo>
                    <a:pt x="674" y="675"/>
                  </a:lnTo>
                  <a:lnTo>
                    <a:pt x="635" y="646"/>
                  </a:lnTo>
                  <a:lnTo>
                    <a:pt x="598" y="635"/>
                  </a:lnTo>
                  <a:lnTo>
                    <a:pt x="427" y="643"/>
                  </a:lnTo>
                  <a:lnTo>
                    <a:pt x="413" y="638"/>
                  </a:lnTo>
                  <a:lnTo>
                    <a:pt x="379" y="601"/>
                  </a:lnTo>
                  <a:lnTo>
                    <a:pt x="344" y="541"/>
                  </a:lnTo>
                  <a:lnTo>
                    <a:pt x="235" y="496"/>
                  </a:lnTo>
                  <a:lnTo>
                    <a:pt x="206" y="501"/>
                  </a:lnTo>
                  <a:lnTo>
                    <a:pt x="132" y="477"/>
                  </a:lnTo>
                  <a:lnTo>
                    <a:pt x="141" y="451"/>
                  </a:lnTo>
                  <a:lnTo>
                    <a:pt x="137" y="396"/>
                  </a:lnTo>
                  <a:lnTo>
                    <a:pt x="112" y="327"/>
                  </a:lnTo>
                  <a:lnTo>
                    <a:pt x="105" y="313"/>
                  </a:lnTo>
                  <a:lnTo>
                    <a:pt x="64" y="301"/>
                  </a:lnTo>
                  <a:lnTo>
                    <a:pt x="58" y="312"/>
                  </a:lnTo>
                  <a:lnTo>
                    <a:pt x="45" y="301"/>
                  </a:lnTo>
                  <a:lnTo>
                    <a:pt x="37" y="284"/>
                  </a:lnTo>
                  <a:lnTo>
                    <a:pt x="11" y="264"/>
                  </a:lnTo>
                  <a:lnTo>
                    <a:pt x="0" y="230"/>
                  </a:lnTo>
                  <a:lnTo>
                    <a:pt x="24" y="198"/>
                  </a:lnTo>
                  <a:lnTo>
                    <a:pt x="184" y="114"/>
                  </a:lnTo>
                  <a:lnTo>
                    <a:pt x="296" y="126"/>
                  </a:lnTo>
                  <a:lnTo>
                    <a:pt x="325" y="159"/>
                  </a:lnTo>
                  <a:lnTo>
                    <a:pt x="460" y="157"/>
                  </a:lnTo>
                  <a:lnTo>
                    <a:pt x="469" y="152"/>
                  </a:lnTo>
                  <a:lnTo>
                    <a:pt x="467" y="123"/>
                  </a:lnTo>
                  <a:lnTo>
                    <a:pt x="475" y="109"/>
                  </a:lnTo>
                  <a:lnTo>
                    <a:pt x="464" y="54"/>
                  </a:lnTo>
                  <a:lnTo>
                    <a:pt x="526" y="0"/>
                  </a:lnTo>
                  <a:lnTo>
                    <a:pt x="650" y="49"/>
                  </a:lnTo>
                  <a:lnTo>
                    <a:pt x="662" y="105"/>
                  </a:lnTo>
                  <a:lnTo>
                    <a:pt x="700" y="131"/>
                  </a:lnTo>
                  <a:lnTo>
                    <a:pt x="726" y="139"/>
                  </a:lnTo>
                  <a:lnTo>
                    <a:pt x="796" y="112"/>
                  </a:lnTo>
                  <a:lnTo>
                    <a:pt x="820" y="118"/>
                  </a:lnTo>
                  <a:lnTo>
                    <a:pt x="930" y="169"/>
                  </a:lnTo>
                  <a:lnTo>
                    <a:pt x="964" y="199"/>
                  </a:lnTo>
                  <a:lnTo>
                    <a:pt x="1062" y="216"/>
                  </a:lnTo>
                  <a:lnTo>
                    <a:pt x="1160" y="190"/>
                  </a:lnTo>
                  <a:lnTo>
                    <a:pt x="1232" y="143"/>
                  </a:lnTo>
                  <a:lnTo>
                    <a:pt x="1286" y="168"/>
                  </a:lnTo>
                  <a:lnTo>
                    <a:pt x="1315" y="16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31" name="Freeform 28">
              <a:extLst>
                <a:ext uri="{FF2B5EF4-FFF2-40B4-BE49-F238E27FC236}">
                  <a16:creationId xmlns:a16="http://schemas.microsoft.com/office/drawing/2014/main" id="{F65C4836-ACED-F041-852A-5E00753CE92D}"/>
                </a:ext>
              </a:extLst>
            </p:cNvPr>
            <p:cNvSpPr>
              <a:spLocks noChangeAspect="1"/>
            </p:cNvSpPr>
            <p:nvPr/>
          </p:nvSpPr>
          <p:spPr bwMode="gray">
            <a:xfrm>
              <a:off x="6937819" y="3864467"/>
              <a:ext cx="116247" cy="117113"/>
            </a:xfrm>
            <a:custGeom>
              <a:avLst/>
              <a:gdLst>
                <a:gd name="T0" fmla="*/ 237 w 244"/>
                <a:gd name="T1" fmla="*/ 0 h 198"/>
                <a:gd name="T2" fmla="*/ 235 w 244"/>
                <a:gd name="T3" fmla="*/ 30 h 198"/>
                <a:gd name="T4" fmla="*/ 244 w 244"/>
                <a:gd name="T5" fmla="*/ 56 h 198"/>
                <a:gd name="T6" fmla="*/ 241 w 244"/>
                <a:gd name="T7" fmla="*/ 109 h 198"/>
                <a:gd name="T8" fmla="*/ 235 w 244"/>
                <a:gd name="T9" fmla="*/ 115 h 198"/>
                <a:gd name="T10" fmla="*/ 229 w 244"/>
                <a:gd name="T11" fmla="*/ 114 h 198"/>
                <a:gd name="T12" fmla="*/ 213 w 244"/>
                <a:gd name="T13" fmla="*/ 124 h 198"/>
                <a:gd name="T14" fmla="*/ 191 w 244"/>
                <a:gd name="T15" fmla="*/ 131 h 198"/>
                <a:gd name="T16" fmla="*/ 190 w 244"/>
                <a:gd name="T17" fmla="*/ 139 h 198"/>
                <a:gd name="T18" fmla="*/ 167 w 244"/>
                <a:gd name="T19" fmla="*/ 143 h 198"/>
                <a:gd name="T20" fmla="*/ 165 w 244"/>
                <a:gd name="T21" fmla="*/ 169 h 198"/>
                <a:gd name="T22" fmla="*/ 137 w 244"/>
                <a:gd name="T23" fmla="*/ 183 h 198"/>
                <a:gd name="T24" fmla="*/ 125 w 244"/>
                <a:gd name="T25" fmla="*/ 182 h 198"/>
                <a:gd name="T26" fmla="*/ 120 w 244"/>
                <a:gd name="T27" fmla="*/ 193 h 198"/>
                <a:gd name="T28" fmla="*/ 100 w 244"/>
                <a:gd name="T29" fmla="*/ 198 h 198"/>
                <a:gd name="T30" fmla="*/ 88 w 244"/>
                <a:gd name="T31" fmla="*/ 193 h 198"/>
                <a:gd name="T32" fmla="*/ 59 w 244"/>
                <a:gd name="T33" fmla="*/ 195 h 198"/>
                <a:gd name="T34" fmla="*/ 63 w 244"/>
                <a:gd name="T35" fmla="*/ 171 h 198"/>
                <a:gd name="T36" fmla="*/ 57 w 244"/>
                <a:gd name="T37" fmla="*/ 168 h 198"/>
                <a:gd name="T38" fmla="*/ 40 w 244"/>
                <a:gd name="T39" fmla="*/ 180 h 198"/>
                <a:gd name="T40" fmla="*/ 37 w 244"/>
                <a:gd name="T41" fmla="*/ 154 h 198"/>
                <a:gd name="T42" fmla="*/ 29 w 244"/>
                <a:gd name="T43" fmla="*/ 144 h 198"/>
                <a:gd name="T44" fmla="*/ 26 w 244"/>
                <a:gd name="T45" fmla="*/ 118 h 198"/>
                <a:gd name="T46" fmla="*/ 9 w 244"/>
                <a:gd name="T47" fmla="*/ 98 h 198"/>
                <a:gd name="T48" fmla="*/ 0 w 244"/>
                <a:gd name="T49" fmla="*/ 72 h 198"/>
                <a:gd name="T50" fmla="*/ 1 w 244"/>
                <a:gd name="T51" fmla="*/ 56 h 198"/>
                <a:gd name="T52" fmla="*/ 12 w 244"/>
                <a:gd name="T53" fmla="*/ 42 h 198"/>
                <a:gd name="T54" fmla="*/ 42 w 244"/>
                <a:gd name="T55" fmla="*/ 16 h 198"/>
                <a:gd name="T56" fmla="*/ 80 w 244"/>
                <a:gd name="T57" fmla="*/ 19 h 198"/>
                <a:gd name="T58" fmla="*/ 117 w 244"/>
                <a:gd name="T59" fmla="*/ 17 h 198"/>
                <a:gd name="T60" fmla="*/ 125 w 244"/>
                <a:gd name="T61" fmla="*/ 24 h 198"/>
                <a:gd name="T62" fmla="*/ 134 w 244"/>
                <a:gd name="T63" fmla="*/ 21 h 198"/>
                <a:gd name="T64" fmla="*/ 140 w 244"/>
                <a:gd name="T65" fmla="*/ 27 h 198"/>
                <a:gd name="T66" fmla="*/ 165 w 244"/>
                <a:gd name="T67" fmla="*/ 34 h 198"/>
                <a:gd name="T68" fmla="*/ 173 w 244"/>
                <a:gd name="T69" fmla="*/ 33 h 198"/>
                <a:gd name="T70" fmla="*/ 173 w 244"/>
                <a:gd name="T71" fmla="*/ 19 h 198"/>
                <a:gd name="T72" fmla="*/ 187 w 244"/>
                <a:gd name="T73" fmla="*/ 12 h 198"/>
                <a:gd name="T74" fmla="*/ 204 w 244"/>
                <a:gd name="T75" fmla="*/ 8 h 198"/>
                <a:gd name="T76" fmla="*/ 216 w 244"/>
                <a:gd name="T77" fmla="*/ 16 h 198"/>
                <a:gd name="T78" fmla="*/ 237 w 244"/>
                <a:gd name="T79"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4" h="198">
                  <a:moveTo>
                    <a:pt x="237" y="0"/>
                  </a:moveTo>
                  <a:lnTo>
                    <a:pt x="235" y="30"/>
                  </a:lnTo>
                  <a:lnTo>
                    <a:pt x="244" y="56"/>
                  </a:lnTo>
                  <a:lnTo>
                    <a:pt x="241" y="109"/>
                  </a:lnTo>
                  <a:lnTo>
                    <a:pt x="235" y="115"/>
                  </a:lnTo>
                  <a:lnTo>
                    <a:pt x="229" y="114"/>
                  </a:lnTo>
                  <a:lnTo>
                    <a:pt x="213" y="124"/>
                  </a:lnTo>
                  <a:lnTo>
                    <a:pt x="191" y="131"/>
                  </a:lnTo>
                  <a:lnTo>
                    <a:pt x="190" y="139"/>
                  </a:lnTo>
                  <a:lnTo>
                    <a:pt x="167" y="143"/>
                  </a:lnTo>
                  <a:lnTo>
                    <a:pt x="165" y="169"/>
                  </a:lnTo>
                  <a:lnTo>
                    <a:pt x="137" y="183"/>
                  </a:lnTo>
                  <a:lnTo>
                    <a:pt x="125" y="182"/>
                  </a:lnTo>
                  <a:lnTo>
                    <a:pt x="120" y="193"/>
                  </a:lnTo>
                  <a:lnTo>
                    <a:pt x="100" y="198"/>
                  </a:lnTo>
                  <a:lnTo>
                    <a:pt x="88" y="193"/>
                  </a:lnTo>
                  <a:lnTo>
                    <a:pt x="59" y="195"/>
                  </a:lnTo>
                  <a:lnTo>
                    <a:pt x="63" y="171"/>
                  </a:lnTo>
                  <a:lnTo>
                    <a:pt x="57" y="168"/>
                  </a:lnTo>
                  <a:lnTo>
                    <a:pt x="40" y="180"/>
                  </a:lnTo>
                  <a:lnTo>
                    <a:pt x="37" y="154"/>
                  </a:lnTo>
                  <a:lnTo>
                    <a:pt x="29" y="144"/>
                  </a:lnTo>
                  <a:lnTo>
                    <a:pt x="26" y="118"/>
                  </a:lnTo>
                  <a:lnTo>
                    <a:pt x="9" y="98"/>
                  </a:lnTo>
                  <a:lnTo>
                    <a:pt x="0" y="72"/>
                  </a:lnTo>
                  <a:lnTo>
                    <a:pt x="1" y="56"/>
                  </a:lnTo>
                  <a:lnTo>
                    <a:pt x="12" y="42"/>
                  </a:lnTo>
                  <a:lnTo>
                    <a:pt x="42" y="16"/>
                  </a:lnTo>
                  <a:lnTo>
                    <a:pt x="80" y="19"/>
                  </a:lnTo>
                  <a:lnTo>
                    <a:pt x="117" y="17"/>
                  </a:lnTo>
                  <a:lnTo>
                    <a:pt x="125" y="24"/>
                  </a:lnTo>
                  <a:lnTo>
                    <a:pt x="134" y="21"/>
                  </a:lnTo>
                  <a:lnTo>
                    <a:pt x="140" y="27"/>
                  </a:lnTo>
                  <a:lnTo>
                    <a:pt x="165" y="34"/>
                  </a:lnTo>
                  <a:lnTo>
                    <a:pt x="173" y="33"/>
                  </a:lnTo>
                  <a:lnTo>
                    <a:pt x="173" y="19"/>
                  </a:lnTo>
                  <a:lnTo>
                    <a:pt x="187" y="12"/>
                  </a:lnTo>
                  <a:lnTo>
                    <a:pt x="204" y="8"/>
                  </a:lnTo>
                  <a:lnTo>
                    <a:pt x="216" y="16"/>
                  </a:lnTo>
                  <a:lnTo>
                    <a:pt x="237" y="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2" name="Freeform 29">
              <a:extLst>
                <a:ext uri="{FF2B5EF4-FFF2-40B4-BE49-F238E27FC236}">
                  <a16:creationId xmlns:a16="http://schemas.microsoft.com/office/drawing/2014/main" id="{55E32ABC-515B-E84E-9BB4-A8A2641A92EB}"/>
                </a:ext>
              </a:extLst>
            </p:cNvPr>
            <p:cNvSpPr>
              <a:spLocks noChangeAspect="1"/>
            </p:cNvSpPr>
            <p:nvPr/>
          </p:nvSpPr>
          <p:spPr bwMode="gray">
            <a:xfrm>
              <a:off x="6436204" y="3409456"/>
              <a:ext cx="181535" cy="119031"/>
            </a:xfrm>
            <a:custGeom>
              <a:avLst/>
              <a:gdLst>
                <a:gd name="T0" fmla="*/ 363 w 369"/>
                <a:gd name="T1" fmla="*/ 166 h 203"/>
                <a:gd name="T2" fmla="*/ 363 w 369"/>
                <a:gd name="T3" fmla="*/ 142 h 203"/>
                <a:gd name="T4" fmla="*/ 369 w 369"/>
                <a:gd name="T5" fmla="*/ 127 h 203"/>
                <a:gd name="T6" fmla="*/ 359 w 369"/>
                <a:gd name="T7" fmla="*/ 127 h 203"/>
                <a:gd name="T8" fmla="*/ 355 w 369"/>
                <a:gd name="T9" fmla="*/ 133 h 203"/>
                <a:gd name="T10" fmla="*/ 333 w 369"/>
                <a:gd name="T11" fmla="*/ 132 h 203"/>
                <a:gd name="T12" fmla="*/ 302 w 369"/>
                <a:gd name="T13" fmla="*/ 118 h 203"/>
                <a:gd name="T14" fmla="*/ 295 w 369"/>
                <a:gd name="T15" fmla="*/ 127 h 203"/>
                <a:gd name="T16" fmla="*/ 278 w 369"/>
                <a:gd name="T17" fmla="*/ 121 h 203"/>
                <a:gd name="T18" fmla="*/ 270 w 369"/>
                <a:gd name="T19" fmla="*/ 125 h 203"/>
                <a:gd name="T20" fmla="*/ 258 w 369"/>
                <a:gd name="T21" fmla="*/ 110 h 203"/>
                <a:gd name="T22" fmla="*/ 246 w 369"/>
                <a:gd name="T23" fmla="*/ 112 h 203"/>
                <a:gd name="T24" fmla="*/ 234 w 369"/>
                <a:gd name="T25" fmla="*/ 103 h 203"/>
                <a:gd name="T26" fmla="*/ 234 w 369"/>
                <a:gd name="T27" fmla="*/ 86 h 203"/>
                <a:gd name="T28" fmla="*/ 216 w 369"/>
                <a:gd name="T29" fmla="*/ 90 h 203"/>
                <a:gd name="T30" fmla="*/ 197 w 369"/>
                <a:gd name="T31" fmla="*/ 84 h 203"/>
                <a:gd name="T32" fmla="*/ 194 w 369"/>
                <a:gd name="T33" fmla="*/ 78 h 203"/>
                <a:gd name="T34" fmla="*/ 188 w 369"/>
                <a:gd name="T35" fmla="*/ 79 h 203"/>
                <a:gd name="T36" fmla="*/ 190 w 369"/>
                <a:gd name="T37" fmla="*/ 54 h 203"/>
                <a:gd name="T38" fmla="*/ 177 w 369"/>
                <a:gd name="T39" fmla="*/ 53 h 203"/>
                <a:gd name="T40" fmla="*/ 160 w 369"/>
                <a:gd name="T41" fmla="*/ 66 h 203"/>
                <a:gd name="T42" fmla="*/ 152 w 369"/>
                <a:gd name="T43" fmla="*/ 59 h 203"/>
                <a:gd name="T44" fmla="*/ 146 w 369"/>
                <a:gd name="T45" fmla="*/ 39 h 203"/>
                <a:gd name="T46" fmla="*/ 107 w 369"/>
                <a:gd name="T47" fmla="*/ 10 h 203"/>
                <a:gd name="T48" fmla="*/ 61 w 369"/>
                <a:gd name="T49" fmla="*/ 0 h 203"/>
                <a:gd name="T50" fmla="*/ 56 w 369"/>
                <a:gd name="T51" fmla="*/ 13 h 203"/>
                <a:gd name="T52" fmla="*/ 44 w 369"/>
                <a:gd name="T53" fmla="*/ 3 h 203"/>
                <a:gd name="T54" fmla="*/ 34 w 369"/>
                <a:gd name="T55" fmla="*/ 3 h 203"/>
                <a:gd name="T56" fmla="*/ 12 w 369"/>
                <a:gd name="T57" fmla="*/ 27 h 203"/>
                <a:gd name="T58" fmla="*/ 10 w 369"/>
                <a:gd name="T59" fmla="*/ 56 h 203"/>
                <a:gd name="T60" fmla="*/ 0 w 369"/>
                <a:gd name="T61" fmla="*/ 71 h 203"/>
                <a:gd name="T62" fmla="*/ 0 w 369"/>
                <a:gd name="T63" fmla="*/ 79 h 203"/>
                <a:gd name="T64" fmla="*/ 8 w 369"/>
                <a:gd name="T65" fmla="*/ 81 h 203"/>
                <a:gd name="T66" fmla="*/ 19 w 369"/>
                <a:gd name="T67" fmla="*/ 95 h 203"/>
                <a:gd name="T68" fmla="*/ 25 w 369"/>
                <a:gd name="T69" fmla="*/ 90 h 203"/>
                <a:gd name="T70" fmla="*/ 36 w 369"/>
                <a:gd name="T71" fmla="*/ 96 h 203"/>
                <a:gd name="T72" fmla="*/ 68 w 369"/>
                <a:gd name="T73" fmla="*/ 124 h 203"/>
                <a:gd name="T74" fmla="*/ 112 w 369"/>
                <a:gd name="T75" fmla="*/ 140 h 203"/>
                <a:gd name="T76" fmla="*/ 124 w 369"/>
                <a:gd name="T77" fmla="*/ 152 h 203"/>
                <a:gd name="T78" fmla="*/ 195 w 369"/>
                <a:gd name="T79" fmla="*/ 155 h 203"/>
                <a:gd name="T80" fmla="*/ 224 w 369"/>
                <a:gd name="T81" fmla="*/ 183 h 203"/>
                <a:gd name="T82" fmla="*/ 325 w 369"/>
                <a:gd name="T83" fmla="*/ 203 h 203"/>
                <a:gd name="T84" fmla="*/ 364 w 369"/>
                <a:gd name="T85" fmla="*/ 201 h 203"/>
                <a:gd name="T86" fmla="*/ 369 w 369"/>
                <a:gd name="T87" fmla="*/ 184 h 203"/>
                <a:gd name="T88" fmla="*/ 359 w 369"/>
                <a:gd name="T89" fmla="*/ 172 h 203"/>
                <a:gd name="T90" fmla="*/ 363 w 369"/>
                <a:gd name="T91" fmla="*/ 166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9" h="203">
                  <a:moveTo>
                    <a:pt x="363" y="166"/>
                  </a:moveTo>
                  <a:lnTo>
                    <a:pt x="363" y="142"/>
                  </a:lnTo>
                  <a:lnTo>
                    <a:pt x="369" y="127"/>
                  </a:lnTo>
                  <a:lnTo>
                    <a:pt x="359" y="127"/>
                  </a:lnTo>
                  <a:lnTo>
                    <a:pt x="355" y="133"/>
                  </a:lnTo>
                  <a:lnTo>
                    <a:pt x="333" y="132"/>
                  </a:lnTo>
                  <a:lnTo>
                    <a:pt x="302" y="118"/>
                  </a:lnTo>
                  <a:lnTo>
                    <a:pt x="295" y="127"/>
                  </a:lnTo>
                  <a:lnTo>
                    <a:pt x="278" y="121"/>
                  </a:lnTo>
                  <a:lnTo>
                    <a:pt x="270" y="125"/>
                  </a:lnTo>
                  <a:lnTo>
                    <a:pt x="258" y="110"/>
                  </a:lnTo>
                  <a:lnTo>
                    <a:pt x="246" y="112"/>
                  </a:lnTo>
                  <a:lnTo>
                    <a:pt x="234" y="103"/>
                  </a:lnTo>
                  <a:lnTo>
                    <a:pt x="234" y="86"/>
                  </a:lnTo>
                  <a:lnTo>
                    <a:pt x="216" y="90"/>
                  </a:lnTo>
                  <a:lnTo>
                    <a:pt x="197" y="84"/>
                  </a:lnTo>
                  <a:lnTo>
                    <a:pt x="194" y="78"/>
                  </a:lnTo>
                  <a:lnTo>
                    <a:pt x="188" y="79"/>
                  </a:lnTo>
                  <a:lnTo>
                    <a:pt x="190" y="54"/>
                  </a:lnTo>
                  <a:lnTo>
                    <a:pt x="177" y="53"/>
                  </a:lnTo>
                  <a:lnTo>
                    <a:pt x="160" y="66"/>
                  </a:lnTo>
                  <a:lnTo>
                    <a:pt x="152" y="59"/>
                  </a:lnTo>
                  <a:lnTo>
                    <a:pt x="146" y="39"/>
                  </a:lnTo>
                  <a:lnTo>
                    <a:pt x="107" y="10"/>
                  </a:lnTo>
                  <a:lnTo>
                    <a:pt x="61" y="0"/>
                  </a:lnTo>
                  <a:lnTo>
                    <a:pt x="56" y="13"/>
                  </a:lnTo>
                  <a:lnTo>
                    <a:pt x="44" y="3"/>
                  </a:lnTo>
                  <a:lnTo>
                    <a:pt x="34" y="3"/>
                  </a:lnTo>
                  <a:lnTo>
                    <a:pt x="12" y="27"/>
                  </a:lnTo>
                  <a:lnTo>
                    <a:pt x="10" y="56"/>
                  </a:lnTo>
                  <a:lnTo>
                    <a:pt x="0" y="71"/>
                  </a:lnTo>
                  <a:lnTo>
                    <a:pt x="0" y="79"/>
                  </a:lnTo>
                  <a:lnTo>
                    <a:pt x="8" y="81"/>
                  </a:lnTo>
                  <a:lnTo>
                    <a:pt x="19" y="95"/>
                  </a:lnTo>
                  <a:lnTo>
                    <a:pt x="25" y="90"/>
                  </a:lnTo>
                  <a:lnTo>
                    <a:pt x="36" y="96"/>
                  </a:lnTo>
                  <a:lnTo>
                    <a:pt x="68" y="124"/>
                  </a:lnTo>
                  <a:lnTo>
                    <a:pt x="112" y="140"/>
                  </a:lnTo>
                  <a:lnTo>
                    <a:pt x="124" y="152"/>
                  </a:lnTo>
                  <a:lnTo>
                    <a:pt x="195" y="155"/>
                  </a:lnTo>
                  <a:lnTo>
                    <a:pt x="224" y="183"/>
                  </a:lnTo>
                  <a:lnTo>
                    <a:pt x="325" y="203"/>
                  </a:lnTo>
                  <a:lnTo>
                    <a:pt x="364" y="201"/>
                  </a:lnTo>
                  <a:lnTo>
                    <a:pt x="369" y="184"/>
                  </a:lnTo>
                  <a:lnTo>
                    <a:pt x="359" y="172"/>
                  </a:lnTo>
                  <a:lnTo>
                    <a:pt x="363" y="166"/>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3" name="Freeform 30">
              <a:extLst>
                <a:ext uri="{FF2B5EF4-FFF2-40B4-BE49-F238E27FC236}">
                  <a16:creationId xmlns:a16="http://schemas.microsoft.com/office/drawing/2014/main" id="{77F5E617-6B11-6B41-AA7B-15CB2C81418F}"/>
                </a:ext>
              </a:extLst>
            </p:cNvPr>
            <p:cNvSpPr>
              <a:spLocks noChangeAspect="1"/>
            </p:cNvSpPr>
            <p:nvPr/>
          </p:nvSpPr>
          <p:spPr bwMode="gray">
            <a:xfrm>
              <a:off x="6632074" y="3470895"/>
              <a:ext cx="74844" cy="49915"/>
            </a:xfrm>
            <a:custGeom>
              <a:avLst/>
              <a:gdLst>
                <a:gd name="T0" fmla="*/ 137 w 156"/>
                <a:gd name="T1" fmla="*/ 25 h 81"/>
                <a:gd name="T2" fmla="*/ 120 w 156"/>
                <a:gd name="T3" fmla="*/ 13 h 81"/>
                <a:gd name="T4" fmla="*/ 105 w 156"/>
                <a:gd name="T5" fmla="*/ 14 h 81"/>
                <a:gd name="T6" fmla="*/ 80 w 156"/>
                <a:gd name="T7" fmla="*/ 9 h 81"/>
                <a:gd name="T8" fmla="*/ 71 w 156"/>
                <a:gd name="T9" fmla="*/ 0 h 81"/>
                <a:gd name="T10" fmla="*/ 54 w 156"/>
                <a:gd name="T11" fmla="*/ 0 h 81"/>
                <a:gd name="T12" fmla="*/ 34 w 156"/>
                <a:gd name="T13" fmla="*/ 13 h 81"/>
                <a:gd name="T14" fmla="*/ 7 w 156"/>
                <a:gd name="T15" fmla="*/ 47 h 81"/>
                <a:gd name="T16" fmla="*/ 0 w 156"/>
                <a:gd name="T17" fmla="*/ 57 h 81"/>
                <a:gd name="T18" fmla="*/ 5 w 156"/>
                <a:gd name="T19" fmla="*/ 73 h 81"/>
                <a:gd name="T20" fmla="*/ 40 w 156"/>
                <a:gd name="T21" fmla="*/ 81 h 81"/>
                <a:gd name="T22" fmla="*/ 148 w 156"/>
                <a:gd name="T23" fmla="*/ 68 h 81"/>
                <a:gd name="T24" fmla="*/ 156 w 156"/>
                <a:gd name="T25" fmla="*/ 65 h 81"/>
                <a:gd name="T26" fmla="*/ 156 w 156"/>
                <a:gd name="T27" fmla="*/ 47 h 81"/>
                <a:gd name="T28" fmla="*/ 136 w 156"/>
                <a:gd name="T29" fmla="*/ 37 h 81"/>
                <a:gd name="T30" fmla="*/ 137 w 156"/>
                <a:gd name="T31" fmla="*/ 2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6" h="81">
                  <a:moveTo>
                    <a:pt x="137" y="25"/>
                  </a:moveTo>
                  <a:lnTo>
                    <a:pt x="120" y="13"/>
                  </a:lnTo>
                  <a:lnTo>
                    <a:pt x="105" y="14"/>
                  </a:lnTo>
                  <a:lnTo>
                    <a:pt x="80" y="9"/>
                  </a:lnTo>
                  <a:lnTo>
                    <a:pt x="71" y="0"/>
                  </a:lnTo>
                  <a:lnTo>
                    <a:pt x="54" y="0"/>
                  </a:lnTo>
                  <a:lnTo>
                    <a:pt x="34" y="13"/>
                  </a:lnTo>
                  <a:lnTo>
                    <a:pt x="7" y="47"/>
                  </a:lnTo>
                  <a:lnTo>
                    <a:pt x="0" y="57"/>
                  </a:lnTo>
                  <a:lnTo>
                    <a:pt x="5" y="73"/>
                  </a:lnTo>
                  <a:lnTo>
                    <a:pt x="40" y="81"/>
                  </a:lnTo>
                  <a:lnTo>
                    <a:pt x="148" y="68"/>
                  </a:lnTo>
                  <a:lnTo>
                    <a:pt x="156" y="65"/>
                  </a:lnTo>
                  <a:lnTo>
                    <a:pt x="156" y="47"/>
                  </a:lnTo>
                  <a:lnTo>
                    <a:pt x="136" y="37"/>
                  </a:lnTo>
                  <a:lnTo>
                    <a:pt x="137" y="25"/>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4" name="Freeform 31">
              <a:extLst>
                <a:ext uri="{FF2B5EF4-FFF2-40B4-BE49-F238E27FC236}">
                  <a16:creationId xmlns:a16="http://schemas.microsoft.com/office/drawing/2014/main" id="{39B169F2-4748-644C-8328-1C36CA9204AD}"/>
                </a:ext>
              </a:extLst>
            </p:cNvPr>
            <p:cNvSpPr>
              <a:spLocks noChangeAspect="1"/>
            </p:cNvSpPr>
            <p:nvPr/>
          </p:nvSpPr>
          <p:spPr bwMode="gray">
            <a:xfrm>
              <a:off x="6192563" y="2967887"/>
              <a:ext cx="246824" cy="143990"/>
            </a:xfrm>
            <a:custGeom>
              <a:avLst/>
              <a:gdLst>
                <a:gd name="T0" fmla="*/ 75 w 508"/>
                <a:gd name="T1" fmla="*/ 54 h 243"/>
                <a:gd name="T2" fmla="*/ 81 w 508"/>
                <a:gd name="T3" fmla="*/ 31 h 243"/>
                <a:gd name="T4" fmla="*/ 101 w 508"/>
                <a:gd name="T5" fmla="*/ 25 h 243"/>
                <a:gd name="T6" fmla="*/ 143 w 508"/>
                <a:gd name="T7" fmla="*/ 31 h 243"/>
                <a:gd name="T8" fmla="*/ 186 w 508"/>
                <a:gd name="T9" fmla="*/ 48 h 243"/>
                <a:gd name="T10" fmla="*/ 195 w 508"/>
                <a:gd name="T11" fmla="*/ 15 h 243"/>
                <a:gd name="T12" fmla="*/ 225 w 508"/>
                <a:gd name="T13" fmla="*/ 0 h 243"/>
                <a:gd name="T14" fmla="*/ 248 w 508"/>
                <a:gd name="T15" fmla="*/ 15 h 243"/>
                <a:gd name="T16" fmla="*/ 279 w 508"/>
                <a:gd name="T17" fmla="*/ 20 h 243"/>
                <a:gd name="T18" fmla="*/ 361 w 508"/>
                <a:gd name="T19" fmla="*/ 15 h 243"/>
                <a:gd name="T20" fmla="*/ 459 w 508"/>
                <a:gd name="T21" fmla="*/ 29 h 243"/>
                <a:gd name="T22" fmla="*/ 472 w 508"/>
                <a:gd name="T23" fmla="*/ 46 h 243"/>
                <a:gd name="T24" fmla="*/ 508 w 508"/>
                <a:gd name="T25" fmla="*/ 57 h 243"/>
                <a:gd name="T26" fmla="*/ 505 w 508"/>
                <a:gd name="T27" fmla="*/ 79 h 243"/>
                <a:gd name="T28" fmla="*/ 434 w 508"/>
                <a:gd name="T29" fmla="*/ 113 h 243"/>
                <a:gd name="T30" fmla="*/ 415 w 508"/>
                <a:gd name="T31" fmla="*/ 136 h 243"/>
                <a:gd name="T32" fmla="*/ 352 w 508"/>
                <a:gd name="T33" fmla="*/ 149 h 243"/>
                <a:gd name="T34" fmla="*/ 339 w 508"/>
                <a:gd name="T35" fmla="*/ 175 h 243"/>
                <a:gd name="T36" fmla="*/ 328 w 508"/>
                <a:gd name="T37" fmla="*/ 181 h 243"/>
                <a:gd name="T38" fmla="*/ 296 w 508"/>
                <a:gd name="T39" fmla="*/ 183 h 243"/>
                <a:gd name="T40" fmla="*/ 291 w 508"/>
                <a:gd name="T41" fmla="*/ 173 h 243"/>
                <a:gd name="T42" fmla="*/ 283 w 508"/>
                <a:gd name="T43" fmla="*/ 171 h 243"/>
                <a:gd name="T44" fmla="*/ 260 w 508"/>
                <a:gd name="T45" fmla="*/ 173 h 243"/>
                <a:gd name="T46" fmla="*/ 256 w 508"/>
                <a:gd name="T47" fmla="*/ 184 h 243"/>
                <a:gd name="T48" fmla="*/ 220 w 508"/>
                <a:gd name="T49" fmla="*/ 201 h 243"/>
                <a:gd name="T50" fmla="*/ 212 w 508"/>
                <a:gd name="T51" fmla="*/ 217 h 243"/>
                <a:gd name="T52" fmla="*/ 212 w 508"/>
                <a:gd name="T53" fmla="*/ 226 h 243"/>
                <a:gd name="T54" fmla="*/ 195 w 508"/>
                <a:gd name="T55" fmla="*/ 221 h 243"/>
                <a:gd name="T56" fmla="*/ 194 w 508"/>
                <a:gd name="T57" fmla="*/ 235 h 243"/>
                <a:gd name="T58" fmla="*/ 163 w 508"/>
                <a:gd name="T59" fmla="*/ 234 h 243"/>
                <a:gd name="T60" fmla="*/ 137 w 508"/>
                <a:gd name="T61" fmla="*/ 243 h 243"/>
                <a:gd name="T62" fmla="*/ 117 w 508"/>
                <a:gd name="T63" fmla="*/ 240 h 243"/>
                <a:gd name="T64" fmla="*/ 113 w 508"/>
                <a:gd name="T65" fmla="*/ 227 h 243"/>
                <a:gd name="T66" fmla="*/ 100 w 508"/>
                <a:gd name="T67" fmla="*/ 223 h 243"/>
                <a:gd name="T68" fmla="*/ 75 w 508"/>
                <a:gd name="T69" fmla="*/ 230 h 243"/>
                <a:gd name="T70" fmla="*/ 58 w 508"/>
                <a:gd name="T71" fmla="*/ 221 h 243"/>
                <a:gd name="T72" fmla="*/ 3 w 508"/>
                <a:gd name="T73" fmla="*/ 226 h 243"/>
                <a:gd name="T74" fmla="*/ 0 w 508"/>
                <a:gd name="T75" fmla="*/ 218 h 243"/>
                <a:gd name="T76" fmla="*/ 0 w 508"/>
                <a:gd name="T77" fmla="*/ 200 h 243"/>
                <a:gd name="T78" fmla="*/ 19 w 508"/>
                <a:gd name="T79" fmla="*/ 192 h 243"/>
                <a:gd name="T80" fmla="*/ 39 w 508"/>
                <a:gd name="T81" fmla="*/ 192 h 243"/>
                <a:gd name="T82" fmla="*/ 58 w 508"/>
                <a:gd name="T83" fmla="*/ 198 h 243"/>
                <a:gd name="T84" fmla="*/ 78 w 508"/>
                <a:gd name="T85" fmla="*/ 181 h 243"/>
                <a:gd name="T86" fmla="*/ 120 w 508"/>
                <a:gd name="T87" fmla="*/ 183 h 243"/>
                <a:gd name="T88" fmla="*/ 134 w 508"/>
                <a:gd name="T89" fmla="*/ 169 h 243"/>
                <a:gd name="T90" fmla="*/ 152 w 508"/>
                <a:gd name="T91" fmla="*/ 166 h 243"/>
                <a:gd name="T92" fmla="*/ 178 w 508"/>
                <a:gd name="T93" fmla="*/ 147 h 243"/>
                <a:gd name="T94" fmla="*/ 135 w 508"/>
                <a:gd name="T95" fmla="*/ 133 h 243"/>
                <a:gd name="T96" fmla="*/ 118 w 508"/>
                <a:gd name="T97" fmla="*/ 122 h 243"/>
                <a:gd name="T98" fmla="*/ 118 w 508"/>
                <a:gd name="T99" fmla="*/ 115 h 243"/>
                <a:gd name="T100" fmla="*/ 109 w 508"/>
                <a:gd name="T101" fmla="*/ 107 h 243"/>
                <a:gd name="T102" fmla="*/ 96 w 508"/>
                <a:gd name="T103" fmla="*/ 128 h 243"/>
                <a:gd name="T104" fmla="*/ 71 w 508"/>
                <a:gd name="T105" fmla="*/ 122 h 243"/>
                <a:gd name="T106" fmla="*/ 64 w 508"/>
                <a:gd name="T107" fmla="*/ 110 h 243"/>
                <a:gd name="T108" fmla="*/ 45 w 508"/>
                <a:gd name="T109" fmla="*/ 107 h 243"/>
                <a:gd name="T110" fmla="*/ 45 w 508"/>
                <a:gd name="T111" fmla="*/ 100 h 243"/>
                <a:gd name="T112" fmla="*/ 90 w 508"/>
                <a:gd name="T113" fmla="*/ 66 h 243"/>
                <a:gd name="T114" fmla="*/ 88 w 508"/>
                <a:gd name="T115" fmla="*/ 59 h 243"/>
                <a:gd name="T116" fmla="*/ 75 w 508"/>
                <a:gd name="T117" fmla="*/ 54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8" h="243">
                  <a:moveTo>
                    <a:pt x="75" y="54"/>
                  </a:moveTo>
                  <a:lnTo>
                    <a:pt x="81" y="31"/>
                  </a:lnTo>
                  <a:lnTo>
                    <a:pt x="101" y="25"/>
                  </a:lnTo>
                  <a:lnTo>
                    <a:pt x="143" y="31"/>
                  </a:lnTo>
                  <a:lnTo>
                    <a:pt x="186" y="48"/>
                  </a:lnTo>
                  <a:lnTo>
                    <a:pt x="195" y="15"/>
                  </a:lnTo>
                  <a:lnTo>
                    <a:pt x="225" y="0"/>
                  </a:lnTo>
                  <a:lnTo>
                    <a:pt x="248" y="15"/>
                  </a:lnTo>
                  <a:lnTo>
                    <a:pt x="279" y="20"/>
                  </a:lnTo>
                  <a:lnTo>
                    <a:pt x="361" y="15"/>
                  </a:lnTo>
                  <a:lnTo>
                    <a:pt x="459" y="29"/>
                  </a:lnTo>
                  <a:lnTo>
                    <a:pt x="472" y="46"/>
                  </a:lnTo>
                  <a:lnTo>
                    <a:pt x="508" y="57"/>
                  </a:lnTo>
                  <a:lnTo>
                    <a:pt x="505" y="79"/>
                  </a:lnTo>
                  <a:lnTo>
                    <a:pt x="434" y="113"/>
                  </a:lnTo>
                  <a:lnTo>
                    <a:pt x="415" y="136"/>
                  </a:lnTo>
                  <a:lnTo>
                    <a:pt x="352" y="149"/>
                  </a:lnTo>
                  <a:lnTo>
                    <a:pt x="339" y="175"/>
                  </a:lnTo>
                  <a:lnTo>
                    <a:pt x="328" y="181"/>
                  </a:lnTo>
                  <a:lnTo>
                    <a:pt x="296" y="183"/>
                  </a:lnTo>
                  <a:lnTo>
                    <a:pt x="291" y="173"/>
                  </a:lnTo>
                  <a:lnTo>
                    <a:pt x="283" y="171"/>
                  </a:lnTo>
                  <a:lnTo>
                    <a:pt x="260" y="173"/>
                  </a:lnTo>
                  <a:lnTo>
                    <a:pt x="256" y="184"/>
                  </a:lnTo>
                  <a:lnTo>
                    <a:pt x="220" y="201"/>
                  </a:lnTo>
                  <a:lnTo>
                    <a:pt x="212" y="217"/>
                  </a:lnTo>
                  <a:lnTo>
                    <a:pt x="212" y="226"/>
                  </a:lnTo>
                  <a:lnTo>
                    <a:pt x="195" y="221"/>
                  </a:lnTo>
                  <a:lnTo>
                    <a:pt x="194" y="235"/>
                  </a:lnTo>
                  <a:lnTo>
                    <a:pt x="163" y="234"/>
                  </a:lnTo>
                  <a:lnTo>
                    <a:pt x="137" y="243"/>
                  </a:lnTo>
                  <a:lnTo>
                    <a:pt x="117" y="240"/>
                  </a:lnTo>
                  <a:lnTo>
                    <a:pt x="113" y="227"/>
                  </a:lnTo>
                  <a:lnTo>
                    <a:pt x="100" y="223"/>
                  </a:lnTo>
                  <a:lnTo>
                    <a:pt x="75" y="230"/>
                  </a:lnTo>
                  <a:lnTo>
                    <a:pt x="58" y="221"/>
                  </a:lnTo>
                  <a:lnTo>
                    <a:pt x="3" y="226"/>
                  </a:lnTo>
                  <a:lnTo>
                    <a:pt x="0" y="218"/>
                  </a:lnTo>
                  <a:lnTo>
                    <a:pt x="0" y="200"/>
                  </a:lnTo>
                  <a:lnTo>
                    <a:pt x="19" y="192"/>
                  </a:lnTo>
                  <a:lnTo>
                    <a:pt x="39" y="192"/>
                  </a:lnTo>
                  <a:lnTo>
                    <a:pt x="58" y="198"/>
                  </a:lnTo>
                  <a:lnTo>
                    <a:pt x="78" y="181"/>
                  </a:lnTo>
                  <a:lnTo>
                    <a:pt x="120" y="183"/>
                  </a:lnTo>
                  <a:lnTo>
                    <a:pt x="134" y="169"/>
                  </a:lnTo>
                  <a:lnTo>
                    <a:pt x="152" y="166"/>
                  </a:lnTo>
                  <a:lnTo>
                    <a:pt x="178" y="147"/>
                  </a:lnTo>
                  <a:lnTo>
                    <a:pt x="135" y="133"/>
                  </a:lnTo>
                  <a:lnTo>
                    <a:pt x="118" y="122"/>
                  </a:lnTo>
                  <a:lnTo>
                    <a:pt x="118" y="115"/>
                  </a:lnTo>
                  <a:lnTo>
                    <a:pt x="109" y="107"/>
                  </a:lnTo>
                  <a:lnTo>
                    <a:pt x="96" y="128"/>
                  </a:lnTo>
                  <a:lnTo>
                    <a:pt x="71" y="122"/>
                  </a:lnTo>
                  <a:lnTo>
                    <a:pt x="64" y="110"/>
                  </a:lnTo>
                  <a:lnTo>
                    <a:pt x="45" y="107"/>
                  </a:lnTo>
                  <a:lnTo>
                    <a:pt x="45" y="100"/>
                  </a:lnTo>
                  <a:lnTo>
                    <a:pt x="90" y="66"/>
                  </a:lnTo>
                  <a:lnTo>
                    <a:pt x="88" y="59"/>
                  </a:lnTo>
                  <a:lnTo>
                    <a:pt x="75" y="54"/>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5" name="Freeform 32">
              <a:extLst>
                <a:ext uri="{FF2B5EF4-FFF2-40B4-BE49-F238E27FC236}">
                  <a16:creationId xmlns:a16="http://schemas.microsoft.com/office/drawing/2014/main" id="{2EF3DC36-A58B-C147-8F79-534B4C63ADB6}"/>
                </a:ext>
              </a:extLst>
            </p:cNvPr>
            <p:cNvSpPr>
              <a:spLocks noChangeAspect="1"/>
            </p:cNvSpPr>
            <p:nvPr/>
          </p:nvSpPr>
          <p:spPr bwMode="gray">
            <a:xfrm>
              <a:off x="5995103" y="3142598"/>
              <a:ext cx="321670" cy="293741"/>
            </a:xfrm>
            <a:custGeom>
              <a:avLst/>
              <a:gdLst>
                <a:gd name="T0" fmla="*/ 29 w 660"/>
                <a:gd name="T1" fmla="*/ 205 h 502"/>
                <a:gd name="T2" fmla="*/ 18 w 660"/>
                <a:gd name="T3" fmla="*/ 235 h 502"/>
                <a:gd name="T4" fmla="*/ 0 w 660"/>
                <a:gd name="T5" fmla="*/ 252 h 502"/>
                <a:gd name="T6" fmla="*/ 12 w 660"/>
                <a:gd name="T7" fmla="*/ 272 h 502"/>
                <a:gd name="T8" fmla="*/ 3 w 660"/>
                <a:gd name="T9" fmla="*/ 312 h 502"/>
                <a:gd name="T10" fmla="*/ 12 w 660"/>
                <a:gd name="T11" fmla="*/ 375 h 502"/>
                <a:gd name="T12" fmla="*/ 40 w 660"/>
                <a:gd name="T13" fmla="*/ 388 h 502"/>
                <a:gd name="T14" fmla="*/ 49 w 660"/>
                <a:gd name="T15" fmla="*/ 437 h 502"/>
                <a:gd name="T16" fmla="*/ 20 w 660"/>
                <a:gd name="T17" fmla="*/ 481 h 502"/>
                <a:gd name="T18" fmla="*/ 137 w 660"/>
                <a:gd name="T19" fmla="*/ 498 h 502"/>
                <a:gd name="T20" fmla="*/ 179 w 660"/>
                <a:gd name="T21" fmla="*/ 493 h 502"/>
                <a:gd name="T22" fmla="*/ 264 w 660"/>
                <a:gd name="T23" fmla="*/ 481 h 502"/>
                <a:gd name="T24" fmla="*/ 267 w 660"/>
                <a:gd name="T25" fmla="*/ 464 h 502"/>
                <a:gd name="T26" fmla="*/ 292 w 660"/>
                <a:gd name="T27" fmla="*/ 405 h 502"/>
                <a:gd name="T28" fmla="*/ 337 w 660"/>
                <a:gd name="T29" fmla="*/ 396 h 502"/>
                <a:gd name="T30" fmla="*/ 352 w 660"/>
                <a:gd name="T31" fmla="*/ 377 h 502"/>
                <a:gd name="T32" fmla="*/ 368 w 660"/>
                <a:gd name="T33" fmla="*/ 377 h 502"/>
                <a:gd name="T34" fmla="*/ 388 w 660"/>
                <a:gd name="T35" fmla="*/ 388 h 502"/>
                <a:gd name="T36" fmla="*/ 403 w 660"/>
                <a:gd name="T37" fmla="*/ 341 h 502"/>
                <a:gd name="T38" fmla="*/ 419 w 660"/>
                <a:gd name="T39" fmla="*/ 304 h 502"/>
                <a:gd name="T40" fmla="*/ 454 w 660"/>
                <a:gd name="T41" fmla="*/ 289 h 502"/>
                <a:gd name="T42" fmla="*/ 437 w 660"/>
                <a:gd name="T43" fmla="*/ 261 h 502"/>
                <a:gd name="T44" fmla="*/ 469 w 660"/>
                <a:gd name="T45" fmla="*/ 258 h 502"/>
                <a:gd name="T46" fmla="*/ 493 w 660"/>
                <a:gd name="T47" fmla="*/ 235 h 502"/>
                <a:gd name="T48" fmla="*/ 513 w 660"/>
                <a:gd name="T49" fmla="*/ 191 h 502"/>
                <a:gd name="T50" fmla="*/ 510 w 660"/>
                <a:gd name="T51" fmla="*/ 154 h 502"/>
                <a:gd name="T52" fmla="*/ 499 w 660"/>
                <a:gd name="T53" fmla="*/ 132 h 502"/>
                <a:gd name="T54" fmla="*/ 527 w 660"/>
                <a:gd name="T55" fmla="*/ 118 h 502"/>
                <a:gd name="T56" fmla="*/ 558 w 660"/>
                <a:gd name="T57" fmla="*/ 97 h 502"/>
                <a:gd name="T58" fmla="*/ 632 w 660"/>
                <a:gd name="T59" fmla="*/ 95 h 502"/>
                <a:gd name="T60" fmla="*/ 645 w 660"/>
                <a:gd name="T61" fmla="*/ 76 h 502"/>
                <a:gd name="T62" fmla="*/ 660 w 660"/>
                <a:gd name="T63" fmla="*/ 64 h 502"/>
                <a:gd name="T64" fmla="*/ 615 w 660"/>
                <a:gd name="T65" fmla="*/ 72 h 502"/>
                <a:gd name="T66" fmla="*/ 598 w 660"/>
                <a:gd name="T67" fmla="*/ 59 h 502"/>
                <a:gd name="T68" fmla="*/ 516 w 660"/>
                <a:gd name="T69" fmla="*/ 103 h 502"/>
                <a:gd name="T70" fmla="*/ 510 w 660"/>
                <a:gd name="T71" fmla="*/ 33 h 502"/>
                <a:gd name="T72" fmla="*/ 499 w 660"/>
                <a:gd name="T73" fmla="*/ 12 h 502"/>
                <a:gd name="T74" fmla="*/ 471 w 660"/>
                <a:gd name="T75" fmla="*/ 1 h 502"/>
                <a:gd name="T76" fmla="*/ 453 w 660"/>
                <a:gd name="T77" fmla="*/ 44 h 502"/>
                <a:gd name="T78" fmla="*/ 417 w 660"/>
                <a:gd name="T79" fmla="*/ 49 h 502"/>
                <a:gd name="T80" fmla="*/ 411 w 660"/>
                <a:gd name="T81" fmla="*/ 72 h 502"/>
                <a:gd name="T82" fmla="*/ 389 w 660"/>
                <a:gd name="T83" fmla="*/ 67 h 502"/>
                <a:gd name="T84" fmla="*/ 334 w 660"/>
                <a:gd name="T85" fmla="*/ 69 h 502"/>
                <a:gd name="T86" fmla="*/ 266 w 660"/>
                <a:gd name="T87" fmla="*/ 64 h 502"/>
                <a:gd name="T88" fmla="*/ 235 w 660"/>
                <a:gd name="T89" fmla="*/ 58 h 502"/>
                <a:gd name="T90" fmla="*/ 205 w 660"/>
                <a:gd name="T91" fmla="*/ 69 h 502"/>
                <a:gd name="T92" fmla="*/ 188 w 660"/>
                <a:gd name="T93" fmla="*/ 123 h 502"/>
                <a:gd name="T94" fmla="*/ 123 w 660"/>
                <a:gd name="T95" fmla="*/ 149 h 502"/>
                <a:gd name="T96" fmla="*/ 120 w 660"/>
                <a:gd name="T97" fmla="*/ 174 h 502"/>
                <a:gd name="T98" fmla="*/ 83 w 660"/>
                <a:gd name="T99" fmla="*/ 186 h 502"/>
                <a:gd name="T100" fmla="*/ 48 w 660"/>
                <a:gd name="T101" fmla="*/ 173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60" h="502">
                  <a:moveTo>
                    <a:pt x="35" y="162"/>
                  </a:moveTo>
                  <a:lnTo>
                    <a:pt x="29" y="205"/>
                  </a:lnTo>
                  <a:lnTo>
                    <a:pt x="18" y="224"/>
                  </a:lnTo>
                  <a:lnTo>
                    <a:pt x="18" y="235"/>
                  </a:lnTo>
                  <a:lnTo>
                    <a:pt x="0" y="244"/>
                  </a:lnTo>
                  <a:lnTo>
                    <a:pt x="0" y="252"/>
                  </a:lnTo>
                  <a:lnTo>
                    <a:pt x="0" y="267"/>
                  </a:lnTo>
                  <a:lnTo>
                    <a:pt x="12" y="272"/>
                  </a:lnTo>
                  <a:lnTo>
                    <a:pt x="12" y="281"/>
                  </a:lnTo>
                  <a:lnTo>
                    <a:pt x="3" y="312"/>
                  </a:lnTo>
                  <a:lnTo>
                    <a:pt x="12" y="335"/>
                  </a:lnTo>
                  <a:lnTo>
                    <a:pt x="12" y="375"/>
                  </a:lnTo>
                  <a:lnTo>
                    <a:pt x="20" y="384"/>
                  </a:lnTo>
                  <a:lnTo>
                    <a:pt x="40" y="388"/>
                  </a:lnTo>
                  <a:lnTo>
                    <a:pt x="54" y="409"/>
                  </a:lnTo>
                  <a:lnTo>
                    <a:pt x="49" y="437"/>
                  </a:lnTo>
                  <a:lnTo>
                    <a:pt x="31" y="459"/>
                  </a:lnTo>
                  <a:lnTo>
                    <a:pt x="20" y="481"/>
                  </a:lnTo>
                  <a:lnTo>
                    <a:pt x="91" y="502"/>
                  </a:lnTo>
                  <a:lnTo>
                    <a:pt x="137" y="498"/>
                  </a:lnTo>
                  <a:lnTo>
                    <a:pt x="165" y="502"/>
                  </a:lnTo>
                  <a:lnTo>
                    <a:pt x="179" y="493"/>
                  </a:lnTo>
                  <a:lnTo>
                    <a:pt x="212" y="494"/>
                  </a:lnTo>
                  <a:lnTo>
                    <a:pt x="264" y="481"/>
                  </a:lnTo>
                  <a:lnTo>
                    <a:pt x="271" y="476"/>
                  </a:lnTo>
                  <a:lnTo>
                    <a:pt x="267" y="464"/>
                  </a:lnTo>
                  <a:lnTo>
                    <a:pt x="272" y="425"/>
                  </a:lnTo>
                  <a:lnTo>
                    <a:pt x="292" y="405"/>
                  </a:lnTo>
                  <a:lnTo>
                    <a:pt x="334" y="401"/>
                  </a:lnTo>
                  <a:lnTo>
                    <a:pt x="337" y="396"/>
                  </a:lnTo>
                  <a:lnTo>
                    <a:pt x="329" y="392"/>
                  </a:lnTo>
                  <a:lnTo>
                    <a:pt x="352" y="377"/>
                  </a:lnTo>
                  <a:lnTo>
                    <a:pt x="371" y="380"/>
                  </a:lnTo>
                  <a:lnTo>
                    <a:pt x="368" y="377"/>
                  </a:lnTo>
                  <a:lnTo>
                    <a:pt x="372" y="374"/>
                  </a:lnTo>
                  <a:lnTo>
                    <a:pt x="388" y="388"/>
                  </a:lnTo>
                  <a:lnTo>
                    <a:pt x="406" y="369"/>
                  </a:lnTo>
                  <a:lnTo>
                    <a:pt x="403" y="341"/>
                  </a:lnTo>
                  <a:lnTo>
                    <a:pt x="411" y="330"/>
                  </a:lnTo>
                  <a:lnTo>
                    <a:pt x="419" y="304"/>
                  </a:lnTo>
                  <a:lnTo>
                    <a:pt x="436" y="303"/>
                  </a:lnTo>
                  <a:lnTo>
                    <a:pt x="454" y="289"/>
                  </a:lnTo>
                  <a:lnTo>
                    <a:pt x="445" y="269"/>
                  </a:lnTo>
                  <a:lnTo>
                    <a:pt x="437" y="261"/>
                  </a:lnTo>
                  <a:lnTo>
                    <a:pt x="437" y="253"/>
                  </a:lnTo>
                  <a:lnTo>
                    <a:pt x="469" y="258"/>
                  </a:lnTo>
                  <a:lnTo>
                    <a:pt x="484" y="252"/>
                  </a:lnTo>
                  <a:lnTo>
                    <a:pt x="493" y="235"/>
                  </a:lnTo>
                  <a:lnTo>
                    <a:pt x="486" y="225"/>
                  </a:lnTo>
                  <a:lnTo>
                    <a:pt x="513" y="191"/>
                  </a:lnTo>
                  <a:lnTo>
                    <a:pt x="515" y="173"/>
                  </a:lnTo>
                  <a:lnTo>
                    <a:pt x="510" y="154"/>
                  </a:lnTo>
                  <a:lnTo>
                    <a:pt x="496" y="140"/>
                  </a:lnTo>
                  <a:lnTo>
                    <a:pt x="499" y="132"/>
                  </a:lnTo>
                  <a:lnTo>
                    <a:pt x="515" y="117"/>
                  </a:lnTo>
                  <a:lnTo>
                    <a:pt x="527" y="118"/>
                  </a:lnTo>
                  <a:lnTo>
                    <a:pt x="537" y="105"/>
                  </a:lnTo>
                  <a:lnTo>
                    <a:pt x="558" y="97"/>
                  </a:lnTo>
                  <a:lnTo>
                    <a:pt x="609" y="91"/>
                  </a:lnTo>
                  <a:lnTo>
                    <a:pt x="632" y="95"/>
                  </a:lnTo>
                  <a:lnTo>
                    <a:pt x="654" y="84"/>
                  </a:lnTo>
                  <a:lnTo>
                    <a:pt x="645" y="76"/>
                  </a:lnTo>
                  <a:lnTo>
                    <a:pt x="659" y="71"/>
                  </a:lnTo>
                  <a:lnTo>
                    <a:pt x="660" y="64"/>
                  </a:lnTo>
                  <a:lnTo>
                    <a:pt x="645" y="63"/>
                  </a:lnTo>
                  <a:lnTo>
                    <a:pt x="615" y="72"/>
                  </a:lnTo>
                  <a:lnTo>
                    <a:pt x="611" y="61"/>
                  </a:lnTo>
                  <a:lnTo>
                    <a:pt x="598" y="59"/>
                  </a:lnTo>
                  <a:lnTo>
                    <a:pt x="564" y="83"/>
                  </a:lnTo>
                  <a:lnTo>
                    <a:pt x="516" y="103"/>
                  </a:lnTo>
                  <a:lnTo>
                    <a:pt x="503" y="76"/>
                  </a:lnTo>
                  <a:lnTo>
                    <a:pt x="510" y="33"/>
                  </a:lnTo>
                  <a:lnTo>
                    <a:pt x="498" y="29"/>
                  </a:lnTo>
                  <a:lnTo>
                    <a:pt x="499" y="12"/>
                  </a:lnTo>
                  <a:lnTo>
                    <a:pt x="481" y="0"/>
                  </a:lnTo>
                  <a:lnTo>
                    <a:pt x="471" y="1"/>
                  </a:lnTo>
                  <a:lnTo>
                    <a:pt x="448" y="33"/>
                  </a:lnTo>
                  <a:lnTo>
                    <a:pt x="453" y="44"/>
                  </a:lnTo>
                  <a:lnTo>
                    <a:pt x="445" y="54"/>
                  </a:lnTo>
                  <a:lnTo>
                    <a:pt x="417" y="49"/>
                  </a:lnTo>
                  <a:lnTo>
                    <a:pt x="410" y="59"/>
                  </a:lnTo>
                  <a:lnTo>
                    <a:pt x="411" y="72"/>
                  </a:lnTo>
                  <a:lnTo>
                    <a:pt x="408" y="76"/>
                  </a:lnTo>
                  <a:lnTo>
                    <a:pt x="389" y="67"/>
                  </a:lnTo>
                  <a:lnTo>
                    <a:pt x="349" y="86"/>
                  </a:lnTo>
                  <a:lnTo>
                    <a:pt x="334" y="69"/>
                  </a:lnTo>
                  <a:lnTo>
                    <a:pt x="276" y="63"/>
                  </a:lnTo>
                  <a:lnTo>
                    <a:pt x="266" y="64"/>
                  </a:lnTo>
                  <a:lnTo>
                    <a:pt x="242" y="54"/>
                  </a:lnTo>
                  <a:lnTo>
                    <a:pt x="235" y="58"/>
                  </a:lnTo>
                  <a:lnTo>
                    <a:pt x="232" y="69"/>
                  </a:lnTo>
                  <a:lnTo>
                    <a:pt x="205" y="69"/>
                  </a:lnTo>
                  <a:lnTo>
                    <a:pt x="196" y="81"/>
                  </a:lnTo>
                  <a:lnTo>
                    <a:pt x="188" y="123"/>
                  </a:lnTo>
                  <a:lnTo>
                    <a:pt x="151" y="145"/>
                  </a:lnTo>
                  <a:lnTo>
                    <a:pt x="123" y="149"/>
                  </a:lnTo>
                  <a:lnTo>
                    <a:pt x="128" y="159"/>
                  </a:lnTo>
                  <a:lnTo>
                    <a:pt x="120" y="174"/>
                  </a:lnTo>
                  <a:lnTo>
                    <a:pt x="105" y="185"/>
                  </a:lnTo>
                  <a:lnTo>
                    <a:pt x="83" y="186"/>
                  </a:lnTo>
                  <a:lnTo>
                    <a:pt x="68" y="173"/>
                  </a:lnTo>
                  <a:lnTo>
                    <a:pt x="48" y="173"/>
                  </a:lnTo>
                  <a:lnTo>
                    <a:pt x="35" y="162"/>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6" name="Freeform 33">
              <a:extLst>
                <a:ext uri="{FF2B5EF4-FFF2-40B4-BE49-F238E27FC236}">
                  <a16:creationId xmlns:a16="http://schemas.microsoft.com/office/drawing/2014/main" id="{6E649283-DDA5-D849-9823-16BDA7784DE7}"/>
                </a:ext>
              </a:extLst>
            </p:cNvPr>
            <p:cNvSpPr>
              <a:spLocks noChangeAspect="1"/>
            </p:cNvSpPr>
            <p:nvPr/>
          </p:nvSpPr>
          <p:spPr bwMode="gray">
            <a:xfrm>
              <a:off x="6149567" y="3048521"/>
              <a:ext cx="171981" cy="151671"/>
            </a:xfrm>
            <a:custGeom>
              <a:avLst/>
              <a:gdLst>
                <a:gd name="T0" fmla="*/ 293 w 354"/>
                <a:gd name="T1" fmla="*/ 138 h 263"/>
                <a:gd name="T2" fmla="*/ 306 w 354"/>
                <a:gd name="T3" fmla="*/ 160 h 263"/>
                <a:gd name="T4" fmla="*/ 344 w 354"/>
                <a:gd name="T5" fmla="*/ 165 h 263"/>
                <a:gd name="T6" fmla="*/ 354 w 354"/>
                <a:gd name="T7" fmla="*/ 202 h 263"/>
                <a:gd name="T8" fmla="*/ 344 w 354"/>
                <a:gd name="T9" fmla="*/ 231 h 263"/>
                <a:gd name="T10" fmla="*/ 330 w 354"/>
                <a:gd name="T11" fmla="*/ 223 h 263"/>
                <a:gd name="T12" fmla="*/ 296 w 354"/>
                <a:gd name="T13" fmla="*/ 221 h 263"/>
                <a:gd name="T14" fmla="*/ 249 w 354"/>
                <a:gd name="T15" fmla="*/ 243 h 263"/>
                <a:gd name="T16" fmla="*/ 188 w 354"/>
                <a:gd name="T17" fmla="*/ 236 h 263"/>
                <a:gd name="T18" fmla="*/ 183 w 354"/>
                <a:gd name="T19" fmla="*/ 189 h 263"/>
                <a:gd name="T20" fmla="*/ 166 w 354"/>
                <a:gd name="T21" fmla="*/ 160 h 263"/>
                <a:gd name="T22" fmla="*/ 133 w 354"/>
                <a:gd name="T23" fmla="*/ 193 h 263"/>
                <a:gd name="T24" fmla="*/ 130 w 354"/>
                <a:gd name="T25" fmla="*/ 214 h 263"/>
                <a:gd name="T26" fmla="*/ 95 w 354"/>
                <a:gd name="T27" fmla="*/ 219 h 263"/>
                <a:gd name="T28" fmla="*/ 93 w 354"/>
                <a:gd name="T29" fmla="*/ 236 h 263"/>
                <a:gd name="T30" fmla="*/ 34 w 354"/>
                <a:gd name="T31" fmla="*/ 246 h 263"/>
                <a:gd name="T32" fmla="*/ 20 w 354"/>
                <a:gd name="T33" fmla="*/ 224 h 263"/>
                <a:gd name="T34" fmla="*/ 24 w 354"/>
                <a:gd name="T35" fmla="*/ 202 h 263"/>
                <a:gd name="T36" fmla="*/ 33 w 354"/>
                <a:gd name="T37" fmla="*/ 144 h 263"/>
                <a:gd name="T38" fmla="*/ 16 w 354"/>
                <a:gd name="T39" fmla="*/ 121 h 263"/>
                <a:gd name="T40" fmla="*/ 7 w 354"/>
                <a:gd name="T41" fmla="*/ 102 h 263"/>
                <a:gd name="T42" fmla="*/ 54 w 354"/>
                <a:gd name="T43" fmla="*/ 88 h 263"/>
                <a:gd name="T44" fmla="*/ 88 w 354"/>
                <a:gd name="T45" fmla="*/ 53 h 263"/>
                <a:gd name="T46" fmla="*/ 93 w 354"/>
                <a:gd name="T47" fmla="*/ 23 h 263"/>
                <a:gd name="T48" fmla="*/ 144 w 354"/>
                <a:gd name="T49" fmla="*/ 0 h 263"/>
                <a:gd name="T50" fmla="*/ 156 w 354"/>
                <a:gd name="T51" fmla="*/ 20 h 263"/>
                <a:gd name="T52" fmla="*/ 146 w 354"/>
                <a:gd name="T53" fmla="*/ 46 h 263"/>
                <a:gd name="T54" fmla="*/ 166 w 354"/>
                <a:gd name="T55" fmla="*/ 48 h 263"/>
                <a:gd name="T56" fmla="*/ 127 w 354"/>
                <a:gd name="T57" fmla="*/ 59 h 263"/>
                <a:gd name="T58" fmla="*/ 88 w 354"/>
                <a:gd name="T59" fmla="*/ 67 h 263"/>
                <a:gd name="T60" fmla="*/ 91 w 354"/>
                <a:gd name="T61" fmla="*/ 93 h 263"/>
                <a:gd name="T62" fmla="*/ 163 w 354"/>
                <a:gd name="T63" fmla="*/ 97 h 263"/>
                <a:gd name="T64" fmla="*/ 201 w 354"/>
                <a:gd name="T65" fmla="*/ 94 h 263"/>
                <a:gd name="T66" fmla="*/ 225 w 354"/>
                <a:gd name="T67" fmla="*/ 110 h 263"/>
                <a:gd name="T68" fmla="*/ 282 w 354"/>
                <a:gd name="T69" fmla="*/ 102 h 263"/>
                <a:gd name="T70" fmla="*/ 300 w 354"/>
                <a:gd name="T71" fmla="*/ 9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54" h="263">
                  <a:moveTo>
                    <a:pt x="300" y="93"/>
                  </a:moveTo>
                  <a:lnTo>
                    <a:pt x="293" y="138"/>
                  </a:lnTo>
                  <a:lnTo>
                    <a:pt x="296" y="153"/>
                  </a:lnTo>
                  <a:lnTo>
                    <a:pt x="306" y="160"/>
                  </a:lnTo>
                  <a:lnTo>
                    <a:pt x="339" y="156"/>
                  </a:lnTo>
                  <a:lnTo>
                    <a:pt x="344" y="165"/>
                  </a:lnTo>
                  <a:lnTo>
                    <a:pt x="344" y="182"/>
                  </a:lnTo>
                  <a:lnTo>
                    <a:pt x="354" y="202"/>
                  </a:lnTo>
                  <a:lnTo>
                    <a:pt x="354" y="231"/>
                  </a:lnTo>
                  <a:lnTo>
                    <a:pt x="344" y="231"/>
                  </a:lnTo>
                  <a:lnTo>
                    <a:pt x="345" y="224"/>
                  </a:lnTo>
                  <a:lnTo>
                    <a:pt x="330" y="223"/>
                  </a:lnTo>
                  <a:lnTo>
                    <a:pt x="300" y="232"/>
                  </a:lnTo>
                  <a:lnTo>
                    <a:pt x="296" y="221"/>
                  </a:lnTo>
                  <a:lnTo>
                    <a:pt x="283" y="219"/>
                  </a:lnTo>
                  <a:lnTo>
                    <a:pt x="249" y="243"/>
                  </a:lnTo>
                  <a:lnTo>
                    <a:pt x="201" y="263"/>
                  </a:lnTo>
                  <a:lnTo>
                    <a:pt x="188" y="236"/>
                  </a:lnTo>
                  <a:lnTo>
                    <a:pt x="195" y="193"/>
                  </a:lnTo>
                  <a:lnTo>
                    <a:pt x="183" y="189"/>
                  </a:lnTo>
                  <a:lnTo>
                    <a:pt x="184" y="172"/>
                  </a:lnTo>
                  <a:lnTo>
                    <a:pt x="166" y="160"/>
                  </a:lnTo>
                  <a:lnTo>
                    <a:pt x="156" y="161"/>
                  </a:lnTo>
                  <a:lnTo>
                    <a:pt x="133" y="193"/>
                  </a:lnTo>
                  <a:lnTo>
                    <a:pt x="138" y="204"/>
                  </a:lnTo>
                  <a:lnTo>
                    <a:pt x="130" y="214"/>
                  </a:lnTo>
                  <a:lnTo>
                    <a:pt x="102" y="209"/>
                  </a:lnTo>
                  <a:lnTo>
                    <a:pt x="95" y="219"/>
                  </a:lnTo>
                  <a:lnTo>
                    <a:pt x="96" y="232"/>
                  </a:lnTo>
                  <a:lnTo>
                    <a:pt x="93" y="236"/>
                  </a:lnTo>
                  <a:lnTo>
                    <a:pt x="74" y="227"/>
                  </a:lnTo>
                  <a:lnTo>
                    <a:pt x="34" y="246"/>
                  </a:lnTo>
                  <a:lnTo>
                    <a:pt x="19" y="229"/>
                  </a:lnTo>
                  <a:lnTo>
                    <a:pt x="20" y="224"/>
                  </a:lnTo>
                  <a:lnTo>
                    <a:pt x="19" y="214"/>
                  </a:lnTo>
                  <a:lnTo>
                    <a:pt x="24" y="202"/>
                  </a:lnTo>
                  <a:lnTo>
                    <a:pt x="45" y="173"/>
                  </a:lnTo>
                  <a:lnTo>
                    <a:pt x="33" y="144"/>
                  </a:lnTo>
                  <a:lnTo>
                    <a:pt x="34" y="124"/>
                  </a:lnTo>
                  <a:lnTo>
                    <a:pt x="16" y="121"/>
                  </a:lnTo>
                  <a:lnTo>
                    <a:pt x="0" y="105"/>
                  </a:lnTo>
                  <a:lnTo>
                    <a:pt x="7" y="102"/>
                  </a:lnTo>
                  <a:lnTo>
                    <a:pt x="8" y="88"/>
                  </a:lnTo>
                  <a:lnTo>
                    <a:pt x="54" y="88"/>
                  </a:lnTo>
                  <a:lnTo>
                    <a:pt x="64" y="63"/>
                  </a:lnTo>
                  <a:lnTo>
                    <a:pt x="88" y="53"/>
                  </a:lnTo>
                  <a:lnTo>
                    <a:pt x="87" y="34"/>
                  </a:lnTo>
                  <a:lnTo>
                    <a:pt x="93" y="23"/>
                  </a:lnTo>
                  <a:lnTo>
                    <a:pt x="112" y="25"/>
                  </a:lnTo>
                  <a:lnTo>
                    <a:pt x="144" y="0"/>
                  </a:lnTo>
                  <a:lnTo>
                    <a:pt x="149" y="0"/>
                  </a:lnTo>
                  <a:lnTo>
                    <a:pt x="156" y="20"/>
                  </a:lnTo>
                  <a:lnTo>
                    <a:pt x="142" y="33"/>
                  </a:lnTo>
                  <a:lnTo>
                    <a:pt x="146" y="46"/>
                  </a:lnTo>
                  <a:lnTo>
                    <a:pt x="149" y="51"/>
                  </a:lnTo>
                  <a:lnTo>
                    <a:pt x="166" y="48"/>
                  </a:lnTo>
                  <a:lnTo>
                    <a:pt x="146" y="65"/>
                  </a:lnTo>
                  <a:lnTo>
                    <a:pt x="127" y="59"/>
                  </a:lnTo>
                  <a:lnTo>
                    <a:pt x="107" y="59"/>
                  </a:lnTo>
                  <a:lnTo>
                    <a:pt x="88" y="67"/>
                  </a:lnTo>
                  <a:lnTo>
                    <a:pt x="88" y="85"/>
                  </a:lnTo>
                  <a:lnTo>
                    <a:pt x="91" y="93"/>
                  </a:lnTo>
                  <a:lnTo>
                    <a:pt x="146" y="88"/>
                  </a:lnTo>
                  <a:lnTo>
                    <a:pt x="163" y="97"/>
                  </a:lnTo>
                  <a:lnTo>
                    <a:pt x="188" y="90"/>
                  </a:lnTo>
                  <a:lnTo>
                    <a:pt x="201" y="94"/>
                  </a:lnTo>
                  <a:lnTo>
                    <a:pt x="205" y="107"/>
                  </a:lnTo>
                  <a:lnTo>
                    <a:pt x="225" y="110"/>
                  </a:lnTo>
                  <a:lnTo>
                    <a:pt x="251" y="101"/>
                  </a:lnTo>
                  <a:lnTo>
                    <a:pt x="282" y="102"/>
                  </a:lnTo>
                  <a:lnTo>
                    <a:pt x="283" y="88"/>
                  </a:lnTo>
                  <a:lnTo>
                    <a:pt x="300" y="93"/>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7" name="Freeform 34">
              <a:extLst>
                <a:ext uri="{FF2B5EF4-FFF2-40B4-BE49-F238E27FC236}">
                  <a16:creationId xmlns:a16="http://schemas.microsoft.com/office/drawing/2014/main" id="{F21C7D3A-0C5B-DA47-8A24-31772CA51BD5}"/>
                </a:ext>
              </a:extLst>
            </p:cNvPr>
            <p:cNvSpPr>
              <a:spLocks noChangeAspect="1"/>
            </p:cNvSpPr>
            <p:nvPr/>
          </p:nvSpPr>
          <p:spPr bwMode="gray">
            <a:xfrm>
              <a:off x="5815158" y="2985165"/>
              <a:ext cx="318484" cy="264944"/>
            </a:xfrm>
            <a:custGeom>
              <a:avLst/>
              <a:gdLst>
                <a:gd name="T0" fmla="*/ 95 w 654"/>
                <a:gd name="T1" fmla="*/ 318 h 452"/>
                <a:gd name="T2" fmla="*/ 176 w 654"/>
                <a:gd name="T3" fmla="*/ 284 h 452"/>
                <a:gd name="T4" fmla="*/ 213 w 654"/>
                <a:gd name="T5" fmla="*/ 273 h 452"/>
                <a:gd name="T6" fmla="*/ 276 w 654"/>
                <a:gd name="T7" fmla="*/ 310 h 452"/>
                <a:gd name="T8" fmla="*/ 326 w 654"/>
                <a:gd name="T9" fmla="*/ 337 h 452"/>
                <a:gd name="T10" fmla="*/ 402 w 654"/>
                <a:gd name="T11" fmla="*/ 371 h 452"/>
                <a:gd name="T12" fmla="*/ 406 w 654"/>
                <a:gd name="T13" fmla="*/ 428 h 452"/>
                <a:gd name="T14" fmla="*/ 439 w 654"/>
                <a:gd name="T15" fmla="*/ 439 h 452"/>
                <a:gd name="T16" fmla="*/ 476 w 654"/>
                <a:gd name="T17" fmla="*/ 451 h 452"/>
                <a:gd name="T18" fmla="*/ 499 w 654"/>
                <a:gd name="T19" fmla="*/ 425 h 452"/>
                <a:gd name="T20" fmla="*/ 522 w 654"/>
                <a:gd name="T21" fmla="*/ 411 h 452"/>
                <a:gd name="T22" fmla="*/ 567 w 654"/>
                <a:gd name="T23" fmla="*/ 347 h 452"/>
                <a:gd name="T24" fmla="*/ 603 w 654"/>
                <a:gd name="T25" fmla="*/ 335 h 452"/>
                <a:gd name="T26" fmla="*/ 613 w 654"/>
                <a:gd name="T27" fmla="*/ 320 h 452"/>
                <a:gd name="T28" fmla="*/ 647 w 654"/>
                <a:gd name="T29" fmla="*/ 329 h 452"/>
                <a:gd name="T30" fmla="*/ 654 w 654"/>
                <a:gd name="T31" fmla="*/ 291 h 452"/>
                <a:gd name="T32" fmla="*/ 620 w 654"/>
                <a:gd name="T33" fmla="*/ 271 h 452"/>
                <a:gd name="T34" fmla="*/ 561 w 654"/>
                <a:gd name="T35" fmla="*/ 237 h 452"/>
                <a:gd name="T36" fmla="*/ 510 w 654"/>
                <a:gd name="T37" fmla="*/ 205 h 452"/>
                <a:gd name="T38" fmla="*/ 459 w 654"/>
                <a:gd name="T39" fmla="*/ 163 h 452"/>
                <a:gd name="T40" fmla="*/ 442 w 654"/>
                <a:gd name="T41" fmla="*/ 127 h 452"/>
                <a:gd name="T42" fmla="*/ 420 w 654"/>
                <a:gd name="T43" fmla="*/ 90 h 452"/>
                <a:gd name="T44" fmla="*/ 352 w 654"/>
                <a:gd name="T45" fmla="*/ 88 h 452"/>
                <a:gd name="T46" fmla="*/ 351 w 654"/>
                <a:gd name="T47" fmla="*/ 63 h 452"/>
                <a:gd name="T48" fmla="*/ 346 w 654"/>
                <a:gd name="T49" fmla="*/ 52 h 452"/>
                <a:gd name="T50" fmla="*/ 315 w 654"/>
                <a:gd name="T51" fmla="*/ 29 h 452"/>
                <a:gd name="T52" fmla="*/ 276 w 654"/>
                <a:gd name="T53" fmla="*/ 8 h 452"/>
                <a:gd name="T54" fmla="*/ 275 w 654"/>
                <a:gd name="T55" fmla="*/ 29 h 452"/>
                <a:gd name="T56" fmla="*/ 250 w 654"/>
                <a:gd name="T57" fmla="*/ 22 h 452"/>
                <a:gd name="T58" fmla="*/ 222 w 654"/>
                <a:gd name="T59" fmla="*/ 39 h 452"/>
                <a:gd name="T60" fmla="*/ 205 w 654"/>
                <a:gd name="T61" fmla="*/ 59 h 452"/>
                <a:gd name="T62" fmla="*/ 207 w 654"/>
                <a:gd name="T63" fmla="*/ 97 h 452"/>
                <a:gd name="T64" fmla="*/ 151 w 654"/>
                <a:gd name="T65" fmla="*/ 93 h 452"/>
                <a:gd name="T66" fmla="*/ 102 w 654"/>
                <a:gd name="T67" fmla="*/ 39 h 452"/>
                <a:gd name="T68" fmla="*/ 26 w 654"/>
                <a:gd name="T69" fmla="*/ 39 h 452"/>
                <a:gd name="T70" fmla="*/ 4 w 654"/>
                <a:gd name="T71" fmla="*/ 78 h 452"/>
                <a:gd name="T72" fmla="*/ 13 w 654"/>
                <a:gd name="T73" fmla="*/ 69 h 452"/>
                <a:gd name="T74" fmla="*/ 49 w 654"/>
                <a:gd name="T75" fmla="*/ 49 h 452"/>
                <a:gd name="T76" fmla="*/ 75 w 654"/>
                <a:gd name="T77" fmla="*/ 78 h 452"/>
                <a:gd name="T78" fmla="*/ 95 w 654"/>
                <a:gd name="T79" fmla="*/ 122 h 452"/>
                <a:gd name="T80" fmla="*/ 92 w 654"/>
                <a:gd name="T81" fmla="*/ 132 h 452"/>
                <a:gd name="T82" fmla="*/ 29 w 654"/>
                <a:gd name="T83" fmla="*/ 127 h 452"/>
                <a:gd name="T84" fmla="*/ 21 w 654"/>
                <a:gd name="T85" fmla="*/ 132 h 452"/>
                <a:gd name="T86" fmla="*/ 19 w 654"/>
                <a:gd name="T87" fmla="*/ 180 h 452"/>
                <a:gd name="T88" fmla="*/ 61 w 654"/>
                <a:gd name="T89" fmla="*/ 174 h 452"/>
                <a:gd name="T90" fmla="*/ 52 w 654"/>
                <a:gd name="T91" fmla="*/ 176 h 452"/>
                <a:gd name="T92" fmla="*/ 66 w 654"/>
                <a:gd name="T93" fmla="*/ 196 h 452"/>
                <a:gd name="T94" fmla="*/ 73 w 654"/>
                <a:gd name="T95" fmla="*/ 232 h 452"/>
                <a:gd name="T96" fmla="*/ 68 w 654"/>
                <a:gd name="T97" fmla="*/ 321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54" h="452">
                  <a:moveTo>
                    <a:pt x="68" y="321"/>
                  </a:moveTo>
                  <a:lnTo>
                    <a:pt x="95" y="318"/>
                  </a:lnTo>
                  <a:lnTo>
                    <a:pt x="136" y="284"/>
                  </a:lnTo>
                  <a:lnTo>
                    <a:pt x="176" y="284"/>
                  </a:lnTo>
                  <a:lnTo>
                    <a:pt x="183" y="273"/>
                  </a:lnTo>
                  <a:lnTo>
                    <a:pt x="213" y="273"/>
                  </a:lnTo>
                  <a:lnTo>
                    <a:pt x="232" y="291"/>
                  </a:lnTo>
                  <a:lnTo>
                    <a:pt x="276" y="310"/>
                  </a:lnTo>
                  <a:lnTo>
                    <a:pt x="315" y="315"/>
                  </a:lnTo>
                  <a:lnTo>
                    <a:pt x="326" y="337"/>
                  </a:lnTo>
                  <a:lnTo>
                    <a:pt x="380" y="371"/>
                  </a:lnTo>
                  <a:lnTo>
                    <a:pt x="402" y="371"/>
                  </a:lnTo>
                  <a:lnTo>
                    <a:pt x="408" y="417"/>
                  </a:lnTo>
                  <a:lnTo>
                    <a:pt x="406" y="428"/>
                  </a:lnTo>
                  <a:lnTo>
                    <a:pt x="419" y="439"/>
                  </a:lnTo>
                  <a:lnTo>
                    <a:pt x="439" y="439"/>
                  </a:lnTo>
                  <a:lnTo>
                    <a:pt x="454" y="452"/>
                  </a:lnTo>
                  <a:lnTo>
                    <a:pt x="476" y="451"/>
                  </a:lnTo>
                  <a:lnTo>
                    <a:pt x="491" y="440"/>
                  </a:lnTo>
                  <a:lnTo>
                    <a:pt x="499" y="425"/>
                  </a:lnTo>
                  <a:lnTo>
                    <a:pt x="494" y="415"/>
                  </a:lnTo>
                  <a:lnTo>
                    <a:pt x="522" y="411"/>
                  </a:lnTo>
                  <a:lnTo>
                    <a:pt x="559" y="389"/>
                  </a:lnTo>
                  <a:lnTo>
                    <a:pt x="567" y="347"/>
                  </a:lnTo>
                  <a:lnTo>
                    <a:pt x="576" y="335"/>
                  </a:lnTo>
                  <a:lnTo>
                    <a:pt x="603" y="335"/>
                  </a:lnTo>
                  <a:lnTo>
                    <a:pt x="606" y="324"/>
                  </a:lnTo>
                  <a:lnTo>
                    <a:pt x="613" y="320"/>
                  </a:lnTo>
                  <a:lnTo>
                    <a:pt x="637" y="330"/>
                  </a:lnTo>
                  <a:lnTo>
                    <a:pt x="647" y="329"/>
                  </a:lnTo>
                  <a:lnTo>
                    <a:pt x="647" y="303"/>
                  </a:lnTo>
                  <a:lnTo>
                    <a:pt x="654" y="291"/>
                  </a:lnTo>
                  <a:lnTo>
                    <a:pt x="649" y="286"/>
                  </a:lnTo>
                  <a:lnTo>
                    <a:pt x="620" y="271"/>
                  </a:lnTo>
                  <a:lnTo>
                    <a:pt x="600" y="274"/>
                  </a:lnTo>
                  <a:lnTo>
                    <a:pt x="561" y="237"/>
                  </a:lnTo>
                  <a:lnTo>
                    <a:pt x="533" y="228"/>
                  </a:lnTo>
                  <a:lnTo>
                    <a:pt x="510" y="205"/>
                  </a:lnTo>
                  <a:lnTo>
                    <a:pt x="469" y="182"/>
                  </a:lnTo>
                  <a:lnTo>
                    <a:pt x="459" y="163"/>
                  </a:lnTo>
                  <a:lnTo>
                    <a:pt x="456" y="142"/>
                  </a:lnTo>
                  <a:lnTo>
                    <a:pt x="442" y="127"/>
                  </a:lnTo>
                  <a:lnTo>
                    <a:pt x="436" y="101"/>
                  </a:lnTo>
                  <a:lnTo>
                    <a:pt x="420" y="90"/>
                  </a:lnTo>
                  <a:lnTo>
                    <a:pt x="406" y="101"/>
                  </a:lnTo>
                  <a:lnTo>
                    <a:pt x="352" y="88"/>
                  </a:lnTo>
                  <a:lnTo>
                    <a:pt x="349" y="83"/>
                  </a:lnTo>
                  <a:lnTo>
                    <a:pt x="351" y="63"/>
                  </a:lnTo>
                  <a:lnTo>
                    <a:pt x="355" y="61"/>
                  </a:lnTo>
                  <a:lnTo>
                    <a:pt x="346" y="52"/>
                  </a:lnTo>
                  <a:lnTo>
                    <a:pt x="344" y="33"/>
                  </a:lnTo>
                  <a:lnTo>
                    <a:pt x="315" y="29"/>
                  </a:lnTo>
                  <a:lnTo>
                    <a:pt x="283" y="0"/>
                  </a:lnTo>
                  <a:lnTo>
                    <a:pt x="276" y="8"/>
                  </a:lnTo>
                  <a:lnTo>
                    <a:pt x="262" y="12"/>
                  </a:lnTo>
                  <a:lnTo>
                    <a:pt x="275" y="29"/>
                  </a:lnTo>
                  <a:lnTo>
                    <a:pt x="258" y="19"/>
                  </a:lnTo>
                  <a:lnTo>
                    <a:pt x="250" y="22"/>
                  </a:lnTo>
                  <a:lnTo>
                    <a:pt x="249" y="33"/>
                  </a:lnTo>
                  <a:lnTo>
                    <a:pt x="222" y="39"/>
                  </a:lnTo>
                  <a:lnTo>
                    <a:pt x="208" y="55"/>
                  </a:lnTo>
                  <a:lnTo>
                    <a:pt x="205" y="59"/>
                  </a:lnTo>
                  <a:lnTo>
                    <a:pt x="213" y="92"/>
                  </a:lnTo>
                  <a:lnTo>
                    <a:pt x="207" y="97"/>
                  </a:lnTo>
                  <a:lnTo>
                    <a:pt x="163" y="90"/>
                  </a:lnTo>
                  <a:lnTo>
                    <a:pt x="151" y="93"/>
                  </a:lnTo>
                  <a:lnTo>
                    <a:pt x="128" y="88"/>
                  </a:lnTo>
                  <a:lnTo>
                    <a:pt x="102" y="39"/>
                  </a:lnTo>
                  <a:lnTo>
                    <a:pt x="78" y="25"/>
                  </a:lnTo>
                  <a:lnTo>
                    <a:pt x="26" y="39"/>
                  </a:lnTo>
                  <a:lnTo>
                    <a:pt x="0" y="61"/>
                  </a:lnTo>
                  <a:lnTo>
                    <a:pt x="4" y="78"/>
                  </a:lnTo>
                  <a:lnTo>
                    <a:pt x="17" y="101"/>
                  </a:lnTo>
                  <a:lnTo>
                    <a:pt x="13" y="69"/>
                  </a:lnTo>
                  <a:lnTo>
                    <a:pt x="21" y="61"/>
                  </a:lnTo>
                  <a:lnTo>
                    <a:pt x="49" y="49"/>
                  </a:lnTo>
                  <a:lnTo>
                    <a:pt x="61" y="50"/>
                  </a:lnTo>
                  <a:lnTo>
                    <a:pt x="75" y="78"/>
                  </a:lnTo>
                  <a:lnTo>
                    <a:pt x="106" y="106"/>
                  </a:lnTo>
                  <a:lnTo>
                    <a:pt x="95" y="122"/>
                  </a:lnTo>
                  <a:lnTo>
                    <a:pt x="83" y="126"/>
                  </a:lnTo>
                  <a:lnTo>
                    <a:pt x="92" y="132"/>
                  </a:lnTo>
                  <a:lnTo>
                    <a:pt x="85" y="135"/>
                  </a:lnTo>
                  <a:lnTo>
                    <a:pt x="29" y="127"/>
                  </a:lnTo>
                  <a:lnTo>
                    <a:pt x="19" y="109"/>
                  </a:lnTo>
                  <a:lnTo>
                    <a:pt x="21" y="132"/>
                  </a:lnTo>
                  <a:lnTo>
                    <a:pt x="13" y="154"/>
                  </a:lnTo>
                  <a:lnTo>
                    <a:pt x="19" y="180"/>
                  </a:lnTo>
                  <a:lnTo>
                    <a:pt x="44" y="169"/>
                  </a:lnTo>
                  <a:lnTo>
                    <a:pt x="61" y="174"/>
                  </a:lnTo>
                  <a:lnTo>
                    <a:pt x="66" y="185"/>
                  </a:lnTo>
                  <a:lnTo>
                    <a:pt x="52" y="176"/>
                  </a:lnTo>
                  <a:lnTo>
                    <a:pt x="44" y="185"/>
                  </a:lnTo>
                  <a:lnTo>
                    <a:pt x="66" y="196"/>
                  </a:lnTo>
                  <a:lnTo>
                    <a:pt x="43" y="211"/>
                  </a:lnTo>
                  <a:lnTo>
                    <a:pt x="73" y="232"/>
                  </a:lnTo>
                  <a:lnTo>
                    <a:pt x="63" y="262"/>
                  </a:lnTo>
                  <a:lnTo>
                    <a:pt x="68" y="321"/>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8" name="Freeform 35">
              <a:extLst>
                <a:ext uri="{FF2B5EF4-FFF2-40B4-BE49-F238E27FC236}">
                  <a16:creationId xmlns:a16="http://schemas.microsoft.com/office/drawing/2014/main" id="{E6DFDCEF-147B-9D4E-9779-A69073A5DDBF}"/>
                </a:ext>
              </a:extLst>
            </p:cNvPr>
            <p:cNvSpPr>
              <a:spLocks noChangeAspect="1"/>
            </p:cNvSpPr>
            <p:nvPr/>
          </p:nvSpPr>
          <p:spPr bwMode="gray">
            <a:xfrm>
              <a:off x="6004657" y="3188673"/>
              <a:ext cx="377404" cy="418532"/>
            </a:xfrm>
            <a:custGeom>
              <a:avLst/>
              <a:gdLst>
                <a:gd name="T0" fmla="*/ 120 w 776"/>
                <a:gd name="T1" fmla="*/ 414 h 709"/>
                <a:gd name="T2" fmla="*/ 195 w 776"/>
                <a:gd name="T3" fmla="*/ 410 h 709"/>
                <a:gd name="T4" fmla="*/ 250 w 776"/>
                <a:gd name="T5" fmla="*/ 380 h 709"/>
                <a:gd name="T6" fmla="*/ 317 w 776"/>
                <a:gd name="T7" fmla="*/ 317 h 709"/>
                <a:gd name="T8" fmla="*/ 335 w 776"/>
                <a:gd name="T9" fmla="*/ 293 h 709"/>
                <a:gd name="T10" fmla="*/ 355 w 776"/>
                <a:gd name="T11" fmla="*/ 290 h 709"/>
                <a:gd name="T12" fmla="*/ 386 w 776"/>
                <a:gd name="T13" fmla="*/ 257 h 709"/>
                <a:gd name="T14" fmla="*/ 419 w 776"/>
                <a:gd name="T15" fmla="*/ 219 h 709"/>
                <a:gd name="T16" fmla="*/ 420 w 776"/>
                <a:gd name="T17" fmla="*/ 177 h 709"/>
                <a:gd name="T18" fmla="*/ 467 w 776"/>
                <a:gd name="T19" fmla="*/ 168 h 709"/>
                <a:gd name="T20" fmla="*/ 496 w 776"/>
                <a:gd name="T21" fmla="*/ 107 h 709"/>
                <a:gd name="T22" fmla="*/ 479 w 776"/>
                <a:gd name="T23" fmla="*/ 56 h 709"/>
                <a:gd name="T24" fmla="*/ 510 w 776"/>
                <a:gd name="T25" fmla="*/ 34 h 709"/>
                <a:gd name="T26" fmla="*/ 592 w 776"/>
                <a:gd name="T27" fmla="*/ 7 h 709"/>
                <a:gd name="T28" fmla="*/ 669 w 776"/>
                <a:gd name="T29" fmla="*/ 5 h 709"/>
                <a:gd name="T30" fmla="*/ 691 w 776"/>
                <a:gd name="T31" fmla="*/ 21 h 709"/>
                <a:gd name="T32" fmla="*/ 694 w 776"/>
                <a:gd name="T33" fmla="*/ 53 h 709"/>
                <a:gd name="T34" fmla="*/ 725 w 776"/>
                <a:gd name="T35" fmla="*/ 72 h 709"/>
                <a:gd name="T36" fmla="*/ 745 w 776"/>
                <a:gd name="T37" fmla="*/ 110 h 709"/>
                <a:gd name="T38" fmla="*/ 708 w 776"/>
                <a:gd name="T39" fmla="*/ 134 h 709"/>
                <a:gd name="T40" fmla="*/ 620 w 776"/>
                <a:gd name="T41" fmla="*/ 123 h 709"/>
                <a:gd name="T42" fmla="*/ 604 w 776"/>
                <a:gd name="T43" fmla="*/ 155 h 709"/>
                <a:gd name="T44" fmla="*/ 604 w 776"/>
                <a:gd name="T45" fmla="*/ 183 h 709"/>
                <a:gd name="T46" fmla="*/ 621 w 776"/>
                <a:gd name="T47" fmla="*/ 228 h 709"/>
                <a:gd name="T48" fmla="*/ 638 w 776"/>
                <a:gd name="T49" fmla="*/ 253 h 709"/>
                <a:gd name="T50" fmla="*/ 663 w 776"/>
                <a:gd name="T51" fmla="*/ 278 h 709"/>
                <a:gd name="T52" fmla="*/ 638 w 776"/>
                <a:gd name="T53" fmla="*/ 313 h 709"/>
                <a:gd name="T54" fmla="*/ 634 w 776"/>
                <a:gd name="T55" fmla="*/ 332 h 709"/>
                <a:gd name="T56" fmla="*/ 597 w 776"/>
                <a:gd name="T57" fmla="*/ 384 h 709"/>
                <a:gd name="T58" fmla="*/ 529 w 776"/>
                <a:gd name="T59" fmla="*/ 459 h 709"/>
                <a:gd name="T60" fmla="*/ 461 w 776"/>
                <a:gd name="T61" fmla="*/ 508 h 709"/>
                <a:gd name="T62" fmla="*/ 402 w 776"/>
                <a:gd name="T63" fmla="*/ 562 h 709"/>
                <a:gd name="T64" fmla="*/ 437 w 776"/>
                <a:gd name="T65" fmla="*/ 612 h 709"/>
                <a:gd name="T66" fmla="*/ 470 w 776"/>
                <a:gd name="T67" fmla="*/ 657 h 709"/>
                <a:gd name="T68" fmla="*/ 456 w 776"/>
                <a:gd name="T69" fmla="*/ 684 h 709"/>
                <a:gd name="T70" fmla="*/ 410 w 776"/>
                <a:gd name="T71" fmla="*/ 688 h 709"/>
                <a:gd name="T72" fmla="*/ 368 w 776"/>
                <a:gd name="T73" fmla="*/ 678 h 709"/>
                <a:gd name="T74" fmla="*/ 332 w 776"/>
                <a:gd name="T75" fmla="*/ 709 h 709"/>
                <a:gd name="T76" fmla="*/ 303 w 776"/>
                <a:gd name="T77" fmla="*/ 695 h 709"/>
                <a:gd name="T78" fmla="*/ 267 w 776"/>
                <a:gd name="T79" fmla="*/ 637 h 709"/>
                <a:gd name="T80" fmla="*/ 191 w 776"/>
                <a:gd name="T81" fmla="*/ 630 h 709"/>
                <a:gd name="T82" fmla="*/ 151 w 776"/>
                <a:gd name="T83" fmla="*/ 627 h 709"/>
                <a:gd name="T84" fmla="*/ 76 w 776"/>
                <a:gd name="T85" fmla="*/ 633 h 709"/>
                <a:gd name="T86" fmla="*/ 40 w 776"/>
                <a:gd name="T87" fmla="*/ 644 h 709"/>
                <a:gd name="T88" fmla="*/ 64 w 776"/>
                <a:gd name="T89" fmla="*/ 571 h 709"/>
                <a:gd name="T90" fmla="*/ 111 w 776"/>
                <a:gd name="T91" fmla="*/ 537 h 709"/>
                <a:gd name="T92" fmla="*/ 35 w 776"/>
                <a:gd name="T93" fmla="*/ 454 h 709"/>
                <a:gd name="T94" fmla="*/ 3 w 776"/>
                <a:gd name="T95" fmla="*/ 397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76" h="709">
                  <a:moveTo>
                    <a:pt x="3" y="397"/>
                  </a:moveTo>
                  <a:lnTo>
                    <a:pt x="74" y="418"/>
                  </a:lnTo>
                  <a:lnTo>
                    <a:pt x="120" y="414"/>
                  </a:lnTo>
                  <a:lnTo>
                    <a:pt x="148" y="418"/>
                  </a:lnTo>
                  <a:lnTo>
                    <a:pt x="162" y="409"/>
                  </a:lnTo>
                  <a:lnTo>
                    <a:pt x="195" y="410"/>
                  </a:lnTo>
                  <a:lnTo>
                    <a:pt x="247" y="397"/>
                  </a:lnTo>
                  <a:lnTo>
                    <a:pt x="254" y="392"/>
                  </a:lnTo>
                  <a:lnTo>
                    <a:pt x="250" y="380"/>
                  </a:lnTo>
                  <a:lnTo>
                    <a:pt x="255" y="341"/>
                  </a:lnTo>
                  <a:lnTo>
                    <a:pt x="275" y="321"/>
                  </a:lnTo>
                  <a:lnTo>
                    <a:pt x="317" y="317"/>
                  </a:lnTo>
                  <a:lnTo>
                    <a:pt x="320" y="312"/>
                  </a:lnTo>
                  <a:lnTo>
                    <a:pt x="312" y="308"/>
                  </a:lnTo>
                  <a:lnTo>
                    <a:pt x="335" y="293"/>
                  </a:lnTo>
                  <a:lnTo>
                    <a:pt x="354" y="296"/>
                  </a:lnTo>
                  <a:lnTo>
                    <a:pt x="351" y="293"/>
                  </a:lnTo>
                  <a:lnTo>
                    <a:pt x="355" y="290"/>
                  </a:lnTo>
                  <a:lnTo>
                    <a:pt x="371" y="304"/>
                  </a:lnTo>
                  <a:lnTo>
                    <a:pt x="389" y="285"/>
                  </a:lnTo>
                  <a:lnTo>
                    <a:pt x="386" y="257"/>
                  </a:lnTo>
                  <a:lnTo>
                    <a:pt x="394" y="246"/>
                  </a:lnTo>
                  <a:lnTo>
                    <a:pt x="402" y="220"/>
                  </a:lnTo>
                  <a:lnTo>
                    <a:pt x="419" y="219"/>
                  </a:lnTo>
                  <a:lnTo>
                    <a:pt x="437" y="205"/>
                  </a:lnTo>
                  <a:lnTo>
                    <a:pt x="428" y="185"/>
                  </a:lnTo>
                  <a:lnTo>
                    <a:pt x="420" y="177"/>
                  </a:lnTo>
                  <a:lnTo>
                    <a:pt x="420" y="169"/>
                  </a:lnTo>
                  <a:lnTo>
                    <a:pt x="452" y="174"/>
                  </a:lnTo>
                  <a:lnTo>
                    <a:pt x="467" y="168"/>
                  </a:lnTo>
                  <a:lnTo>
                    <a:pt x="476" y="151"/>
                  </a:lnTo>
                  <a:lnTo>
                    <a:pt x="469" y="141"/>
                  </a:lnTo>
                  <a:lnTo>
                    <a:pt x="496" y="107"/>
                  </a:lnTo>
                  <a:lnTo>
                    <a:pt x="498" y="89"/>
                  </a:lnTo>
                  <a:lnTo>
                    <a:pt x="493" y="70"/>
                  </a:lnTo>
                  <a:lnTo>
                    <a:pt x="479" y="56"/>
                  </a:lnTo>
                  <a:lnTo>
                    <a:pt x="482" y="48"/>
                  </a:lnTo>
                  <a:lnTo>
                    <a:pt x="498" y="33"/>
                  </a:lnTo>
                  <a:lnTo>
                    <a:pt x="510" y="34"/>
                  </a:lnTo>
                  <a:lnTo>
                    <a:pt x="520" y="21"/>
                  </a:lnTo>
                  <a:lnTo>
                    <a:pt x="541" y="13"/>
                  </a:lnTo>
                  <a:lnTo>
                    <a:pt x="592" y="7"/>
                  </a:lnTo>
                  <a:lnTo>
                    <a:pt x="615" y="11"/>
                  </a:lnTo>
                  <a:lnTo>
                    <a:pt x="637" y="0"/>
                  </a:lnTo>
                  <a:lnTo>
                    <a:pt x="669" y="5"/>
                  </a:lnTo>
                  <a:lnTo>
                    <a:pt x="672" y="19"/>
                  </a:lnTo>
                  <a:lnTo>
                    <a:pt x="682" y="14"/>
                  </a:lnTo>
                  <a:lnTo>
                    <a:pt x="691" y="21"/>
                  </a:lnTo>
                  <a:lnTo>
                    <a:pt x="697" y="31"/>
                  </a:lnTo>
                  <a:lnTo>
                    <a:pt x="699" y="48"/>
                  </a:lnTo>
                  <a:lnTo>
                    <a:pt x="694" y="53"/>
                  </a:lnTo>
                  <a:lnTo>
                    <a:pt x="708" y="68"/>
                  </a:lnTo>
                  <a:lnTo>
                    <a:pt x="725" y="64"/>
                  </a:lnTo>
                  <a:lnTo>
                    <a:pt x="725" y="72"/>
                  </a:lnTo>
                  <a:lnTo>
                    <a:pt x="733" y="76"/>
                  </a:lnTo>
                  <a:lnTo>
                    <a:pt x="776" y="90"/>
                  </a:lnTo>
                  <a:lnTo>
                    <a:pt x="745" y="110"/>
                  </a:lnTo>
                  <a:lnTo>
                    <a:pt x="736" y="129"/>
                  </a:lnTo>
                  <a:lnTo>
                    <a:pt x="716" y="127"/>
                  </a:lnTo>
                  <a:lnTo>
                    <a:pt x="708" y="134"/>
                  </a:lnTo>
                  <a:lnTo>
                    <a:pt x="696" y="132"/>
                  </a:lnTo>
                  <a:lnTo>
                    <a:pt x="677" y="141"/>
                  </a:lnTo>
                  <a:lnTo>
                    <a:pt x="620" y="123"/>
                  </a:lnTo>
                  <a:lnTo>
                    <a:pt x="601" y="129"/>
                  </a:lnTo>
                  <a:lnTo>
                    <a:pt x="594" y="148"/>
                  </a:lnTo>
                  <a:lnTo>
                    <a:pt x="604" y="155"/>
                  </a:lnTo>
                  <a:lnTo>
                    <a:pt x="600" y="163"/>
                  </a:lnTo>
                  <a:lnTo>
                    <a:pt x="617" y="172"/>
                  </a:lnTo>
                  <a:lnTo>
                    <a:pt x="604" y="183"/>
                  </a:lnTo>
                  <a:lnTo>
                    <a:pt x="617" y="199"/>
                  </a:lnTo>
                  <a:lnTo>
                    <a:pt x="603" y="212"/>
                  </a:lnTo>
                  <a:lnTo>
                    <a:pt x="621" y="228"/>
                  </a:lnTo>
                  <a:lnTo>
                    <a:pt x="620" y="234"/>
                  </a:lnTo>
                  <a:lnTo>
                    <a:pt x="637" y="237"/>
                  </a:lnTo>
                  <a:lnTo>
                    <a:pt x="638" y="253"/>
                  </a:lnTo>
                  <a:lnTo>
                    <a:pt x="663" y="257"/>
                  </a:lnTo>
                  <a:lnTo>
                    <a:pt x="669" y="271"/>
                  </a:lnTo>
                  <a:lnTo>
                    <a:pt x="663" y="278"/>
                  </a:lnTo>
                  <a:lnTo>
                    <a:pt x="637" y="285"/>
                  </a:lnTo>
                  <a:lnTo>
                    <a:pt x="631" y="300"/>
                  </a:lnTo>
                  <a:lnTo>
                    <a:pt x="638" y="313"/>
                  </a:lnTo>
                  <a:lnTo>
                    <a:pt x="631" y="324"/>
                  </a:lnTo>
                  <a:lnTo>
                    <a:pt x="645" y="332"/>
                  </a:lnTo>
                  <a:lnTo>
                    <a:pt x="634" y="332"/>
                  </a:lnTo>
                  <a:lnTo>
                    <a:pt x="621" y="342"/>
                  </a:lnTo>
                  <a:lnTo>
                    <a:pt x="598" y="373"/>
                  </a:lnTo>
                  <a:lnTo>
                    <a:pt x="597" y="384"/>
                  </a:lnTo>
                  <a:lnTo>
                    <a:pt x="577" y="395"/>
                  </a:lnTo>
                  <a:lnTo>
                    <a:pt x="552" y="439"/>
                  </a:lnTo>
                  <a:lnTo>
                    <a:pt x="529" y="459"/>
                  </a:lnTo>
                  <a:lnTo>
                    <a:pt x="504" y="497"/>
                  </a:lnTo>
                  <a:lnTo>
                    <a:pt x="474" y="500"/>
                  </a:lnTo>
                  <a:lnTo>
                    <a:pt x="461" y="508"/>
                  </a:lnTo>
                  <a:lnTo>
                    <a:pt x="444" y="491"/>
                  </a:lnTo>
                  <a:lnTo>
                    <a:pt x="402" y="539"/>
                  </a:lnTo>
                  <a:lnTo>
                    <a:pt x="402" y="562"/>
                  </a:lnTo>
                  <a:lnTo>
                    <a:pt x="431" y="571"/>
                  </a:lnTo>
                  <a:lnTo>
                    <a:pt x="428" y="603"/>
                  </a:lnTo>
                  <a:lnTo>
                    <a:pt x="437" y="612"/>
                  </a:lnTo>
                  <a:lnTo>
                    <a:pt x="452" y="613"/>
                  </a:lnTo>
                  <a:lnTo>
                    <a:pt x="452" y="630"/>
                  </a:lnTo>
                  <a:lnTo>
                    <a:pt x="470" y="657"/>
                  </a:lnTo>
                  <a:lnTo>
                    <a:pt x="467" y="674"/>
                  </a:lnTo>
                  <a:lnTo>
                    <a:pt x="473" y="678"/>
                  </a:lnTo>
                  <a:lnTo>
                    <a:pt x="456" y="684"/>
                  </a:lnTo>
                  <a:lnTo>
                    <a:pt x="444" y="674"/>
                  </a:lnTo>
                  <a:lnTo>
                    <a:pt x="422" y="688"/>
                  </a:lnTo>
                  <a:lnTo>
                    <a:pt x="410" y="688"/>
                  </a:lnTo>
                  <a:lnTo>
                    <a:pt x="403" y="681"/>
                  </a:lnTo>
                  <a:lnTo>
                    <a:pt x="371" y="683"/>
                  </a:lnTo>
                  <a:lnTo>
                    <a:pt x="368" y="678"/>
                  </a:lnTo>
                  <a:lnTo>
                    <a:pt x="366" y="697"/>
                  </a:lnTo>
                  <a:lnTo>
                    <a:pt x="342" y="697"/>
                  </a:lnTo>
                  <a:lnTo>
                    <a:pt x="332" y="709"/>
                  </a:lnTo>
                  <a:lnTo>
                    <a:pt x="331" y="708"/>
                  </a:lnTo>
                  <a:lnTo>
                    <a:pt x="306" y="701"/>
                  </a:lnTo>
                  <a:lnTo>
                    <a:pt x="303" y="695"/>
                  </a:lnTo>
                  <a:lnTo>
                    <a:pt x="289" y="661"/>
                  </a:lnTo>
                  <a:lnTo>
                    <a:pt x="271" y="654"/>
                  </a:lnTo>
                  <a:lnTo>
                    <a:pt x="267" y="637"/>
                  </a:lnTo>
                  <a:lnTo>
                    <a:pt x="259" y="629"/>
                  </a:lnTo>
                  <a:lnTo>
                    <a:pt x="246" y="624"/>
                  </a:lnTo>
                  <a:lnTo>
                    <a:pt x="191" y="630"/>
                  </a:lnTo>
                  <a:lnTo>
                    <a:pt x="178" y="629"/>
                  </a:lnTo>
                  <a:lnTo>
                    <a:pt x="173" y="638"/>
                  </a:lnTo>
                  <a:lnTo>
                    <a:pt x="151" y="627"/>
                  </a:lnTo>
                  <a:lnTo>
                    <a:pt x="127" y="627"/>
                  </a:lnTo>
                  <a:lnTo>
                    <a:pt x="110" y="635"/>
                  </a:lnTo>
                  <a:lnTo>
                    <a:pt x="76" y="633"/>
                  </a:lnTo>
                  <a:lnTo>
                    <a:pt x="64" y="638"/>
                  </a:lnTo>
                  <a:lnTo>
                    <a:pt x="57" y="635"/>
                  </a:lnTo>
                  <a:lnTo>
                    <a:pt x="40" y="644"/>
                  </a:lnTo>
                  <a:lnTo>
                    <a:pt x="35" y="638"/>
                  </a:lnTo>
                  <a:lnTo>
                    <a:pt x="46" y="590"/>
                  </a:lnTo>
                  <a:lnTo>
                    <a:pt x="64" y="571"/>
                  </a:lnTo>
                  <a:lnTo>
                    <a:pt x="98" y="561"/>
                  </a:lnTo>
                  <a:lnTo>
                    <a:pt x="110" y="548"/>
                  </a:lnTo>
                  <a:lnTo>
                    <a:pt x="111" y="537"/>
                  </a:lnTo>
                  <a:lnTo>
                    <a:pt x="91" y="530"/>
                  </a:lnTo>
                  <a:lnTo>
                    <a:pt x="88" y="483"/>
                  </a:lnTo>
                  <a:lnTo>
                    <a:pt x="35" y="454"/>
                  </a:lnTo>
                  <a:lnTo>
                    <a:pt x="18" y="418"/>
                  </a:lnTo>
                  <a:lnTo>
                    <a:pt x="0" y="400"/>
                  </a:lnTo>
                  <a:lnTo>
                    <a:pt x="3" y="397"/>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39" name="Freeform 36">
              <a:extLst>
                <a:ext uri="{FF2B5EF4-FFF2-40B4-BE49-F238E27FC236}">
                  <a16:creationId xmlns:a16="http://schemas.microsoft.com/office/drawing/2014/main" id="{2E9B8D62-C9E6-DB42-B42D-29E53854D936}"/>
                </a:ext>
              </a:extLst>
            </p:cNvPr>
            <p:cNvSpPr>
              <a:spLocks noChangeAspect="1"/>
            </p:cNvSpPr>
            <p:nvPr/>
          </p:nvSpPr>
          <p:spPr bwMode="gray">
            <a:xfrm>
              <a:off x="5609737" y="3038922"/>
              <a:ext cx="71658" cy="86392"/>
            </a:xfrm>
            <a:custGeom>
              <a:avLst/>
              <a:gdLst>
                <a:gd name="T0" fmla="*/ 65 w 144"/>
                <a:gd name="T1" fmla="*/ 99 h 149"/>
                <a:gd name="T2" fmla="*/ 73 w 144"/>
                <a:gd name="T3" fmla="*/ 96 h 149"/>
                <a:gd name="T4" fmla="*/ 90 w 144"/>
                <a:gd name="T5" fmla="*/ 107 h 149"/>
                <a:gd name="T6" fmla="*/ 108 w 144"/>
                <a:gd name="T7" fmla="*/ 107 h 149"/>
                <a:gd name="T8" fmla="*/ 119 w 144"/>
                <a:gd name="T9" fmla="*/ 125 h 149"/>
                <a:gd name="T10" fmla="*/ 121 w 144"/>
                <a:gd name="T11" fmla="*/ 145 h 149"/>
                <a:gd name="T12" fmla="*/ 125 w 144"/>
                <a:gd name="T13" fmla="*/ 149 h 149"/>
                <a:gd name="T14" fmla="*/ 144 w 144"/>
                <a:gd name="T15" fmla="*/ 145 h 149"/>
                <a:gd name="T16" fmla="*/ 136 w 144"/>
                <a:gd name="T17" fmla="*/ 128 h 149"/>
                <a:gd name="T18" fmla="*/ 142 w 144"/>
                <a:gd name="T19" fmla="*/ 127 h 149"/>
                <a:gd name="T20" fmla="*/ 142 w 144"/>
                <a:gd name="T21" fmla="*/ 119 h 149"/>
                <a:gd name="T22" fmla="*/ 138 w 144"/>
                <a:gd name="T23" fmla="*/ 116 h 149"/>
                <a:gd name="T24" fmla="*/ 142 w 144"/>
                <a:gd name="T25" fmla="*/ 102 h 149"/>
                <a:gd name="T26" fmla="*/ 129 w 144"/>
                <a:gd name="T27" fmla="*/ 101 h 149"/>
                <a:gd name="T28" fmla="*/ 108 w 144"/>
                <a:gd name="T29" fmla="*/ 84 h 149"/>
                <a:gd name="T30" fmla="*/ 107 w 144"/>
                <a:gd name="T31" fmla="*/ 77 h 149"/>
                <a:gd name="T32" fmla="*/ 113 w 144"/>
                <a:gd name="T33" fmla="*/ 76 h 149"/>
                <a:gd name="T34" fmla="*/ 115 w 144"/>
                <a:gd name="T35" fmla="*/ 64 h 149"/>
                <a:gd name="T36" fmla="*/ 95 w 144"/>
                <a:gd name="T37" fmla="*/ 45 h 149"/>
                <a:gd name="T38" fmla="*/ 95 w 144"/>
                <a:gd name="T39" fmla="*/ 20 h 149"/>
                <a:gd name="T40" fmla="*/ 83 w 144"/>
                <a:gd name="T41" fmla="*/ 17 h 149"/>
                <a:gd name="T42" fmla="*/ 73 w 144"/>
                <a:gd name="T43" fmla="*/ 0 h 149"/>
                <a:gd name="T44" fmla="*/ 0 w 144"/>
                <a:gd name="T45" fmla="*/ 11 h 149"/>
                <a:gd name="T46" fmla="*/ 8 w 144"/>
                <a:gd name="T47" fmla="*/ 18 h 149"/>
                <a:gd name="T48" fmla="*/ 14 w 144"/>
                <a:gd name="T49" fmla="*/ 30 h 149"/>
                <a:gd name="T50" fmla="*/ 19 w 144"/>
                <a:gd name="T51" fmla="*/ 59 h 149"/>
                <a:gd name="T52" fmla="*/ 24 w 144"/>
                <a:gd name="T53" fmla="*/ 67 h 149"/>
                <a:gd name="T54" fmla="*/ 59 w 144"/>
                <a:gd name="T55" fmla="*/ 91 h 149"/>
                <a:gd name="T56" fmla="*/ 65 w 144"/>
                <a:gd name="T57" fmla="*/ 9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 h="149">
                  <a:moveTo>
                    <a:pt x="65" y="99"/>
                  </a:moveTo>
                  <a:lnTo>
                    <a:pt x="73" y="96"/>
                  </a:lnTo>
                  <a:lnTo>
                    <a:pt x="90" y="107"/>
                  </a:lnTo>
                  <a:lnTo>
                    <a:pt x="108" y="107"/>
                  </a:lnTo>
                  <a:lnTo>
                    <a:pt x="119" y="125"/>
                  </a:lnTo>
                  <a:lnTo>
                    <a:pt x="121" y="145"/>
                  </a:lnTo>
                  <a:lnTo>
                    <a:pt x="125" y="149"/>
                  </a:lnTo>
                  <a:lnTo>
                    <a:pt x="144" y="145"/>
                  </a:lnTo>
                  <a:lnTo>
                    <a:pt x="136" y="128"/>
                  </a:lnTo>
                  <a:lnTo>
                    <a:pt x="142" y="127"/>
                  </a:lnTo>
                  <a:lnTo>
                    <a:pt x="142" y="119"/>
                  </a:lnTo>
                  <a:lnTo>
                    <a:pt x="138" y="116"/>
                  </a:lnTo>
                  <a:lnTo>
                    <a:pt x="142" y="102"/>
                  </a:lnTo>
                  <a:lnTo>
                    <a:pt x="129" y="101"/>
                  </a:lnTo>
                  <a:lnTo>
                    <a:pt x="108" y="84"/>
                  </a:lnTo>
                  <a:lnTo>
                    <a:pt x="107" y="77"/>
                  </a:lnTo>
                  <a:lnTo>
                    <a:pt x="113" y="76"/>
                  </a:lnTo>
                  <a:lnTo>
                    <a:pt x="115" y="64"/>
                  </a:lnTo>
                  <a:lnTo>
                    <a:pt x="95" y="45"/>
                  </a:lnTo>
                  <a:lnTo>
                    <a:pt x="95" y="20"/>
                  </a:lnTo>
                  <a:lnTo>
                    <a:pt x="83" y="17"/>
                  </a:lnTo>
                  <a:lnTo>
                    <a:pt x="73" y="0"/>
                  </a:lnTo>
                  <a:lnTo>
                    <a:pt x="0" y="11"/>
                  </a:lnTo>
                  <a:lnTo>
                    <a:pt x="8" y="18"/>
                  </a:lnTo>
                  <a:lnTo>
                    <a:pt x="14" y="30"/>
                  </a:lnTo>
                  <a:lnTo>
                    <a:pt x="19" y="59"/>
                  </a:lnTo>
                  <a:lnTo>
                    <a:pt x="24" y="67"/>
                  </a:lnTo>
                  <a:lnTo>
                    <a:pt x="59" y="91"/>
                  </a:lnTo>
                  <a:lnTo>
                    <a:pt x="65" y="99"/>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40" name="Freeform 37">
              <a:extLst>
                <a:ext uri="{FF2B5EF4-FFF2-40B4-BE49-F238E27FC236}">
                  <a16:creationId xmlns:a16="http://schemas.microsoft.com/office/drawing/2014/main" id="{B044E387-0837-394B-8DCB-6BBD49EB61FE}"/>
                </a:ext>
              </a:extLst>
            </p:cNvPr>
            <p:cNvSpPr>
              <a:spLocks noChangeAspect="1"/>
            </p:cNvSpPr>
            <p:nvPr/>
          </p:nvSpPr>
          <p:spPr bwMode="gray">
            <a:xfrm>
              <a:off x="5641584" y="3094596"/>
              <a:ext cx="28663" cy="28797"/>
            </a:xfrm>
            <a:custGeom>
              <a:avLst/>
              <a:gdLst>
                <a:gd name="T0" fmla="*/ 0 w 56"/>
                <a:gd name="T1" fmla="*/ 3 h 49"/>
                <a:gd name="T2" fmla="*/ 8 w 56"/>
                <a:gd name="T3" fmla="*/ 0 h 49"/>
                <a:gd name="T4" fmla="*/ 25 w 56"/>
                <a:gd name="T5" fmla="*/ 11 h 49"/>
                <a:gd name="T6" fmla="*/ 43 w 56"/>
                <a:gd name="T7" fmla="*/ 11 h 49"/>
                <a:gd name="T8" fmla="*/ 54 w 56"/>
                <a:gd name="T9" fmla="*/ 29 h 49"/>
                <a:gd name="T10" fmla="*/ 56 w 56"/>
                <a:gd name="T11" fmla="*/ 49 h 49"/>
                <a:gd name="T12" fmla="*/ 31 w 56"/>
                <a:gd name="T13" fmla="*/ 48 h 49"/>
                <a:gd name="T14" fmla="*/ 0 w 56"/>
                <a:gd name="T15" fmla="*/ 3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49">
                  <a:moveTo>
                    <a:pt x="0" y="3"/>
                  </a:moveTo>
                  <a:lnTo>
                    <a:pt x="8" y="0"/>
                  </a:lnTo>
                  <a:lnTo>
                    <a:pt x="25" y="11"/>
                  </a:lnTo>
                  <a:lnTo>
                    <a:pt x="43" y="11"/>
                  </a:lnTo>
                  <a:lnTo>
                    <a:pt x="54" y="29"/>
                  </a:lnTo>
                  <a:lnTo>
                    <a:pt x="56" y="49"/>
                  </a:lnTo>
                  <a:lnTo>
                    <a:pt x="31" y="48"/>
                  </a:lnTo>
                  <a:lnTo>
                    <a:pt x="0" y="3"/>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1" name="Freeform 38">
              <a:extLst>
                <a:ext uri="{FF2B5EF4-FFF2-40B4-BE49-F238E27FC236}">
                  <a16:creationId xmlns:a16="http://schemas.microsoft.com/office/drawing/2014/main" id="{E0B524DE-AE8C-E844-8DAA-D5CE11711659}"/>
                </a:ext>
              </a:extLst>
            </p:cNvPr>
            <p:cNvSpPr>
              <a:spLocks noChangeAspect="1"/>
            </p:cNvSpPr>
            <p:nvPr/>
          </p:nvSpPr>
          <p:spPr bwMode="gray">
            <a:xfrm>
              <a:off x="5506229" y="3173314"/>
              <a:ext cx="221348" cy="272621"/>
            </a:xfrm>
            <a:custGeom>
              <a:avLst/>
              <a:gdLst>
                <a:gd name="T0" fmla="*/ 364 w 458"/>
                <a:gd name="T1" fmla="*/ 463 h 463"/>
                <a:gd name="T2" fmla="*/ 378 w 458"/>
                <a:gd name="T3" fmla="*/ 449 h 463"/>
                <a:gd name="T4" fmla="*/ 396 w 458"/>
                <a:gd name="T5" fmla="*/ 418 h 463"/>
                <a:gd name="T6" fmla="*/ 408 w 458"/>
                <a:gd name="T7" fmla="*/ 412 h 463"/>
                <a:gd name="T8" fmla="*/ 430 w 458"/>
                <a:gd name="T9" fmla="*/ 415 h 463"/>
                <a:gd name="T10" fmla="*/ 433 w 458"/>
                <a:gd name="T11" fmla="*/ 413 h 463"/>
                <a:gd name="T12" fmla="*/ 450 w 458"/>
                <a:gd name="T13" fmla="*/ 421 h 463"/>
                <a:gd name="T14" fmla="*/ 458 w 458"/>
                <a:gd name="T15" fmla="*/ 413 h 463"/>
                <a:gd name="T16" fmla="*/ 430 w 458"/>
                <a:gd name="T17" fmla="*/ 392 h 463"/>
                <a:gd name="T18" fmla="*/ 424 w 458"/>
                <a:gd name="T19" fmla="*/ 368 h 463"/>
                <a:gd name="T20" fmla="*/ 412 w 458"/>
                <a:gd name="T21" fmla="*/ 361 h 463"/>
                <a:gd name="T22" fmla="*/ 415 w 458"/>
                <a:gd name="T23" fmla="*/ 322 h 463"/>
                <a:gd name="T24" fmla="*/ 398 w 458"/>
                <a:gd name="T25" fmla="*/ 286 h 463"/>
                <a:gd name="T26" fmla="*/ 337 w 458"/>
                <a:gd name="T27" fmla="*/ 248 h 463"/>
                <a:gd name="T28" fmla="*/ 337 w 458"/>
                <a:gd name="T29" fmla="*/ 238 h 463"/>
                <a:gd name="T30" fmla="*/ 322 w 458"/>
                <a:gd name="T31" fmla="*/ 215 h 463"/>
                <a:gd name="T32" fmla="*/ 310 w 458"/>
                <a:gd name="T33" fmla="*/ 212 h 463"/>
                <a:gd name="T34" fmla="*/ 308 w 458"/>
                <a:gd name="T35" fmla="*/ 198 h 463"/>
                <a:gd name="T36" fmla="*/ 317 w 458"/>
                <a:gd name="T37" fmla="*/ 170 h 463"/>
                <a:gd name="T38" fmla="*/ 327 w 458"/>
                <a:gd name="T39" fmla="*/ 161 h 463"/>
                <a:gd name="T40" fmla="*/ 327 w 458"/>
                <a:gd name="T41" fmla="*/ 156 h 463"/>
                <a:gd name="T42" fmla="*/ 345 w 458"/>
                <a:gd name="T43" fmla="*/ 130 h 463"/>
                <a:gd name="T44" fmla="*/ 340 w 458"/>
                <a:gd name="T45" fmla="*/ 113 h 463"/>
                <a:gd name="T46" fmla="*/ 353 w 458"/>
                <a:gd name="T47" fmla="*/ 96 h 463"/>
                <a:gd name="T48" fmla="*/ 320 w 458"/>
                <a:gd name="T49" fmla="*/ 90 h 463"/>
                <a:gd name="T50" fmla="*/ 311 w 458"/>
                <a:gd name="T51" fmla="*/ 82 h 463"/>
                <a:gd name="T52" fmla="*/ 305 w 458"/>
                <a:gd name="T53" fmla="*/ 63 h 463"/>
                <a:gd name="T54" fmla="*/ 286 w 458"/>
                <a:gd name="T55" fmla="*/ 42 h 463"/>
                <a:gd name="T56" fmla="*/ 283 w 458"/>
                <a:gd name="T57" fmla="*/ 12 h 463"/>
                <a:gd name="T58" fmla="*/ 276 w 458"/>
                <a:gd name="T59" fmla="*/ 19 h 463"/>
                <a:gd name="T60" fmla="*/ 265 w 458"/>
                <a:gd name="T61" fmla="*/ 17 h 463"/>
                <a:gd name="T62" fmla="*/ 256 w 458"/>
                <a:gd name="T63" fmla="*/ 8 h 463"/>
                <a:gd name="T64" fmla="*/ 217 w 458"/>
                <a:gd name="T65" fmla="*/ 8 h 463"/>
                <a:gd name="T66" fmla="*/ 198 w 458"/>
                <a:gd name="T67" fmla="*/ 0 h 463"/>
                <a:gd name="T68" fmla="*/ 172 w 458"/>
                <a:gd name="T69" fmla="*/ 25 h 463"/>
                <a:gd name="T70" fmla="*/ 164 w 458"/>
                <a:gd name="T71" fmla="*/ 28 h 463"/>
                <a:gd name="T72" fmla="*/ 149 w 458"/>
                <a:gd name="T73" fmla="*/ 51 h 463"/>
                <a:gd name="T74" fmla="*/ 124 w 458"/>
                <a:gd name="T75" fmla="*/ 62 h 463"/>
                <a:gd name="T76" fmla="*/ 116 w 458"/>
                <a:gd name="T77" fmla="*/ 152 h 463"/>
                <a:gd name="T78" fmla="*/ 110 w 458"/>
                <a:gd name="T79" fmla="*/ 173 h 463"/>
                <a:gd name="T80" fmla="*/ 0 w 458"/>
                <a:gd name="T81" fmla="*/ 238 h 463"/>
                <a:gd name="T82" fmla="*/ 20 w 458"/>
                <a:gd name="T83" fmla="*/ 299 h 463"/>
                <a:gd name="T84" fmla="*/ 90 w 458"/>
                <a:gd name="T85" fmla="*/ 317 h 463"/>
                <a:gd name="T86" fmla="*/ 142 w 458"/>
                <a:gd name="T87" fmla="*/ 356 h 463"/>
                <a:gd name="T88" fmla="*/ 190 w 458"/>
                <a:gd name="T89" fmla="*/ 373 h 463"/>
                <a:gd name="T90" fmla="*/ 201 w 458"/>
                <a:gd name="T91" fmla="*/ 393 h 463"/>
                <a:gd name="T92" fmla="*/ 226 w 458"/>
                <a:gd name="T93" fmla="*/ 395 h 463"/>
                <a:gd name="T94" fmla="*/ 229 w 458"/>
                <a:gd name="T95" fmla="*/ 432 h 463"/>
                <a:gd name="T96" fmla="*/ 281 w 458"/>
                <a:gd name="T97" fmla="*/ 458 h 463"/>
                <a:gd name="T98" fmla="*/ 364 w 458"/>
                <a:gd name="T99" fmla="*/ 46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58" h="463">
                  <a:moveTo>
                    <a:pt x="364" y="463"/>
                  </a:moveTo>
                  <a:lnTo>
                    <a:pt x="378" y="449"/>
                  </a:lnTo>
                  <a:lnTo>
                    <a:pt x="396" y="418"/>
                  </a:lnTo>
                  <a:lnTo>
                    <a:pt x="408" y="412"/>
                  </a:lnTo>
                  <a:lnTo>
                    <a:pt x="430" y="415"/>
                  </a:lnTo>
                  <a:lnTo>
                    <a:pt x="433" y="413"/>
                  </a:lnTo>
                  <a:lnTo>
                    <a:pt x="450" y="421"/>
                  </a:lnTo>
                  <a:lnTo>
                    <a:pt x="458" y="413"/>
                  </a:lnTo>
                  <a:lnTo>
                    <a:pt x="430" y="392"/>
                  </a:lnTo>
                  <a:lnTo>
                    <a:pt x="424" y="368"/>
                  </a:lnTo>
                  <a:lnTo>
                    <a:pt x="412" y="361"/>
                  </a:lnTo>
                  <a:lnTo>
                    <a:pt x="415" y="322"/>
                  </a:lnTo>
                  <a:lnTo>
                    <a:pt x="398" y="286"/>
                  </a:lnTo>
                  <a:lnTo>
                    <a:pt x="337" y="248"/>
                  </a:lnTo>
                  <a:lnTo>
                    <a:pt x="337" y="238"/>
                  </a:lnTo>
                  <a:lnTo>
                    <a:pt x="322" y="215"/>
                  </a:lnTo>
                  <a:lnTo>
                    <a:pt x="310" y="212"/>
                  </a:lnTo>
                  <a:lnTo>
                    <a:pt x="308" y="198"/>
                  </a:lnTo>
                  <a:lnTo>
                    <a:pt x="317" y="170"/>
                  </a:lnTo>
                  <a:lnTo>
                    <a:pt x="327" y="161"/>
                  </a:lnTo>
                  <a:lnTo>
                    <a:pt x="327" y="156"/>
                  </a:lnTo>
                  <a:lnTo>
                    <a:pt x="345" y="130"/>
                  </a:lnTo>
                  <a:lnTo>
                    <a:pt x="340" y="113"/>
                  </a:lnTo>
                  <a:lnTo>
                    <a:pt x="353" y="96"/>
                  </a:lnTo>
                  <a:lnTo>
                    <a:pt x="320" y="90"/>
                  </a:lnTo>
                  <a:lnTo>
                    <a:pt x="311" y="82"/>
                  </a:lnTo>
                  <a:lnTo>
                    <a:pt x="305" y="63"/>
                  </a:lnTo>
                  <a:lnTo>
                    <a:pt x="286" y="42"/>
                  </a:lnTo>
                  <a:lnTo>
                    <a:pt x="283" y="12"/>
                  </a:lnTo>
                  <a:lnTo>
                    <a:pt x="276" y="19"/>
                  </a:lnTo>
                  <a:lnTo>
                    <a:pt x="265" y="17"/>
                  </a:lnTo>
                  <a:lnTo>
                    <a:pt x="256" y="8"/>
                  </a:lnTo>
                  <a:lnTo>
                    <a:pt x="217" y="8"/>
                  </a:lnTo>
                  <a:lnTo>
                    <a:pt x="198" y="0"/>
                  </a:lnTo>
                  <a:lnTo>
                    <a:pt x="172" y="25"/>
                  </a:lnTo>
                  <a:lnTo>
                    <a:pt x="164" y="28"/>
                  </a:lnTo>
                  <a:lnTo>
                    <a:pt x="149" y="51"/>
                  </a:lnTo>
                  <a:lnTo>
                    <a:pt x="124" y="62"/>
                  </a:lnTo>
                  <a:lnTo>
                    <a:pt x="116" y="152"/>
                  </a:lnTo>
                  <a:lnTo>
                    <a:pt x="110" y="173"/>
                  </a:lnTo>
                  <a:lnTo>
                    <a:pt x="0" y="238"/>
                  </a:lnTo>
                  <a:lnTo>
                    <a:pt x="20" y="299"/>
                  </a:lnTo>
                  <a:lnTo>
                    <a:pt x="90" y="317"/>
                  </a:lnTo>
                  <a:lnTo>
                    <a:pt x="142" y="356"/>
                  </a:lnTo>
                  <a:lnTo>
                    <a:pt x="190" y="373"/>
                  </a:lnTo>
                  <a:lnTo>
                    <a:pt x="201" y="393"/>
                  </a:lnTo>
                  <a:lnTo>
                    <a:pt x="226" y="395"/>
                  </a:lnTo>
                  <a:lnTo>
                    <a:pt x="229" y="432"/>
                  </a:lnTo>
                  <a:lnTo>
                    <a:pt x="281" y="458"/>
                  </a:lnTo>
                  <a:lnTo>
                    <a:pt x="364" y="463"/>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2" name="Freeform 39">
              <a:extLst>
                <a:ext uri="{FF2B5EF4-FFF2-40B4-BE49-F238E27FC236}">
                  <a16:creationId xmlns:a16="http://schemas.microsoft.com/office/drawing/2014/main" id="{45474E62-22EF-E54B-AD02-963D81D59A9F}"/>
                </a:ext>
              </a:extLst>
            </p:cNvPr>
            <p:cNvSpPr>
              <a:spLocks noChangeAspect="1"/>
            </p:cNvSpPr>
            <p:nvPr/>
          </p:nvSpPr>
          <p:spPr bwMode="gray">
            <a:xfrm>
              <a:off x="5682987" y="3415218"/>
              <a:ext cx="39809" cy="46076"/>
            </a:xfrm>
            <a:custGeom>
              <a:avLst/>
              <a:gdLst>
                <a:gd name="T0" fmla="*/ 82 w 82"/>
                <a:gd name="T1" fmla="*/ 80 h 80"/>
                <a:gd name="T2" fmla="*/ 68 w 82"/>
                <a:gd name="T3" fmla="*/ 44 h 80"/>
                <a:gd name="T4" fmla="*/ 52 w 82"/>
                <a:gd name="T5" fmla="*/ 39 h 80"/>
                <a:gd name="T6" fmla="*/ 78 w 82"/>
                <a:gd name="T7" fmla="*/ 22 h 80"/>
                <a:gd name="T8" fmla="*/ 66 w 82"/>
                <a:gd name="T9" fmla="*/ 3 h 80"/>
                <a:gd name="T10" fmla="*/ 44 w 82"/>
                <a:gd name="T11" fmla="*/ 0 h 80"/>
                <a:gd name="T12" fmla="*/ 32 w 82"/>
                <a:gd name="T13" fmla="*/ 6 h 80"/>
                <a:gd name="T14" fmla="*/ 14 w 82"/>
                <a:gd name="T15" fmla="*/ 37 h 80"/>
                <a:gd name="T16" fmla="*/ 0 w 82"/>
                <a:gd name="T17" fmla="*/ 51 h 80"/>
                <a:gd name="T18" fmla="*/ 40 w 82"/>
                <a:gd name="T19" fmla="*/ 61 h 80"/>
                <a:gd name="T20" fmla="*/ 52 w 82"/>
                <a:gd name="T21" fmla="*/ 80 h 80"/>
                <a:gd name="T22" fmla="*/ 82 w 82"/>
                <a:gd name="T23"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0">
                  <a:moveTo>
                    <a:pt x="82" y="80"/>
                  </a:moveTo>
                  <a:lnTo>
                    <a:pt x="68" y="44"/>
                  </a:lnTo>
                  <a:lnTo>
                    <a:pt x="52" y="39"/>
                  </a:lnTo>
                  <a:lnTo>
                    <a:pt x="78" y="22"/>
                  </a:lnTo>
                  <a:lnTo>
                    <a:pt x="66" y="3"/>
                  </a:lnTo>
                  <a:lnTo>
                    <a:pt x="44" y="0"/>
                  </a:lnTo>
                  <a:lnTo>
                    <a:pt x="32" y="6"/>
                  </a:lnTo>
                  <a:lnTo>
                    <a:pt x="14" y="37"/>
                  </a:lnTo>
                  <a:lnTo>
                    <a:pt x="0" y="51"/>
                  </a:lnTo>
                  <a:lnTo>
                    <a:pt x="40" y="61"/>
                  </a:lnTo>
                  <a:lnTo>
                    <a:pt x="52" y="80"/>
                  </a:lnTo>
                  <a:lnTo>
                    <a:pt x="82" y="8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3" name="Freeform 40">
              <a:extLst>
                <a:ext uri="{FF2B5EF4-FFF2-40B4-BE49-F238E27FC236}">
                  <a16:creationId xmlns:a16="http://schemas.microsoft.com/office/drawing/2014/main" id="{DB0D1E71-05D6-764E-A48E-F1D3D4080053}"/>
                </a:ext>
              </a:extLst>
            </p:cNvPr>
            <p:cNvSpPr>
              <a:spLocks noChangeAspect="1"/>
            </p:cNvSpPr>
            <p:nvPr/>
          </p:nvSpPr>
          <p:spPr bwMode="gray">
            <a:xfrm>
              <a:off x="5896374" y="3532331"/>
              <a:ext cx="7961" cy="17279"/>
            </a:xfrm>
            <a:custGeom>
              <a:avLst/>
              <a:gdLst>
                <a:gd name="T0" fmla="*/ 9 w 17"/>
                <a:gd name="T1" fmla="*/ 31 h 31"/>
                <a:gd name="T2" fmla="*/ 1 w 17"/>
                <a:gd name="T3" fmla="*/ 29 h 31"/>
                <a:gd name="T4" fmla="*/ 0 w 17"/>
                <a:gd name="T5" fmla="*/ 10 h 31"/>
                <a:gd name="T6" fmla="*/ 6 w 17"/>
                <a:gd name="T7" fmla="*/ 1 h 31"/>
                <a:gd name="T8" fmla="*/ 17 w 17"/>
                <a:gd name="T9" fmla="*/ 0 h 31"/>
                <a:gd name="T10" fmla="*/ 9 w 17"/>
                <a:gd name="T11" fmla="*/ 31 h 31"/>
              </a:gdLst>
              <a:ahLst/>
              <a:cxnLst>
                <a:cxn ang="0">
                  <a:pos x="T0" y="T1"/>
                </a:cxn>
                <a:cxn ang="0">
                  <a:pos x="T2" y="T3"/>
                </a:cxn>
                <a:cxn ang="0">
                  <a:pos x="T4" y="T5"/>
                </a:cxn>
                <a:cxn ang="0">
                  <a:pos x="T6" y="T7"/>
                </a:cxn>
                <a:cxn ang="0">
                  <a:pos x="T8" y="T9"/>
                </a:cxn>
                <a:cxn ang="0">
                  <a:pos x="T10" y="T11"/>
                </a:cxn>
              </a:cxnLst>
              <a:rect l="0" t="0" r="r" b="b"/>
              <a:pathLst>
                <a:path w="17" h="31">
                  <a:moveTo>
                    <a:pt x="9" y="31"/>
                  </a:moveTo>
                  <a:lnTo>
                    <a:pt x="1" y="29"/>
                  </a:lnTo>
                  <a:lnTo>
                    <a:pt x="0" y="10"/>
                  </a:lnTo>
                  <a:lnTo>
                    <a:pt x="6" y="1"/>
                  </a:lnTo>
                  <a:lnTo>
                    <a:pt x="17" y="0"/>
                  </a:lnTo>
                  <a:lnTo>
                    <a:pt x="9" y="31"/>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4" name="Freeform 41">
              <a:extLst>
                <a:ext uri="{FF2B5EF4-FFF2-40B4-BE49-F238E27FC236}">
                  <a16:creationId xmlns:a16="http://schemas.microsoft.com/office/drawing/2014/main" id="{957811E8-509C-E748-A8FE-4DF74D2F903B}"/>
                </a:ext>
              </a:extLst>
            </p:cNvPr>
            <p:cNvSpPr>
              <a:spLocks noChangeAspect="1"/>
            </p:cNvSpPr>
            <p:nvPr/>
          </p:nvSpPr>
          <p:spPr bwMode="gray">
            <a:xfrm>
              <a:off x="5776941" y="3534248"/>
              <a:ext cx="17516" cy="49915"/>
            </a:xfrm>
            <a:custGeom>
              <a:avLst/>
              <a:gdLst>
                <a:gd name="T0" fmla="*/ 12 w 37"/>
                <a:gd name="T1" fmla="*/ 82 h 82"/>
                <a:gd name="T2" fmla="*/ 29 w 37"/>
                <a:gd name="T3" fmla="*/ 76 h 82"/>
                <a:gd name="T4" fmla="*/ 36 w 37"/>
                <a:gd name="T5" fmla="*/ 59 h 82"/>
                <a:gd name="T6" fmla="*/ 32 w 37"/>
                <a:gd name="T7" fmla="*/ 34 h 82"/>
                <a:gd name="T8" fmla="*/ 37 w 37"/>
                <a:gd name="T9" fmla="*/ 12 h 82"/>
                <a:gd name="T10" fmla="*/ 19 w 37"/>
                <a:gd name="T11" fmla="*/ 0 h 82"/>
                <a:gd name="T12" fmla="*/ 0 w 37"/>
                <a:gd name="T13" fmla="*/ 34 h 82"/>
                <a:gd name="T14" fmla="*/ 0 w 37"/>
                <a:gd name="T15" fmla="*/ 70 h 82"/>
                <a:gd name="T16" fmla="*/ 12 w 37"/>
                <a:gd name="T1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82">
                  <a:moveTo>
                    <a:pt x="12" y="82"/>
                  </a:moveTo>
                  <a:lnTo>
                    <a:pt x="29" y="76"/>
                  </a:lnTo>
                  <a:lnTo>
                    <a:pt x="36" y="59"/>
                  </a:lnTo>
                  <a:lnTo>
                    <a:pt x="32" y="34"/>
                  </a:lnTo>
                  <a:lnTo>
                    <a:pt x="37" y="12"/>
                  </a:lnTo>
                  <a:lnTo>
                    <a:pt x="19" y="0"/>
                  </a:lnTo>
                  <a:lnTo>
                    <a:pt x="0" y="34"/>
                  </a:lnTo>
                  <a:lnTo>
                    <a:pt x="0" y="70"/>
                  </a:lnTo>
                  <a:lnTo>
                    <a:pt x="12" y="82"/>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5" name="Freeform 42">
              <a:extLst>
                <a:ext uri="{FF2B5EF4-FFF2-40B4-BE49-F238E27FC236}">
                  <a16:creationId xmlns:a16="http://schemas.microsoft.com/office/drawing/2014/main" id="{0D692651-6CC0-7D4A-A4B6-882DA8402208}"/>
                </a:ext>
              </a:extLst>
            </p:cNvPr>
            <p:cNvSpPr>
              <a:spLocks noChangeAspect="1"/>
            </p:cNvSpPr>
            <p:nvPr/>
          </p:nvSpPr>
          <p:spPr bwMode="gray">
            <a:xfrm>
              <a:off x="5418646" y="3313465"/>
              <a:ext cx="97138" cy="128631"/>
            </a:xfrm>
            <a:custGeom>
              <a:avLst/>
              <a:gdLst>
                <a:gd name="T0" fmla="*/ 4 w 199"/>
                <a:gd name="T1" fmla="*/ 209 h 223"/>
                <a:gd name="T2" fmla="*/ 6 w 199"/>
                <a:gd name="T3" fmla="*/ 217 h 223"/>
                <a:gd name="T4" fmla="*/ 59 w 199"/>
                <a:gd name="T5" fmla="*/ 223 h 223"/>
                <a:gd name="T6" fmla="*/ 72 w 199"/>
                <a:gd name="T7" fmla="*/ 208 h 223"/>
                <a:gd name="T8" fmla="*/ 86 w 199"/>
                <a:gd name="T9" fmla="*/ 184 h 223"/>
                <a:gd name="T10" fmla="*/ 122 w 199"/>
                <a:gd name="T11" fmla="*/ 180 h 223"/>
                <a:gd name="T12" fmla="*/ 127 w 199"/>
                <a:gd name="T13" fmla="*/ 157 h 223"/>
                <a:gd name="T14" fmla="*/ 147 w 199"/>
                <a:gd name="T15" fmla="*/ 146 h 223"/>
                <a:gd name="T16" fmla="*/ 96 w 199"/>
                <a:gd name="T17" fmla="*/ 95 h 223"/>
                <a:gd name="T18" fmla="*/ 184 w 199"/>
                <a:gd name="T19" fmla="*/ 76 h 223"/>
                <a:gd name="T20" fmla="*/ 199 w 199"/>
                <a:gd name="T21" fmla="*/ 61 h 223"/>
                <a:gd name="T22" fmla="*/ 179 w 199"/>
                <a:gd name="T23" fmla="*/ 0 h 223"/>
                <a:gd name="T24" fmla="*/ 77 w 199"/>
                <a:gd name="T25" fmla="*/ 54 h 223"/>
                <a:gd name="T26" fmla="*/ 63 w 199"/>
                <a:gd name="T27" fmla="*/ 50 h 223"/>
                <a:gd name="T28" fmla="*/ 45 w 199"/>
                <a:gd name="T29" fmla="*/ 31 h 223"/>
                <a:gd name="T30" fmla="*/ 32 w 199"/>
                <a:gd name="T31" fmla="*/ 33 h 223"/>
                <a:gd name="T32" fmla="*/ 32 w 199"/>
                <a:gd name="T33" fmla="*/ 50 h 223"/>
                <a:gd name="T34" fmla="*/ 25 w 199"/>
                <a:gd name="T35" fmla="*/ 42 h 223"/>
                <a:gd name="T36" fmla="*/ 13 w 199"/>
                <a:gd name="T37" fmla="*/ 42 h 223"/>
                <a:gd name="T38" fmla="*/ 3 w 199"/>
                <a:gd name="T39" fmla="*/ 59 h 223"/>
                <a:gd name="T40" fmla="*/ 4 w 199"/>
                <a:gd name="T41" fmla="*/ 79 h 223"/>
                <a:gd name="T42" fmla="*/ 17 w 199"/>
                <a:gd name="T43" fmla="*/ 82 h 223"/>
                <a:gd name="T44" fmla="*/ 6 w 199"/>
                <a:gd name="T45" fmla="*/ 86 h 223"/>
                <a:gd name="T46" fmla="*/ 0 w 199"/>
                <a:gd name="T47" fmla="*/ 104 h 223"/>
                <a:gd name="T48" fmla="*/ 3 w 199"/>
                <a:gd name="T49" fmla="*/ 108 h 223"/>
                <a:gd name="T50" fmla="*/ 21 w 199"/>
                <a:gd name="T51" fmla="*/ 98 h 223"/>
                <a:gd name="T52" fmla="*/ 26 w 199"/>
                <a:gd name="T53" fmla="*/ 101 h 223"/>
                <a:gd name="T54" fmla="*/ 26 w 199"/>
                <a:gd name="T55" fmla="*/ 121 h 223"/>
                <a:gd name="T56" fmla="*/ 13 w 199"/>
                <a:gd name="T57" fmla="*/ 150 h 223"/>
                <a:gd name="T58" fmla="*/ 4 w 199"/>
                <a:gd name="T59" fmla="*/ 20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3">
                  <a:moveTo>
                    <a:pt x="4" y="209"/>
                  </a:moveTo>
                  <a:lnTo>
                    <a:pt x="6" y="217"/>
                  </a:lnTo>
                  <a:lnTo>
                    <a:pt x="59" y="223"/>
                  </a:lnTo>
                  <a:lnTo>
                    <a:pt x="72" y="208"/>
                  </a:lnTo>
                  <a:lnTo>
                    <a:pt x="86" y="184"/>
                  </a:lnTo>
                  <a:lnTo>
                    <a:pt x="122" y="180"/>
                  </a:lnTo>
                  <a:lnTo>
                    <a:pt x="127" y="157"/>
                  </a:lnTo>
                  <a:lnTo>
                    <a:pt x="147" y="146"/>
                  </a:lnTo>
                  <a:lnTo>
                    <a:pt x="96" y="95"/>
                  </a:lnTo>
                  <a:lnTo>
                    <a:pt x="184" y="76"/>
                  </a:lnTo>
                  <a:lnTo>
                    <a:pt x="199" y="61"/>
                  </a:lnTo>
                  <a:lnTo>
                    <a:pt x="179" y="0"/>
                  </a:lnTo>
                  <a:lnTo>
                    <a:pt x="77" y="54"/>
                  </a:lnTo>
                  <a:lnTo>
                    <a:pt x="63" y="50"/>
                  </a:lnTo>
                  <a:lnTo>
                    <a:pt x="45" y="31"/>
                  </a:lnTo>
                  <a:lnTo>
                    <a:pt x="32" y="33"/>
                  </a:lnTo>
                  <a:lnTo>
                    <a:pt x="32" y="50"/>
                  </a:lnTo>
                  <a:lnTo>
                    <a:pt x="25" y="42"/>
                  </a:lnTo>
                  <a:lnTo>
                    <a:pt x="13" y="42"/>
                  </a:lnTo>
                  <a:lnTo>
                    <a:pt x="3" y="59"/>
                  </a:lnTo>
                  <a:lnTo>
                    <a:pt x="4" y="79"/>
                  </a:lnTo>
                  <a:lnTo>
                    <a:pt x="17" y="82"/>
                  </a:lnTo>
                  <a:lnTo>
                    <a:pt x="6" y="86"/>
                  </a:lnTo>
                  <a:lnTo>
                    <a:pt x="0" y="104"/>
                  </a:lnTo>
                  <a:lnTo>
                    <a:pt x="3" y="108"/>
                  </a:lnTo>
                  <a:lnTo>
                    <a:pt x="21" y="98"/>
                  </a:lnTo>
                  <a:lnTo>
                    <a:pt x="26" y="101"/>
                  </a:lnTo>
                  <a:lnTo>
                    <a:pt x="26" y="121"/>
                  </a:lnTo>
                  <a:lnTo>
                    <a:pt x="13" y="150"/>
                  </a:lnTo>
                  <a:lnTo>
                    <a:pt x="4" y="209"/>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6" name="Freeform 43">
              <a:extLst>
                <a:ext uri="{FF2B5EF4-FFF2-40B4-BE49-F238E27FC236}">
                  <a16:creationId xmlns:a16="http://schemas.microsoft.com/office/drawing/2014/main" id="{E41768EE-EF6B-0A4F-B43C-D8F9C590F064}"/>
                </a:ext>
              </a:extLst>
            </p:cNvPr>
            <p:cNvSpPr>
              <a:spLocks noChangeAspect="1"/>
            </p:cNvSpPr>
            <p:nvPr/>
          </p:nvSpPr>
          <p:spPr bwMode="gray">
            <a:xfrm>
              <a:off x="5432977" y="3177154"/>
              <a:ext cx="156057" cy="167029"/>
            </a:xfrm>
            <a:custGeom>
              <a:avLst/>
              <a:gdLst>
                <a:gd name="T0" fmla="*/ 319 w 319"/>
                <a:gd name="T1" fmla="*/ 16 h 283"/>
                <a:gd name="T2" fmla="*/ 316 w 319"/>
                <a:gd name="T3" fmla="*/ 10 h 283"/>
                <a:gd name="T4" fmla="*/ 311 w 319"/>
                <a:gd name="T5" fmla="*/ 0 h 283"/>
                <a:gd name="T6" fmla="*/ 289 w 319"/>
                <a:gd name="T7" fmla="*/ 14 h 283"/>
                <a:gd name="T8" fmla="*/ 243 w 319"/>
                <a:gd name="T9" fmla="*/ 12 h 283"/>
                <a:gd name="T10" fmla="*/ 172 w 319"/>
                <a:gd name="T11" fmla="*/ 39 h 283"/>
                <a:gd name="T12" fmla="*/ 150 w 319"/>
                <a:gd name="T13" fmla="*/ 34 h 283"/>
                <a:gd name="T14" fmla="*/ 133 w 319"/>
                <a:gd name="T15" fmla="*/ 24 h 283"/>
                <a:gd name="T16" fmla="*/ 93 w 319"/>
                <a:gd name="T17" fmla="*/ 39 h 283"/>
                <a:gd name="T18" fmla="*/ 74 w 319"/>
                <a:gd name="T19" fmla="*/ 39 h 283"/>
                <a:gd name="T20" fmla="*/ 73 w 319"/>
                <a:gd name="T21" fmla="*/ 34 h 283"/>
                <a:gd name="T22" fmla="*/ 56 w 319"/>
                <a:gd name="T23" fmla="*/ 28 h 283"/>
                <a:gd name="T24" fmla="*/ 48 w 319"/>
                <a:gd name="T25" fmla="*/ 50 h 283"/>
                <a:gd name="T26" fmla="*/ 57 w 319"/>
                <a:gd name="T27" fmla="*/ 62 h 283"/>
                <a:gd name="T28" fmla="*/ 42 w 319"/>
                <a:gd name="T29" fmla="*/ 67 h 283"/>
                <a:gd name="T30" fmla="*/ 42 w 319"/>
                <a:gd name="T31" fmla="*/ 76 h 283"/>
                <a:gd name="T32" fmla="*/ 31 w 319"/>
                <a:gd name="T33" fmla="*/ 87 h 283"/>
                <a:gd name="T34" fmla="*/ 28 w 319"/>
                <a:gd name="T35" fmla="*/ 93 h 283"/>
                <a:gd name="T36" fmla="*/ 20 w 319"/>
                <a:gd name="T37" fmla="*/ 90 h 283"/>
                <a:gd name="T38" fmla="*/ 17 w 319"/>
                <a:gd name="T39" fmla="*/ 102 h 283"/>
                <a:gd name="T40" fmla="*/ 23 w 319"/>
                <a:gd name="T41" fmla="*/ 115 h 283"/>
                <a:gd name="T42" fmla="*/ 23 w 319"/>
                <a:gd name="T43" fmla="*/ 151 h 283"/>
                <a:gd name="T44" fmla="*/ 47 w 319"/>
                <a:gd name="T45" fmla="*/ 151 h 283"/>
                <a:gd name="T46" fmla="*/ 42 w 319"/>
                <a:gd name="T47" fmla="*/ 160 h 283"/>
                <a:gd name="T48" fmla="*/ 53 w 319"/>
                <a:gd name="T49" fmla="*/ 164 h 283"/>
                <a:gd name="T50" fmla="*/ 56 w 319"/>
                <a:gd name="T51" fmla="*/ 178 h 283"/>
                <a:gd name="T52" fmla="*/ 39 w 319"/>
                <a:gd name="T53" fmla="*/ 192 h 283"/>
                <a:gd name="T54" fmla="*/ 42 w 319"/>
                <a:gd name="T55" fmla="*/ 200 h 283"/>
                <a:gd name="T56" fmla="*/ 25 w 319"/>
                <a:gd name="T57" fmla="*/ 200 h 283"/>
                <a:gd name="T58" fmla="*/ 20 w 319"/>
                <a:gd name="T59" fmla="*/ 211 h 283"/>
                <a:gd name="T60" fmla="*/ 25 w 319"/>
                <a:gd name="T61" fmla="*/ 217 h 283"/>
                <a:gd name="T62" fmla="*/ 3 w 319"/>
                <a:gd name="T63" fmla="*/ 234 h 283"/>
                <a:gd name="T64" fmla="*/ 0 w 319"/>
                <a:gd name="T65" fmla="*/ 262 h 283"/>
                <a:gd name="T66" fmla="*/ 13 w 319"/>
                <a:gd name="T67" fmla="*/ 260 h 283"/>
                <a:gd name="T68" fmla="*/ 31 w 319"/>
                <a:gd name="T69" fmla="*/ 279 h 283"/>
                <a:gd name="T70" fmla="*/ 45 w 319"/>
                <a:gd name="T71" fmla="*/ 283 h 283"/>
                <a:gd name="T72" fmla="*/ 147 w 319"/>
                <a:gd name="T73" fmla="*/ 229 h 283"/>
                <a:gd name="T74" fmla="*/ 257 w 319"/>
                <a:gd name="T75" fmla="*/ 164 h 283"/>
                <a:gd name="T76" fmla="*/ 263 w 319"/>
                <a:gd name="T77" fmla="*/ 143 h 283"/>
                <a:gd name="T78" fmla="*/ 271 w 319"/>
                <a:gd name="T79" fmla="*/ 53 h 283"/>
                <a:gd name="T80" fmla="*/ 296 w 319"/>
                <a:gd name="T81" fmla="*/ 42 h 283"/>
                <a:gd name="T82" fmla="*/ 311 w 319"/>
                <a:gd name="T83" fmla="*/ 19 h 283"/>
                <a:gd name="T84" fmla="*/ 319 w 319"/>
                <a:gd name="T85" fmla="*/ 16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9" h="283">
                  <a:moveTo>
                    <a:pt x="319" y="16"/>
                  </a:moveTo>
                  <a:lnTo>
                    <a:pt x="316" y="10"/>
                  </a:lnTo>
                  <a:lnTo>
                    <a:pt x="311" y="0"/>
                  </a:lnTo>
                  <a:lnTo>
                    <a:pt x="289" y="14"/>
                  </a:lnTo>
                  <a:lnTo>
                    <a:pt x="243" y="12"/>
                  </a:lnTo>
                  <a:lnTo>
                    <a:pt x="172" y="39"/>
                  </a:lnTo>
                  <a:lnTo>
                    <a:pt x="150" y="34"/>
                  </a:lnTo>
                  <a:lnTo>
                    <a:pt x="133" y="24"/>
                  </a:lnTo>
                  <a:lnTo>
                    <a:pt x="93" y="39"/>
                  </a:lnTo>
                  <a:lnTo>
                    <a:pt x="74" y="39"/>
                  </a:lnTo>
                  <a:lnTo>
                    <a:pt x="73" y="34"/>
                  </a:lnTo>
                  <a:lnTo>
                    <a:pt x="56" y="28"/>
                  </a:lnTo>
                  <a:lnTo>
                    <a:pt x="48" y="50"/>
                  </a:lnTo>
                  <a:lnTo>
                    <a:pt x="57" y="62"/>
                  </a:lnTo>
                  <a:lnTo>
                    <a:pt x="42" y="67"/>
                  </a:lnTo>
                  <a:lnTo>
                    <a:pt x="42" y="76"/>
                  </a:lnTo>
                  <a:lnTo>
                    <a:pt x="31" y="87"/>
                  </a:lnTo>
                  <a:lnTo>
                    <a:pt x="28" y="93"/>
                  </a:lnTo>
                  <a:lnTo>
                    <a:pt x="20" y="90"/>
                  </a:lnTo>
                  <a:lnTo>
                    <a:pt x="17" y="102"/>
                  </a:lnTo>
                  <a:lnTo>
                    <a:pt x="23" y="115"/>
                  </a:lnTo>
                  <a:lnTo>
                    <a:pt x="23" y="151"/>
                  </a:lnTo>
                  <a:lnTo>
                    <a:pt x="47" y="151"/>
                  </a:lnTo>
                  <a:lnTo>
                    <a:pt x="42" y="160"/>
                  </a:lnTo>
                  <a:lnTo>
                    <a:pt x="53" y="164"/>
                  </a:lnTo>
                  <a:lnTo>
                    <a:pt x="56" y="178"/>
                  </a:lnTo>
                  <a:lnTo>
                    <a:pt x="39" y="192"/>
                  </a:lnTo>
                  <a:lnTo>
                    <a:pt x="42" y="200"/>
                  </a:lnTo>
                  <a:lnTo>
                    <a:pt x="25" y="200"/>
                  </a:lnTo>
                  <a:lnTo>
                    <a:pt x="20" y="211"/>
                  </a:lnTo>
                  <a:lnTo>
                    <a:pt x="25" y="217"/>
                  </a:lnTo>
                  <a:lnTo>
                    <a:pt x="3" y="234"/>
                  </a:lnTo>
                  <a:lnTo>
                    <a:pt x="0" y="262"/>
                  </a:lnTo>
                  <a:lnTo>
                    <a:pt x="13" y="260"/>
                  </a:lnTo>
                  <a:lnTo>
                    <a:pt x="31" y="279"/>
                  </a:lnTo>
                  <a:lnTo>
                    <a:pt x="45" y="283"/>
                  </a:lnTo>
                  <a:lnTo>
                    <a:pt x="147" y="229"/>
                  </a:lnTo>
                  <a:lnTo>
                    <a:pt x="257" y="164"/>
                  </a:lnTo>
                  <a:lnTo>
                    <a:pt x="263" y="143"/>
                  </a:lnTo>
                  <a:lnTo>
                    <a:pt x="271" y="53"/>
                  </a:lnTo>
                  <a:lnTo>
                    <a:pt x="296" y="42"/>
                  </a:lnTo>
                  <a:lnTo>
                    <a:pt x="311" y="19"/>
                  </a:lnTo>
                  <a:lnTo>
                    <a:pt x="319" y="16"/>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7" name="Freeform 44">
              <a:extLst>
                <a:ext uri="{FF2B5EF4-FFF2-40B4-BE49-F238E27FC236}">
                  <a16:creationId xmlns:a16="http://schemas.microsoft.com/office/drawing/2014/main" id="{C3332465-605D-F441-B170-DCF1FA10696A}"/>
                </a:ext>
              </a:extLst>
            </p:cNvPr>
            <p:cNvSpPr>
              <a:spLocks noChangeAspect="1"/>
            </p:cNvSpPr>
            <p:nvPr/>
          </p:nvSpPr>
          <p:spPr bwMode="gray">
            <a:xfrm>
              <a:off x="5421830" y="3267388"/>
              <a:ext cx="39809" cy="53757"/>
            </a:xfrm>
            <a:custGeom>
              <a:avLst/>
              <a:gdLst>
                <a:gd name="T0" fmla="*/ 0 w 80"/>
                <a:gd name="T1" fmla="*/ 89 h 91"/>
                <a:gd name="T2" fmla="*/ 35 w 80"/>
                <a:gd name="T3" fmla="*/ 20 h 91"/>
                <a:gd name="T4" fmla="*/ 49 w 80"/>
                <a:gd name="T5" fmla="*/ 9 h 91"/>
                <a:gd name="T6" fmla="*/ 47 w 80"/>
                <a:gd name="T7" fmla="*/ 0 h 91"/>
                <a:gd name="T8" fmla="*/ 71 w 80"/>
                <a:gd name="T9" fmla="*/ 0 h 91"/>
                <a:gd name="T10" fmla="*/ 66 w 80"/>
                <a:gd name="T11" fmla="*/ 9 h 91"/>
                <a:gd name="T12" fmla="*/ 77 w 80"/>
                <a:gd name="T13" fmla="*/ 13 h 91"/>
                <a:gd name="T14" fmla="*/ 80 w 80"/>
                <a:gd name="T15" fmla="*/ 27 h 91"/>
                <a:gd name="T16" fmla="*/ 63 w 80"/>
                <a:gd name="T17" fmla="*/ 41 h 91"/>
                <a:gd name="T18" fmla="*/ 66 w 80"/>
                <a:gd name="T19" fmla="*/ 49 h 91"/>
                <a:gd name="T20" fmla="*/ 49 w 80"/>
                <a:gd name="T21" fmla="*/ 49 h 91"/>
                <a:gd name="T22" fmla="*/ 44 w 80"/>
                <a:gd name="T23" fmla="*/ 60 h 91"/>
                <a:gd name="T24" fmla="*/ 49 w 80"/>
                <a:gd name="T25" fmla="*/ 66 h 91"/>
                <a:gd name="T26" fmla="*/ 27 w 80"/>
                <a:gd name="T27" fmla="*/ 83 h 91"/>
                <a:gd name="T28" fmla="*/ 24 w 80"/>
                <a:gd name="T29" fmla="*/ 81 h 91"/>
                <a:gd name="T30" fmla="*/ 22 w 80"/>
                <a:gd name="T31" fmla="*/ 91 h 91"/>
                <a:gd name="T32" fmla="*/ 0 w 80"/>
                <a:gd name="T33" fmla="*/ 8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91">
                  <a:moveTo>
                    <a:pt x="0" y="89"/>
                  </a:moveTo>
                  <a:lnTo>
                    <a:pt x="35" y="20"/>
                  </a:lnTo>
                  <a:lnTo>
                    <a:pt x="49" y="9"/>
                  </a:lnTo>
                  <a:lnTo>
                    <a:pt x="47" y="0"/>
                  </a:lnTo>
                  <a:lnTo>
                    <a:pt x="71" y="0"/>
                  </a:lnTo>
                  <a:lnTo>
                    <a:pt x="66" y="9"/>
                  </a:lnTo>
                  <a:lnTo>
                    <a:pt x="77" y="13"/>
                  </a:lnTo>
                  <a:lnTo>
                    <a:pt x="80" y="27"/>
                  </a:lnTo>
                  <a:lnTo>
                    <a:pt x="63" y="41"/>
                  </a:lnTo>
                  <a:lnTo>
                    <a:pt x="66" y="49"/>
                  </a:lnTo>
                  <a:lnTo>
                    <a:pt x="49" y="49"/>
                  </a:lnTo>
                  <a:lnTo>
                    <a:pt x="44" y="60"/>
                  </a:lnTo>
                  <a:lnTo>
                    <a:pt x="49" y="66"/>
                  </a:lnTo>
                  <a:lnTo>
                    <a:pt x="27" y="83"/>
                  </a:lnTo>
                  <a:lnTo>
                    <a:pt x="24" y="81"/>
                  </a:lnTo>
                  <a:lnTo>
                    <a:pt x="22" y="91"/>
                  </a:lnTo>
                  <a:lnTo>
                    <a:pt x="0" y="89"/>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8" name="Freeform 45">
              <a:extLst>
                <a:ext uri="{FF2B5EF4-FFF2-40B4-BE49-F238E27FC236}">
                  <a16:creationId xmlns:a16="http://schemas.microsoft.com/office/drawing/2014/main" id="{A8C8F3EB-F63C-F24D-BAA6-9322A8891313}"/>
                </a:ext>
              </a:extLst>
            </p:cNvPr>
            <p:cNvSpPr>
              <a:spLocks noChangeAspect="1"/>
            </p:cNvSpPr>
            <p:nvPr/>
          </p:nvSpPr>
          <p:spPr bwMode="gray">
            <a:xfrm>
              <a:off x="5531708" y="2956367"/>
              <a:ext cx="151279" cy="88314"/>
            </a:xfrm>
            <a:custGeom>
              <a:avLst/>
              <a:gdLst>
                <a:gd name="T0" fmla="*/ 0 w 310"/>
                <a:gd name="T1" fmla="*/ 5 h 152"/>
                <a:gd name="T2" fmla="*/ 34 w 310"/>
                <a:gd name="T3" fmla="*/ 0 h 152"/>
                <a:gd name="T4" fmla="*/ 84 w 310"/>
                <a:gd name="T5" fmla="*/ 20 h 152"/>
                <a:gd name="T6" fmla="*/ 139 w 310"/>
                <a:gd name="T7" fmla="*/ 24 h 152"/>
                <a:gd name="T8" fmla="*/ 189 w 310"/>
                <a:gd name="T9" fmla="*/ 61 h 152"/>
                <a:gd name="T10" fmla="*/ 244 w 310"/>
                <a:gd name="T11" fmla="*/ 54 h 152"/>
                <a:gd name="T12" fmla="*/ 268 w 310"/>
                <a:gd name="T13" fmla="*/ 65 h 152"/>
                <a:gd name="T14" fmla="*/ 268 w 310"/>
                <a:gd name="T15" fmla="*/ 85 h 152"/>
                <a:gd name="T16" fmla="*/ 300 w 310"/>
                <a:gd name="T17" fmla="*/ 105 h 152"/>
                <a:gd name="T18" fmla="*/ 290 w 310"/>
                <a:gd name="T19" fmla="*/ 121 h 152"/>
                <a:gd name="T20" fmla="*/ 307 w 310"/>
                <a:gd name="T21" fmla="*/ 139 h 152"/>
                <a:gd name="T22" fmla="*/ 310 w 310"/>
                <a:gd name="T23" fmla="*/ 146 h 152"/>
                <a:gd name="T24" fmla="*/ 307 w 310"/>
                <a:gd name="T25" fmla="*/ 150 h 152"/>
                <a:gd name="T26" fmla="*/ 280 w 310"/>
                <a:gd name="T27" fmla="*/ 146 h 152"/>
                <a:gd name="T28" fmla="*/ 256 w 310"/>
                <a:gd name="T29" fmla="*/ 132 h 152"/>
                <a:gd name="T30" fmla="*/ 234 w 310"/>
                <a:gd name="T31" fmla="*/ 141 h 152"/>
                <a:gd name="T32" fmla="*/ 161 w 310"/>
                <a:gd name="T33" fmla="*/ 152 h 152"/>
                <a:gd name="T34" fmla="*/ 136 w 310"/>
                <a:gd name="T35" fmla="*/ 125 h 152"/>
                <a:gd name="T36" fmla="*/ 115 w 310"/>
                <a:gd name="T37" fmla="*/ 133 h 152"/>
                <a:gd name="T38" fmla="*/ 82 w 310"/>
                <a:gd name="T39" fmla="*/ 130 h 152"/>
                <a:gd name="T40" fmla="*/ 76 w 310"/>
                <a:gd name="T41" fmla="*/ 125 h 152"/>
                <a:gd name="T42" fmla="*/ 85 w 310"/>
                <a:gd name="T43" fmla="*/ 118 h 152"/>
                <a:gd name="T44" fmla="*/ 87 w 310"/>
                <a:gd name="T45" fmla="*/ 96 h 152"/>
                <a:gd name="T46" fmla="*/ 68 w 310"/>
                <a:gd name="T47" fmla="*/ 51 h 152"/>
                <a:gd name="T48" fmla="*/ 50 w 310"/>
                <a:gd name="T49" fmla="*/ 34 h 152"/>
                <a:gd name="T50" fmla="*/ 20 w 310"/>
                <a:gd name="T51" fmla="*/ 25 h 152"/>
                <a:gd name="T52" fmla="*/ 0 w 310"/>
                <a:gd name="T53" fmla="*/ 5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0" h="152">
                  <a:moveTo>
                    <a:pt x="0" y="5"/>
                  </a:moveTo>
                  <a:lnTo>
                    <a:pt x="34" y="0"/>
                  </a:lnTo>
                  <a:lnTo>
                    <a:pt x="84" y="20"/>
                  </a:lnTo>
                  <a:lnTo>
                    <a:pt x="139" y="24"/>
                  </a:lnTo>
                  <a:lnTo>
                    <a:pt x="189" y="61"/>
                  </a:lnTo>
                  <a:lnTo>
                    <a:pt x="244" y="54"/>
                  </a:lnTo>
                  <a:lnTo>
                    <a:pt x="268" y="65"/>
                  </a:lnTo>
                  <a:lnTo>
                    <a:pt x="268" y="85"/>
                  </a:lnTo>
                  <a:lnTo>
                    <a:pt x="300" y="105"/>
                  </a:lnTo>
                  <a:lnTo>
                    <a:pt x="290" y="121"/>
                  </a:lnTo>
                  <a:lnTo>
                    <a:pt x="307" y="139"/>
                  </a:lnTo>
                  <a:lnTo>
                    <a:pt x="310" y="146"/>
                  </a:lnTo>
                  <a:lnTo>
                    <a:pt x="307" y="150"/>
                  </a:lnTo>
                  <a:lnTo>
                    <a:pt x="280" y="146"/>
                  </a:lnTo>
                  <a:lnTo>
                    <a:pt x="256" y="132"/>
                  </a:lnTo>
                  <a:lnTo>
                    <a:pt x="234" y="141"/>
                  </a:lnTo>
                  <a:lnTo>
                    <a:pt x="161" y="152"/>
                  </a:lnTo>
                  <a:lnTo>
                    <a:pt x="136" y="125"/>
                  </a:lnTo>
                  <a:lnTo>
                    <a:pt x="115" y="133"/>
                  </a:lnTo>
                  <a:lnTo>
                    <a:pt x="82" y="130"/>
                  </a:lnTo>
                  <a:lnTo>
                    <a:pt x="76" y="125"/>
                  </a:lnTo>
                  <a:lnTo>
                    <a:pt x="85" y="118"/>
                  </a:lnTo>
                  <a:lnTo>
                    <a:pt x="87" y="96"/>
                  </a:lnTo>
                  <a:lnTo>
                    <a:pt x="68" y="51"/>
                  </a:lnTo>
                  <a:lnTo>
                    <a:pt x="50" y="34"/>
                  </a:lnTo>
                  <a:lnTo>
                    <a:pt x="20" y="25"/>
                  </a:lnTo>
                  <a:lnTo>
                    <a:pt x="0" y="5"/>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49" name="Freeform 46">
              <a:extLst>
                <a:ext uri="{FF2B5EF4-FFF2-40B4-BE49-F238E27FC236}">
                  <a16:creationId xmlns:a16="http://schemas.microsoft.com/office/drawing/2014/main" id="{08ECE5B2-4413-6B4A-AA6E-73B4C53C2851}"/>
                </a:ext>
              </a:extLst>
            </p:cNvPr>
            <p:cNvSpPr>
              <a:spLocks noChangeAspect="1"/>
            </p:cNvSpPr>
            <p:nvPr/>
          </p:nvSpPr>
          <p:spPr bwMode="gray">
            <a:xfrm>
              <a:off x="5412275" y="3348023"/>
              <a:ext cx="476135" cy="491487"/>
            </a:xfrm>
            <a:custGeom>
              <a:avLst/>
              <a:gdLst>
                <a:gd name="T0" fmla="*/ 908 w 974"/>
                <a:gd name="T1" fmla="*/ 495 h 835"/>
                <a:gd name="T2" fmla="*/ 838 w 974"/>
                <a:gd name="T3" fmla="*/ 482 h 835"/>
                <a:gd name="T4" fmla="*/ 789 w 974"/>
                <a:gd name="T5" fmla="*/ 435 h 835"/>
                <a:gd name="T6" fmla="*/ 759 w 974"/>
                <a:gd name="T7" fmla="*/ 399 h 835"/>
                <a:gd name="T8" fmla="*/ 737 w 974"/>
                <a:gd name="T9" fmla="*/ 372 h 835"/>
                <a:gd name="T10" fmla="*/ 715 w 974"/>
                <a:gd name="T11" fmla="*/ 333 h 835"/>
                <a:gd name="T12" fmla="*/ 712 w 974"/>
                <a:gd name="T13" fmla="*/ 300 h 835"/>
                <a:gd name="T14" fmla="*/ 679 w 974"/>
                <a:gd name="T15" fmla="*/ 266 h 835"/>
                <a:gd name="T16" fmla="*/ 654 w 974"/>
                <a:gd name="T17" fmla="*/ 230 h 835"/>
                <a:gd name="T18" fmla="*/ 606 w 974"/>
                <a:gd name="T19" fmla="*/ 193 h 835"/>
                <a:gd name="T20" fmla="*/ 554 w 974"/>
                <a:gd name="T21" fmla="*/ 164 h 835"/>
                <a:gd name="T22" fmla="*/ 419 w 974"/>
                <a:gd name="T23" fmla="*/ 133 h 835"/>
                <a:gd name="T24" fmla="*/ 391 w 974"/>
                <a:gd name="T25" fmla="*/ 94 h 835"/>
                <a:gd name="T26" fmla="*/ 332 w 974"/>
                <a:gd name="T27" fmla="*/ 57 h 835"/>
                <a:gd name="T28" fmla="*/ 210 w 974"/>
                <a:gd name="T29" fmla="*/ 0 h 835"/>
                <a:gd name="T30" fmla="*/ 107 w 974"/>
                <a:gd name="T31" fmla="*/ 34 h 835"/>
                <a:gd name="T32" fmla="*/ 138 w 974"/>
                <a:gd name="T33" fmla="*/ 96 h 835"/>
                <a:gd name="T34" fmla="*/ 97 w 974"/>
                <a:gd name="T35" fmla="*/ 123 h 835"/>
                <a:gd name="T36" fmla="*/ 70 w 974"/>
                <a:gd name="T37" fmla="*/ 162 h 835"/>
                <a:gd name="T38" fmla="*/ 15 w 974"/>
                <a:gd name="T39" fmla="*/ 148 h 835"/>
                <a:gd name="T40" fmla="*/ 0 w 974"/>
                <a:gd name="T41" fmla="*/ 218 h 835"/>
                <a:gd name="T42" fmla="*/ 28 w 974"/>
                <a:gd name="T43" fmla="*/ 219 h 835"/>
                <a:gd name="T44" fmla="*/ 74 w 974"/>
                <a:gd name="T45" fmla="*/ 292 h 835"/>
                <a:gd name="T46" fmla="*/ 113 w 974"/>
                <a:gd name="T47" fmla="*/ 355 h 835"/>
                <a:gd name="T48" fmla="*/ 131 w 974"/>
                <a:gd name="T49" fmla="*/ 410 h 835"/>
                <a:gd name="T50" fmla="*/ 175 w 974"/>
                <a:gd name="T51" fmla="*/ 435 h 835"/>
                <a:gd name="T52" fmla="*/ 202 w 974"/>
                <a:gd name="T53" fmla="*/ 529 h 835"/>
                <a:gd name="T54" fmla="*/ 266 w 974"/>
                <a:gd name="T55" fmla="*/ 619 h 835"/>
                <a:gd name="T56" fmla="*/ 302 w 974"/>
                <a:gd name="T57" fmla="*/ 684 h 835"/>
                <a:gd name="T58" fmla="*/ 353 w 974"/>
                <a:gd name="T59" fmla="*/ 744 h 835"/>
                <a:gd name="T60" fmla="*/ 373 w 974"/>
                <a:gd name="T61" fmla="*/ 783 h 835"/>
                <a:gd name="T62" fmla="*/ 383 w 974"/>
                <a:gd name="T63" fmla="*/ 794 h 835"/>
                <a:gd name="T64" fmla="*/ 408 w 974"/>
                <a:gd name="T65" fmla="*/ 767 h 835"/>
                <a:gd name="T66" fmla="*/ 498 w 974"/>
                <a:gd name="T67" fmla="*/ 770 h 835"/>
                <a:gd name="T68" fmla="*/ 541 w 974"/>
                <a:gd name="T69" fmla="*/ 835 h 835"/>
                <a:gd name="T70" fmla="*/ 598 w 974"/>
                <a:gd name="T71" fmla="*/ 772 h 835"/>
                <a:gd name="T72" fmla="*/ 656 w 974"/>
                <a:gd name="T73" fmla="*/ 707 h 835"/>
                <a:gd name="T74" fmla="*/ 730 w 974"/>
                <a:gd name="T75" fmla="*/ 690 h 835"/>
                <a:gd name="T76" fmla="*/ 803 w 974"/>
                <a:gd name="T77" fmla="*/ 673 h 835"/>
                <a:gd name="T78" fmla="*/ 872 w 974"/>
                <a:gd name="T79" fmla="*/ 648 h 835"/>
                <a:gd name="T80" fmla="*/ 942 w 974"/>
                <a:gd name="T81" fmla="*/ 625 h 835"/>
                <a:gd name="T82" fmla="*/ 959 w 974"/>
                <a:gd name="T83" fmla="*/ 575 h 835"/>
                <a:gd name="T84" fmla="*/ 974 w 974"/>
                <a:gd name="T85" fmla="*/ 526 h 835"/>
                <a:gd name="T86" fmla="*/ 942 w 974"/>
                <a:gd name="T87" fmla="*/ 501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74" h="835">
                  <a:moveTo>
                    <a:pt x="942" y="501"/>
                  </a:moveTo>
                  <a:lnTo>
                    <a:pt x="908" y="495"/>
                  </a:lnTo>
                  <a:lnTo>
                    <a:pt x="872" y="489"/>
                  </a:lnTo>
                  <a:lnTo>
                    <a:pt x="838" y="482"/>
                  </a:lnTo>
                  <a:lnTo>
                    <a:pt x="803" y="477"/>
                  </a:lnTo>
                  <a:lnTo>
                    <a:pt x="789" y="435"/>
                  </a:lnTo>
                  <a:lnTo>
                    <a:pt x="762" y="411"/>
                  </a:lnTo>
                  <a:lnTo>
                    <a:pt x="759" y="399"/>
                  </a:lnTo>
                  <a:lnTo>
                    <a:pt x="747" y="387"/>
                  </a:lnTo>
                  <a:lnTo>
                    <a:pt x="737" y="372"/>
                  </a:lnTo>
                  <a:lnTo>
                    <a:pt x="733" y="355"/>
                  </a:lnTo>
                  <a:lnTo>
                    <a:pt x="715" y="333"/>
                  </a:lnTo>
                  <a:lnTo>
                    <a:pt x="721" y="314"/>
                  </a:lnTo>
                  <a:lnTo>
                    <a:pt x="712" y="300"/>
                  </a:lnTo>
                  <a:lnTo>
                    <a:pt x="713" y="289"/>
                  </a:lnTo>
                  <a:lnTo>
                    <a:pt x="679" y="266"/>
                  </a:lnTo>
                  <a:lnTo>
                    <a:pt x="678" y="250"/>
                  </a:lnTo>
                  <a:lnTo>
                    <a:pt x="654" y="230"/>
                  </a:lnTo>
                  <a:lnTo>
                    <a:pt x="636" y="193"/>
                  </a:lnTo>
                  <a:lnTo>
                    <a:pt x="606" y="193"/>
                  </a:lnTo>
                  <a:lnTo>
                    <a:pt x="594" y="174"/>
                  </a:lnTo>
                  <a:lnTo>
                    <a:pt x="554" y="164"/>
                  </a:lnTo>
                  <a:lnTo>
                    <a:pt x="471" y="159"/>
                  </a:lnTo>
                  <a:lnTo>
                    <a:pt x="419" y="133"/>
                  </a:lnTo>
                  <a:lnTo>
                    <a:pt x="416" y="96"/>
                  </a:lnTo>
                  <a:lnTo>
                    <a:pt x="391" y="94"/>
                  </a:lnTo>
                  <a:lnTo>
                    <a:pt x="380" y="74"/>
                  </a:lnTo>
                  <a:lnTo>
                    <a:pt x="332" y="57"/>
                  </a:lnTo>
                  <a:lnTo>
                    <a:pt x="280" y="18"/>
                  </a:lnTo>
                  <a:lnTo>
                    <a:pt x="210" y="0"/>
                  </a:lnTo>
                  <a:lnTo>
                    <a:pt x="195" y="15"/>
                  </a:lnTo>
                  <a:lnTo>
                    <a:pt x="107" y="34"/>
                  </a:lnTo>
                  <a:lnTo>
                    <a:pt x="158" y="85"/>
                  </a:lnTo>
                  <a:lnTo>
                    <a:pt x="138" y="96"/>
                  </a:lnTo>
                  <a:lnTo>
                    <a:pt x="133" y="119"/>
                  </a:lnTo>
                  <a:lnTo>
                    <a:pt x="97" y="123"/>
                  </a:lnTo>
                  <a:lnTo>
                    <a:pt x="83" y="147"/>
                  </a:lnTo>
                  <a:lnTo>
                    <a:pt x="70" y="162"/>
                  </a:lnTo>
                  <a:lnTo>
                    <a:pt x="17" y="156"/>
                  </a:lnTo>
                  <a:lnTo>
                    <a:pt x="15" y="148"/>
                  </a:lnTo>
                  <a:lnTo>
                    <a:pt x="11" y="195"/>
                  </a:lnTo>
                  <a:lnTo>
                    <a:pt x="0" y="218"/>
                  </a:lnTo>
                  <a:lnTo>
                    <a:pt x="7" y="215"/>
                  </a:lnTo>
                  <a:lnTo>
                    <a:pt x="28" y="219"/>
                  </a:lnTo>
                  <a:lnTo>
                    <a:pt x="53" y="267"/>
                  </a:lnTo>
                  <a:lnTo>
                    <a:pt x="74" y="292"/>
                  </a:lnTo>
                  <a:lnTo>
                    <a:pt x="94" y="331"/>
                  </a:lnTo>
                  <a:lnTo>
                    <a:pt x="113" y="355"/>
                  </a:lnTo>
                  <a:lnTo>
                    <a:pt x="121" y="389"/>
                  </a:lnTo>
                  <a:lnTo>
                    <a:pt x="131" y="410"/>
                  </a:lnTo>
                  <a:lnTo>
                    <a:pt x="150" y="413"/>
                  </a:lnTo>
                  <a:lnTo>
                    <a:pt x="175" y="435"/>
                  </a:lnTo>
                  <a:lnTo>
                    <a:pt x="207" y="506"/>
                  </a:lnTo>
                  <a:lnTo>
                    <a:pt x="202" y="529"/>
                  </a:lnTo>
                  <a:lnTo>
                    <a:pt x="219" y="591"/>
                  </a:lnTo>
                  <a:lnTo>
                    <a:pt x="266" y="619"/>
                  </a:lnTo>
                  <a:lnTo>
                    <a:pt x="292" y="648"/>
                  </a:lnTo>
                  <a:lnTo>
                    <a:pt x="302" y="684"/>
                  </a:lnTo>
                  <a:lnTo>
                    <a:pt x="326" y="721"/>
                  </a:lnTo>
                  <a:lnTo>
                    <a:pt x="353" y="744"/>
                  </a:lnTo>
                  <a:lnTo>
                    <a:pt x="356" y="758"/>
                  </a:lnTo>
                  <a:lnTo>
                    <a:pt x="373" y="783"/>
                  </a:lnTo>
                  <a:lnTo>
                    <a:pt x="374" y="797"/>
                  </a:lnTo>
                  <a:lnTo>
                    <a:pt x="383" y="794"/>
                  </a:lnTo>
                  <a:lnTo>
                    <a:pt x="390" y="781"/>
                  </a:lnTo>
                  <a:lnTo>
                    <a:pt x="408" y="767"/>
                  </a:lnTo>
                  <a:lnTo>
                    <a:pt x="456" y="755"/>
                  </a:lnTo>
                  <a:lnTo>
                    <a:pt x="498" y="770"/>
                  </a:lnTo>
                  <a:lnTo>
                    <a:pt x="541" y="783"/>
                  </a:lnTo>
                  <a:lnTo>
                    <a:pt x="541" y="835"/>
                  </a:lnTo>
                  <a:lnTo>
                    <a:pt x="569" y="804"/>
                  </a:lnTo>
                  <a:lnTo>
                    <a:pt x="598" y="772"/>
                  </a:lnTo>
                  <a:lnTo>
                    <a:pt x="627" y="739"/>
                  </a:lnTo>
                  <a:lnTo>
                    <a:pt x="656" y="707"/>
                  </a:lnTo>
                  <a:lnTo>
                    <a:pt x="693" y="699"/>
                  </a:lnTo>
                  <a:lnTo>
                    <a:pt x="730" y="690"/>
                  </a:lnTo>
                  <a:lnTo>
                    <a:pt x="767" y="682"/>
                  </a:lnTo>
                  <a:lnTo>
                    <a:pt x="803" y="673"/>
                  </a:lnTo>
                  <a:lnTo>
                    <a:pt x="838" y="660"/>
                  </a:lnTo>
                  <a:lnTo>
                    <a:pt x="872" y="648"/>
                  </a:lnTo>
                  <a:lnTo>
                    <a:pt x="908" y="636"/>
                  </a:lnTo>
                  <a:lnTo>
                    <a:pt x="942" y="625"/>
                  </a:lnTo>
                  <a:lnTo>
                    <a:pt x="950" y="600"/>
                  </a:lnTo>
                  <a:lnTo>
                    <a:pt x="959" y="575"/>
                  </a:lnTo>
                  <a:lnTo>
                    <a:pt x="965" y="552"/>
                  </a:lnTo>
                  <a:lnTo>
                    <a:pt x="974" y="526"/>
                  </a:lnTo>
                  <a:lnTo>
                    <a:pt x="953" y="492"/>
                  </a:lnTo>
                  <a:lnTo>
                    <a:pt x="942" y="501"/>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50" name="Freeform 47">
              <a:extLst>
                <a:ext uri="{FF2B5EF4-FFF2-40B4-BE49-F238E27FC236}">
                  <a16:creationId xmlns:a16="http://schemas.microsoft.com/office/drawing/2014/main" id="{230B50EA-F01B-BC47-A912-16CE31977DCF}"/>
                </a:ext>
              </a:extLst>
            </p:cNvPr>
            <p:cNvSpPr>
              <a:spLocks noChangeAspect="1"/>
            </p:cNvSpPr>
            <p:nvPr/>
          </p:nvSpPr>
          <p:spPr bwMode="gray">
            <a:xfrm>
              <a:off x="5893188" y="2877652"/>
              <a:ext cx="385367" cy="303339"/>
            </a:xfrm>
            <a:custGeom>
              <a:avLst/>
              <a:gdLst>
                <a:gd name="T0" fmla="*/ 381 w 791"/>
                <a:gd name="T1" fmla="*/ 123 h 514"/>
                <a:gd name="T2" fmla="*/ 313 w 791"/>
                <a:gd name="T3" fmla="*/ 130 h 514"/>
                <a:gd name="T4" fmla="*/ 256 w 791"/>
                <a:gd name="T5" fmla="*/ 112 h 514"/>
                <a:gd name="T6" fmla="*/ 211 w 791"/>
                <a:gd name="T7" fmla="*/ 67 h 514"/>
                <a:gd name="T8" fmla="*/ 143 w 791"/>
                <a:gd name="T9" fmla="*/ 11 h 514"/>
                <a:gd name="T10" fmla="*/ 89 w 791"/>
                <a:gd name="T11" fmla="*/ 11 h 514"/>
                <a:gd name="T12" fmla="*/ 29 w 791"/>
                <a:gd name="T13" fmla="*/ 31 h 514"/>
                <a:gd name="T14" fmla="*/ 0 w 791"/>
                <a:gd name="T15" fmla="*/ 101 h 514"/>
                <a:gd name="T16" fmla="*/ 2 w 791"/>
                <a:gd name="T17" fmla="*/ 212 h 514"/>
                <a:gd name="T18" fmla="*/ 46 w 791"/>
                <a:gd name="T19" fmla="*/ 276 h 514"/>
                <a:gd name="T20" fmla="*/ 44 w 791"/>
                <a:gd name="T21" fmla="*/ 238 h 514"/>
                <a:gd name="T22" fmla="*/ 61 w 791"/>
                <a:gd name="T23" fmla="*/ 218 h 514"/>
                <a:gd name="T24" fmla="*/ 89 w 791"/>
                <a:gd name="T25" fmla="*/ 201 h 514"/>
                <a:gd name="T26" fmla="*/ 114 w 791"/>
                <a:gd name="T27" fmla="*/ 208 h 514"/>
                <a:gd name="T28" fmla="*/ 115 w 791"/>
                <a:gd name="T29" fmla="*/ 187 h 514"/>
                <a:gd name="T30" fmla="*/ 154 w 791"/>
                <a:gd name="T31" fmla="*/ 208 h 514"/>
                <a:gd name="T32" fmla="*/ 185 w 791"/>
                <a:gd name="T33" fmla="*/ 231 h 514"/>
                <a:gd name="T34" fmla="*/ 190 w 791"/>
                <a:gd name="T35" fmla="*/ 242 h 514"/>
                <a:gd name="T36" fmla="*/ 191 w 791"/>
                <a:gd name="T37" fmla="*/ 267 h 514"/>
                <a:gd name="T38" fmla="*/ 259 w 791"/>
                <a:gd name="T39" fmla="*/ 269 h 514"/>
                <a:gd name="T40" fmla="*/ 281 w 791"/>
                <a:gd name="T41" fmla="*/ 306 h 514"/>
                <a:gd name="T42" fmla="*/ 298 w 791"/>
                <a:gd name="T43" fmla="*/ 342 h 514"/>
                <a:gd name="T44" fmla="*/ 349 w 791"/>
                <a:gd name="T45" fmla="*/ 384 h 514"/>
                <a:gd name="T46" fmla="*/ 400 w 791"/>
                <a:gd name="T47" fmla="*/ 416 h 514"/>
                <a:gd name="T48" fmla="*/ 459 w 791"/>
                <a:gd name="T49" fmla="*/ 450 h 514"/>
                <a:gd name="T50" fmla="*/ 493 w 791"/>
                <a:gd name="T51" fmla="*/ 470 h 514"/>
                <a:gd name="T52" fmla="*/ 486 w 791"/>
                <a:gd name="T53" fmla="*/ 508 h 514"/>
                <a:gd name="T54" fmla="*/ 545 w 791"/>
                <a:gd name="T55" fmla="*/ 509 h 514"/>
                <a:gd name="T56" fmla="*/ 549 w 791"/>
                <a:gd name="T57" fmla="*/ 487 h 514"/>
                <a:gd name="T58" fmla="*/ 558 w 791"/>
                <a:gd name="T59" fmla="*/ 429 h 514"/>
                <a:gd name="T60" fmla="*/ 541 w 791"/>
                <a:gd name="T61" fmla="*/ 406 h 514"/>
                <a:gd name="T62" fmla="*/ 532 w 791"/>
                <a:gd name="T63" fmla="*/ 387 h 514"/>
                <a:gd name="T64" fmla="*/ 579 w 791"/>
                <a:gd name="T65" fmla="*/ 373 h 514"/>
                <a:gd name="T66" fmla="*/ 613 w 791"/>
                <a:gd name="T67" fmla="*/ 338 h 514"/>
                <a:gd name="T68" fmla="*/ 618 w 791"/>
                <a:gd name="T69" fmla="*/ 308 h 514"/>
                <a:gd name="T70" fmla="*/ 669 w 791"/>
                <a:gd name="T71" fmla="*/ 285 h 514"/>
                <a:gd name="T72" fmla="*/ 681 w 791"/>
                <a:gd name="T73" fmla="*/ 305 h 514"/>
                <a:gd name="T74" fmla="*/ 671 w 791"/>
                <a:gd name="T75" fmla="*/ 331 h 514"/>
                <a:gd name="T76" fmla="*/ 691 w 791"/>
                <a:gd name="T77" fmla="*/ 333 h 514"/>
                <a:gd name="T78" fmla="*/ 747 w 791"/>
                <a:gd name="T79" fmla="*/ 321 h 514"/>
                <a:gd name="T80" fmla="*/ 791 w 791"/>
                <a:gd name="T81" fmla="*/ 299 h 514"/>
                <a:gd name="T82" fmla="*/ 731 w 791"/>
                <a:gd name="T83" fmla="*/ 274 h 514"/>
                <a:gd name="T84" fmla="*/ 722 w 791"/>
                <a:gd name="T85" fmla="*/ 259 h 514"/>
                <a:gd name="T86" fmla="*/ 684 w 791"/>
                <a:gd name="T87" fmla="*/ 274 h 514"/>
                <a:gd name="T88" fmla="*/ 658 w 791"/>
                <a:gd name="T89" fmla="*/ 259 h 514"/>
                <a:gd name="T90" fmla="*/ 703 w 791"/>
                <a:gd name="T91" fmla="*/ 218 h 514"/>
                <a:gd name="T92" fmla="*/ 688 w 791"/>
                <a:gd name="T93" fmla="*/ 206 h 514"/>
                <a:gd name="T94" fmla="*/ 664 w 791"/>
                <a:gd name="T95" fmla="*/ 223 h 514"/>
                <a:gd name="T96" fmla="*/ 621 w 791"/>
                <a:gd name="T97" fmla="*/ 255 h 514"/>
                <a:gd name="T98" fmla="*/ 550 w 791"/>
                <a:gd name="T99" fmla="*/ 272 h 514"/>
                <a:gd name="T100" fmla="*/ 494 w 791"/>
                <a:gd name="T101" fmla="*/ 238 h 514"/>
                <a:gd name="T102" fmla="*/ 466 w 791"/>
                <a:gd name="T103" fmla="*/ 208 h 514"/>
                <a:gd name="T104" fmla="*/ 473 w 791"/>
                <a:gd name="T105" fmla="*/ 170 h 514"/>
                <a:gd name="T106" fmla="*/ 445 w 791"/>
                <a:gd name="T107" fmla="*/ 14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1" h="514">
                  <a:moveTo>
                    <a:pt x="415" y="120"/>
                  </a:moveTo>
                  <a:lnTo>
                    <a:pt x="381" y="123"/>
                  </a:lnTo>
                  <a:lnTo>
                    <a:pt x="347" y="127"/>
                  </a:lnTo>
                  <a:lnTo>
                    <a:pt x="313" y="130"/>
                  </a:lnTo>
                  <a:lnTo>
                    <a:pt x="279" y="133"/>
                  </a:lnTo>
                  <a:lnTo>
                    <a:pt x="256" y="112"/>
                  </a:lnTo>
                  <a:lnTo>
                    <a:pt x="234" y="90"/>
                  </a:lnTo>
                  <a:lnTo>
                    <a:pt x="211" y="67"/>
                  </a:lnTo>
                  <a:lnTo>
                    <a:pt x="188" y="44"/>
                  </a:lnTo>
                  <a:lnTo>
                    <a:pt x="143" y="11"/>
                  </a:lnTo>
                  <a:lnTo>
                    <a:pt x="118" y="0"/>
                  </a:lnTo>
                  <a:lnTo>
                    <a:pt x="89" y="11"/>
                  </a:lnTo>
                  <a:lnTo>
                    <a:pt x="59" y="22"/>
                  </a:lnTo>
                  <a:lnTo>
                    <a:pt x="29" y="31"/>
                  </a:lnTo>
                  <a:lnTo>
                    <a:pt x="0" y="42"/>
                  </a:lnTo>
                  <a:lnTo>
                    <a:pt x="0" y="101"/>
                  </a:lnTo>
                  <a:lnTo>
                    <a:pt x="0" y="155"/>
                  </a:lnTo>
                  <a:lnTo>
                    <a:pt x="2" y="212"/>
                  </a:lnTo>
                  <a:lnTo>
                    <a:pt x="2" y="269"/>
                  </a:lnTo>
                  <a:lnTo>
                    <a:pt x="46" y="276"/>
                  </a:lnTo>
                  <a:lnTo>
                    <a:pt x="52" y="271"/>
                  </a:lnTo>
                  <a:lnTo>
                    <a:pt x="44" y="238"/>
                  </a:lnTo>
                  <a:lnTo>
                    <a:pt x="47" y="234"/>
                  </a:lnTo>
                  <a:lnTo>
                    <a:pt x="61" y="218"/>
                  </a:lnTo>
                  <a:lnTo>
                    <a:pt x="88" y="212"/>
                  </a:lnTo>
                  <a:lnTo>
                    <a:pt x="89" y="201"/>
                  </a:lnTo>
                  <a:lnTo>
                    <a:pt x="97" y="198"/>
                  </a:lnTo>
                  <a:lnTo>
                    <a:pt x="114" y="208"/>
                  </a:lnTo>
                  <a:lnTo>
                    <a:pt x="101" y="191"/>
                  </a:lnTo>
                  <a:lnTo>
                    <a:pt x="115" y="187"/>
                  </a:lnTo>
                  <a:lnTo>
                    <a:pt x="122" y="179"/>
                  </a:lnTo>
                  <a:lnTo>
                    <a:pt x="154" y="208"/>
                  </a:lnTo>
                  <a:lnTo>
                    <a:pt x="183" y="212"/>
                  </a:lnTo>
                  <a:lnTo>
                    <a:pt x="185" y="231"/>
                  </a:lnTo>
                  <a:lnTo>
                    <a:pt x="194" y="240"/>
                  </a:lnTo>
                  <a:lnTo>
                    <a:pt x="190" y="242"/>
                  </a:lnTo>
                  <a:lnTo>
                    <a:pt x="188" y="262"/>
                  </a:lnTo>
                  <a:lnTo>
                    <a:pt x="191" y="267"/>
                  </a:lnTo>
                  <a:lnTo>
                    <a:pt x="245" y="280"/>
                  </a:lnTo>
                  <a:lnTo>
                    <a:pt x="259" y="269"/>
                  </a:lnTo>
                  <a:lnTo>
                    <a:pt x="275" y="280"/>
                  </a:lnTo>
                  <a:lnTo>
                    <a:pt x="281" y="306"/>
                  </a:lnTo>
                  <a:lnTo>
                    <a:pt x="295" y="321"/>
                  </a:lnTo>
                  <a:lnTo>
                    <a:pt x="298" y="342"/>
                  </a:lnTo>
                  <a:lnTo>
                    <a:pt x="308" y="361"/>
                  </a:lnTo>
                  <a:lnTo>
                    <a:pt x="349" y="384"/>
                  </a:lnTo>
                  <a:lnTo>
                    <a:pt x="372" y="407"/>
                  </a:lnTo>
                  <a:lnTo>
                    <a:pt x="400" y="416"/>
                  </a:lnTo>
                  <a:lnTo>
                    <a:pt x="439" y="453"/>
                  </a:lnTo>
                  <a:lnTo>
                    <a:pt x="459" y="450"/>
                  </a:lnTo>
                  <a:lnTo>
                    <a:pt x="488" y="465"/>
                  </a:lnTo>
                  <a:lnTo>
                    <a:pt x="493" y="470"/>
                  </a:lnTo>
                  <a:lnTo>
                    <a:pt x="486" y="482"/>
                  </a:lnTo>
                  <a:lnTo>
                    <a:pt x="486" y="508"/>
                  </a:lnTo>
                  <a:lnTo>
                    <a:pt x="544" y="514"/>
                  </a:lnTo>
                  <a:lnTo>
                    <a:pt x="545" y="509"/>
                  </a:lnTo>
                  <a:lnTo>
                    <a:pt x="544" y="499"/>
                  </a:lnTo>
                  <a:lnTo>
                    <a:pt x="549" y="487"/>
                  </a:lnTo>
                  <a:lnTo>
                    <a:pt x="570" y="458"/>
                  </a:lnTo>
                  <a:lnTo>
                    <a:pt x="558" y="429"/>
                  </a:lnTo>
                  <a:lnTo>
                    <a:pt x="559" y="409"/>
                  </a:lnTo>
                  <a:lnTo>
                    <a:pt x="541" y="406"/>
                  </a:lnTo>
                  <a:lnTo>
                    <a:pt x="525" y="390"/>
                  </a:lnTo>
                  <a:lnTo>
                    <a:pt x="532" y="387"/>
                  </a:lnTo>
                  <a:lnTo>
                    <a:pt x="533" y="373"/>
                  </a:lnTo>
                  <a:lnTo>
                    <a:pt x="579" y="373"/>
                  </a:lnTo>
                  <a:lnTo>
                    <a:pt x="589" y="348"/>
                  </a:lnTo>
                  <a:lnTo>
                    <a:pt x="613" y="338"/>
                  </a:lnTo>
                  <a:lnTo>
                    <a:pt x="612" y="319"/>
                  </a:lnTo>
                  <a:lnTo>
                    <a:pt x="618" y="308"/>
                  </a:lnTo>
                  <a:lnTo>
                    <a:pt x="637" y="310"/>
                  </a:lnTo>
                  <a:lnTo>
                    <a:pt x="669" y="285"/>
                  </a:lnTo>
                  <a:lnTo>
                    <a:pt x="674" y="285"/>
                  </a:lnTo>
                  <a:lnTo>
                    <a:pt x="681" y="305"/>
                  </a:lnTo>
                  <a:lnTo>
                    <a:pt x="667" y="318"/>
                  </a:lnTo>
                  <a:lnTo>
                    <a:pt x="671" y="331"/>
                  </a:lnTo>
                  <a:lnTo>
                    <a:pt x="674" y="336"/>
                  </a:lnTo>
                  <a:lnTo>
                    <a:pt x="691" y="333"/>
                  </a:lnTo>
                  <a:lnTo>
                    <a:pt x="733" y="335"/>
                  </a:lnTo>
                  <a:lnTo>
                    <a:pt x="747" y="321"/>
                  </a:lnTo>
                  <a:lnTo>
                    <a:pt x="765" y="318"/>
                  </a:lnTo>
                  <a:lnTo>
                    <a:pt x="791" y="299"/>
                  </a:lnTo>
                  <a:lnTo>
                    <a:pt x="748" y="285"/>
                  </a:lnTo>
                  <a:lnTo>
                    <a:pt x="731" y="274"/>
                  </a:lnTo>
                  <a:lnTo>
                    <a:pt x="731" y="267"/>
                  </a:lnTo>
                  <a:lnTo>
                    <a:pt x="722" y="259"/>
                  </a:lnTo>
                  <a:lnTo>
                    <a:pt x="709" y="280"/>
                  </a:lnTo>
                  <a:lnTo>
                    <a:pt x="684" y="274"/>
                  </a:lnTo>
                  <a:lnTo>
                    <a:pt x="677" y="262"/>
                  </a:lnTo>
                  <a:lnTo>
                    <a:pt x="658" y="259"/>
                  </a:lnTo>
                  <a:lnTo>
                    <a:pt x="658" y="252"/>
                  </a:lnTo>
                  <a:lnTo>
                    <a:pt x="703" y="218"/>
                  </a:lnTo>
                  <a:lnTo>
                    <a:pt x="701" y="211"/>
                  </a:lnTo>
                  <a:lnTo>
                    <a:pt x="688" y="206"/>
                  </a:lnTo>
                  <a:lnTo>
                    <a:pt x="675" y="223"/>
                  </a:lnTo>
                  <a:lnTo>
                    <a:pt x="664" y="223"/>
                  </a:lnTo>
                  <a:lnTo>
                    <a:pt x="652" y="240"/>
                  </a:lnTo>
                  <a:lnTo>
                    <a:pt x="621" y="255"/>
                  </a:lnTo>
                  <a:lnTo>
                    <a:pt x="589" y="288"/>
                  </a:lnTo>
                  <a:lnTo>
                    <a:pt x="550" y="272"/>
                  </a:lnTo>
                  <a:lnTo>
                    <a:pt x="503" y="277"/>
                  </a:lnTo>
                  <a:lnTo>
                    <a:pt x="494" y="238"/>
                  </a:lnTo>
                  <a:lnTo>
                    <a:pt x="468" y="234"/>
                  </a:lnTo>
                  <a:lnTo>
                    <a:pt x="466" y="208"/>
                  </a:lnTo>
                  <a:lnTo>
                    <a:pt x="473" y="206"/>
                  </a:lnTo>
                  <a:lnTo>
                    <a:pt x="473" y="170"/>
                  </a:lnTo>
                  <a:lnTo>
                    <a:pt x="460" y="172"/>
                  </a:lnTo>
                  <a:lnTo>
                    <a:pt x="445" y="144"/>
                  </a:lnTo>
                  <a:lnTo>
                    <a:pt x="415" y="12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51" name="Freeform 48">
              <a:extLst>
                <a:ext uri="{FF2B5EF4-FFF2-40B4-BE49-F238E27FC236}">
                  <a16:creationId xmlns:a16="http://schemas.microsoft.com/office/drawing/2014/main" id="{B2487A15-3617-0244-A76A-230A3D6EAE84}"/>
                </a:ext>
              </a:extLst>
            </p:cNvPr>
            <p:cNvSpPr>
              <a:spLocks noChangeAspect="1"/>
            </p:cNvSpPr>
            <p:nvPr/>
          </p:nvSpPr>
          <p:spPr bwMode="gray">
            <a:xfrm>
              <a:off x="6426650" y="4000779"/>
              <a:ext cx="49364" cy="105591"/>
            </a:xfrm>
            <a:custGeom>
              <a:avLst/>
              <a:gdLst>
                <a:gd name="T0" fmla="*/ 17 w 100"/>
                <a:gd name="T1" fmla="*/ 0 h 180"/>
                <a:gd name="T2" fmla="*/ 12 w 100"/>
                <a:gd name="T3" fmla="*/ 4 h 180"/>
                <a:gd name="T4" fmla="*/ 28 w 100"/>
                <a:gd name="T5" fmla="*/ 17 h 180"/>
                <a:gd name="T6" fmla="*/ 19 w 100"/>
                <a:gd name="T7" fmla="*/ 23 h 180"/>
                <a:gd name="T8" fmla="*/ 7 w 100"/>
                <a:gd name="T9" fmla="*/ 80 h 180"/>
                <a:gd name="T10" fmla="*/ 0 w 100"/>
                <a:gd name="T11" fmla="*/ 80 h 180"/>
                <a:gd name="T12" fmla="*/ 7 w 100"/>
                <a:gd name="T13" fmla="*/ 141 h 180"/>
                <a:gd name="T14" fmla="*/ 25 w 100"/>
                <a:gd name="T15" fmla="*/ 177 h 180"/>
                <a:gd name="T16" fmla="*/ 50 w 100"/>
                <a:gd name="T17" fmla="*/ 180 h 180"/>
                <a:gd name="T18" fmla="*/ 87 w 100"/>
                <a:gd name="T19" fmla="*/ 158 h 180"/>
                <a:gd name="T20" fmla="*/ 96 w 100"/>
                <a:gd name="T21" fmla="*/ 144 h 180"/>
                <a:gd name="T22" fmla="*/ 100 w 100"/>
                <a:gd name="T23" fmla="*/ 107 h 180"/>
                <a:gd name="T24" fmla="*/ 79 w 100"/>
                <a:gd name="T25" fmla="*/ 65 h 180"/>
                <a:gd name="T26" fmla="*/ 56 w 100"/>
                <a:gd name="T27" fmla="*/ 29 h 180"/>
                <a:gd name="T28" fmla="*/ 30 w 100"/>
                <a:gd name="T29" fmla="*/ 4 h 180"/>
                <a:gd name="T30" fmla="*/ 17 w 100"/>
                <a:gd name="T3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180">
                  <a:moveTo>
                    <a:pt x="17" y="0"/>
                  </a:moveTo>
                  <a:lnTo>
                    <a:pt x="12" y="4"/>
                  </a:lnTo>
                  <a:lnTo>
                    <a:pt x="28" y="17"/>
                  </a:lnTo>
                  <a:lnTo>
                    <a:pt x="19" y="23"/>
                  </a:lnTo>
                  <a:lnTo>
                    <a:pt x="7" y="80"/>
                  </a:lnTo>
                  <a:lnTo>
                    <a:pt x="0" y="80"/>
                  </a:lnTo>
                  <a:lnTo>
                    <a:pt x="7" y="141"/>
                  </a:lnTo>
                  <a:lnTo>
                    <a:pt x="25" y="177"/>
                  </a:lnTo>
                  <a:lnTo>
                    <a:pt x="50" y="180"/>
                  </a:lnTo>
                  <a:lnTo>
                    <a:pt x="87" y="158"/>
                  </a:lnTo>
                  <a:lnTo>
                    <a:pt x="96" y="144"/>
                  </a:lnTo>
                  <a:lnTo>
                    <a:pt x="100" y="107"/>
                  </a:lnTo>
                  <a:lnTo>
                    <a:pt x="79" y="65"/>
                  </a:lnTo>
                  <a:lnTo>
                    <a:pt x="56" y="29"/>
                  </a:lnTo>
                  <a:lnTo>
                    <a:pt x="30" y="4"/>
                  </a:lnTo>
                  <a:lnTo>
                    <a:pt x="17" y="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52" name="Freeform 49">
              <a:extLst>
                <a:ext uri="{FF2B5EF4-FFF2-40B4-BE49-F238E27FC236}">
                  <a16:creationId xmlns:a16="http://schemas.microsoft.com/office/drawing/2014/main" id="{83EF9189-F7F5-094D-938A-71F5C12A4E99}"/>
                </a:ext>
              </a:extLst>
            </p:cNvPr>
            <p:cNvSpPr>
              <a:spLocks noChangeAspect="1"/>
            </p:cNvSpPr>
            <p:nvPr/>
          </p:nvSpPr>
          <p:spPr bwMode="gray">
            <a:xfrm>
              <a:off x="7433063" y="2981328"/>
              <a:ext cx="141726" cy="186229"/>
            </a:xfrm>
            <a:custGeom>
              <a:avLst/>
              <a:gdLst>
                <a:gd name="T0" fmla="*/ 0 w 292"/>
                <a:gd name="T1" fmla="*/ 187 h 317"/>
                <a:gd name="T2" fmla="*/ 13 w 292"/>
                <a:gd name="T3" fmla="*/ 207 h 317"/>
                <a:gd name="T4" fmla="*/ 23 w 292"/>
                <a:gd name="T5" fmla="*/ 203 h 317"/>
                <a:gd name="T6" fmla="*/ 52 w 292"/>
                <a:gd name="T7" fmla="*/ 211 h 317"/>
                <a:gd name="T8" fmla="*/ 40 w 292"/>
                <a:gd name="T9" fmla="*/ 253 h 317"/>
                <a:gd name="T10" fmla="*/ 42 w 292"/>
                <a:gd name="T11" fmla="*/ 260 h 317"/>
                <a:gd name="T12" fmla="*/ 49 w 292"/>
                <a:gd name="T13" fmla="*/ 260 h 317"/>
                <a:gd name="T14" fmla="*/ 30 w 292"/>
                <a:gd name="T15" fmla="*/ 271 h 317"/>
                <a:gd name="T16" fmla="*/ 18 w 292"/>
                <a:gd name="T17" fmla="*/ 297 h 317"/>
                <a:gd name="T18" fmla="*/ 40 w 292"/>
                <a:gd name="T19" fmla="*/ 295 h 317"/>
                <a:gd name="T20" fmla="*/ 32 w 292"/>
                <a:gd name="T21" fmla="*/ 303 h 317"/>
                <a:gd name="T22" fmla="*/ 43 w 292"/>
                <a:gd name="T23" fmla="*/ 317 h 317"/>
                <a:gd name="T24" fmla="*/ 59 w 292"/>
                <a:gd name="T25" fmla="*/ 312 h 317"/>
                <a:gd name="T26" fmla="*/ 59 w 292"/>
                <a:gd name="T27" fmla="*/ 300 h 317"/>
                <a:gd name="T28" fmla="*/ 81 w 292"/>
                <a:gd name="T29" fmla="*/ 314 h 317"/>
                <a:gd name="T30" fmla="*/ 94 w 292"/>
                <a:gd name="T31" fmla="*/ 307 h 317"/>
                <a:gd name="T32" fmla="*/ 102 w 292"/>
                <a:gd name="T33" fmla="*/ 314 h 317"/>
                <a:gd name="T34" fmla="*/ 130 w 292"/>
                <a:gd name="T35" fmla="*/ 286 h 317"/>
                <a:gd name="T36" fmla="*/ 159 w 292"/>
                <a:gd name="T37" fmla="*/ 286 h 317"/>
                <a:gd name="T38" fmla="*/ 185 w 292"/>
                <a:gd name="T39" fmla="*/ 268 h 317"/>
                <a:gd name="T40" fmla="*/ 154 w 292"/>
                <a:gd name="T41" fmla="*/ 234 h 317"/>
                <a:gd name="T42" fmla="*/ 143 w 292"/>
                <a:gd name="T43" fmla="*/ 229 h 317"/>
                <a:gd name="T44" fmla="*/ 145 w 292"/>
                <a:gd name="T45" fmla="*/ 194 h 317"/>
                <a:gd name="T46" fmla="*/ 167 w 292"/>
                <a:gd name="T47" fmla="*/ 178 h 317"/>
                <a:gd name="T48" fmla="*/ 185 w 292"/>
                <a:gd name="T49" fmla="*/ 177 h 317"/>
                <a:gd name="T50" fmla="*/ 216 w 292"/>
                <a:gd name="T51" fmla="*/ 153 h 317"/>
                <a:gd name="T52" fmla="*/ 247 w 292"/>
                <a:gd name="T53" fmla="*/ 126 h 317"/>
                <a:gd name="T54" fmla="*/ 247 w 292"/>
                <a:gd name="T55" fmla="*/ 85 h 317"/>
                <a:gd name="T56" fmla="*/ 264 w 292"/>
                <a:gd name="T57" fmla="*/ 63 h 317"/>
                <a:gd name="T58" fmla="*/ 281 w 292"/>
                <a:gd name="T59" fmla="*/ 42 h 317"/>
                <a:gd name="T60" fmla="*/ 292 w 292"/>
                <a:gd name="T61" fmla="*/ 42 h 317"/>
                <a:gd name="T62" fmla="*/ 291 w 292"/>
                <a:gd name="T63" fmla="*/ 34 h 317"/>
                <a:gd name="T64" fmla="*/ 287 w 292"/>
                <a:gd name="T65" fmla="*/ 25 h 317"/>
                <a:gd name="T66" fmla="*/ 281 w 292"/>
                <a:gd name="T67" fmla="*/ 23 h 317"/>
                <a:gd name="T68" fmla="*/ 264 w 292"/>
                <a:gd name="T69" fmla="*/ 0 h 317"/>
                <a:gd name="T70" fmla="*/ 255 w 292"/>
                <a:gd name="T71" fmla="*/ 8 h 317"/>
                <a:gd name="T72" fmla="*/ 242 w 292"/>
                <a:gd name="T73" fmla="*/ 40 h 317"/>
                <a:gd name="T74" fmla="*/ 215 w 292"/>
                <a:gd name="T75" fmla="*/ 59 h 317"/>
                <a:gd name="T76" fmla="*/ 177 w 292"/>
                <a:gd name="T77" fmla="*/ 63 h 317"/>
                <a:gd name="T78" fmla="*/ 174 w 292"/>
                <a:gd name="T79" fmla="*/ 70 h 317"/>
                <a:gd name="T80" fmla="*/ 179 w 292"/>
                <a:gd name="T81" fmla="*/ 97 h 317"/>
                <a:gd name="T82" fmla="*/ 143 w 292"/>
                <a:gd name="T83" fmla="*/ 101 h 317"/>
                <a:gd name="T84" fmla="*/ 117 w 292"/>
                <a:gd name="T85" fmla="*/ 88 h 317"/>
                <a:gd name="T86" fmla="*/ 71 w 292"/>
                <a:gd name="T87" fmla="*/ 133 h 317"/>
                <a:gd name="T88" fmla="*/ 23 w 292"/>
                <a:gd name="T89" fmla="*/ 156 h 317"/>
                <a:gd name="T90" fmla="*/ 0 w 292"/>
                <a:gd name="T91" fmla="*/ 187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2" h="317">
                  <a:moveTo>
                    <a:pt x="0" y="187"/>
                  </a:moveTo>
                  <a:lnTo>
                    <a:pt x="13" y="207"/>
                  </a:lnTo>
                  <a:lnTo>
                    <a:pt x="23" y="203"/>
                  </a:lnTo>
                  <a:lnTo>
                    <a:pt x="52" y="211"/>
                  </a:lnTo>
                  <a:lnTo>
                    <a:pt x="40" y="253"/>
                  </a:lnTo>
                  <a:lnTo>
                    <a:pt x="42" y="260"/>
                  </a:lnTo>
                  <a:lnTo>
                    <a:pt x="49" y="260"/>
                  </a:lnTo>
                  <a:lnTo>
                    <a:pt x="30" y="271"/>
                  </a:lnTo>
                  <a:lnTo>
                    <a:pt x="18" y="297"/>
                  </a:lnTo>
                  <a:lnTo>
                    <a:pt x="40" y="295"/>
                  </a:lnTo>
                  <a:lnTo>
                    <a:pt x="32" y="303"/>
                  </a:lnTo>
                  <a:lnTo>
                    <a:pt x="43" y="317"/>
                  </a:lnTo>
                  <a:lnTo>
                    <a:pt x="59" y="312"/>
                  </a:lnTo>
                  <a:lnTo>
                    <a:pt x="59" y="300"/>
                  </a:lnTo>
                  <a:lnTo>
                    <a:pt x="81" y="314"/>
                  </a:lnTo>
                  <a:lnTo>
                    <a:pt x="94" y="307"/>
                  </a:lnTo>
                  <a:lnTo>
                    <a:pt x="102" y="314"/>
                  </a:lnTo>
                  <a:lnTo>
                    <a:pt x="130" y="286"/>
                  </a:lnTo>
                  <a:lnTo>
                    <a:pt x="159" y="286"/>
                  </a:lnTo>
                  <a:lnTo>
                    <a:pt x="185" y="268"/>
                  </a:lnTo>
                  <a:lnTo>
                    <a:pt x="154" y="234"/>
                  </a:lnTo>
                  <a:lnTo>
                    <a:pt x="143" y="229"/>
                  </a:lnTo>
                  <a:lnTo>
                    <a:pt x="145" y="194"/>
                  </a:lnTo>
                  <a:lnTo>
                    <a:pt x="167" y="178"/>
                  </a:lnTo>
                  <a:lnTo>
                    <a:pt x="185" y="177"/>
                  </a:lnTo>
                  <a:lnTo>
                    <a:pt x="216" y="153"/>
                  </a:lnTo>
                  <a:lnTo>
                    <a:pt x="247" y="126"/>
                  </a:lnTo>
                  <a:lnTo>
                    <a:pt x="247" y="85"/>
                  </a:lnTo>
                  <a:lnTo>
                    <a:pt x="264" y="63"/>
                  </a:lnTo>
                  <a:lnTo>
                    <a:pt x="281" y="42"/>
                  </a:lnTo>
                  <a:lnTo>
                    <a:pt x="292" y="42"/>
                  </a:lnTo>
                  <a:lnTo>
                    <a:pt x="291" y="34"/>
                  </a:lnTo>
                  <a:lnTo>
                    <a:pt x="287" y="25"/>
                  </a:lnTo>
                  <a:lnTo>
                    <a:pt x="281" y="23"/>
                  </a:lnTo>
                  <a:lnTo>
                    <a:pt x="264" y="0"/>
                  </a:lnTo>
                  <a:lnTo>
                    <a:pt x="255" y="8"/>
                  </a:lnTo>
                  <a:lnTo>
                    <a:pt x="242" y="40"/>
                  </a:lnTo>
                  <a:lnTo>
                    <a:pt x="215" y="59"/>
                  </a:lnTo>
                  <a:lnTo>
                    <a:pt x="177" y="63"/>
                  </a:lnTo>
                  <a:lnTo>
                    <a:pt x="174" y="70"/>
                  </a:lnTo>
                  <a:lnTo>
                    <a:pt x="179" y="97"/>
                  </a:lnTo>
                  <a:lnTo>
                    <a:pt x="143" y="101"/>
                  </a:lnTo>
                  <a:lnTo>
                    <a:pt x="117" y="88"/>
                  </a:lnTo>
                  <a:lnTo>
                    <a:pt x="71" y="133"/>
                  </a:lnTo>
                  <a:lnTo>
                    <a:pt x="23" y="156"/>
                  </a:lnTo>
                  <a:lnTo>
                    <a:pt x="0" y="187"/>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53" name="Freeform 50">
              <a:extLst>
                <a:ext uri="{FF2B5EF4-FFF2-40B4-BE49-F238E27FC236}">
                  <a16:creationId xmlns:a16="http://schemas.microsoft.com/office/drawing/2014/main" id="{859C30C1-D3FD-8A43-B111-C76314B8479E}"/>
                </a:ext>
              </a:extLst>
            </p:cNvPr>
            <p:cNvSpPr>
              <a:spLocks noChangeAspect="1" noEditPoints="1"/>
            </p:cNvSpPr>
            <p:nvPr/>
          </p:nvSpPr>
          <p:spPr bwMode="gray">
            <a:xfrm>
              <a:off x="6936225" y="3624482"/>
              <a:ext cx="159244" cy="408933"/>
            </a:xfrm>
            <a:custGeom>
              <a:avLst/>
              <a:gdLst>
                <a:gd name="T0" fmla="*/ 236 w 328"/>
                <a:gd name="T1" fmla="*/ 94 h 698"/>
                <a:gd name="T2" fmla="*/ 201 w 328"/>
                <a:gd name="T3" fmla="*/ 127 h 698"/>
                <a:gd name="T4" fmla="*/ 173 w 328"/>
                <a:gd name="T5" fmla="*/ 162 h 698"/>
                <a:gd name="T6" fmla="*/ 160 w 328"/>
                <a:gd name="T7" fmla="*/ 226 h 698"/>
                <a:gd name="T8" fmla="*/ 193 w 328"/>
                <a:gd name="T9" fmla="*/ 271 h 698"/>
                <a:gd name="T10" fmla="*/ 252 w 328"/>
                <a:gd name="T11" fmla="*/ 333 h 698"/>
                <a:gd name="T12" fmla="*/ 272 w 328"/>
                <a:gd name="T13" fmla="*/ 347 h 698"/>
                <a:gd name="T14" fmla="*/ 284 w 328"/>
                <a:gd name="T15" fmla="*/ 362 h 698"/>
                <a:gd name="T16" fmla="*/ 317 w 328"/>
                <a:gd name="T17" fmla="*/ 424 h 698"/>
                <a:gd name="T18" fmla="*/ 328 w 328"/>
                <a:gd name="T19" fmla="*/ 508 h 698"/>
                <a:gd name="T20" fmla="*/ 318 w 328"/>
                <a:gd name="T21" fmla="*/ 520 h 698"/>
                <a:gd name="T22" fmla="*/ 311 w 328"/>
                <a:gd name="T23" fmla="*/ 571 h 698"/>
                <a:gd name="T24" fmla="*/ 266 w 328"/>
                <a:gd name="T25" fmla="*/ 597 h 698"/>
                <a:gd name="T26" fmla="*/ 210 w 328"/>
                <a:gd name="T27" fmla="*/ 613 h 698"/>
                <a:gd name="T28" fmla="*/ 193 w 328"/>
                <a:gd name="T29" fmla="*/ 636 h 698"/>
                <a:gd name="T30" fmla="*/ 194 w 328"/>
                <a:gd name="T31" fmla="*/ 651 h 698"/>
                <a:gd name="T32" fmla="*/ 179 w 328"/>
                <a:gd name="T33" fmla="*/ 653 h 698"/>
                <a:gd name="T34" fmla="*/ 159 w 328"/>
                <a:gd name="T35" fmla="*/ 668 h 698"/>
                <a:gd name="T36" fmla="*/ 123 w 328"/>
                <a:gd name="T37" fmla="*/ 698 h 698"/>
                <a:gd name="T38" fmla="*/ 125 w 328"/>
                <a:gd name="T39" fmla="*/ 689 h 698"/>
                <a:gd name="T40" fmla="*/ 120 w 328"/>
                <a:gd name="T41" fmla="*/ 647 h 698"/>
                <a:gd name="T42" fmla="*/ 109 w 328"/>
                <a:gd name="T43" fmla="*/ 619 h 698"/>
                <a:gd name="T44" fmla="*/ 123 w 328"/>
                <a:gd name="T45" fmla="*/ 604 h 698"/>
                <a:gd name="T46" fmla="*/ 140 w 328"/>
                <a:gd name="T47" fmla="*/ 594 h 698"/>
                <a:gd name="T48" fmla="*/ 170 w 328"/>
                <a:gd name="T49" fmla="*/ 554 h 698"/>
                <a:gd name="T50" fmla="*/ 194 w 328"/>
                <a:gd name="T51" fmla="*/ 542 h 698"/>
                <a:gd name="T52" fmla="*/ 232 w 328"/>
                <a:gd name="T53" fmla="*/ 525 h 698"/>
                <a:gd name="T54" fmla="*/ 244 w 328"/>
                <a:gd name="T55" fmla="*/ 520 h 698"/>
                <a:gd name="T56" fmla="*/ 238 w 328"/>
                <a:gd name="T57" fmla="*/ 441 h 698"/>
                <a:gd name="T58" fmla="*/ 240 w 328"/>
                <a:gd name="T59" fmla="*/ 382 h 698"/>
                <a:gd name="T60" fmla="*/ 207 w 328"/>
                <a:gd name="T61" fmla="*/ 323 h 698"/>
                <a:gd name="T62" fmla="*/ 194 w 328"/>
                <a:gd name="T63" fmla="*/ 311 h 698"/>
                <a:gd name="T64" fmla="*/ 168 w 328"/>
                <a:gd name="T65" fmla="*/ 276 h 698"/>
                <a:gd name="T66" fmla="*/ 130 w 328"/>
                <a:gd name="T67" fmla="*/ 223 h 698"/>
                <a:gd name="T68" fmla="*/ 84 w 328"/>
                <a:gd name="T69" fmla="*/ 172 h 698"/>
                <a:gd name="T70" fmla="*/ 116 w 328"/>
                <a:gd name="T71" fmla="*/ 161 h 698"/>
                <a:gd name="T72" fmla="*/ 97 w 328"/>
                <a:gd name="T73" fmla="*/ 122 h 698"/>
                <a:gd name="T74" fmla="*/ 43 w 328"/>
                <a:gd name="T75" fmla="*/ 113 h 698"/>
                <a:gd name="T76" fmla="*/ 32 w 328"/>
                <a:gd name="T77" fmla="*/ 82 h 698"/>
                <a:gd name="T78" fmla="*/ 0 w 328"/>
                <a:gd name="T79" fmla="*/ 39 h 698"/>
                <a:gd name="T80" fmla="*/ 37 w 328"/>
                <a:gd name="T81" fmla="*/ 34 h 698"/>
                <a:gd name="T82" fmla="*/ 59 w 328"/>
                <a:gd name="T83" fmla="*/ 28 h 698"/>
                <a:gd name="T84" fmla="*/ 74 w 328"/>
                <a:gd name="T85" fmla="*/ 31 h 698"/>
                <a:gd name="T86" fmla="*/ 101 w 328"/>
                <a:gd name="T87" fmla="*/ 22 h 698"/>
                <a:gd name="T88" fmla="*/ 173 w 328"/>
                <a:gd name="T89" fmla="*/ 17 h 698"/>
                <a:gd name="T90" fmla="*/ 202 w 328"/>
                <a:gd name="T91" fmla="*/ 28 h 698"/>
                <a:gd name="T92" fmla="*/ 210 w 328"/>
                <a:gd name="T93" fmla="*/ 64 h 698"/>
                <a:gd name="T94" fmla="*/ 262 w 328"/>
                <a:gd name="T95" fmla="*/ 85 h 698"/>
                <a:gd name="T96" fmla="*/ 84 w 328"/>
                <a:gd name="T97" fmla="*/ 626 h 698"/>
                <a:gd name="T98" fmla="*/ 77 w 328"/>
                <a:gd name="T99" fmla="*/ 616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8" h="698">
                  <a:moveTo>
                    <a:pt x="262" y="85"/>
                  </a:moveTo>
                  <a:lnTo>
                    <a:pt x="236" y="94"/>
                  </a:lnTo>
                  <a:lnTo>
                    <a:pt x="235" y="103"/>
                  </a:lnTo>
                  <a:lnTo>
                    <a:pt x="201" y="127"/>
                  </a:lnTo>
                  <a:lnTo>
                    <a:pt x="199" y="139"/>
                  </a:lnTo>
                  <a:lnTo>
                    <a:pt x="173" y="162"/>
                  </a:lnTo>
                  <a:lnTo>
                    <a:pt x="157" y="204"/>
                  </a:lnTo>
                  <a:lnTo>
                    <a:pt x="160" y="226"/>
                  </a:lnTo>
                  <a:lnTo>
                    <a:pt x="187" y="249"/>
                  </a:lnTo>
                  <a:lnTo>
                    <a:pt x="193" y="271"/>
                  </a:lnTo>
                  <a:lnTo>
                    <a:pt x="221" y="302"/>
                  </a:lnTo>
                  <a:lnTo>
                    <a:pt x="252" y="333"/>
                  </a:lnTo>
                  <a:lnTo>
                    <a:pt x="266" y="334"/>
                  </a:lnTo>
                  <a:lnTo>
                    <a:pt x="272" y="347"/>
                  </a:lnTo>
                  <a:lnTo>
                    <a:pt x="277" y="343"/>
                  </a:lnTo>
                  <a:lnTo>
                    <a:pt x="284" y="362"/>
                  </a:lnTo>
                  <a:lnTo>
                    <a:pt x="303" y="382"/>
                  </a:lnTo>
                  <a:lnTo>
                    <a:pt x="317" y="424"/>
                  </a:lnTo>
                  <a:lnTo>
                    <a:pt x="326" y="500"/>
                  </a:lnTo>
                  <a:lnTo>
                    <a:pt x="328" y="508"/>
                  </a:lnTo>
                  <a:lnTo>
                    <a:pt x="321" y="518"/>
                  </a:lnTo>
                  <a:lnTo>
                    <a:pt x="318" y="520"/>
                  </a:lnTo>
                  <a:lnTo>
                    <a:pt x="320" y="554"/>
                  </a:lnTo>
                  <a:lnTo>
                    <a:pt x="311" y="571"/>
                  </a:lnTo>
                  <a:lnTo>
                    <a:pt x="272" y="588"/>
                  </a:lnTo>
                  <a:lnTo>
                    <a:pt x="266" y="597"/>
                  </a:lnTo>
                  <a:lnTo>
                    <a:pt x="233" y="613"/>
                  </a:lnTo>
                  <a:lnTo>
                    <a:pt x="210" y="613"/>
                  </a:lnTo>
                  <a:lnTo>
                    <a:pt x="204" y="628"/>
                  </a:lnTo>
                  <a:lnTo>
                    <a:pt x="193" y="636"/>
                  </a:lnTo>
                  <a:lnTo>
                    <a:pt x="198" y="645"/>
                  </a:lnTo>
                  <a:lnTo>
                    <a:pt x="194" y="651"/>
                  </a:lnTo>
                  <a:lnTo>
                    <a:pt x="174" y="634"/>
                  </a:lnTo>
                  <a:lnTo>
                    <a:pt x="179" y="653"/>
                  </a:lnTo>
                  <a:lnTo>
                    <a:pt x="179" y="658"/>
                  </a:lnTo>
                  <a:lnTo>
                    <a:pt x="159" y="668"/>
                  </a:lnTo>
                  <a:lnTo>
                    <a:pt x="130" y="698"/>
                  </a:lnTo>
                  <a:lnTo>
                    <a:pt x="123" y="698"/>
                  </a:lnTo>
                  <a:lnTo>
                    <a:pt x="122" y="692"/>
                  </a:lnTo>
                  <a:lnTo>
                    <a:pt x="125" y="689"/>
                  </a:lnTo>
                  <a:lnTo>
                    <a:pt x="120" y="660"/>
                  </a:lnTo>
                  <a:lnTo>
                    <a:pt x="120" y="647"/>
                  </a:lnTo>
                  <a:lnTo>
                    <a:pt x="130" y="630"/>
                  </a:lnTo>
                  <a:lnTo>
                    <a:pt x="109" y="619"/>
                  </a:lnTo>
                  <a:lnTo>
                    <a:pt x="103" y="609"/>
                  </a:lnTo>
                  <a:lnTo>
                    <a:pt x="123" y="604"/>
                  </a:lnTo>
                  <a:lnTo>
                    <a:pt x="128" y="593"/>
                  </a:lnTo>
                  <a:lnTo>
                    <a:pt x="140" y="594"/>
                  </a:lnTo>
                  <a:lnTo>
                    <a:pt x="168" y="580"/>
                  </a:lnTo>
                  <a:lnTo>
                    <a:pt x="170" y="554"/>
                  </a:lnTo>
                  <a:lnTo>
                    <a:pt x="193" y="550"/>
                  </a:lnTo>
                  <a:lnTo>
                    <a:pt x="194" y="542"/>
                  </a:lnTo>
                  <a:lnTo>
                    <a:pt x="216" y="535"/>
                  </a:lnTo>
                  <a:lnTo>
                    <a:pt x="232" y="525"/>
                  </a:lnTo>
                  <a:lnTo>
                    <a:pt x="238" y="526"/>
                  </a:lnTo>
                  <a:lnTo>
                    <a:pt x="244" y="520"/>
                  </a:lnTo>
                  <a:lnTo>
                    <a:pt x="247" y="467"/>
                  </a:lnTo>
                  <a:lnTo>
                    <a:pt x="238" y="441"/>
                  </a:lnTo>
                  <a:lnTo>
                    <a:pt x="240" y="411"/>
                  </a:lnTo>
                  <a:lnTo>
                    <a:pt x="240" y="382"/>
                  </a:lnTo>
                  <a:lnTo>
                    <a:pt x="225" y="339"/>
                  </a:lnTo>
                  <a:lnTo>
                    <a:pt x="207" y="323"/>
                  </a:lnTo>
                  <a:lnTo>
                    <a:pt x="199" y="323"/>
                  </a:lnTo>
                  <a:lnTo>
                    <a:pt x="194" y="311"/>
                  </a:lnTo>
                  <a:lnTo>
                    <a:pt x="187" y="288"/>
                  </a:lnTo>
                  <a:lnTo>
                    <a:pt x="168" y="276"/>
                  </a:lnTo>
                  <a:lnTo>
                    <a:pt x="133" y="235"/>
                  </a:lnTo>
                  <a:lnTo>
                    <a:pt x="130" y="223"/>
                  </a:lnTo>
                  <a:lnTo>
                    <a:pt x="79" y="192"/>
                  </a:lnTo>
                  <a:lnTo>
                    <a:pt x="84" y="172"/>
                  </a:lnTo>
                  <a:lnTo>
                    <a:pt x="105" y="172"/>
                  </a:lnTo>
                  <a:lnTo>
                    <a:pt x="116" y="161"/>
                  </a:lnTo>
                  <a:lnTo>
                    <a:pt x="118" y="152"/>
                  </a:lnTo>
                  <a:lnTo>
                    <a:pt x="97" y="122"/>
                  </a:lnTo>
                  <a:lnTo>
                    <a:pt x="89" y="111"/>
                  </a:lnTo>
                  <a:lnTo>
                    <a:pt x="43" y="113"/>
                  </a:lnTo>
                  <a:lnTo>
                    <a:pt x="30" y="99"/>
                  </a:lnTo>
                  <a:lnTo>
                    <a:pt x="32" y="82"/>
                  </a:lnTo>
                  <a:lnTo>
                    <a:pt x="26" y="74"/>
                  </a:lnTo>
                  <a:lnTo>
                    <a:pt x="0" y="39"/>
                  </a:lnTo>
                  <a:lnTo>
                    <a:pt x="12" y="23"/>
                  </a:lnTo>
                  <a:lnTo>
                    <a:pt x="37" y="34"/>
                  </a:lnTo>
                  <a:lnTo>
                    <a:pt x="54" y="25"/>
                  </a:lnTo>
                  <a:lnTo>
                    <a:pt x="59" y="28"/>
                  </a:lnTo>
                  <a:lnTo>
                    <a:pt x="71" y="25"/>
                  </a:lnTo>
                  <a:lnTo>
                    <a:pt x="74" y="31"/>
                  </a:lnTo>
                  <a:lnTo>
                    <a:pt x="89" y="20"/>
                  </a:lnTo>
                  <a:lnTo>
                    <a:pt x="101" y="22"/>
                  </a:lnTo>
                  <a:lnTo>
                    <a:pt x="137" y="0"/>
                  </a:lnTo>
                  <a:lnTo>
                    <a:pt x="173" y="17"/>
                  </a:lnTo>
                  <a:lnTo>
                    <a:pt x="199" y="20"/>
                  </a:lnTo>
                  <a:lnTo>
                    <a:pt x="202" y="28"/>
                  </a:lnTo>
                  <a:lnTo>
                    <a:pt x="199" y="40"/>
                  </a:lnTo>
                  <a:lnTo>
                    <a:pt x="210" y="64"/>
                  </a:lnTo>
                  <a:lnTo>
                    <a:pt x="233" y="79"/>
                  </a:lnTo>
                  <a:lnTo>
                    <a:pt x="262" y="85"/>
                  </a:lnTo>
                  <a:close/>
                  <a:moveTo>
                    <a:pt x="77" y="616"/>
                  </a:moveTo>
                  <a:lnTo>
                    <a:pt x="84" y="626"/>
                  </a:lnTo>
                  <a:lnTo>
                    <a:pt x="80" y="611"/>
                  </a:lnTo>
                  <a:lnTo>
                    <a:pt x="77" y="616"/>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54" name="Freeform 51">
              <a:extLst>
                <a:ext uri="{FF2B5EF4-FFF2-40B4-BE49-F238E27FC236}">
                  <a16:creationId xmlns:a16="http://schemas.microsoft.com/office/drawing/2014/main" id="{D86CD262-AE17-EC4E-824D-F2858EEB5D9C}"/>
                </a:ext>
              </a:extLst>
            </p:cNvPr>
            <p:cNvSpPr>
              <a:spLocks noChangeAspect="1" noEditPoints="1"/>
            </p:cNvSpPr>
            <p:nvPr/>
          </p:nvSpPr>
          <p:spPr bwMode="gray">
            <a:xfrm>
              <a:off x="6832718" y="3695520"/>
              <a:ext cx="175166" cy="418532"/>
            </a:xfrm>
            <a:custGeom>
              <a:avLst/>
              <a:gdLst>
                <a:gd name="T0" fmla="*/ 232 w 362"/>
                <a:gd name="T1" fmla="*/ 413 h 709"/>
                <a:gd name="T2" fmla="*/ 196 w 362"/>
                <a:gd name="T3" fmla="*/ 386 h 709"/>
                <a:gd name="T4" fmla="*/ 151 w 362"/>
                <a:gd name="T5" fmla="*/ 347 h 709"/>
                <a:gd name="T6" fmla="*/ 108 w 362"/>
                <a:gd name="T7" fmla="*/ 348 h 709"/>
                <a:gd name="T8" fmla="*/ 106 w 362"/>
                <a:gd name="T9" fmla="*/ 409 h 709"/>
                <a:gd name="T10" fmla="*/ 86 w 362"/>
                <a:gd name="T11" fmla="*/ 463 h 709"/>
                <a:gd name="T12" fmla="*/ 76 w 362"/>
                <a:gd name="T13" fmla="*/ 545 h 709"/>
                <a:gd name="T14" fmla="*/ 113 w 362"/>
                <a:gd name="T15" fmla="*/ 579 h 709"/>
                <a:gd name="T16" fmla="*/ 137 w 362"/>
                <a:gd name="T17" fmla="*/ 633 h 709"/>
                <a:gd name="T18" fmla="*/ 181 w 362"/>
                <a:gd name="T19" fmla="*/ 653 h 709"/>
                <a:gd name="T20" fmla="*/ 205 w 362"/>
                <a:gd name="T21" fmla="*/ 697 h 709"/>
                <a:gd name="T22" fmla="*/ 165 w 362"/>
                <a:gd name="T23" fmla="*/ 709 h 709"/>
                <a:gd name="T24" fmla="*/ 156 w 362"/>
                <a:gd name="T25" fmla="*/ 673 h 709"/>
                <a:gd name="T26" fmla="*/ 122 w 362"/>
                <a:gd name="T27" fmla="*/ 673 h 709"/>
                <a:gd name="T28" fmla="*/ 51 w 362"/>
                <a:gd name="T29" fmla="*/ 590 h 709"/>
                <a:gd name="T30" fmla="*/ 32 w 362"/>
                <a:gd name="T31" fmla="*/ 557 h 709"/>
                <a:gd name="T32" fmla="*/ 60 w 362"/>
                <a:gd name="T33" fmla="*/ 469 h 709"/>
                <a:gd name="T34" fmla="*/ 93 w 362"/>
                <a:gd name="T35" fmla="*/ 421 h 709"/>
                <a:gd name="T36" fmla="*/ 64 w 362"/>
                <a:gd name="T37" fmla="*/ 325 h 709"/>
                <a:gd name="T38" fmla="*/ 27 w 362"/>
                <a:gd name="T39" fmla="*/ 282 h 709"/>
                <a:gd name="T40" fmla="*/ 42 w 362"/>
                <a:gd name="T41" fmla="*/ 254 h 709"/>
                <a:gd name="T42" fmla="*/ 54 w 362"/>
                <a:gd name="T43" fmla="*/ 220 h 709"/>
                <a:gd name="T44" fmla="*/ 42 w 362"/>
                <a:gd name="T45" fmla="*/ 211 h 709"/>
                <a:gd name="T46" fmla="*/ 15 w 362"/>
                <a:gd name="T47" fmla="*/ 152 h 709"/>
                <a:gd name="T48" fmla="*/ 6 w 362"/>
                <a:gd name="T49" fmla="*/ 108 h 709"/>
                <a:gd name="T50" fmla="*/ 20 w 362"/>
                <a:gd name="T51" fmla="*/ 56 h 709"/>
                <a:gd name="T52" fmla="*/ 86 w 362"/>
                <a:gd name="T53" fmla="*/ 27 h 709"/>
                <a:gd name="T54" fmla="*/ 120 w 362"/>
                <a:gd name="T55" fmla="*/ 0 h 709"/>
                <a:gd name="T56" fmla="*/ 125 w 362"/>
                <a:gd name="T57" fmla="*/ 10 h 709"/>
                <a:gd name="T58" fmla="*/ 136 w 362"/>
                <a:gd name="T59" fmla="*/ 44 h 709"/>
                <a:gd name="T60" fmla="*/ 162 w 362"/>
                <a:gd name="T61" fmla="*/ 54 h 709"/>
                <a:gd name="T62" fmla="*/ 151 w 362"/>
                <a:gd name="T63" fmla="*/ 137 h 709"/>
                <a:gd name="T64" fmla="*/ 196 w 362"/>
                <a:gd name="T65" fmla="*/ 121 h 709"/>
                <a:gd name="T66" fmla="*/ 215 w 362"/>
                <a:gd name="T67" fmla="*/ 130 h 709"/>
                <a:gd name="T68" fmla="*/ 246 w 362"/>
                <a:gd name="T69" fmla="*/ 129 h 709"/>
                <a:gd name="T70" fmla="*/ 271 w 362"/>
                <a:gd name="T71" fmla="*/ 113 h 709"/>
                <a:gd name="T72" fmla="*/ 317 w 362"/>
                <a:gd name="T73" fmla="*/ 152 h 709"/>
                <a:gd name="T74" fmla="*/ 326 w 362"/>
                <a:gd name="T75" fmla="*/ 211 h 709"/>
                <a:gd name="T76" fmla="*/ 346 w 362"/>
                <a:gd name="T77" fmla="*/ 225 h 709"/>
                <a:gd name="T78" fmla="*/ 362 w 362"/>
                <a:gd name="T79" fmla="*/ 259 h 709"/>
                <a:gd name="T80" fmla="*/ 349 w 362"/>
                <a:gd name="T81" fmla="*/ 310 h 709"/>
                <a:gd name="T82" fmla="*/ 332 w 362"/>
                <a:gd name="T83" fmla="*/ 306 h 709"/>
                <a:gd name="T84" fmla="*/ 257 w 362"/>
                <a:gd name="T85" fmla="*/ 305 h 709"/>
                <a:gd name="T86" fmla="*/ 216 w 362"/>
                <a:gd name="T87" fmla="*/ 345 h 709"/>
                <a:gd name="T88" fmla="*/ 224 w 362"/>
                <a:gd name="T89" fmla="*/ 387 h 709"/>
                <a:gd name="T90" fmla="*/ 244 w 362"/>
                <a:gd name="T91" fmla="*/ 433 h 709"/>
                <a:gd name="T92" fmla="*/ 34 w 362"/>
                <a:gd name="T93" fmla="*/ 610 h 709"/>
                <a:gd name="T94" fmla="*/ 34 w 362"/>
                <a:gd name="T95" fmla="*/ 597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2" h="709">
                  <a:moveTo>
                    <a:pt x="244" y="433"/>
                  </a:moveTo>
                  <a:lnTo>
                    <a:pt x="232" y="413"/>
                  </a:lnTo>
                  <a:lnTo>
                    <a:pt x="216" y="406"/>
                  </a:lnTo>
                  <a:lnTo>
                    <a:pt x="196" y="386"/>
                  </a:lnTo>
                  <a:lnTo>
                    <a:pt x="154" y="387"/>
                  </a:lnTo>
                  <a:lnTo>
                    <a:pt x="151" y="347"/>
                  </a:lnTo>
                  <a:lnTo>
                    <a:pt x="120" y="345"/>
                  </a:lnTo>
                  <a:lnTo>
                    <a:pt x="108" y="348"/>
                  </a:lnTo>
                  <a:lnTo>
                    <a:pt x="111" y="367"/>
                  </a:lnTo>
                  <a:lnTo>
                    <a:pt x="106" y="409"/>
                  </a:lnTo>
                  <a:lnTo>
                    <a:pt x="93" y="433"/>
                  </a:lnTo>
                  <a:lnTo>
                    <a:pt x="86" y="463"/>
                  </a:lnTo>
                  <a:lnTo>
                    <a:pt x="71" y="497"/>
                  </a:lnTo>
                  <a:lnTo>
                    <a:pt x="76" y="545"/>
                  </a:lnTo>
                  <a:lnTo>
                    <a:pt x="103" y="545"/>
                  </a:lnTo>
                  <a:lnTo>
                    <a:pt x="113" y="579"/>
                  </a:lnTo>
                  <a:lnTo>
                    <a:pt x="127" y="596"/>
                  </a:lnTo>
                  <a:lnTo>
                    <a:pt x="137" y="633"/>
                  </a:lnTo>
                  <a:lnTo>
                    <a:pt x="153" y="650"/>
                  </a:lnTo>
                  <a:lnTo>
                    <a:pt x="181" y="653"/>
                  </a:lnTo>
                  <a:lnTo>
                    <a:pt x="210" y="686"/>
                  </a:lnTo>
                  <a:lnTo>
                    <a:pt x="205" y="697"/>
                  </a:lnTo>
                  <a:lnTo>
                    <a:pt x="187" y="695"/>
                  </a:lnTo>
                  <a:lnTo>
                    <a:pt x="165" y="709"/>
                  </a:lnTo>
                  <a:lnTo>
                    <a:pt x="165" y="686"/>
                  </a:lnTo>
                  <a:lnTo>
                    <a:pt x="156" y="673"/>
                  </a:lnTo>
                  <a:lnTo>
                    <a:pt x="119" y="661"/>
                  </a:lnTo>
                  <a:lnTo>
                    <a:pt x="122" y="673"/>
                  </a:lnTo>
                  <a:lnTo>
                    <a:pt x="71" y="611"/>
                  </a:lnTo>
                  <a:lnTo>
                    <a:pt x="51" y="590"/>
                  </a:lnTo>
                  <a:lnTo>
                    <a:pt x="34" y="593"/>
                  </a:lnTo>
                  <a:lnTo>
                    <a:pt x="32" y="557"/>
                  </a:lnTo>
                  <a:lnTo>
                    <a:pt x="49" y="500"/>
                  </a:lnTo>
                  <a:lnTo>
                    <a:pt x="60" y="469"/>
                  </a:lnTo>
                  <a:lnTo>
                    <a:pt x="76" y="452"/>
                  </a:lnTo>
                  <a:lnTo>
                    <a:pt x="93" y="421"/>
                  </a:lnTo>
                  <a:lnTo>
                    <a:pt x="69" y="364"/>
                  </a:lnTo>
                  <a:lnTo>
                    <a:pt x="64" y="325"/>
                  </a:lnTo>
                  <a:lnTo>
                    <a:pt x="32" y="296"/>
                  </a:lnTo>
                  <a:lnTo>
                    <a:pt x="27" y="282"/>
                  </a:lnTo>
                  <a:lnTo>
                    <a:pt x="29" y="271"/>
                  </a:lnTo>
                  <a:lnTo>
                    <a:pt x="42" y="254"/>
                  </a:lnTo>
                  <a:lnTo>
                    <a:pt x="44" y="237"/>
                  </a:lnTo>
                  <a:lnTo>
                    <a:pt x="54" y="220"/>
                  </a:lnTo>
                  <a:lnTo>
                    <a:pt x="51" y="212"/>
                  </a:lnTo>
                  <a:lnTo>
                    <a:pt x="42" y="211"/>
                  </a:lnTo>
                  <a:lnTo>
                    <a:pt x="40" y="174"/>
                  </a:lnTo>
                  <a:lnTo>
                    <a:pt x="15" y="152"/>
                  </a:lnTo>
                  <a:lnTo>
                    <a:pt x="0" y="113"/>
                  </a:lnTo>
                  <a:lnTo>
                    <a:pt x="6" y="108"/>
                  </a:lnTo>
                  <a:lnTo>
                    <a:pt x="6" y="90"/>
                  </a:lnTo>
                  <a:lnTo>
                    <a:pt x="20" y="56"/>
                  </a:lnTo>
                  <a:lnTo>
                    <a:pt x="55" y="50"/>
                  </a:lnTo>
                  <a:lnTo>
                    <a:pt x="86" y="27"/>
                  </a:lnTo>
                  <a:lnTo>
                    <a:pt x="105" y="20"/>
                  </a:lnTo>
                  <a:lnTo>
                    <a:pt x="120" y="0"/>
                  </a:lnTo>
                  <a:lnTo>
                    <a:pt x="120" y="10"/>
                  </a:lnTo>
                  <a:lnTo>
                    <a:pt x="125" y="10"/>
                  </a:lnTo>
                  <a:lnTo>
                    <a:pt x="134" y="20"/>
                  </a:lnTo>
                  <a:lnTo>
                    <a:pt x="136" y="44"/>
                  </a:lnTo>
                  <a:lnTo>
                    <a:pt x="136" y="48"/>
                  </a:lnTo>
                  <a:lnTo>
                    <a:pt x="162" y="54"/>
                  </a:lnTo>
                  <a:lnTo>
                    <a:pt x="161" y="95"/>
                  </a:lnTo>
                  <a:lnTo>
                    <a:pt x="151" y="137"/>
                  </a:lnTo>
                  <a:lnTo>
                    <a:pt x="154" y="152"/>
                  </a:lnTo>
                  <a:lnTo>
                    <a:pt x="196" y="121"/>
                  </a:lnTo>
                  <a:lnTo>
                    <a:pt x="210" y="121"/>
                  </a:lnTo>
                  <a:lnTo>
                    <a:pt x="215" y="130"/>
                  </a:lnTo>
                  <a:lnTo>
                    <a:pt x="229" y="135"/>
                  </a:lnTo>
                  <a:lnTo>
                    <a:pt x="246" y="129"/>
                  </a:lnTo>
                  <a:lnTo>
                    <a:pt x="252" y="115"/>
                  </a:lnTo>
                  <a:lnTo>
                    <a:pt x="271" y="113"/>
                  </a:lnTo>
                  <a:lnTo>
                    <a:pt x="281" y="113"/>
                  </a:lnTo>
                  <a:lnTo>
                    <a:pt x="317" y="152"/>
                  </a:lnTo>
                  <a:lnTo>
                    <a:pt x="323" y="171"/>
                  </a:lnTo>
                  <a:lnTo>
                    <a:pt x="326" y="211"/>
                  </a:lnTo>
                  <a:lnTo>
                    <a:pt x="340" y="225"/>
                  </a:lnTo>
                  <a:lnTo>
                    <a:pt x="346" y="225"/>
                  </a:lnTo>
                  <a:lnTo>
                    <a:pt x="362" y="245"/>
                  </a:lnTo>
                  <a:lnTo>
                    <a:pt x="362" y="259"/>
                  </a:lnTo>
                  <a:lnTo>
                    <a:pt x="359" y="297"/>
                  </a:lnTo>
                  <a:lnTo>
                    <a:pt x="349" y="310"/>
                  </a:lnTo>
                  <a:lnTo>
                    <a:pt x="340" y="313"/>
                  </a:lnTo>
                  <a:lnTo>
                    <a:pt x="332" y="306"/>
                  </a:lnTo>
                  <a:lnTo>
                    <a:pt x="295" y="308"/>
                  </a:lnTo>
                  <a:lnTo>
                    <a:pt x="257" y="305"/>
                  </a:lnTo>
                  <a:lnTo>
                    <a:pt x="227" y="331"/>
                  </a:lnTo>
                  <a:lnTo>
                    <a:pt x="216" y="345"/>
                  </a:lnTo>
                  <a:lnTo>
                    <a:pt x="215" y="361"/>
                  </a:lnTo>
                  <a:lnTo>
                    <a:pt x="224" y="387"/>
                  </a:lnTo>
                  <a:lnTo>
                    <a:pt x="241" y="407"/>
                  </a:lnTo>
                  <a:lnTo>
                    <a:pt x="244" y="433"/>
                  </a:lnTo>
                  <a:close/>
                  <a:moveTo>
                    <a:pt x="34" y="597"/>
                  </a:moveTo>
                  <a:lnTo>
                    <a:pt x="34" y="610"/>
                  </a:lnTo>
                  <a:lnTo>
                    <a:pt x="38" y="601"/>
                  </a:lnTo>
                  <a:lnTo>
                    <a:pt x="34" y="597"/>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55" name="Freeform 52">
              <a:extLst>
                <a:ext uri="{FF2B5EF4-FFF2-40B4-BE49-F238E27FC236}">
                  <a16:creationId xmlns:a16="http://schemas.microsoft.com/office/drawing/2014/main" id="{A11E3A49-C086-9F4A-B818-5F1038FEC69A}"/>
                </a:ext>
              </a:extLst>
            </p:cNvPr>
            <p:cNvSpPr>
              <a:spLocks noChangeAspect="1" noEditPoints="1"/>
            </p:cNvSpPr>
            <p:nvPr/>
          </p:nvSpPr>
          <p:spPr bwMode="gray">
            <a:xfrm>
              <a:off x="6711695" y="3470895"/>
              <a:ext cx="199054" cy="518366"/>
            </a:xfrm>
            <a:custGeom>
              <a:avLst/>
              <a:gdLst>
                <a:gd name="T0" fmla="*/ 289 w 411"/>
                <a:gd name="T1" fmla="*/ 877 h 882"/>
                <a:gd name="T2" fmla="*/ 289 w 411"/>
                <a:gd name="T3" fmla="*/ 802 h 882"/>
                <a:gd name="T4" fmla="*/ 298 w 411"/>
                <a:gd name="T5" fmla="*/ 797 h 882"/>
                <a:gd name="T6" fmla="*/ 281 w 411"/>
                <a:gd name="T7" fmla="*/ 717 h 882"/>
                <a:gd name="T8" fmla="*/ 258 w 411"/>
                <a:gd name="T9" fmla="*/ 659 h 882"/>
                <a:gd name="T10" fmla="*/ 235 w 411"/>
                <a:gd name="T11" fmla="*/ 579 h 882"/>
                <a:gd name="T12" fmla="*/ 215 w 411"/>
                <a:gd name="T13" fmla="*/ 566 h 882"/>
                <a:gd name="T14" fmla="*/ 204 w 411"/>
                <a:gd name="T15" fmla="*/ 576 h 882"/>
                <a:gd name="T16" fmla="*/ 144 w 411"/>
                <a:gd name="T17" fmla="*/ 620 h 882"/>
                <a:gd name="T18" fmla="*/ 123 w 411"/>
                <a:gd name="T19" fmla="*/ 622 h 882"/>
                <a:gd name="T20" fmla="*/ 103 w 411"/>
                <a:gd name="T21" fmla="*/ 610 h 882"/>
                <a:gd name="T22" fmla="*/ 93 w 411"/>
                <a:gd name="T23" fmla="*/ 608 h 882"/>
                <a:gd name="T24" fmla="*/ 98 w 411"/>
                <a:gd name="T25" fmla="*/ 498 h 882"/>
                <a:gd name="T26" fmla="*/ 74 w 411"/>
                <a:gd name="T27" fmla="*/ 470 h 882"/>
                <a:gd name="T28" fmla="*/ 61 w 411"/>
                <a:gd name="T29" fmla="*/ 455 h 882"/>
                <a:gd name="T30" fmla="*/ 72 w 411"/>
                <a:gd name="T31" fmla="*/ 452 h 882"/>
                <a:gd name="T32" fmla="*/ 66 w 411"/>
                <a:gd name="T33" fmla="*/ 430 h 882"/>
                <a:gd name="T34" fmla="*/ 32 w 411"/>
                <a:gd name="T35" fmla="*/ 405 h 882"/>
                <a:gd name="T36" fmla="*/ 0 w 411"/>
                <a:gd name="T37" fmla="*/ 373 h 882"/>
                <a:gd name="T38" fmla="*/ 7 w 411"/>
                <a:gd name="T39" fmla="*/ 348 h 882"/>
                <a:gd name="T40" fmla="*/ 15 w 411"/>
                <a:gd name="T41" fmla="*/ 324 h 882"/>
                <a:gd name="T42" fmla="*/ 34 w 411"/>
                <a:gd name="T43" fmla="*/ 285 h 882"/>
                <a:gd name="T44" fmla="*/ 49 w 411"/>
                <a:gd name="T45" fmla="*/ 272 h 882"/>
                <a:gd name="T46" fmla="*/ 55 w 411"/>
                <a:gd name="T47" fmla="*/ 226 h 882"/>
                <a:gd name="T48" fmla="*/ 89 w 411"/>
                <a:gd name="T49" fmla="*/ 223 h 882"/>
                <a:gd name="T50" fmla="*/ 111 w 411"/>
                <a:gd name="T51" fmla="*/ 158 h 882"/>
                <a:gd name="T52" fmla="*/ 134 w 411"/>
                <a:gd name="T53" fmla="*/ 107 h 882"/>
                <a:gd name="T54" fmla="*/ 164 w 411"/>
                <a:gd name="T55" fmla="*/ 79 h 882"/>
                <a:gd name="T56" fmla="*/ 204 w 411"/>
                <a:gd name="T57" fmla="*/ 53 h 882"/>
                <a:gd name="T58" fmla="*/ 222 w 411"/>
                <a:gd name="T59" fmla="*/ 29 h 882"/>
                <a:gd name="T60" fmla="*/ 237 w 411"/>
                <a:gd name="T61" fmla="*/ 8 h 882"/>
                <a:gd name="T62" fmla="*/ 261 w 411"/>
                <a:gd name="T63" fmla="*/ 6 h 882"/>
                <a:gd name="T64" fmla="*/ 279 w 411"/>
                <a:gd name="T65" fmla="*/ 40 h 882"/>
                <a:gd name="T66" fmla="*/ 300 w 411"/>
                <a:gd name="T67" fmla="*/ 84 h 882"/>
                <a:gd name="T68" fmla="*/ 287 w 411"/>
                <a:gd name="T69" fmla="*/ 138 h 882"/>
                <a:gd name="T70" fmla="*/ 253 w 411"/>
                <a:gd name="T71" fmla="*/ 195 h 882"/>
                <a:gd name="T72" fmla="*/ 247 w 411"/>
                <a:gd name="T73" fmla="*/ 229 h 882"/>
                <a:gd name="T74" fmla="*/ 284 w 411"/>
                <a:gd name="T75" fmla="*/ 214 h 882"/>
                <a:gd name="T76" fmla="*/ 309 w 411"/>
                <a:gd name="T77" fmla="*/ 255 h 882"/>
                <a:gd name="T78" fmla="*/ 325 w 411"/>
                <a:gd name="T79" fmla="*/ 309 h 882"/>
                <a:gd name="T80" fmla="*/ 355 w 411"/>
                <a:gd name="T81" fmla="*/ 326 h 882"/>
                <a:gd name="T82" fmla="*/ 388 w 411"/>
                <a:gd name="T83" fmla="*/ 337 h 882"/>
                <a:gd name="T84" fmla="*/ 410 w 411"/>
                <a:gd name="T85" fmla="*/ 329 h 882"/>
                <a:gd name="T86" fmla="*/ 406 w 411"/>
                <a:gd name="T87" fmla="*/ 345 h 882"/>
                <a:gd name="T88" fmla="*/ 386 w 411"/>
                <a:gd name="T89" fmla="*/ 371 h 882"/>
                <a:gd name="T90" fmla="*/ 369 w 411"/>
                <a:gd name="T91" fmla="*/ 382 h 882"/>
                <a:gd name="T92" fmla="*/ 335 w 411"/>
                <a:gd name="T93" fmla="*/ 409 h 882"/>
                <a:gd name="T94" fmla="*/ 269 w 411"/>
                <a:gd name="T95" fmla="*/ 438 h 882"/>
                <a:gd name="T96" fmla="*/ 255 w 411"/>
                <a:gd name="T97" fmla="*/ 490 h 882"/>
                <a:gd name="T98" fmla="*/ 264 w 411"/>
                <a:gd name="T99" fmla="*/ 534 h 882"/>
                <a:gd name="T100" fmla="*/ 291 w 411"/>
                <a:gd name="T101" fmla="*/ 593 h 882"/>
                <a:gd name="T102" fmla="*/ 303 w 411"/>
                <a:gd name="T103" fmla="*/ 602 h 882"/>
                <a:gd name="T104" fmla="*/ 291 w 411"/>
                <a:gd name="T105" fmla="*/ 636 h 882"/>
                <a:gd name="T106" fmla="*/ 276 w 411"/>
                <a:gd name="T107" fmla="*/ 664 h 882"/>
                <a:gd name="T108" fmla="*/ 313 w 411"/>
                <a:gd name="T109" fmla="*/ 707 h 882"/>
                <a:gd name="T110" fmla="*/ 342 w 411"/>
                <a:gd name="T111" fmla="*/ 803 h 882"/>
                <a:gd name="T112" fmla="*/ 309 w 411"/>
                <a:gd name="T113" fmla="*/ 851 h 882"/>
                <a:gd name="T114" fmla="*/ 283 w 411"/>
                <a:gd name="T115" fmla="*/ 768 h 882"/>
                <a:gd name="T116" fmla="*/ 286 w 411"/>
                <a:gd name="T117" fmla="*/ 778 h 882"/>
                <a:gd name="T118" fmla="*/ 289 w 411"/>
                <a:gd name="T119" fmla="*/ 806 h 882"/>
                <a:gd name="T120" fmla="*/ 291 w 411"/>
                <a:gd name="T121" fmla="*/ 819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1" h="882">
                  <a:moveTo>
                    <a:pt x="298" y="882"/>
                  </a:moveTo>
                  <a:lnTo>
                    <a:pt x="289" y="877"/>
                  </a:lnTo>
                  <a:lnTo>
                    <a:pt x="304" y="812"/>
                  </a:lnTo>
                  <a:lnTo>
                    <a:pt x="289" y="802"/>
                  </a:lnTo>
                  <a:lnTo>
                    <a:pt x="291" y="795"/>
                  </a:lnTo>
                  <a:lnTo>
                    <a:pt x="298" y="797"/>
                  </a:lnTo>
                  <a:lnTo>
                    <a:pt x="295" y="754"/>
                  </a:lnTo>
                  <a:lnTo>
                    <a:pt x="281" y="717"/>
                  </a:lnTo>
                  <a:lnTo>
                    <a:pt x="276" y="722"/>
                  </a:lnTo>
                  <a:lnTo>
                    <a:pt x="258" y="659"/>
                  </a:lnTo>
                  <a:lnTo>
                    <a:pt x="252" y="585"/>
                  </a:lnTo>
                  <a:lnTo>
                    <a:pt x="235" y="579"/>
                  </a:lnTo>
                  <a:lnTo>
                    <a:pt x="220" y="565"/>
                  </a:lnTo>
                  <a:lnTo>
                    <a:pt x="215" y="566"/>
                  </a:lnTo>
                  <a:lnTo>
                    <a:pt x="207" y="540"/>
                  </a:lnTo>
                  <a:lnTo>
                    <a:pt x="204" y="576"/>
                  </a:lnTo>
                  <a:lnTo>
                    <a:pt x="178" y="590"/>
                  </a:lnTo>
                  <a:lnTo>
                    <a:pt x="144" y="620"/>
                  </a:lnTo>
                  <a:lnTo>
                    <a:pt x="128" y="614"/>
                  </a:lnTo>
                  <a:lnTo>
                    <a:pt x="123" y="622"/>
                  </a:lnTo>
                  <a:lnTo>
                    <a:pt x="106" y="614"/>
                  </a:lnTo>
                  <a:lnTo>
                    <a:pt x="103" y="610"/>
                  </a:lnTo>
                  <a:lnTo>
                    <a:pt x="106" y="603"/>
                  </a:lnTo>
                  <a:lnTo>
                    <a:pt x="93" y="608"/>
                  </a:lnTo>
                  <a:lnTo>
                    <a:pt x="106" y="553"/>
                  </a:lnTo>
                  <a:lnTo>
                    <a:pt x="98" y="498"/>
                  </a:lnTo>
                  <a:lnTo>
                    <a:pt x="77" y="460"/>
                  </a:lnTo>
                  <a:lnTo>
                    <a:pt x="74" y="470"/>
                  </a:lnTo>
                  <a:lnTo>
                    <a:pt x="66" y="464"/>
                  </a:lnTo>
                  <a:lnTo>
                    <a:pt x="61" y="455"/>
                  </a:lnTo>
                  <a:lnTo>
                    <a:pt x="63" y="446"/>
                  </a:lnTo>
                  <a:lnTo>
                    <a:pt x="72" y="452"/>
                  </a:lnTo>
                  <a:lnTo>
                    <a:pt x="64" y="441"/>
                  </a:lnTo>
                  <a:lnTo>
                    <a:pt x="66" y="430"/>
                  </a:lnTo>
                  <a:lnTo>
                    <a:pt x="32" y="413"/>
                  </a:lnTo>
                  <a:lnTo>
                    <a:pt x="32" y="405"/>
                  </a:lnTo>
                  <a:lnTo>
                    <a:pt x="12" y="393"/>
                  </a:lnTo>
                  <a:lnTo>
                    <a:pt x="0" y="373"/>
                  </a:lnTo>
                  <a:lnTo>
                    <a:pt x="1" y="351"/>
                  </a:lnTo>
                  <a:lnTo>
                    <a:pt x="7" y="348"/>
                  </a:lnTo>
                  <a:lnTo>
                    <a:pt x="17" y="351"/>
                  </a:lnTo>
                  <a:lnTo>
                    <a:pt x="15" y="324"/>
                  </a:lnTo>
                  <a:lnTo>
                    <a:pt x="38" y="312"/>
                  </a:lnTo>
                  <a:lnTo>
                    <a:pt x="34" y="285"/>
                  </a:lnTo>
                  <a:lnTo>
                    <a:pt x="35" y="275"/>
                  </a:lnTo>
                  <a:lnTo>
                    <a:pt x="49" y="272"/>
                  </a:lnTo>
                  <a:lnTo>
                    <a:pt x="51" y="232"/>
                  </a:lnTo>
                  <a:lnTo>
                    <a:pt x="55" y="226"/>
                  </a:lnTo>
                  <a:lnTo>
                    <a:pt x="86" y="226"/>
                  </a:lnTo>
                  <a:lnTo>
                    <a:pt x="89" y="223"/>
                  </a:lnTo>
                  <a:lnTo>
                    <a:pt x="110" y="175"/>
                  </a:lnTo>
                  <a:lnTo>
                    <a:pt x="111" y="158"/>
                  </a:lnTo>
                  <a:lnTo>
                    <a:pt x="136" y="131"/>
                  </a:lnTo>
                  <a:lnTo>
                    <a:pt x="134" y="107"/>
                  </a:lnTo>
                  <a:lnTo>
                    <a:pt x="139" y="94"/>
                  </a:lnTo>
                  <a:lnTo>
                    <a:pt x="164" y="79"/>
                  </a:lnTo>
                  <a:lnTo>
                    <a:pt x="179" y="60"/>
                  </a:lnTo>
                  <a:lnTo>
                    <a:pt x="204" y="53"/>
                  </a:lnTo>
                  <a:lnTo>
                    <a:pt x="218" y="59"/>
                  </a:lnTo>
                  <a:lnTo>
                    <a:pt x="222" y="29"/>
                  </a:lnTo>
                  <a:lnTo>
                    <a:pt x="237" y="20"/>
                  </a:lnTo>
                  <a:lnTo>
                    <a:pt x="237" y="8"/>
                  </a:lnTo>
                  <a:lnTo>
                    <a:pt x="247" y="0"/>
                  </a:lnTo>
                  <a:lnTo>
                    <a:pt x="261" y="6"/>
                  </a:lnTo>
                  <a:lnTo>
                    <a:pt x="270" y="17"/>
                  </a:lnTo>
                  <a:lnTo>
                    <a:pt x="279" y="40"/>
                  </a:lnTo>
                  <a:lnTo>
                    <a:pt x="291" y="40"/>
                  </a:lnTo>
                  <a:lnTo>
                    <a:pt x="300" y="84"/>
                  </a:lnTo>
                  <a:lnTo>
                    <a:pt x="296" y="116"/>
                  </a:lnTo>
                  <a:lnTo>
                    <a:pt x="287" y="138"/>
                  </a:lnTo>
                  <a:lnTo>
                    <a:pt x="262" y="167"/>
                  </a:lnTo>
                  <a:lnTo>
                    <a:pt x="253" y="195"/>
                  </a:lnTo>
                  <a:lnTo>
                    <a:pt x="255" y="215"/>
                  </a:lnTo>
                  <a:lnTo>
                    <a:pt x="247" y="229"/>
                  </a:lnTo>
                  <a:lnTo>
                    <a:pt x="252" y="234"/>
                  </a:lnTo>
                  <a:lnTo>
                    <a:pt x="284" y="214"/>
                  </a:lnTo>
                  <a:lnTo>
                    <a:pt x="304" y="215"/>
                  </a:lnTo>
                  <a:lnTo>
                    <a:pt x="309" y="255"/>
                  </a:lnTo>
                  <a:lnTo>
                    <a:pt x="335" y="270"/>
                  </a:lnTo>
                  <a:lnTo>
                    <a:pt x="325" y="309"/>
                  </a:lnTo>
                  <a:lnTo>
                    <a:pt x="354" y="316"/>
                  </a:lnTo>
                  <a:lnTo>
                    <a:pt x="355" y="326"/>
                  </a:lnTo>
                  <a:lnTo>
                    <a:pt x="371" y="341"/>
                  </a:lnTo>
                  <a:lnTo>
                    <a:pt x="388" y="337"/>
                  </a:lnTo>
                  <a:lnTo>
                    <a:pt x="402" y="328"/>
                  </a:lnTo>
                  <a:lnTo>
                    <a:pt x="410" y="329"/>
                  </a:lnTo>
                  <a:lnTo>
                    <a:pt x="411" y="334"/>
                  </a:lnTo>
                  <a:lnTo>
                    <a:pt x="406" y="345"/>
                  </a:lnTo>
                  <a:lnTo>
                    <a:pt x="385" y="359"/>
                  </a:lnTo>
                  <a:lnTo>
                    <a:pt x="386" y="371"/>
                  </a:lnTo>
                  <a:lnTo>
                    <a:pt x="374" y="373"/>
                  </a:lnTo>
                  <a:lnTo>
                    <a:pt x="369" y="382"/>
                  </a:lnTo>
                  <a:lnTo>
                    <a:pt x="354" y="402"/>
                  </a:lnTo>
                  <a:lnTo>
                    <a:pt x="335" y="409"/>
                  </a:lnTo>
                  <a:lnTo>
                    <a:pt x="304" y="432"/>
                  </a:lnTo>
                  <a:lnTo>
                    <a:pt x="269" y="438"/>
                  </a:lnTo>
                  <a:lnTo>
                    <a:pt x="255" y="472"/>
                  </a:lnTo>
                  <a:lnTo>
                    <a:pt x="255" y="490"/>
                  </a:lnTo>
                  <a:lnTo>
                    <a:pt x="249" y="495"/>
                  </a:lnTo>
                  <a:lnTo>
                    <a:pt x="264" y="534"/>
                  </a:lnTo>
                  <a:lnTo>
                    <a:pt x="289" y="556"/>
                  </a:lnTo>
                  <a:lnTo>
                    <a:pt x="291" y="593"/>
                  </a:lnTo>
                  <a:lnTo>
                    <a:pt x="300" y="594"/>
                  </a:lnTo>
                  <a:lnTo>
                    <a:pt x="303" y="602"/>
                  </a:lnTo>
                  <a:lnTo>
                    <a:pt x="293" y="619"/>
                  </a:lnTo>
                  <a:lnTo>
                    <a:pt x="291" y="636"/>
                  </a:lnTo>
                  <a:lnTo>
                    <a:pt x="278" y="653"/>
                  </a:lnTo>
                  <a:lnTo>
                    <a:pt x="276" y="664"/>
                  </a:lnTo>
                  <a:lnTo>
                    <a:pt x="281" y="678"/>
                  </a:lnTo>
                  <a:lnTo>
                    <a:pt x="313" y="707"/>
                  </a:lnTo>
                  <a:lnTo>
                    <a:pt x="318" y="746"/>
                  </a:lnTo>
                  <a:lnTo>
                    <a:pt x="342" y="803"/>
                  </a:lnTo>
                  <a:lnTo>
                    <a:pt x="325" y="834"/>
                  </a:lnTo>
                  <a:lnTo>
                    <a:pt x="309" y="851"/>
                  </a:lnTo>
                  <a:lnTo>
                    <a:pt x="298" y="882"/>
                  </a:lnTo>
                  <a:close/>
                  <a:moveTo>
                    <a:pt x="283" y="768"/>
                  </a:moveTo>
                  <a:lnTo>
                    <a:pt x="283" y="781"/>
                  </a:lnTo>
                  <a:lnTo>
                    <a:pt x="286" y="778"/>
                  </a:lnTo>
                  <a:lnTo>
                    <a:pt x="283" y="768"/>
                  </a:lnTo>
                  <a:close/>
                  <a:moveTo>
                    <a:pt x="289" y="806"/>
                  </a:moveTo>
                  <a:lnTo>
                    <a:pt x="281" y="819"/>
                  </a:lnTo>
                  <a:lnTo>
                    <a:pt x="291" y="819"/>
                  </a:lnTo>
                  <a:lnTo>
                    <a:pt x="289" y="806"/>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56" name="Freeform 54">
              <a:extLst>
                <a:ext uri="{FF2B5EF4-FFF2-40B4-BE49-F238E27FC236}">
                  <a16:creationId xmlns:a16="http://schemas.microsoft.com/office/drawing/2014/main" id="{FF418F0A-EEF3-D546-BCC0-D820C5A90D0E}"/>
                </a:ext>
              </a:extLst>
            </p:cNvPr>
            <p:cNvSpPr>
              <a:spLocks noChangeAspect="1" noEditPoints="1"/>
            </p:cNvSpPr>
            <p:nvPr/>
          </p:nvSpPr>
          <p:spPr bwMode="gray">
            <a:xfrm>
              <a:off x="6291293" y="2557034"/>
              <a:ext cx="1377447" cy="1211439"/>
            </a:xfrm>
            <a:custGeom>
              <a:avLst/>
              <a:gdLst>
                <a:gd name="T0" fmla="*/ 1837 w 2821"/>
                <a:gd name="T1" fmla="*/ 1862 h 2063"/>
                <a:gd name="T2" fmla="*/ 1701 w 2821"/>
                <a:gd name="T3" fmla="*/ 1908 h 2063"/>
                <a:gd name="T4" fmla="*/ 1663 w 2821"/>
                <a:gd name="T5" fmla="*/ 1903 h 2063"/>
                <a:gd name="T6" fmla="*/ 1580 w 2821"/>
                <a:gd name="T7" fmla="*/ 1902 h 2063"/>
                <a:gd name="T8" fmla="*/ 1419 w 2821"/>
                <a:gd name="T9" fmla="*/ 1839 h 2063"/>
                <a:gd name="T10" fmla="*/ 1318 w 2821"/>
                <a:gd name="T11" fmla="*/ 1856 h 2063"/>
                <a:gd name="T12" fmla="*/ 1267 w 2821"/>
                <a:gd name="T13" fmla="*/ 1886 h 2063"/>
                <a:gd name="T14" fmla="*/ 1166 w 2821"/>
                <a:gd name="T15" fmla="*/ 1812 h 2063"/>
                <a:gd name="T16" fmla="*/ 1144 w 2821"/>
                <a:gd name="T17" fmla="*/ 1695 h 2063"/>
                <a:gd name="T18" fmla="*/ 1094 w 2821"/>
                <a:gd name="T19" fmla="*/ 1565 h 2063"/>
                <a:gd name="T20" fmla="*/ 996 w 2821"/>
                <a:gd name="T21" fmla="*/ 1511 h 2063"/>
                <a:gd name="T22" fmla="*/ 750 w 2821"/>
                <a:gd name="T23" fmla="*/ 1560 h 2063"/>
                <a:gd name="T24" fmla="*/ 651 w 2821"/>
                <a:gd name="T25" fmla="*/ 1586 h 2063"/>
                <a:gd name="T26" fmla="*/ 530 w 2821"/>
                <a:gd name="T27" fmla="*/ 1556 h 2063"/>
                <a:gd name="T28" fmla="*/ 456 w 2821"/>
                <a:gd name="T29" fmla="*/ 1519 h 2063"/>
                <a:gd name="T30" fmla="*/ 289 w 2821"/>
                <a:gd name="T31" fmla="*/ 1422 h 2063"/>
                <a:gd name="T32" fmla="*/ 221 w 2821"/>
                <a:gd name="T33" fmla="*/ 1333 h 2063"/>
                <a:gd name="T34" fmla="*/ 264 w 2821"/>
                <a:gd name="T35" fmla="*/ 1299 h 2063"/>
                <a:gd name="T36" fmla="*/ 283 w 2821"/>
                <a:gd name="T37" fmla="*/ 1228 h 2063"/>
                <a:gd name="T38" fmla="*/ 276 w 2821"/>
                <a:gd name="T39" fmla="*/ 1156 h 2063"/>
                <a:gd name="T40" fmla="*/ 134 w 2821"/>
                <a:gd name="T41" fmla="*/ 1144 h 2063"/>
                <a:gd name="T42" fmla="*/ 78 w 2821"/>
                <a:gd name="T43" fmla="*/ 1085 h 2063"/>
                <a:gd name="T44" fmla="*/ 46 w 2821"/>
                <a:gd name="T45" fmla="*/ 992 h 2063"/>
                <a:gd name="T46" fmla="*/ 55 w 2821"/>
                <a:gd name="T47" fmla="*/ 876 h 2063"/>
                <a:gd name="T48" fmla="*/ 229 w 2821"/>
                <a:gd name="T49" fmla="*/ 816 h 2063"/>
                <a:gd name="T50" fmla="*/ 289 w 2821"/>
                <a:gd name="T51" fmla="*/ 605 h 2063"/>
                <a:gd name="T52" fmla="*/ 448 w 2821"/>
                <a:gd name="T53" fmla="*/ 452 h 2063"/>
                <a:gd name="T54" fmla="*/ 615 w 2821"/>
                <a:gd name="T55" fmla="*/ 336 h 2063"/>
                <a:gd name="T56" fmla="*/ 757 w 2821"/>
                <a:gd name="T57" fmla="*/ 410 h 2063"/>
                <a:gd name="T58" fmla="*/ 1031 w 2821"/>
                <a:gd name="T59" fmla="*/ 698 h 2063"/>
                <a:gd name="T60" fmla="*/ 1436 w 2821"/>
                <a:gd name="T61" fmla="*/ 810 h 2063"/>
                <a:gd name="T62" fmla="*/ 1763 w 2821"/>
                <a:gd name="T63" fmla="*/ 664 h 2063"/>
                <a:gd name="T64" fmla="*/ 1913 w 2821"/>
                <a:gd name="T65" fmla="*/ 562 h 2063"/>
                <a:gd name="T66" fmla="*/ 2094 w 2821"/>
                <a:gd name="T67" fmla="*/ 435 h 2063"/>
                <a:gd name="T68" fmla="*/ 1938 w 2821"/>
                <a:gd name="T69" fmla="*/ 341 h 2063"/>
                <a:gd name="T70" fmla="*/ 2137 w 2821"/>
                <a:gd name="T71" fmla="*/ 78 h 2063"/>
                <a:gd name="T72" fmla="*/ 2467 w 2821"/>
                <a:gd name="T73" fmla="*/ 194 h 2063"/>
                <a:gd name="T74" fmla="*/ 2713 w 2821"/>
                <a:gd name="T75" fmla="*/ 412 h 2063"/>
                <a:gd name="T76" fmla="*/ 2685 w 2821"/>
                <a:gd name="T77" fmla="*/ 582 h 2063"/>
                <a:gd name="T78" fmla="*/ 2594 w 2821"/>
                <a:gd name="T79" fmla="*/ 734 h 2063"/>
                <a:gd name="T80" fmla="*/ 2410 w 2821"/>
                <a:gd name="T81" fmla="*/ 859 h 2063"/>
                <a:gd name="T82" fmla="*/ 2192 w 2821"/>
                <a:gd name="T83" fmla="*/ 979 h 2063"/>
                <a:gd name="T84" fmla="*/ 2221 w 2821"/>
                <a:gd name="T85" fmla="*/ 847 h 2063"/>
                <a:gd name="T86" fmla="*/ 2037 w 2821"/>
                <a:gd name="T87" fmla="*/ 967 h 2063"/>
                <a:gd name="T88" fmla="*/ 2154 w 2821"/>
                <a:gd name="T89" fmla="*/ 1048 h 2063"/>
                <a:gd name="T90" fmla="*/ 2227 w 2821"/>
                <a:gd name="T91" fmla="*/ 1087 h 2063"/>
                <a:gd name="T92" fmla="*/ 2142 w 2821"/>
                <a:gd name="T93" fmla="*/ 1136 h 2063"/>
                <a:gd name="T94" fmla="*/ 2181 w 2821"/>
                <a:gd name="T95" fmla="*/ 1325 h 2063"/>
                <a:gd name="T96" fmla="*/ 2173 w 2821"/>
                <a:gd name="T97" fmla="*/ 1375 h 2063"/>
                <a:gd name="T98" fmla="*/ 2175 w 2821"/>
                <a:gd name="T99" fmla="*/ 1463 h 2063"/>
                <a:gd name="T100" fmla="*/ 2205 w 2821"/>
                <a:gd name="T101" fmla="*/ 1512 h 2063"/>
                <a:gd name="T102" fmla="*/ 2133 w 2821"/>
                <a:gd name="T103" fmla="*/ 1650 h 2063"/>
                <a:gd name="T104" fmla="*/ 2088 w 2821"/>
                <a:gd name="T105" fmla="*/ 1717 h 2063"/>
                <a:gd name="T106" fmla="*/ 2023 w 2821"/>
                <a:gd name="T107" fmla="*/ 1781 h 2063"/>
                <a:gd name="T108" fmla="*/ 1896 w 2821"/>
                <a:gd name="T109" fmla="*/ 1845 h 2063"/>
                <a:gd name="T110" fmla="*/ 1718 w 2821"/>
                <a:gd name="T111" fmla="*/ 1989 h 2063"/>
                <a:gd name="T112" fmla="*/ 1613 w 2821"/>
                <a:gd name="T113" fmla="*/ 2009 h 2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21" h="2063">
                  <a:moveTo>
                    <a:pt x="1884" y="1854"/>
                  </a:moveTo>
                  <a:lnTo>
                    <a:pt x="1878" y="1845"/>
                  </a:lnTo>
                  <a:lnTo>
                    <a:pt x="1871" y="1848"/>
                  </a:lnTo>
                  <a:lnTo>
                    <a:pt x="1873" y="1856"/>
                  </a:lnTo>
                  <a:lnTo>
                    <a:pt x="1859" y="1859"/>
                  </a:lnTo>
                  <a:lnTo>
                    <a:pt x="1856" y="1849"/>
                  </a:lnTo>
                  <a:lnTo>
                    <a:pt x="1839" y="1834"/>
                  </a:lnTo>
                  <a:lnTo>
                    <a:pt x="1837" y="1862"/>
                  </a:lnTo>
                  <a:lnTo>
                    <a:pt x="1833" y="1862"/>
                  </a:lnTo>
                  <a:lnTo>
                    <a:pt x="1817" y="1844"/>
                  </a:lnTo>
                  <a:lnTo>
                    <a:pt x="1810" y="1879"/>
                  </a:lnTo>
                  <a:lnTo>
                    <a:pt x="1778" y="1888"/>
                  </a:lnTo>
                  <a:lnTo>
                    <a:pt x="1760" y="1888"/>
                  </a:lnTo>
                  <a:lnTo>
                    <a:pt x="1751" y="1896"/>
                  </a:lnTo>
                  <a:lnTo>
                    <a:pt x="1724" y="1898"/>
                  </a:lnTo>
                  <a:lnTo>
                    <a:pt x="1701" y="1908"/>
                  </a:lnTo>
                  <a:lnTo>
                    <a:pt x="1693" y="1907"/>
                  </a:lnTo>
                  <a:lnTo>
                    <a:pt x="1683" y="1928"/>
                  </a:lnTo>
                  <a:lnTo>
                    <a:pt x="1693" y="1945"/>
                  </a:lnTo>
                  <a:lnTo>
                    <a:pt x="1693" y="1953"/>
                  </a:lnTo>
                  <a:lnTo>
                    <a:pt x="1680" y="1961"/>
                  </a:lnTo>
                  <a:lnTo>
                    <a:pt x="1672" y="1956"/>
                  </a:lnTo>
                  <a:lnTo>
                    <a:pt x="1658" y="1930"/>
                  </a:lnTo>
                  <a:lnTo>
                    <a:pt x="1663" y="1903"/>
                  </a:lnTo>
                  <a:lnTo>
                    <a:pt x="1659" y="1896"/>
                  </a:lnTo>
                  <a:lnTo>
                    <a:pt x="1638" y="1905"/>
                  </a:lnTo>
                  <a:lnTo>
                    <a:pt x="1633" y="1896"/>
                  </a:lnTo>
                  <a:lnTo>
                    <a:pt x="1610" y="1890"/>
                  </a:lnTo>
                  <a:lnTo>
                    <a:pt x="1595" y="1898"/>
                  </a:lnTo>
                  <a:lnTo>
                    <a:pt x="1595" y="1905"/>
                  </a:lnTo>
                  <a:lnTo>
                    <a:pt x="1592" y="1896"/>
                  </a:lnTo>
                  <a:lnTo>
                    <a:pt x="1580" y="1902"/>
                  </a:lnTo>
                  <a:lnTo>
                    <a:pt x="1551" y="1896"/>
                  </a:lnTo>
                  <a:lnTo>
                    <a:pt x="1528" y="1881"/>
                  </a:lnTo>
                  <a:lnTo>
                    <a:pt x="1517" y="1857"/>
                  </a:lnTo>
                  <a:lnTo>
                    <a:pt x="1520" y="1845"/>
                  </a:lnTo>
                  <a:lnTo>
                    <a:pt x="1517" y="1837"/>
                  </a:lnTo>
                  <a:lnTo>
                    <a:pt x="1491" y="1834"/>
                  </a:lnTo>
                  <a:lnTo>
                    <a:pt x="1455" y="1817"/>
                  </a:lnTo>
                  <a:lnTo>
                    <a:pt x="1419" y="1839"/>
                  </a:lnTo>
                  <a:lnTo>
                    <a:pt x="1407" y="1837"/>
                  </a:lnTo>
                  <a:lnTo>
                    <a:pt x="1392" y="1848"/>
                  </a:lnTo>
                  <a:lnTo>
                    <a:pt x="1389" y="1842"/>
                  </a:lnTo>
                  <a:lnTo>
                    <a:pt x="1377" y="1845"/>
                  </a:lnTo>
                  <a:lnTo>
                    <a:pt x="1372" y="1842"/>
                  </a:lnTo>
                  <a:lnTo>
                    <a:pt x="1355" y="1851"/>
                  </a:lnTo>
                  <a:lnTo>
                    <a:pt x="1330" y="1840"/>
                  </a:lnTo>
                  <a:lnTo>
                    <a:pt x="1318" y="1856"/>
                  </a:lnTo>
                  <a:lnTo>
                    <a:pt x="1296" y="1849"/>
                  </a:lnTo>
                  <a:lnTo>
                    <a:pt x="1288" y="1857"/>
                  </a:lnTo>
                  <a:lnTo>
                    <a:pt x="1288" y="1881"/>
                  </a:lnTo>
                  <a:lnTo>
                    <a:pt x="1296" y="1894"/>
                  </a:lnTo>
                  <a:lnTo>
                    <a:pt x="1290" y="1910"/>
                  </a:lnTo>
                  <a:lnTo>
                    <a:pt x="1273" y="1913"/>
                  </a:lnTo>
                  <a:lnTo>
                    <a:pt x="1268" y="1891"/>
                  </a:lnTo>
                  <a:lnTo>
                    <a:pt x="1267" y="1886"/>
                  </a:lnTo>
                  <a:lnTo>
                    <a:pt x="1259" y="1885"/>
                  </a:lnTo>
                  <a:lnTo>
                    <a:pt x="1245" y="1894"/>
                  </a:lnTo>
                  <a:lnTo>
                    <a:pt x="1228" y="1898"/>
                  </a:lnTo>
                  <a:lnTo>
                    <a:pt x="1212" y="1883"/>
                  </a:lnTo>
                  <a:lnTo>
                    <a:pt x="1211" y="1873"/>
                  </a:lnTo>
                  <a:lnTo>
                    <a:pt x="1182" y="1866"/>
                  </a:lnTo>
                  <a:lnTo>
                    <a:pt x="1192" y="1827"/>
                  </a:lnTo>
                  <a:lnTo>
                    <a:pt x="1166" y="1812"/>
                  </a:lnTo>
                  <a:lnTo>
                    <a:pt x="1161" y="1772"/>
                  </a:lnTo>
                  <a:lnTo>
                    <a:pt x="1141" y="1771"/>
                  </a:lnTo>
                  <a:lnTo>
                    <a:pt x="1109" y="1791"/>
                  </a:lnTo>
                  <a:lnTo>
                    <a:pt x="1104" y="1786"/>
                  </a:lnTo>
                  <a:lnTo>
                    <a:pt x="1112" y="1772"/>
                  </a:lnTo>
                  <a:lnTo>
                    <a:pt x="1110" y="1752"/>
                  </a:lnTo>
                  <a:lnTo>
                    <a:pt x="1119" y="1724"/>
                  </a:lnTo>
                  <a:lnTo>
                    <a:pt x="1144" y="1695"/>
                  </a:lnTo>
                  <a:lnTo>
                    <a:pt x="1153" y="1673"/>
                  </a:lnTo>
                  <a:lnTo>
                    <a:pt x="1157" y="1641"/>
                  </a:lnTo>
                  <a:lnTo>
                    <a:pt x="1148" y="1597"/>
                  </a:lnTo>
                  <a:lnTo>
                    <a:pt x="1136" y="1597"/>
                  </a:lnTo>
                  <a:lnTo>
                    <a:pt x="1127" y="1574"/>
                  </a:lnTo>
                  <a:lnTo>
                    <a:pt x="1118" y="1563"/>
                  </a:lnTo>
                  <a:lnTo>
                    <a:pt x="1104" y="1557"/>
                  </a:lnTo>
                  <a:lnTo>
                    <a:pt x="1094" y="1565"/>
                  </a:lnTo>
                  <a:lnTo>
                    <a:pt x="1090" y="1556"/>
                  </a:lnTo>
                  <a:lnTo>
                    <a:pt x="1082" y="1551"/>
                  </a:lnTo>
                  <a:lnTo>
                    <a:pt x="1047" y="1548"/>
                  </a:lnTo>
                  <a:lnTo>
                    <a:pt x="1050" y="1524"/>
                  </a:lnTo>
                  <a:lnTo>
                    <a:pt x="1039" y="1520"/>
                  </a:lnTo>
                  <a:lnTo>
                    <a:pt x="1039" y="1506"/>
                  </a:lnTo>
                  <a:lnTo>
                    <a:pt x="1030" y="1495"/>
                  </a:lnTo>
                  <a:lnTo>
                    <a:pt x="996" y="1511"/>
                  </a:lnTo>
                  <a:lnTo>
                    <a:pt x="963" y="1506"/>
                  </a:lnTo>
                  <a:lnTo>
                    <a:pt x="892" y="1562"/>
                  </a:lnTo>
                  <a:lnTo>
                    <a:pt x="833" y="1585"/>
                  </a:lnTo>
                  <a:lnTo>
                    <a:pt x="816" y="1573"/>
                  </a:lnTo>
                  <a:lnTo>
                    <a:pt x="801" y="1574"/>
                  </a:lnTo>
                  <a:lnTo>
                    <a:pt x="776" y="1569"/>
                  </a:lnTo>
                  <a:lnTo>
                    <a:pt x="767" y="1560"/>
                  </a:lnTo>
                  <a:lnTo>
                    <a:pt x="750" y="1560"/>
                  </a:lnTo>
                  <a:lnTo>
                    <a:pt x="730" y="1573"/>
                  </a:lnTo>
                  <a:lnTo>
                    <a:pt x="703" y="1607"/>
                  </a:lnTo>
                  <a:lnTo>
                    <a:pt x="694" y="1603"/>
                  </a:lnTo>
                  <a:lnTo>
                    <a:pt x="697" y="1582"/>
                  </a:lnTo>
                  <a:lnTo>
                    <a:pt x="694" y="1571"/>
                  </a:lnTo>
                  <a:lnTo>
                    <a:pt x="665" y="1580"/>
                  </a:lnTo>
                  <a:lnTo>
                    <a:pt x="655" y="1580"/>
                  </a:lnTo>
                  <a:lnTo>
                    <a:pt x="651" y="1586"/>
                  </a:lnTo>
                  <a:lnTo>
                    <a:pt x="629" y="1585"/>
                  </a:lnTo>
                  <a:lnTo>
                    <a:pt x="598" y="1571"/>
                  </a:lnTo>
                  <a:lnTo>
                    <a:pt x="591" y="1580"/>
                  </a:lnTo>
                  <a:lnTo>
                    <a:pt x="574" y="1574"/>
                  </a:lnTo>
                  <a:lnTo>
                    <a:pt x="566" y="1578"/>
                  </a:lnTo>
                  <a:lnTo>
                    <a:pt x="554" y="1563"/>
                  </a:lnTo>
                  <a:lnTo>
                    <a:pt x="542" y="1565"/>
                  </a:lnTo>
                  <a:lnTo>
                    <a:pt x="530" y="1556"/>
                  </a:lnTo>
                  <a:lnTo>
                    <a:pt x="530" y="1539"/>
                  </a:lnTo>
                  <a:lnTo>
                    <a:pt x="512" y="1543"/>
                  </a:lnTo>
                  <a:lnTo>
                    <a:pt x="493" y="1537"/>
                  </a:lnTo>
                  <a:lnTo>
                    <a:pt x="490" y="1531"/>
                  </a:lnTo>
                  <a:lnTo>
                    <a:pt x="484" y="1532"/>
                  </a:lnTo>
                  <a:lnTo>
                    <a:pt x="486" y="1507"/>
                  </a:lnTo>
                  <a:lnTo>
                    <a:pt x="473" y="1506"/>
                  </a:lnTo>
                  <a:lnTo>
                    <a:pt x="456" y="1519"/>
                  </a:lnTo>
                  <a:lnTo>
                    <a:pt x="448" y="1512"/>
                  </a:lnTo>
                  <a:lnTo>
                    <a:pt x="442" y="1492"/>
                  </a:lnTo>
                  <a:lnTo>
                    <a:pt x="403" y="1463"/>
                  </a:lnTo>
                  <a:lnTo>
                    <a:pt x="357" y="1453"/>
                  </a:lnTo>
                  <a:lnTo>
                    <a:pt x="352" y="1466"/>
                  </a:lnTo>
                  <a:lnTo>
                    <a:pt x="340" y="1456"/>
                  </a:lnTo>
                  <a:lnTo>
                    <a:pt x="293" y="1430"/>
                  </a:lnTo>
                  <a:lnTo>
                    <a:pt x="289" y="1422"/>
                  </a:lnTo>
                  <a:lnTo>
                    <a:pt x="272" y="1421"/>
                  </a:lnTo>
                  <a:lnTo>
                    <a:pt x="269" y="1413"/>
                  </a:lnTo>
                  <a:lnTo>
                    <a:pt x="244" y="1416"/>
                  </a:lnTo>
                  <a:lnTo>
                    <a:pt x="244" y="1405"/>
                  </a:lnTo>
                  <a:lnTo>
                    <a:pt x="232" y="1392"/>
                  </a:lnTo>
                  <a:lnTo>
                    <a:pt x="235" y="1362"/>
                  </a:lnTo>
                  <a:lnTo>
                    <a:pt x="222" y="1348"/>
                  </a:lnTo>
                  <a:lnTo>
                    <a:pt x="221" y="1333"/>
                  </a:lnTo>
                  <a:lnTo>
                    <a:pt x="232" y="1326"/>
                  </a:lnTo>
                  <a:lnTo>
                    <a:pt x="244" y="1342"/>
                  </a:lnTo>
                  <a:lnTo>
                    <a:pt x="252" y="1339"/>
                  </a:lnTo>
                  <a:lnTo>
                    <a:pt x="259" y="1329"/>
                  </a:lnTo>
                  <a:lnTo>
                    <a:pt x="266" y="1333"/>
                  </a:lnTo>
                  <a:lnTo>
                    <a:pt x="272" y="1322"/>
                  </a:lnTo>
                  <a:lnTo>
                    <a:pt x="264" y="1309"/>
                  </a:lnTo>
                  <a:lnTo>
                    <a:pt x="264" y="1299"/>
                  </a:lnTo>
                  <a:lnTo>
                    <a:pt x="252" y="1295"/>
                  </a:lnTo>
                  <a:lnTo>
                    <a:pt x="244" y="1288"/>
                  </a:lnTo>
                  <a:lnTo>
                    <a:pt x="247" y="1265"/>
                  </a:lnTo>
                  <a:lnTo>
                    <a:pt x="242" y="1254"/>
                  </a:lnTo>
                  <a:lnTo>
                    <a:pt x="264" y="1254"/>
                  </a:lnTo>
                  <a:lnTo>
                    <a:pt x="271" y="1246"/>
                  </a:lnTo>
                  <a:lnTo>
                    <a:pt x="275" y="1229"/>
                  </a:lnTo>
                  <a:lnTo>
                    <a:pt x="283" y="1228"/>
                  </a:lnTo>
                  <a:lnTo>
                    <a:pt x="283" y="1221"/>
                  </a:lnTo>
                  <a:lnTo>
                    <a:pt x="295" y="1211"/>
                  </a:lnTo>
                  <a:lnTo>
                    <a:pt x="308" y="1167"/>
                  </a:lnTo>
                  <a:lnTo>
                    <a:pt x="303" y="1165"/>
                  </a:lnTo>
                  <a:lnTo>
                    <a:pt x="295" y="1172"/>
                  </a:lnTo>
                  <a:lnTo>
                    <a:pt x="292" y="1160"/>
                  </a:lnTo>
                  <a:lnTo>
                    <a:pt x="283" y="1162"/>
                  </a:lnTo>
                  <a:lnTo>
                    <a:pt x="276" y="1156"/>
                  </a:lnTo>
                  <a:lnTo>
                    <a:pt x="276" y="1150"/>
                  </a:lnTo>
                  <a:lnTo>
                    <a:pt x="259" y="1139"/>
                  </a:lnTo>
                  <a:lnTo>
                    <a:pt x="233" y="1145"/>
                  </a:lnTo>
                  <a:lnTo>
                    <a:pt x="198" y="1170"/>
                  </a:lnTo>
                  <a:lnTo>
                    <a:pt x="185" y="1170"/>
                  </a:lnTo>
                  <a:lnTo>
                    <a:pt x="142" y="1156"/>
                  </a:lnTo>
                  <a:lnTo>
                    <a:pt x="134" y="1152"/>
                  </a:lnTo>
                  <a:lnTo>
                    <a:pt x="134" y="1144"/>
                  </a:lnTo>
                  <a:lnTo>
                    <a:pt x="117" y="1148"/>
                  </a:lnTo>
                  <a:lnTo>
                    <a:pt x="103" y="1133"/>
                  </a:lnTo>
                  <a:lnTo>
                    <a:pt x="108" y="1128"/>
                  </a:lnTo>
                  <a:lnTo>
                    <a:pt x="106" y="1111"/>
                  </a:lnTo>
                  <a:lnTo>
                    <a:pt x="100" y="1101"/>
                  </a:lnTo>
                  <a:lnTo>
                    <a:pt x="91" y="1094"/>
                  </a:lnTo>
                  <a:lnTo>
                    <a:pt x="81" y="1099"/>
                  </a:lnTo>
                  <a:lnTo>
                    <a:pt x="78" y="1085"/>
                  </a:lnTo>
                  <a:lnTo>
                    <a:pt x="46" y="1080"/>
                  </a:lnTo>
                  <a:lnTo>
                    <a:pt x="37" y="1072"/>
                  </a:lnTo>
                  <a:lnTo>
                    <a:pt x="51" y="1067"/>
                  </a:lnTo>
                  <a:lnTo>
                    <a:pt x="61" y="1067"/>
                  </a:lnTo>
                  <a:lnTo>
                    <a:pt x="61" y="1038"/>
                  </a:lnTo>
                  <a:lnTo>
                    <a:pt x="51" y="1018"/>
                  </a:lnTo>
                  <a:lnTo>
                    <a:pt x="51" y="1001"/>
                  </a:lnTo>
                  <a:lnTo>
                    <a:pt x="46" y="992"/>
                  </a:lnTo>
                  <a:lnTo>
                    <a:pt x="13" y="996"/>
                  </a:lnTo>
                  <a:lnTo>
                    <a:pt x="3" y="989"/>
                  </a:lnTo>
                  <a:lnTo>
                    <a:pt x="0" y="974"/>
                  </a:lnTo>
                  <a:lnTo>
                    <a:pt x="7" y="929"/>
                  </a:lnTo>
                  <a:lnTo>
                    <a:pt x="7" y="920"/>
                  </a:lnTo>
                  <a:lnTo>
                    <a:pt x="15" y="904"/>
                  </a:lnTo>
                  <a:lnTo>
                    <a:pt x="51" y="887"/>
                  </a:lnTo>
                  <a:lnTo>
                    <a:pt x="55" y="876"/>
                  </a:lnTo>
                  <a:lnTo>
                    <a:pt x="78" y="874"/>
                  </a:lnTo>
                  <a:lnTo>
                    <a:pt x="86" y="876"/>
                  </a:lnTo>
                  <a:lnTo>
                    <a:pt x="91" y="886"/>
                  </a:lnTo>
                  <a:lnTo>
                    <a:pt x="123" y="884"/>
                  </a:lnTo>
                  <a:lnTo>
                    <a:pt x="134" y="878"/>
                  </a:lnTo>
                  <a:lnTo>
                    <a:pt x="147" y="852"/>
                  </a:lnTo>
                  <a:lnTo>
                    <a:pt x="210" y="839"/>
                  </a:lnTo>
                  <a:lnTo>
                    <a:pt x="229" y="816"/>
                  </a:lnTo>
                  <a:lnTo>
                    <a:pt x="300" y="782"/>
                  </a:lnTo>
                  <a:lnTo>
                    <a:pt x="303" y="760"/>
                  </a:lnTo>
                  <a:lnTo>
                    <a:pt x="312" y="720"/>
                  </a:lnTo>
                  <a:lnTo>
                    <a:pt x="323" y="712"/>
                  </a:lnTo>
                  <a:lnTo>
                    <a:pt x="323" y="700"/>
                  </a:lnTo>
                  <a:lnTo>
                    <a:pt x="306" y="655"/>
                  </a:lnTo>
                  <a:lnTo>
                    <a:pt x="303" y="624"/>
                  </a:lnTo>
                  <a:lnTo>
                    <a:pt x="289" y="605"/>
                  </a:lnTo>
                  <a:lnTo>
                    <a:pt x="325" y="593"/>
                  </a:lnTo>
                  <a:lnTo>
                    <a:pt x="347" y="584"/>
                  </a:lnTo>
                  <a:lnTo>
                    <a:pt x="402" y="578"/>
                  </a:lnTo>
                  <a:lnTo>
                    <a:pt x="394" y="551"/>
                  </a:lnTo>
                  <a:lnTo>
                    <a:pt x="396" y="534"/>
                  </a:lnTo>
                  <a:lnTo>
                    <a:pt x="413" y="489"/>
                  </a:lnTo>
                  <a:lnTo>
                    <a:pt x="428" y="451"/>
                  </a:lnTo>
                  <a:lnTo>
                    <a:pt x="448" y="452"/>
                  </a:lnTo>
                  <a:lnTo>
                    <a:pt x="471" y="463"/>
                  </a:lnTo>
                  <a:lnTo>
                    <a:pt x="501" y="460"/>
                  </a:lnTo>
                  <a:lnTo>
                    <a:pt x="516" y="472"/>
                  </a:lnTo>
                  <a:lnTo>
                    <a:pt x="549" y="457"/>
                  </a:lnTo>
                  <a:lnTo>
                    <a:pt x="549" y="407"/>
                  </a:lnTo>
                  <a:lnTo>
                    <a:pt x="563" y="370"/>
                  </a:lnTo>
                  <a:lnTo>
                    <a:pt x="591" y="366"/>
                  </a:lnTo>
                  <a:lnTo>
                    <a:pt x="615" y="336"/>
                  </a:lnTo>
                  <a:lnTo>
                    <a:pt x="635" y="341"/>
                  </a:lnTo>
                  <a:lnTo>
                    <a:pt x="652" y="327"/>
                  </a:lnTo>
                  <a:lnTo>
                    <a:pt x="663" y="361"/>
                  </a:lnTo>
                  <a:lnTo>
                    <a:pt x="689" y="381"/>
                  </a:lnTo>
                  <a:lnTo>
                    <a:pt x="697" y="398"/>
                  </a:lnTo>
                  <a:lnTo>
                    <a:pt x="710" y="409"/>
                  </a:lnTo>
                  <a:lnTo>
                    <a:pt x="716" y="398"/>
                  </a:lnTo>
                  <a:lnTo>
                    <a:pt x="757" y="410"/>
                  </a:lnTo>
                  <a:lnTo>
                    <a:pt x="764" y="424"/>
                  </a:lnTo>
                  <a:lnTo>
                    <a:pt x="789" y="493"/>
                  </a:lnTo>
                  <a:lnTo>
                    <a:pt x="793" y="548"/>
                  </a:lnTo>
                  <a:lnTo>
                    <a:pt x="784" y="574"/>
                  </a:lnTo>
                  <a:lnTo>
                    <a:pt x="858" y="598"/>
                  </a:lnTo>
                  <a:lnTo>
                    <a:pt x="887" y="593"/>
                  </a:lnTo>
                  <a:lnTo>
                    <a:pt x="996" y="638"/>
                  </a:lnTo>
                  <a:lnTo>
                    <a:pt x="1031" y="698"/>
                  </a:lnTo>
                  <a:lnTo>
                    <a:pt x="1065" y="735"/>
                  </a:lnTo>
                  <a:lnTo>
                    <a:pt x="1079" y="740"/>
                  </a:lnTo>
                  <a:lnTo>
                    <a:pt x="1250" y="732"/>
                  </a:lnTo>
                  <a:lnTo>
                    <a:pt x="1287" y="743"/>
                  </a:lnTo>
                  <a:lnTo>
                    <a:pt x="1326" y="772"/>
                  </a:lnTo>
                  <a:lnTo>
                    <a:pt x="1389" y="794"/>
                  </a:lnTo>
                  <a:lnTo>
                    <a:pt x="1412" y="796"/>
                  </a:lnTo>
                  <a:lnTo>
                    <a:pt x="1436" y="810"/>
                  </a:lnTo>
                  <a:lnTo>
                    <a:pt x="1505" y="780"/>
                  </a:lnTo>
                  <a:lnTo>
                    <a:pt x="1512" y="772"/>
                  </a:lnTo>
                  <a:lnTo>
                    <a:pt x="1568" y="757"/>
                  </a:lnTo>
                  <a:lnTo>
                    <a:pt x="1604" y="754"/>
                  </a:lnTo>
                  <a:lnTo>
                    <a:pt x="1626" y="760"/>
                  </a:lnTo>
                  <a:lnTo>
                    <a:pt x="1680" y="746"/>
                  </a:lnTo>
                  <a:lnTo>
                    <a:pt x="1765" y="674"/>
                  </a:lnTo>
                  <a:lnTo>
                    <a:pt x="1763" y="664"/>
                  </a:lnTo>
                  <a:lnTo>
                    <a:pt x="1744" y="641"/>
                  </a:lnTo>
                  <a:lnTo>
                    <a:pt x="1765" y="596"/>
                  </a:lnTo>
                  <a:lnTo>
                    <a:pt x="1783" y="591"/>
                  </a:lnTo>
                  <a:lnTo>
                    <a:pt x="1807" y="607"/>
                  </a:lnTo>
                  <a:lnTo>
                    <a:pt x="1839" y="612"/>
                  </a:lnTo>
                  <a:lnTo>
                    <a:pt x="1862" y="596"/>
                  </a:lnTo>
                  <a:lnTo>
                    <a:pt x="1895" y="561"/>
                  </a:lnTo>
                  <a:lnTo>
                    <a:pt x="1913" y="562"/>
                  </a:lnTo>
                  <a:lnTo>
                    <a:pt x="1935" y="548"/>
                  </a:lnTo>
                  <a:lnTo>
                    <a:pt x="1992" y="491"/>
                  </a:lnTo>
                  <a:lnTo>
                    <a:pt x="2054" y="486"/>
                  </a:lnTo>
                  <a:lnTo>
                    <a:pt x="2111" y="483"/>
                  </a:lnTo>
                  <a:lnTo>
                    <a:pt x="2110" y="471"/>
                  </a:lnTo>
                  <a:lnTo>
                    <a:pt x="2099" y="464"/>
                  </a:lnTo>
                  <a:lnTo>
                    <a:pt x="2100" y="446"/>
                  </a:lnTo>
                  <a:lnTo>
                    <a:pt x="2094" y="435"/>
                  </a:lnTo>
                  <a:lnTo>
                    <a:pt x="2071" y="415"/>
                  </a:lnTo>
                  <a:lnTo>
                    <a:pt x="2054" y="392"/>
                  </a:lnTo>
                  <a:lnTo>
                    <a:pt x="2014" y="418"/>
                  </a:lnTo>
                  <a:lnTo>
                    <a:pt x="1995" y="426"/>
                  </a:lnTo>
                  <a:lnTo>
                    <a:pt x="1939" y="418"/>
                  </a:lnTo>
                  <a:lnTo>
                    <a:pt x="1929" y="390"/>
                  </a:lnTo>
                  <a:lnTo>
                    <a:pt x="1927" y="372"/>
                  </a:lnTo>
                  <a:lnTo>
                    <a:pt x="1938" y="341"/>
                  </a:lnTo>
                  <a:lnTo>
                    <a:pt x="1935" y="312"/>
                  </a:lnTo>
                  <a:lnTo>
                    <a:pt x="1967" y="257"/>
                  </a:lnTo>
                  <a:lnTo>
                    <a:pt x="2037" y="287"/>
                  </a:lnTo>
                  <a:lnTo>
                    <a:pt x="2100" y="249"/>
                  </a:lnTo>
                  <a:lnTo>
                    <a:pt x="2134" y="144"/>
                  </a:lnTo>
                  <a:lnTo>
                    <a:pt x="2170" y="112"/>
                  </a:lnTo>
                  <a:lnTo>
                    <a:pt x="2166" y="76"/>
                  </a:lnTo>
                  <a:lnTo>
                    <a:pt x="2137" y="78"/>
                  </a:lnTo>
                  <a:lnTo>
                    <a:pt x="2137" y="64"/>
                  </a:lnTo>
                  <a:lnTo>
                    <a:pt x="2178" y="22"/>
                  </a:lnTo>
                  <a:lnTo>
                    <a:pt x="2208" y="17"/>
                  </a:lnTo>
                  <a:lnTo>
                    <a:pt x="2303" y="0"/>
                  </a:lnTo>
                  <a:lnTo>
                    <a:pt x="2342" y="28"/>
                  </a:lnTo>
                  <a:lnTo>
                    <a:pt x="2396" y="38"/>
                  </a:lnTo>
                  <a:lnTo>
                    <a:pt x="2430" y="90"/>
                  </a:lnTo>
                  <a:lnTo>
                    <a:pt x="2467" y="194"/>
                  </a:lnTo>
                  <a:lnTo>
                    <a:pt x="2482" y="265"/>
                  </a:lnTo>
                  <a:lnTo>
                    <a:pt x="2482" y="282"/>
                  </a:lnTo>
                  <a:lnTo>
                    <a:pt x="2558" y="295"/>
                  </a:lnTo>
                  <a:lnTo>
                    <a:pt x="2574" y="302"/>
                  </a:lnTo>
                  <a:lnTo>
                    <a:pt x="2623" y="332"/>
                  </a:lnTo>
                  <a:lnTo>
                    <a:pt x="2650" y="417"/>
                  </a:lnTo>
                  <a:lnTo>
                    <a:pt x="2696" y="418"/>
                  </a:lnTo>
                  <a:lnTo>
                    <a:pt x="2713" y="412"/>
                  </a:lnTo>
                  <a:lnTo>
                    <a:pt x="2821" y="364"/>
                  </a:lnTo>
                  <a:lnTo>
                    <a:pt x="2816" y="424"/>
                  </a:lnTo>
                  <a:lnTo>
                    <a:pt x="2796" y="444"/>
                  </a:lnTo>
                  <a:lnTo>
                    <a:pt x="2773" y="523"/>
                  </a:lnTo>
                  <a:lnTo>
                    <a:pt x="2744" y="588"/>
                  </a:lnTo>
                  <a:lnTo>
                    <a:pt x="2733" y="596"/>
                  </a:lnTo>
                  <a:lnTo>
                    <a:pt x="2728" y="593"/>
                  </a:lnTo>
                  <a:lnTo>
                    <a:pt x="2685" y="582"/>
                  </a:lnTo>
                  <a:lnTo>
                    <a:pt x="2645" y="616"/>
                  </a:lnTo>
                  <a:lnTo>
                    <a:pt x="2657" y="652"/>
                  </a:lnTo>
                  <a:lnTo>
                    <a:pt x="2657" y="700"/>
                  </a:lnTo>
                  <a:lnTo>
                    <a:pt x="2626" y="735"/>
                  </a:lnTo>
                  <a:lnTo>
                    <a:pt x="2626" y="751"/>
                  </a:lnTo>
                  <a:lnTo>
                    <a:pt x="2620" y="749"/>
                  </a:lnTo>
                  <a:lnTo>
                    <a:pt x="2603" y="726"/>
                  </a:lnTo>
                  <a:lnTo>
                    <a:pt x="2594" y="734"/>
                  </a:lnTo>
                  <a:lnTo>
                    <a:pt x="2581" y="766"/>
                  </a:lnTo>
                  <a:lnTo>
                    <a:pt x="2554" y="785"/>
                  </a:lnTo>
                  <a:lnTo>
                    <a:pt x="2516" y="789"/>
                  </a:lnTo>
                  <a:lnTo>
                    <a:pt x="2513" y="796"/>
                  </a:lnTo>
                  <a:lnTo>
                    <a:pt x="2518" y="823"/>
                  </a:lnTo>
                  <a:lnTo>
                    <a:pt x="2482" y="827"/>
                  </a:lnTo>
                  <a:lnTo>
                    <a:pt x="2456" y="814"/>
                  </a:lnTo>
                  <a:lnTo>
                    <a:pt x="2410" y="859"/>
                  </a:lnTo>
                  <a:lnTo>
                    <a:pt x="2362" y="882"/>
                  </a:lnTo>
                  <a:lnTo>
                    <a:pt x="2339" y="913"/>
                  </a:lnTo>
                  <a:lnTo>
                    <a:pt x="2298" y="926"/>
                  </a:lnTo>
                  <a:lnTo>
                    <a:pt x="2292" y="921"/>
                  </a:lnTo>
                  <a:lnTo>
                    <a:pt x="2247" y="946"/>
                  </a:lnTo>
                  <a:lnTo>
                    <a:pt x="2225" y="971"/>
                  </a:lnTo>
                  <a:lnTo>
                    <a:pt x="2196" y="984"/>
                  </a:lnTo>
                  <a:lnTo>
                    <a:pt x="2192" y="979"/>
                  </a:lnTo>
                  <a:lnTo>
                    <a:pt x="2199" y="969"/>
                  </a:lnTo>
                  <a:lnTo>
                    <a:pt x="2212" y="966"/>
                  </a:lnTo>
                  <a:lnTo>
                    <a:pt x="2216" y="947"/>
                  </a:lnTo>
                  <a:lnTo>
                    <a:pt x="2198" y="938"/>
                  </a:lnTo>
                  <a:lnTo>
                    <a:pt x="2207" y="933"/>
                  </a:lnTo>
                  <a:lnTo>
                    <a:pt x="2208" y="923"/>
                  </a:lnTo>
                  <a:lnTo>
                    <a:pt x="2242" y="881"/>
                  </a:lnTo>
                  <a:lnTo>
                    <a:pt x="2221" y="847"/>
                  </a:lnTo>
                  <a:lnTo>
                    <a:pt x="2218" y="852"/>
                  </a:lnTo>
                  <a:lnTo>
                    <a:pt x="2192" y="857"/>
                  </a:lnTo>
                  <a:lnTo>
                    <a:pt x="2159" y="898"/>
                  </a:lnTo>
                  <a:lnTo>
                    <a:pt x="2116" y="921"/>
                  </a:lnTo>
                  <a:lnTo>
                    <a:pt x="2100" y="952"/>
                  </a:lnTo>
                  <a:lnTo>
                    <a:pt x="2069" y="962"/>
                  </a:lnTo>
                  <a:lnTo>
                    <a:pt x="2046" y="958"/>
                  </a:lnTo>
                  <a:lnTo>
                    <a:pt x="2037" y="967"/>
                  </a:lnTo>
                  <a:lnTo>
                    <a:pt x="2032" y="983"/>
                  </a:lnTo>
                  <a:lnTo>
                    <a:pt x="2029" y="997"/>
                  </a:lnTo>
                  <a:lnTo>
                    <a:pt x="2048" y="1021"/>
                  </a:lnTo>
                  <a:lnTo>
                    <a:pt x="2076" y="1040"/>
                  </a:lnTo>
                  <a:lnTo>
                    <a:pt x="2093" y="1070"/>
                  </a:lnTo>
                  <a:lnTo>
                    <a:pt x="2117" y="1079"/>
                  </a:lnTo>
                  <a:lnTo>
                    <a:pt x="2128" y="1079"/>
                  </a:lnTo>
                  <a:lnTo>
                    <a:pt x="2154" y="1048"/>
                  </a:lnTo>
                  <a:lnTo>
                    <a:pt x="2178" y="1038"/>
                  </a:lnTo>
                  <a:lnTo>
                    <a:pt x="2210" y="1060"/>
                  </a:lnTo>
                  <a:lnTo>
                    <a:pt x="2233" y="1055"/>
                  </a:lnTo>
                  <a:lnTo>
                    <a:pt x="2259" y="1063"/>
                  </a:lnTo>
                  <a:lnTo>
                    <a:pt x="2252" y="1085"/>
                  </a:lnTo>
                  <a:lnTo>
                    <a:pt x="2244" y="1096"/>
                  </a:lnTo>
                  <a:lnTo>
                    <a:pt x="2238" y="1085"/>
                  </a:lnTo>
                  <a:lnTo>
                    <a:pt x="2227" y="1087"/>
                  </a:lnTo>
                  <a:lnTo>
                    <a:pt x="2216" y="1099"/>
                  </a:lnTo>
                  <a:lnTo>
                    <a:pt x="2178" y="1108"/>
                  </a:lnTo>
                  <a:lnTo>
                    <a:pt x="2179" y="1118"/>
                  </a:lnTo>
                  <a:lnTo>
                    <a:pt x="2167" y="1136"/>
                  </a:lnTo>
                  <a:lnTo>
                    <a:pt x="2159" y="1138"/>
                  </a:lnTo>
                  <a:lnTo>
                    <a:pt x="2156" y="1128"/>
                  </a:lnTo>
                  <a:lnTo>
                    <a:pt x="2147" y="1128"/>
                  </a:lnTo>
                  <a:lnTo>
                    <a:pt x="2142" y="1136"/>
                  </a:lnTo>
                  <a:lnTo>
                    <a:pt x="2149" y="1144"/>
                  </a:lnTo>
                  <a:lnTo>
                    <a:pt x="2144" y="1150"/>
                  </a:lnTo>
                  <a:lnTo>
                    <a:pt x="2124" y="1167"/>
                  </a:lnTo>
                  <a:lnTo>
                    <a:pt x="2102" y="1206"/>
                  </a:lnTo>
                  <a:lnTo>
                    <a:pt x="2103" y="1212"/>
                  </a:lnTo>
                  <a:lnTo>
                    <a:pt x="2149" y="1237"/>
                  </a:lnTo>
                  <a:lnTo>
                    <a:pt x="2164" y="1265"/>
                  </a:lnTo>
                  <a:lnTo>
                    <a:pt x="2181" y="1325"/>
                  </a:lnTo>
                  <a:lnTo>
                    <a:pt x="2199" y="1342"/>
                  </a:lnTo>
                  <a:lnTo>
                    <a:pt x="2201" y="1350"/>
                  </a:lnTo>
                  <a:lnTo>
                    <a:pt x="2225" y="1379"/>
                  </a:lnTo>
                  <a:lnTo>
                    <a:pt x="2166" y="1360"/>
                  </a:lnTo>
                  <a:lnTo>
                    <a:pt x="2144" y="1365"/>
                  </a:lnTo>
                  <a:lnTo>
                    <a:pt x="2144" y="1370"/>
                  </a:lnTo>
                  <a:lnTo>
                    <a:pt x="2166" y="1365"/>
                  </a:lnTo>
                  <a:lnTo>
                    <a:pt x="2173" y="1375"/>
                  </a:lnTo>
                  <a:lnTo>
                    <a:pt x="2192" y="1382"/>
                  </a:lnTo>
                  <a:lnTo>
                    <a:pt x="2208" y="1397"/>
                  </a:lnTo>
                  <a:lnTo>
                    <a:pt x="2213" y="1399"/>
                  </a:lnTo>
                  <a:lnTo>
                    <a:pt x="2225" y="1419"/>
                  </a:lnTo>
                  <a:lnTo>
                    <a:pt x="2176" y="1449"/>
                  </a:lnTo>
                  <a:lnTo>
                    <a:pt x="2154" y="1452"/>
                  </a:lnTo>
                  <a:lnTo>
                    <a:pt x="2154" y="1455"/>
                  </a:lnTo>
                  <a:lnTo>
                    <a:pt x="2175" y="1463"/>
                  </a:lnTo>
                  <a:lnTo>
                    <a:pt x="2192" y="1455"/>
                  </a:lnTo>
                  <a:lnTo>
                    <a:pt x="2213" y="1472"/>
                  </a:lnTo>
                  <a:lnTo>
                    <a:pt x="2230" y="1475"/>
                  </a:lnTo>
                  <a:lnTo>
                    <a:pt x="2205" y="1495"/>
                  </a:lnTo>
                  <a:lnTo>
                    <a:pt x="2221" y="1490"/>
                  </a:lnTo>
                  <a:lnTo>
                    <a:pt x="2221" y="1502"/>
                  </a:lnTo>
                  <a:lnTo>
                    <a:pt x="2221" y="1511"/>
                  </a:lnTo>
                  <a:lnTo>
                    <a:pt x="2205" y="1512"/>
                  </a:lnTo>
                  <a:lnTo>
                    <a:pt x="2210" y="1524"/>
                  </a:lnTo>
                  <a:lnTo>
                    <a:pt x="2198" y="1565"/>
                  </a:lnTo>
                  <a:lnTo>
                    <a:pt x="2192" y="1557"/>
                  </a:lnTo>
                  <a:lnTo>
                    <a:pt x="2187" y="1562"/>
                  </a:lnTo>
                  <a:lnTo>
                    <a:pt x="2175" y="1580"/>
                  </a:lnTo>
                  <a:lnTo>
                    <a:pt x="2162" y="1600"/>
                  </a:lnTo>
                  <a:lnTo>
                    <a:pt x="2147" y="1625"/>
                  </a:lnTo>
                  <a:lnTo>
                    <a:pt x="2133" y="1650"/>
                  </a:lnTo>
                  <a:lnTo>
                    <a:pt x="2130" y="1636"/>
                  </a:lnTo>
                  <a:lnTo>
                    <a:pt x="2117" y="1642"/>
                  </a:lnTo>
                  <a:lnTo>
                    <a:pt x="2124" y="1659"/>
                  </a:lnTo>
                  <a:lnTo>
                    <a:pt x="2111" y="1692"/>
                  </a:lnTo>
                  <a:lnTo>
                    <a:pt x="2110" y="1705"/>
                  </a:lnTo>
                  <a:lnTo>
                    <a:pt x="2102" y="1701"/>
                  </a:lnTo>
                  <a:lnTo>
                    <a:pt x="2100" y="1713"/>
                  </a:lnTo>
                  <a:lnTo>
                    <a:pt x="2088" y="1717"/>
                  </a:lnTo>
                  <a:lnTo>
                    <a:pt x="2071" y="1747"/>
                  </a:lnTo>
                  <a:lnTo>
                    <a:pt x="2051" y="1747"/>
                  </a:lnTo>
                  <a:lnTo>
                    <a:pt x="2044" y="1752"/>
                  </a:lnTo>
                  <a:lnTo>
                    <a:pt x="2048" y="1760"/>
                  </a:lnTo>
                  <a:lnTo>
                    <a:pt x="2044" y="1768"/>
                  </a:lnTo>
                  <a:lnTo>
                    <a:pt x="2029" y="1778"/>
                  </a:lnTo>
                  <a:lnTo>
                    <a:pt x="2026" y="1788"/>
                  </a:lnTo>
                  <a:lnTo>
                    <a:pt x="2023" y="1781"/>
                  </a:lnTo>
                  <a:lnTo>
                    <a:pt x="2018" y="1794"/>
                  </a:lnTo>
                  <a:lnTo>
                    <a:pt x="1995" y="1798"/>
                  </a:lnTo>
                  <a:lnTo>
                    <a:pt x="1972" y="1827"/>
                  </a:lnTo>
                  <a:lnTo>
                    <a:pt x="1947" y="1837"/>
                  </a:lnTo>
                  <a:lnTo>
                    <a:pt x="1935" y="1834"/>
                  </a:lnTo>
                  <a:lnTo>
                    <a:pt x="1926" y="1842"/>
                  </a:lnTo>
                  <a:lnTo>
                    <a:pt x="1913" y="1834"/>
                  </a:lnTo>
                  <a:lnTo>
                    <a:pt x="1896" y="1845"/>
                  </a:lnTo>
                  <a:lnTo>
                    <a:pt x="1893" y="1837"/>
                  </a:lnTo>
                  <a:lnTo>
                    <a:pt x="1887" y="1840"/>
                  </a:lnTo>
                  <a:lnTo>
                    <a:pt x="1887" y="1849"/>
                  </a:lnTo>
                  <a:lnTo>
                    <a:pt x="1884" y="1854"/>
                  </a:lnTo>
                  <a:close/>
                  <a:moveTo>
                    <a:pt x="1698" y="1970"/>
                  </a:moveTo>
                  <a:lnTo>
                    <a:pt x="1700" y="1966"/>
                  </a:lnTo>
                  <a:lnTo>
                    <a:pt x="1715" y="1973"/>
                  </a:lnTo>
                  <a:lnTo>
                    <a:pt x="1718" y="1989"/>
                  </a:lnTo>
                  <a:lnTo>
                    <a:pt x="1712" y="1998"/>
                  </a:lnTo>
                  <a:lnTo>
                    <a:pt x="1697" y="2032"/>
                  </a:lnTo>
                  <a:lnTo>
                    <a:pt x="1678" y="2049"/>
                  </a:lnTo>
                  <a:lnTo>
                    <a:pt x="1667" y="2052"/>
                  </a:lnTo>
                  <a:lnTo>
                    <a:pt x="1661" y="2063"/>
                  </a:lnTo>
                  <a:lnTo>
                    <a:pt x="1622" y="2049"/>
                  </a:lnTo>
                  <a:lnTo>
                    <a:pt x="1616" y="2038"/>
                  </a:lnTo>
                  <a:lnTo>
                    <a:pt x="1613" y="2009"/>
                  </a:lnTo>
                  <a:lnTo>
                    <a:pt x="1655" y="1975"/>
                  </a:lnTo>
                  <a:lnTo>
                    <a:pt x="1698" y="197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57" name="Freeform 55">
              <a:extLst>
                <a:ext uri="{FF2B5EF4-FFF2-40B4-BE49-F238E27FC236}">
                  <a16:creationId xmlns:a16="http://schemas.microsoft.com/office/drawing/2014/main" id="{402C81C4-D10C-C743-8671-8573728FC4D1}"/>
                </a:ext>
              </a:extLst>
            </p:cNvPr>
            <p:cNvSpPr>
              <a:spLocks noChangeAspect="1" noEditPoints="1"/>
            </p:cNvSpPr>
            <p:nvPr/>
          </p:nvSpPr>
          <p:spPr bwMode="gray">
            <a:xfrm>
              <a:off x="7472872" y="3138756"/>
              <a:ext cx="108284" cy="180469"/>
            </a:xfrm>
            <a:custGeom>
              <a:avLst/>
              <a:gdLst>
                <a:gd name="T0" fmla="*/ 21 w 223"/>
                <a:gd name="T1" fmla="*/ 46 h 305"/>
                <a:gd name="T2" fmla="*/ 17 w 223"/>
                <a:gd name="T3" fmla="*/ 49 h 305"/>
                <a:gd name="T4" fmla="*/ 21 w 223"/>
                <a:gd name="T5" fmla="*/ 65 h 305"/>
                <a:gd name="T6" fmla="*/ 32 w 223"/>
                <a:gd name="T7" fmla="*/ 73 h 305"/>
                <a:gd name="T8" fmla="*/ 29 w 223"/>
                <a:gd name="T9" fmla="*/ 80 h 305"/>
                <a:gd name="T10" fmla="*/ 36 w 223"/>
                <a:gd name="T11" fmla="*/ 99 h 305"/>
                <a:gd name="T12" fmla="*/ 25 w 223"/>
                <a:gd name="T13" fmla="*/ 91 h 305"/>
                <a:gd name="T14" fmla="*/ 0 w 223"/>
                <a:gd name="T15" fmla="*/ 103 h 305"/>
                <a:gd name="T16" fmla="*/ 0 w 223"/>
                <a:gd name="T17" fmla="*/ 111 h 305"/>
                <a:gd name="T18" fmla="*/ 8 w 223"/>
                <a:gd name="T19" fmla="*/ 119 h 305"/>
                <a:gd name="T20" fmla="*/ 13 w 223"/>
                <a:gd name="T21" fmla="*/ 117 h 305"/>
                <a:gd name="T22" fmla="*/ 10 w 223"/>
                <a:gd name="T23" fmla="*/ 107 h 305"/>
                <a:gd name="T24" fmla="*/ 15 w 223"/>
                <a:gd name="T25" fmla="*/ 108 h 305"/>
                <a:gd name="T26" fmla="*/ 21 w 223"/>
                <a:gd name="T27" fmla="*/ 141 h 305"/>
                <a:gd name="T28" fmla="*/ 29 w 223"/>
                <a:gd name="T29" fmla="*/ 156 h 305"/>
                <a:gd name="T30" fmla="*/ 21 w 223"/>
                <a:gd name="T31" fmla="*/ 168 h 305"/>
                <a:gd name="T32" fmla="*/ 22 w 223"/>
                <a:gd name="T33" fmla="*/ 171 h 305"/>
                <a:gd name="T34" fmla="*/ 8 w 223"/>
                <a:gd name="T35" fmla="*/ 209 h 305"/>
                <a:gd name="T36" fmla="*/ 12 w 223"/>
                <a:gd name="T37" fmla="*/ 215 h 305"/>
                <a:gd name="T38" fmla="*/ 15 w 223"/>
                <a:gd name="T39" fmla="*/ 210 h 305"/>
                <a:gd name="T40" fmla="*/ 21 w 223"/>
                <a:gd name="T41" fmla="*/ 213 h 305"/>
                <a:gd name="T42" fmla="*/ 19 w 223"/>
                <a:gd name="T43" fmla="*/ 224 h 305"/>
                <a:gd name="T44" fmla="*/ 10 w 223"/>
                <a:gd name="T45" fmla="*/ 222 h 305"/>
                <a:gd name="T46" fmla="*/ 5 w 223"/>
                <a:gd name="T47" fmla="*/ 237 h 305"/>
                <a:gd name="T48" fmla="*/ 7 w 223"/>
                <a:gd name="T49" fmla="*/ 241 h 305"/>
                <a:gd name="T50" fmla="*/ 17 w 223"/>
                <a:gd name="T51" fmla="*/ 230 h 305"/>
                <a:gd name="T52" fmla="*/ 19 w 223"/>
                <a:gd name="T53" fmla="*/ 238 h 305"/>
                <a:gd name="T54" fmla="*/ 30 w 223"/>
                <a:gd name="T55" fmla="*/ 227 h 305"/>
                <a:gd name="T56" fmla="*/ 36 w 223"/>
                <a:gd name="T57" fmla="*/ 232 h 305"/>
                <a:gd name="T58" fmla="*/ 56 w 223"/>
                <a:gd name="T59" fmla="*/ 217 h 305"/>
                <a:gd name="T60" fmla="*/ 49 w 223"/>
                <a:gd name="T61" fmla="*/ 226 h 305"/>
                <a:gd name="T62" fmla="*/ 56 w 223"/>
                <a:gd name="T63" fmla="*/ 229 h 305"/>
                <a:gd name="T64" fmla="*/ 61 w 223"/>
                <a:gd name="T65" fmla="*/ 226 h 305"/>
                <a:gd name="T66" fmla="*/ 61 w 223"/>
                <a:gd name="T67" fmla="*/ 212 h 305"/>
                <a:gd name="T68" fmla="*/ 67 w 223"/>
                <a:gd name="T69" fmla="*/ 220 h 305"/>
                <a:gd name="T70" fmla="*/ 75 w 223"/>
                <a:gd name="T71" fmla="*/ 212 h 305"/>
                <a:gd name="T72" fmla="*/ 71 w 223"/>
                <a:gd name="T73" fmla="*/ 207 h 305"/>
                <a:gd name="T74" fmla="*/ 81 w 223"/>
                <a:gd name="T75" fmla="*/ 204 h 305"/>
                <a:gd name="T76" fmla="*/ 98 w 223"/>
                <a:gd name="T77" fmla="*/ 207 h 305"/>
                <a:gd name="T78" fmla="*/ 101 w 223"/>
                <a:gd name="T79" fmla="*/ 212 h 305"/>
                <a:gd name="T80" fmla="*/ 113 w 223"/>
                <a:gd name="T81" fmla="*/ 193 h 305"/>
                <a:gd name="T82" fmla="*/ 130 w 223"/>
                <a:gd name="T83" fmla="*/ 195 h 305"/>
                <a:gd name="T84" fmla="*/ 147 w 223"/>
                <a:gd name="T85" fmla="*/ 181 h 305"/>
                <a:gd name="T86" fmla="*/ 161 w 223"/>
                <a:gd name="T87" fmla="*/ 144 h 305"/>
                <a:gd name="T88" fmla="*/ 155 w 223"/>
                <a:gd name="T89" fmla="*/ 144 h 305"/>
                <a:gd name="T90" fmla="*/ 154 w 223"/>
                <a:gd name="T91" fmla="*/ 94 h 305"/>
                <a:gd name="T92" fmla="*/ 146 w 223"/>
                <a:gd name="T93" fmla="*/ 61 h 305"/>
                <a:gd name="T94" fmla="*/ 104 w 223"/>
                <a:gd name="T95" fmla="*/ 0 h 305"/>
                <a:gd name="T96" fmla="*/ 78 w 223"/>
                <a:gd name="T97" fmla="*/ 18 h 305"/>
                <a:gd name="T98" fmla="*/ 49 w 223"/>
                <a:gd name="T99" fmla="*/ 18 h 305"/>
                <a:gd name="T100" fmla="*/ 21 w 223"/>
                <a:gd name="T101" fmla="*/ 46 h 305"/>
                <a:gd name="T102" fmla="*/ 219 w 223"/>
                <a:gd name="T103" fmla="*/ 57 h 305"/>
                <a:gd name="T104" fmla="*/ 219 w 223"/>
                <a:gd name="T105" fmla="*/ 63 h 305"/>
                <a:gd name="T106" fmla="*/ 223 w 223"/>
                <a:gd name="T107" fmla="*/ 60 h 305"/>
                <a:gd name="T108" fmla="*/ 219 w 223"/>
                <a:gd name="T109" fmla="*/ 57 h 305"/>
                <a:gd name="T110" fmla="*/ 8 w 223"/>
                <a:gd name="T111" fmla="*/ 294 h 305"/>
                <a:gd name="T112" fmla="*/ 5 w 223"/>
                <a:gd name="T113" fmla="*/ 303 h 305"/>
                <a:gd name="T114" fmla="*/ 13 w 223"/>
                <a:gd name="T115" fmla="*/ 305 h 305"/>
                <a:gd name="T116" fmla="*/ 25 w 223"/>
                <a:gd name="T117" fmla="*/ 303 h 305"/>
                <a:gd name="T118" fmla="*/ 36 w 223"/>
                <a:gd name="T119" fmla="*/ 294 h 305"/>
                <a:gd name="T120" fmla="*/ 36 w 223"/>
                <a:gd name="T121" fmla="*/ 286 h 305"/>
                <a:gd name="T122" fmla="*/ 8 w 223"/>
                <a:gd name="T123" fmla="*/ 29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3" h="305">
                  <a:moveTo>
                    <a:pt x="21" y="46"/>
                  </a:moveTo>
                  <a:lnTo>
                    <a:pt x="17" y="49"/>
                  </a:lnTo>
                  <a:lnTo>
                    <a:pt x="21" y="65"/>
                  </a:lnTo>
                  <a:lnTo>
                    <a:pt x="32" y="73"/>
                  </a:lnTo>
                  <a:lnTo>
                    <a:pt x="29" y="80"/>
                  </a:lnTo>
                  <a:lnTo>
                    <a:pt x="36" y="99"/>
                  </a:lnTo>
                  <a:lnTo>
                    <a:pt x="25" y="91"/>
                  </a:lnTo>
                  <a:lnTo>
                    <a:pt x="0" y="103"/>
                  </a:lnTo>
                  <a:lnTo>
                    <a:pt x="0" y="111"/>
                  </a:lnTo>
                  <a:lnTo>
                    <a:pt x="8" y="119"/>
                  </a:lnTo>
                  <a:lnTo>
                    <a:pt x="13" y="117"/>
                  </a:lnTo>
                  <a:lnTo>
                    <a:pt x="10" y="107"/>
                  </a:lnTo>
                  <a:lnTo>
                    <a:pt x="15" y="108"/>
                  </a:lnTo>
                  <a:lnTo>
                    <a:pt x="21" y="141"/>
                  </a:lnTo>
                  <a:lnTo>
                    <a:pt x="29" y="156"/>
                  </a:lnTo>
                  <a:lnTo>
                    <a:pt x="21" y="168"/>
                  </a:lnTo>
                  <a:lnTo>
                    <a:pt x="22" y="171"/>
                  </a:lnTo>
                  <a:lnTo>
                    <a:pt x="8" y="209"/>
                  </a:lnTo>
                  <a:lnTo>
                    <a:pt x="12" y="215"/>
                  </a:lnTo>
                  <a:lnTo>
                    <a:pt x="15" y="210"/>
                  </a:lnTo>
                  <a:lnTo>
                    <a:pt x="21" y="213"/>
                  </a:lnTo>
                  <a:lnTo>
                    <a:pt x="19" y="224"/>
                  </a:lnTo>
                  <a:lnTo>
                    <a:pt x="10" y="222"/>
                  </a:lnTo>
                  <a:lnTo>
                    <a:pt x="5" y="237"/>
                  </a:lnTo>
                  <a:lnTo>
                    <a:pt x="7" y="241"/>
                  </a:lnTo>
                  <a:lnTo>
                    <a:pt x="17" y="230"/>
                  </a:lnTo>
                  <a:lnTo>
                    <a:pt x="19" y="238"/>
                  </a:lnTo>
                  <a:lnTo>
                    <a:pt x="30" y="227"/>
                  </a:lnTo>
                  <a:lnTo>
                    <a:pt x="36" y="232"/>
                  </a:lnTo>
                  <a:lnTo>
                    <a:pt x="56" y="217"/>
                  </a:lnTo>
                  <a:lnTo>
                    <a:pt x="49" y="226"/>
                  </a:lnTo>
                  <a:lnTo>
                    <a:pt x="56" y="229"/>
                  </a:lnTo>
                  <a:lnTo>
                    <a:pt x="61" y="226"/>
                  </a:lnTo>
                  <a:lnTo>
                    <a:pt x="61" y="212"/>
                  </a:lnTo>
                  <a:lnTo>
                    <a:pt x="67" y="220"/>
                  </a:lnTo>
                  <a:lnTo>
                    <a:pt x="75" y="212"/>
                  </a:lnTo>
                  <a:lnTo>
                    <a:pt x="71" y="207"/>
                  </a:lnTo>
                  <a:lnTo>
                    <a:pt x="81" y="204"/>
                  </a:lnTo>
                  <a:lnTo>
                    <a:pt x="98" y="207"/>
                  </a:lnTo>
                  <a:lnTo>
                    <a:pt x="101" y="212"/>
                  </a:lnTo>
                  <a:lnTo>
                    <a:pt x="113" y="193"/>
                  </a:lnTo>
                  <a:lnTo>
                    <a:pt x="130" y="195"/>
                  </a:lnTo>
                  <a:lnTo>
                    <a:pt x="147" y="181"/>
                  </a:lnTo>
                  <a:lnTo>
                    <a:pt x="161" y="144"/>
                  </a:lnTo>
                  <a:lnTo>
                    <a:pt x="155" y="144"/>
                  </a:lnTo>
                  <a:lnTo>
                    <a:pt x="154" y="94"/>
                  </a:lnTo>
                  <a:lnTo>
                    <a:pt x="146" y="61"/>
                  </a:lnTo>
                  <a:lnTo>
                    <a:pt x="104" y="0"/>
                  </a:lnTo>
                  <a:lnTo>
                    <a:pt x="78" y="18"/>
                  </a:lnTo>
                  <a:lnTo>
                    <a:pt x="49" y="18"/>
                  </a:lnTo>
                  <a:lnTo>
                    <a:pt x="21" y="46"/>
                  </a:lnTo>
                  <a:close/>
                  <a:moveTo>
                    <a:pt x="219" y="57"/>
                  </a:moveTo>
                  <a:lnTo>
                    <a:pt x="219" y="63"/>
                  </a:lnTo>
                  <a:lnTo>
                    <a:pt x="223" y="60"/>
                  </a:lnTo>
                  <a:lnTo>
                    <a:pt x="219" y="57"/>
                  </a:lnTo>
                  <a:close/>
                  <a:moveTo>
                    <a:pt x="8" y="294"/>
                  </a:moveTo>
                  <a:lnTo>
                    <a:pt x="5" y="303"/>
                  </a:lnTo>
                  <a:lnTo>
                    <a:pt x="13" y="305"/>
                  </a:lnTo>
                  <a:lnTo>
                    <a:pt x="25" y="303"/>
                  </a:lnTo>
                  <a:lnTo>
                    <a:pt x="36" y="294"/>
                  </a:lnTo>
                  <a:lnTo>
                    <a:pt x="36" y="286"/>
                  </a:lnTo>
                  <a:lnTo>
                    <a:pt x="8" y="294"/>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58" name="Freeform 56">
              <a:extLst>
                <a:ext uri="{FF2B5EF4-FFF2-40B4-BE49-F238E27FC236}">
                  <a16:creationId xmlns:a16="http://schemas.microsoft.com/office/drawing/2014/main" id="{3B235848-A223-0F46-A3A6-A0A97F741358}"/>
                </a:ext>
              </a:extLst>
            </p:cNvPr>
            <p:cNvSpPr>
              <a:spLocks noChangeAspect="1" noEditPoints="1"/>
            </p:cNvSpPr>
            <p:nvPr/>
          </p:nvSpPr>
          <p:spPr bwMode="gray">
            <a:xfrm>
              <a:off x="5628845" y="3092679"/>
              <a:ext cx="428363" cy="472289"/>
            </a:xfrm>
            <a:custGeom>
              <a:avLst/>
              <a:gdLst>
                <a:gd name="T0" fmla="*/ 835 w 882"/>
                <a:gd name="T1" fmla="*/ 738 h 805"/>
                <a:gd name="T2" fmla="*/ 882 w 882"/>
                <a:gd name="T3" fmla="*/ 704 h 805"/>
                <a:gd name="T4" fmla="*/ 806 w 882"/>
                <a:gd name="T5" fmla="*/ 621 h 805"/>
                <a:gd name="T6" fmla="*/ 774 w 882"/>
                <a:gd name="T7" fmla="*/ 564 h 805"/>
                <a:gd name="T8" fmla="*/ 808 w 882"/>
                <a:gd name="T9" fmla="*/ 492 h 805"/>
                <a:gd name="T10" fmla="*/ 766 w 882"/>
                <a:gd name="T11" fmla="*/ 458 h 805"/>
                <a:gd name="T12" fmla="*/ 766 w 882"/>
                <a:gd name="T13" fmla="*/ 364 h 805"/>
                <a:gd name="T14" fmla="*/ 754 w 882"/>
                <a:gd name="T15" fmla="*/ 335 h 805"/>
                <a:gd name="T16" fmla="*/ 772 w 882"/>
                <a:gd name="T17" fmla="*/ 307 h 805"/>
                <a:gd name="T18" fmla="*/ 791 w 882"/>
                <a:gd name="T19" fmla="*/ 234 h 805"/>
                <a:gd name="T20" fmla="*/ 709 w 882"/>
                <a:gd name="T21" fmla="*/ 154 h 805"/>
                <a:gd name="T22" fmla="*/ 615 w 882"/>
                <a:gd name="T23" fmla="*/ 108 h 805"/>
                <a:gd name="T24" fmla="*/ 559 w 882"/>
                <a:gd name="T25" fmla="*/ 101 h 805"/>
                <a:gd name="T26" fmla="*/ 451 w 882"/>
                <a:gd name="T27" fmla="*/ 138 h 805"/>
                <a:gd name="T28" fmla="*/ 347 w 882"/>
                <a:gd name="T29" fmla="*/ 189 h 805"/>
                <a:gd name="T30" fmla="*/ 256 w 882"/>
                <a:gd name="T31" fmla="*/ 144 h 805"/>
                <a:gd name="T32" fmla="*/ 203 w 882"/>
                <a:gd name="T33" fmla="*/ 78 h 805"/>
                <a:gd name="T34" fmla="*/ 186 w 882"/>
                <a:gd name="T35" fmla="*/ 19 h 805"/>
                <a:gd name="T36" fmla="*/ 118 w 882"/>
                <a:gd name="T37" fmla="*/ 56 h 805"/>
                <a:gd name="T38" fmla="*/ 84 w 882"/>
                <a:gd name="T39" fmla="*/ 54 h 805"/>
                <a:gd name="T40" fmla="*/ 22 w 882"/>
                <a:gd name="T41" fmla="*/ 0 h 805"/>
                <a:gd name="T42" fmla="*/ 7 w 882"/>
                <a:gd name="T43" fmla="*/ 49 h 805"/>
                <a:gd name="T44" fmla="*/ 31 w 882"/>
                <a:gd name="T45" fmla="*/ 150 h 805"/>
                <a:gd name="T46" fmla="*/ 59 w 882"/>
                <a:gd name="T47" fmla="*/ 220 h 805"/>
                <a:gd name="T48" fmla="*/ 88 w 882"/>
                <a:gd name="T49" fmla="*/ 251 h 805"/>
                <a:gd name="T50" fmla="*/ 75 w 882"/>
                <a:gd name="T51" fmla="*/ 299 h 805"/>
                <a:gd name="T52" fmla="*/ 58 w 882"/>
                <a:gd name="T53" fmla="*/ 350 h 805"/>
                <a:gd name="T54" fmla="*/ 85 w 882"/>
                <a:gd name="T55" fmla="*/ 386 h 805"/>
                <a:gd name="T56" fmla="*/ 160 w 882"/>
                <a:gd name="T57" fmla="*/ 499 h 805"/>
                <a:gd name="T58" fmla="*/ 206 w 882"/>
                <a:gd name="T59" fmla="*/ 551 h 805"/>
                <a:gd name="T60" fmla="*/ 212 w 882"/>
                <a:gd name="T61" fmla="*/ 526 h 805"/>
                <a:gd name="T62" fmla="*/ 232 w 882"/>
                <a:gd name="T63" fmla="*/ 545 h 805"/>
                <a:gd name="T64" fmla="*/ 270 w 882"/>
                <a:gd name="T65" fmla="*/ 550 h 805"/>
                <a:gd name="T66" fmla="*/ 297 w 882"/>
                <a:gd name="T67" fmla="*/ 599 h 805"/>
                <a:gd name="T68" fmla="*/ 381 w 882"/>
                <a:gd name="T69" fmla="*/ 682 h 805"/>
                <a:gd name="T70" fmla="*/ 427 w 882"/>
                <a:gd name="T71" fmla="*/ 720 h 805"/>
                <a:gd name="T72" fmla="*/ 483 w 882"/>
                <a:gd name="T73" fmla="*/ 738 h 805"/>
                <a:gd name="T74" fmla="*/ 568 w 882"/>
                <a:gd name="T75" fmla="*/ 704 h 805"/>
                <a:gd name="T76" fmla="*/ 667 w 882"/>
                <a:gd name="T77" fmla="*/ 783 h 805"/>
                <a:gd name="T78" fmla="*/ 720 w 882"/>
                <a:gd name="T79" fmla="*/ 796 h 805"/>
                <a:gd name="T80" fmla="*/ 774 w 882"/>
                <a:gd name="T81" fmla="*/ 804 h 805"/>
                <a:gd name="T82" fmla="*/ 536 w 882"/>
                <a:gd name="T83" fmla="*/ 715 h 805"/>
                <a:gd name="T84" fmla="*/ 554 w 882"/>
                <a:gd name="T85" fmla="*/ 714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2" h="805">
                  <a:moveTo>
                    <a:pt x="806" y="805"/>
                  </a:moveTo>
                  <a:lnTo>
                    <a:pt x="817" y="757"/>
                  </a:lnTo>
                  <a:lnTo>
                    <a:pt x="835" y="738"/>
                  </a:lnTo>
                  <a:lnTo>
                    <a:pt x="869" y="728"/>
                  </a:lnTo>
                  <a:lnTo>
                    <a:pt x="881" y="715"/>
                  </a:lnTo>
                  <a:lnTo>
                    <a:pt x="882" y="704"/>
                  </a:lnTo>
                  <a:lnTo>
                    <a:pt x="862" y="697"/>
                  </a:lnTo>
                  <a:lnTo>
                    <a:pt x="859" y="650"/>
                  </a:lnTo>
                  <a:lnTo>
                    <a:pt x="806" y="621"/>
                  </a:lnTo>
                  <a:lnTo>
                    <a:pt x="789" y="585"/>
                  </a:lnTo>
                  <a:lnTo>
                    <a:pt x="771" y="567"/>
                  </a:lnTo>
                  <a:lnTo>
                    <a:pt x="774" y="564"/>
                  </a:lnTo>
                  <a:lnTo>
                    <a:pt x="785" y="542"/>
                  </a:lnTo>
                  <a:lnTo>
                    <a:pt x="803" y="520"/>
                  </a:lnTo>
                  <a:lnTo>
                    <a:pt x="808" y="492"/>
                  </a:lnTo>
                  <a:lnTo>
                    <a:pt x="794" y="471"/>
                  </a:lnTo>
                  <a:lnTo>
                    <a:pt x="774" y="467"/>
                  </a:lnTo>
                  <a:lnTo>
                    <a:pt x="766" y="458"/>
                  </a:lnTo>
                  <a:lnTo>
                    <a:pt x="766" y="418"/>
                  </a:lnTo>
                  <a:lnTo>
                    <a:pt x="757" y="395"/>
                  </a:lnTo>
                  <a:lnTo>
                    <a:pt x="766" y="364"/>
                  </a:lnTo>
                  <a:lnTo>
                    <a:pt x="766" y="355"/>
                  </a:lnTo>
                  <a:lnTo>
                    <a:pt x="754" y="350"/>
                  </a:lnTo>
                  <a:lnTo>
                    <a:pt x="754" y="335"/>
                  </a:lnTo>
                  <a:lnTo>
                    <a:pt x="754" y="327"/>
                  </a:lnTo>
                  <a:lnTo>
                    <a:pt x="772" y="318"/>
                  </a:lnTo>
                  <a:lnTo>
                    <a:pt x="772" y="307"/>
                  </a:lnTo>
                  <a:lnTo>
                    <a:pt x="783" y="288"/>
                  </a:lnTo>
                  <a:lnTo>
                    <a:pt x="789" y="245"/>
                  </a:lnTo>
                  <a:lnTo>
                    <a:pt x="791" y="234"/>
                  </a:lnTo>
                  <a:lnTo>
                    <a:pt x="785" y="188"/>
                  </a:lnTo>
                  <a:lnTo>
                    <a:pt x="763" y="188"/>
                  </a:lnTo>
                  <a:lnTo>
                    <a:pt x="709" y="154"/>
                  </a:lnTo>
                  <a:lnTo>
                    <a:pt x="698" y="132"/>
                  </a:lnTo>
                  <a:lnTo>
                    <a:pt x="659" y="127"/>
                  </a:lnTo>
                  <a:lnTo>
                    <a:pt x="615" y="108"/>
                  </a:lnTo>
                  <a:lnTo>
                    <a:pt x="596" y="90"/>
                  </a:lnTo>
                  <a:lnTo>
                    <a:pt x="566" y="90"/>
                  </a:lnTo>
                  <a:lnTo>
                    <a:pt x="559" y="101"/>
                  </a:lnTo>
                  <a:lnTo>
                    <a:pt x="519" y="101"/>
                  </a:lnTo>
                  <a:lnTo>
                    <a:pt x="478" y="135"/>
                  </a:lnTo>
                  <a:lnTo>
                    <a:pt x="451" y="138"/>
                  </a:lnTo>
                  <a:lnTo>
                    <a:pt x="458" y="172"/>
                  </a:lnTo>
                  <a:lnTo>
                    <a:pt x="424" y="174"/>
                  </a:lnTo>
                  <a:lnTo>
                    <a:pt x="347" y="189"/>
                  </a:lnTo>
                  <a:lnTo>
                    <a:pt x="302" y="169"/>
                  </a:lnTo>
                  <a:lnTo>
                    <a:pt x="279" y="142"/>
                  </a:lnTo>
                  <a:lnTo>
                    <a:pt x="256" y="144"/>
                  </a:lnTo>
                  <a:lnTo>
                    <a:pt x="229" y="130"/>
                  </a:lnTo>
                  <a:lnTo>
                    <a:pt x="219" y="78"/>
                  </a:lnTo>
                  <a:lnTo>
                    <a:pt x="203" y="78"/>
                  </a:lnTo>
                  <a:lnTo>
                    <a:pt x="177" y="59"/>
                  </a:lnTo>
                  <a:lnTo>
                    <a:pt x="192" y="47"/>
                  </a:lnTo>
                  <a:lnTo>
                    <a:pt x="186" y="19"/>
                  </a:lnTo>
                  <a:lnTo>
                    <a:pt x="172" y="10"/>
                  </a:lnTo>
                  <a:lnTo>
                    <a:pt x="141" y="24"/>
                  </a:lnTo>
                  <a:lnTo>
                    <a:pt x="118" y="56"/>
                  </a:lnTo>
                  <a:lnTo>
                    <a:pt x="107" y="54"/>
                  </a:lnTo>
                  <a:lnTo>
                    <a:pt x="88" y="58"/>
                  </a:lnTo>
                  <a:lnTo>
                    <a:pt x="84" y="54"/>
                  </a:lnTo>
                  <a:lnTo>
                    <a:pt x="59" y="53"/>
                  </a:lnTo>
                  <a:lnTo>
                    <a:pt x="28" y="8"/>
                  </a:lnTo>
                  <a:lnTo>
                    <a:pt x="22" y="0"/>
                  </a:lnTo>
                  <a:lnTo>
                    <a:pt x="13" y="20"/>
                  </a:lnTo>
                  <a:lnTo>
                    <a:pt x="0" y="27"/>
                  </a:lnTo>
                  <a:lnTo>
                    <a:pt x="7" y="49"/>
                  </a:lnTo>
                  <a:lnTo>
                    <a:pt x="7" y="116"/>
                  </a:lnTo>
                  <a:lnTo>
                    <a:pt x="29" y="137"/>
                  </a:lnTo>
                  <a:lnTo>
                    <a:pt x="31" y="150"/>
                  </a:lnTo>
                  <a:lnTo>
                    <a:pt x="34" y="180"/>
                  </a:lnTo>
                  <a:lnTo>
                    <a:pt x="53" y="201"/>
                  </a:lnTo>
                  <a:lnTo>
                    <a:pt x="59" y="220"/>
                  </a:lnTo>
                  <a:lnTo>
                    <a:pt x="68" y="228"/>
                  </a:lnTo>
                  <a:lnTo>
                    <a:pt x="101" y="234"/>
                  </a:lnTo>
                  <a:lnTo>
                    <a:pt x="88" y="251"/>
                  </a:lnTo>
                  <a:lnTo>
                    <a:pt x="93" y="268"/>
                  </a:lnTo>
                  <a:lnTo>
                    <a:pt x="75" y="294"/>
                  </a:lnTo>
                  <a:lnTo>
                    <a:pt x="75" y="299"/>
                  </a:lnTo>
                  <a:lnTo>
                    <a:pt x="65" y="308"/>
                  </a:lnTo>
                  <a:lnTo>
                    <a:pt x="56" y="336"/>
                  </a:lnTo>
                  <a:lnTo>
                    <a:pt x="58" y="350"/>
                  </a:lnTo>
                  <a:lnTo>
                    <a:pt x="70" y="353"/>
                  </a:lnTo>
                  <a:lnTo>
                    <a:pt x="85" y="376"/>
                  </a:lnTo>
                  <a:lnTo>
                    <a:pt x="85" y="386"/>
                  </a:lnTo>
                  <a:lnTo>
                    <a:pt x="146" y="424"/>
                  </a:lnTo>
                  <a:lnTo>
                    <a:pt x="163" y="460"/>
                  </a:lnTo>
                  <a:lnTo>
                    <a:pt x="160" y="499"/>
                  </a:lnTo>
                  <a:lnTo>
                    <a:pt x="172" y="506"/>
                  </a:lnTo>
                  <a:lnTo>
                    <a:pt x="178" y="530"/>
                  </a:lnTo>
                  <a:lnTo>
                    <a:pt x="206" y="551"/>
                  </a:lnTo>
                  <a:lnTo>
                    <a:pt x="207" y="543"/>
                  </a:lnTo>
                  <a:lnTo>
                    <a:pt x="214" y="543"/>
                  </a:lnTo>
                  <a:lnTo>
                    <a:pt x="212" y="526"/>
                  </a:lnTo>
                  <a:lnTo>
                    <a:pt x="217" y="525"/>
                  </a:lnTo>
                  <a:lnTo>
                    <a:pt x="228" y="530"/>
                  </a:lnTo>
                  <a:lnTo>
                    <a:pt x="232" y="545"/>
                  </a:lnTo>
                  <a:lnTo>
                    <a:pt x="248" y="557"/>
                  </a:lnTo>
                  <a:lnTo>
                    <a:pt x="265" y="547"/>
                  </a:lnTo>
                  <a:lnTo>
                    <a:pt x="270" y="550"/>
                  </a:lnTo>
                  <a:lnTo>
                    <a:pt x="283" y="576"/>
                  </a:lnTo>
                  <a:lnTo>
                    <a:pt x="290" y="579"/>
                  </a:lnTo>
                  <a:lnTo>
                    <a:pt x="297" y="599"/>
                  </a:lnTo>
                  <a:lnTo>
                    <a:pt x="314" y="613"/>
                  </a:lnTo>
                  <a:lnTo>
                    <a:pt x="337" y="667"/>
                  </a:lnTo>
                  <a:lnTo>
                    <a:pt x="381" y="682"/>
                  </a:lnTo>
                  <a:lnTo>
                    <a:pt x="396" y="704"/>
                  </a:lnTo>
                  <a:lnTo>
                    <a:pt x="430" y="715"/>
                  </a:lnTo>
                  <a:lnTo>
                    <a:pt x="427" y="720"/>
                  </a:lnTo>
                  <a:lnTo>
                    <a:pt x="435" y="728"/>
                  </a:lnTo>
                  <a:lnTo>
                    <a:pt x="452" y="726"/>
                  </a:lnTo>
                  <a:lnTo>
                    <a:pt x="483" y="738"/>
                  </a:lnTo>
                  <a:lnTo>
                    <a:pt x="515" y="726"/>
                  </a:lnTo>
                  <a:lnTo>
                    <a:pt x="528" y="715"/>
                  </a:lnTo>
                  <a:lnTo>
                    <a:pt x="568" y="704"/>
                  </a:lnTo>
                  <a:lnTo>
                    <a:pt x="588" y="715"/>
                  </a:lnTo>
                  <a:lnTo>
                    <a:pt x="611" y="777"/>
                  </a:lnTo>
                  <a:lnTo>
                    <a:pt x="667" y="783"/>
                  </a:lnTo>
                  <a:lnTo>
                    <a:pt x="690" y="794"/>
                  </a:lnTo>
                  <a:lnTo>
                    <a:pt x="695" y="788"/>
                  </a:lnTo>
                  <a:lnTo>
                    <a:pt x="720" y="796"/>
                  </a:lnTo>
                  <a:lnTo>
                    <a:pt x="749" y="797"/>
                  </a:lnTo>
                  <a:lnTo>
                    <a:pt x="754" y="792"/>
                  </a:lnTo>
                  <a:lnTo>
                    <a:pt x="774" y="804"/>
                  </a:lnTo>
                  <a:lnTo>
                    <a:pt x="806" y="805"/>
                  </a:lnTo>
                  <a:close/>
                  <a:moveTo>
                    <a:pt x="554" y="714"/>
                  </a:moveTo>
                  <a:lnTo>
                    <a:pt x="536" y="715"/>
                  </a:lnTo>
                  <a:lnTo>
                    <a:pt x="514" y="737"/>
                  </a:lnTo>
                  <a:lnTo>
                    <a:pt x="536" y="729"/>
                  </a:lnTo>
                  <a:lnTo>
                    <a:pt x="554" y="714"/>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59" name="Freeform 57">
              <a:extLst>
                <a:ext uri="{FF2B5EF4-FFF2-40B4-BE49-F238E27FC236}">
                  <a16:creationId xmlns:a16="http://schemas.microsoft.com/office/drawing/2014/main" id="{C91E6DA3-E465-AF44-8C14-1A68AB18CECE}"/>
                </a:ext>
              </a:extLst>
            </p:cNvPr>
            <p:cNvSpPr>
              <a:spLocks noChangeAspect="1" noEditPoints="1"/>
            </p:cNvSpPr>
            <p:nvPr/>
          </p:nvSpPr>
          <p:spPr bwMode="gray">
            <a:xfrm>
              <a:off x="5783309" y="3536168"/>
              <a:ext cx="117839" cy="107512"/>
            </a:xfrm>
            <a:custGeom>
              <a:avLst/>
              <a:gdLst>
                <a:gd name="T0" fmla="*/ 121 w 244"/>
                <a:gd name="T1" fmla="*/ 97 h 180"/>
                <a:gd name="T2" fmla="*/ 134 w 244"/>
                <a:gd name="T3" fmla="*/ 95 h 180"/>
                <a:gd name="T4" fmla="*/ 127 w 244"/>
                <a:gd name="T5" fmla="*/ 90 h 180"/>
                <a:gd name="T6" fmla="*/ 121 w 244"/>
                <a:gd name="T7" fmla="*/ 97 h 180"/>
                <a:gd name="T8" fmla="*/ 183 w 244"/>
                <a:gd name="T9" fmla="*/ 180 h 180"/>
                <a:gd name="T10" fmla="*/ 149 w 244"/>
                <a:gd name="T11" fmla="*/ 174 h 180"/>
                <a:gd name="T12" fmla="*/ 113 w 244"/>
                <a:gd name="T13" fmla="*/ 168 h 180"/>
                <a:gd name="T14" fmla="*/ 79 w 244"/>
                <a:gd name="T15" fmla="*/ 161 h 180"/>
                <a:gd name="T16" fmla="*/ 44 w 244"/>
                <a:gd name="T17" fmla="*/ 156 h 180"/>
                <a:gd name="T18" fmla="*/ 30 w 244"/>
                <a:gd name="T19" fmla="*/ 114 h 180"/>
                <a:gd name="T20" fmla="*/ 3 w 244"/>
                <a:gd name="T21" fmla="*/ 90 h 180"/>
                <a:gd name="T22" fmla="*/ 0 w 244"/>
                <a:gd name="T23" fmla="*/ 78 h 180"/>
                <a:gd name="T24" fmla="*/ 17 w 244"/>
                <a:gd name="T25" fmla="*/ 72 h 180"/>
                <a:gd name="T26" fmla="*/ 14 w 244"/>
                <a:gd name="T27" fmla="*/ 90 h 180"/>
                <a:gd name="T28" fmla="*/ 30 w 244"/>
                <a:gd name="T29" fmla="*/ 90 h 180"/>
                <a:gd name="T30" fmla="*/ 36 w 244"/>
                <a:gd name="T31" fmla="*/ 104 h 180"/>
                <a:gd name="T32" fmla="*/ 59 w 244"/>
                <a:gd name="T33" fmla="*/ 106 h 180"/>
                <a:gd name="T34" fmla="*/ 75 w 244"/>
                <a:gd name="T35" fmla="*/ 95 h 180"/>
                <a:gd name="T36" fmla="*/ 135 w 244"/>
                <a:gd name="T37" fmla="*/ 100 h 180"/>
                <a:gd name="T38" fmla="*/ 155 w 244"/>
                <a:gd name="T39" fmla="*/ 89 h 180"/>
                <a:gd name="T40" fmla="*/ 155 w 244"/>
                <a:gd name="T41" fmla="*/ 81 h 180"/>
                <a:gd name="T42" fmla="*/ 163 w 244"/>
                <a:gd name="T43" fmla="*/ 80 h 180"/>
                <a:gd name="T44" fmla="*/ 166 w 244"/>
                <a:gd name="T45" fmla="*/ 68 h 180"/>
                <a:gd name="T46" fmla="*/ 200 w 244"/>
                <a:gd name="T47" fmla="*/ 39 h 180"/>
                <a:gd name="T48" fmla="*/ 231 w 244"/>
                <a:gd name="T49" fmla="*/ 0 h 180"/>
                <a:gd name="T50" fmla="*/ 232 w 244"/>
                <a:gd name="T51" fmla="*/ 19 h 180"/>
                <a:gd name="T52" fmla="*/ 240 w 244"/>
                <a:gd name="T53" fmla="*/ 21 h 180"/>
                <a:gd name="T54" fmla="*/ 244 w 244"/>
                <a:gd name="T55" fmla="*/ 61 h 180"/>
                <a:gd name="T56" fmla="*/ 231 w 244"/>
                <a:gd name="T57" fmla="*/ 61 h 180"/>
                <a:gd name="T58" fmla="*/ 215 w 244"/>
                <a:gd name="T59" fmla="*/ 61 h 180"/>
                <a:gd name="T60" fmla="*/ 222 w 244"/>
                <a:gd name="T61" fmla="*/ 81 h 180"/>
                <a:gd name="T62" fmla="*/ 229 w 244"/>
                <a:gd name="T63" fmla="*/ 100 h 180"/>
                <a:gd name="T64" fmla="*/ 202 w 244"/>
                <a:gd name="T65" fmla="*/ 110 h 180"/>
                <a:gd name="T66" fmla="*/ 197 w 244"/>
                <a:gd name="T67" fmla="*/ 141 h 180"/>
                <a:gd name="T68" fmla="*/ 194 w 244"/>
                <a:gd name="T69" fmla="*/ 171 h 180"/>
                <a:gd name="T70" fmla="*/ 183 w 244"/>
                <a:gd name="T7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4" h="180">
                  <a:moveTo>
                    <a:pt x="121" y="97"/>
                  </a:moveTo>
                  <a:lnTo>
                    <a:pt x="134" y="95"/>
                  </a:lnTo>
                  <a:lnTo>
                    <a:pt x="127" y="90"/>
                  </a:lnTo>
                  <a:lnTo>
                    <a:pt x="121" y="97"/>
                  </a:lnTo>
                  <a:close/>
                  <a:moveTo>
                    <a:pt x="183" y="180"/>
                  </a:moveTo>
                  <a:lnTo>
                    <a:pt x="149" y="174"/>
                  </a:lnTo>
                  <a:lnTo>
                    <a:pt x="113" y="168"/>
                  </a:lnTo>
                  <a:lnTo>
                    <a:pt x="79" y="161"/>
                  </a:lnTo>
                  <a:lnTo>
                    <a:pt x="44" y="156"/>
                  </a:lnTo>
                  <a:lnTo>
                    <a:pt x="30" y="114"/>
                  </a:lnTo>
                  <a:lnTo>
                    <a:pt x="3" y="90"/>
                  </a:lnTo>
                  <a:lnTo>
                    <a:pt x="0" y="78"/>
                  </a:lnTo>
                  <a:lnTo>
                    <a:pt x="17" y="72"/>
                  </a:lnTo>
                  <a:lnTo>
                    <a:pt x="14" y="90"/>
                  </a:lnTo>
                  <a:lnTo>
                    <a:pt x="30" y="90"/>
                  </a:lnTo>
                  <a:lnTo>
                    <a:pt x="36" y="104"/>
                  </a:lnTo>
                  <a:lnTo>
                    <a:pt x="59" y="106"/>
                  </a:lnTo>
                  <a:lnTo>
                    <a:pt x="75" y="95"/>
                  </a:lnTo>
                  <a:lnTo>
                    <a:pt x="135" y="100"/>
                  </a:lnTo>
                  <a:lnTo>
                    <a:pt x="155" y="89"/>
                  </a:lnTo>
                  <a:lnTo>
                    <a:pt x="155" y="81"/>
                  </a:lnTo>
                  <a:lnTo>
                    <a:pt x="163" y="80"/>
                  </a:lnTo>
                  <a:lnTo>
                    <a:pt x="166" y="68"/>
                  </a:lnTo>
                  <a:lnTo>
                    <a:pt x="200" y="39"/>
                  </a:lnTo>
                  <a:lnTo>
                    <a:pt x="231" y="0"/>
                  </a:lnTo>
                  <a:lnTo>
                    <a:pt x="232" y="19"/>
                  </a:lnTo>
                  <a:lnTo>
                    <a:pt x="240" y="21"/>
                  </a:lnTo>
                  <a:lnTo>
                    <a:pt x="244" y="61"/>
                  </a:lnTo>
                  <a:lnTo>
                    <a:pt x="231" y="61"/>
                  </a:lnTo>
                  <a:lnTo>
                    <a:pt x="215" y="61"/>
                  </a:lnTo>
                  <a:lnTo>
                    <a:pt x="222" y="81"/>
                  </a:lnTo>
                  <a:lnTo>
                    <a:pt x="229" y="100"/>
                  </a:lnTo>
                  <a:lnTo>
                    <a:pt x="202" y="110"/>
                  </a:lnTo>
                  <a:lnTo>
                    <a:pt x="197" y="141"/>
                  </a:lnTo>
                  <a:lnTo>
                    <a:pt x="194" y="171"/>
                  </a:lnTo>
                  <a:lnTo>
                    <a:pt x="183" y="18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60" name="Freeform 58">
              <a:extLst>
                <a:ext uri="{FF2B5EF4-FFF2-40B4-BE49-F238E27FC236}">
                  <a16:creationId xmlns:a16="http://schemas.microsoft.com/office/drawing/2014/main" id="{EE3253F6-3169-DC45-AE12-9BC8131D4E8B}"/>
                </a:ext>
              </a:extLst>
            </p:cNvPr>
            <p:cNvSpPr>
              <a:spLocks noChangeAspect="1" noEditPoints="1"/>
            </p:cNvSpPr>
            <p:nvPr/>
          </p:nvSpPr>
          <p:spPr bwMode="gray">
            <a:xfrm>
              <a:off x="6611370" y="3524652"/>
              <a:ext cx="108284" cy="165110"/>
            </a:xfrm>
            <a:custGeom>
              <a:avLst/>
              <a:gdLst>
                <a:gd name="T0" fmla="*/ 203 w 220"/>
                <a:gd name="T1" fmla="*/ 280 h 280"/>
                <a:gd name="T2" fmla="*/ 204 w 220"/>
                <a:gd name="T3" fmla="*/ 258 h 280"/>
                <a:gd name="T4" fmla="*/ 210 w 220"/>
                <a:gd name="T5" fmla="*/ 255 h 280"/>
                <a:gd name="T6" fmla="*/ 220 w 220"/>
                <a:gd name="T7" fmla="*/ 258 h 280"/>
                <a:gd name="T8" fmla="*/ 218 w 220"/>
                <a:gd name="T9" fmla="*/ 231 h 280"/>
                <a:gd name="T10" fmla="*/ 212 w 220"/>
                <a:gd name="T11" fmla="*/ 179 h 280"/>
                <a:gd name="T12" fmla="*/ 196 w 220"/>
                <a:gd name="T13" fmla="*/ 138 h 280"/>
                <a:gd name="T14" fmla="*/ 190 w 220"/>
                <a:gd name="T15" fmla="*/ 138 h 280"/>
                <a:gd name="T16" fmla="*/ 182 w 220"/>
                <a:gd name="T17" fmla="*/ 150 h 280"/>
                <a:gd name="T18" fmla="*/ 172 w 220"/>
                <a:gd name="T19" fmla="*/ 175 h 280"/>
                <a:gd name="T20" fmla="*/ 162 w 220"/>
                <a:gd name="T21" fmla="*/ 162 h 280"/>
                <a:gd name="T22" fmla="*/ 153 w 220"/>
                <a:gd name="T23" fmla="*/ 161 h 280"/>
                <a:gd name="T24" fmla="*/ 147 w 220"/>
                <a:gd name="T25" fmla="*/ 131 h 280"/>
                <a:gd name="T26" fmla="*/ 149 w 220"/>
                <a:gd name="T27" fmla="*/ 125 h 280"/>
                <a:gd name="T28" fmla="*/ 179 w 220"/>
                <a:gd name="T29" fmla="*/ 102 h 280"/>
                <a:gd name="T30" fmla="*/ 203 w 220"/>
                <a:gd name="T31" fmla="*/ 72 h 280"/>
                <a:gd name="T32" fmla="*/ 170 w 220"/>
                <a:gd name="T33" fmla="*/ 62 h 280"/>
                <a:gd name="T34" fmla="*/ 98 w 220"/>
                <a:gd name="T35" fmla="*/ 62 h 280"/>
                <a:gd name="T36" fmla="*/ 85 w 220"/>
                <a:gd name="T37" fmla="*/ 50 h 280"/>
                <a:gd name="T38" fmla="*/ 76 w 220"/>
                <a:gd name="T39" fmla="*/ 14 h 280"/>
                <a:gd name="T40" fmla="*/ 69 w 220"/>
                <a:gd name="T41" fmla="*/ 26 h 280"/>
                <a:gd name="T42" fmla="*/ 60 w 220"/>
                <a:gd name="T43" fmla="*/ 21 h 280"/>
                <a:gd name="T44" fmla="*/ 57 w 220"/>
                <a:gd name="T45" fmla="*/ 25 h 280"/>
                <a:gd name="T46" fmla="*/ 49 w 220"/>
                <a:gd name="T47" fmla="*/ 4 h 280"/>
                <a:gd name="T48" fmla="*/ 43 w 220"/>
                <a:gd name="T49" fmla="*/ 3 h 280"/>
                <a:gd name="T50" fmla="*/ 40 w 220"/>
                <a:gd name="T51" fmla="*/ 20 h 280"/>
                <a:gd name="T52" fmla="*/ 26 w 220"/>
                <a:gd name="T53" fmla="*/ 0 h 280"/>
                <a:gd name="T54" fmla="*/ 8 w 220"/>
                <a:gd name="T55" fmla="*/ 31 h 280"/>
                <a:gd name="T56" fmla="*/ 14 w 220"/>
                <a:gd name="T57" fmla="*/ 46 h 280"/>
                <a:gd name="T58" fmla="*/ 32 w 220"/>
                <a:gd name="T59" fmla="*/ 50 h 280"/>
                <a:gd name="T60" fmla="*/ 35 w 220"/>
                <a:gd name="T61" fmla="*/ 62 h 280"/>
                <a:gd name="T62" fmla="*/ 18 w 220"/>
                <a:gd name="T63" fmla="*/ 63 h 280"/>
                <a:gd name="T64" fmla="*/ 15 w 220"/>
                <a:gd name="T65" fmla="*/ 71 h 280"/>
                <a:gd name="T66" fmla="*/ 5 w 220"/>
                <a:gd name="T67" fmla="*/ 74 h 280"/>
                <a:gd name="T68" fmla="*/ 0 w 220"/>
                <a:gd name="T69" fmla="*/ 85 h 280"/>
                <a:gd name="T70" fmla="*/ 28 w 220"/>
                <a:gd name="T71" fmla="*/ 110 h 280"/>
                <a:gd name="T72" fmla="*/ 26 w 220"/>
                <a:gd name="T73" fmla="*/ 144 h 280"/>
                <a:gd name="T74" fmla="*/ 35 w 220"/>
                <a:gd name="T75" fmla="*/ 167 h 280"/>
                <a:gd name="T76" fmla="*/ 34 w 220"/>
                <a:gd name="T77" fmla="*/ 189 h 280"/>
                <a:gd name="T78" fmla="*/ 40 w 220"/>
                <a:gd name="T79" fmla="*/ 201 h 280"/>
                <a:gd name="T80" fmla="*/ 47 w 220"/>
                <a:gd name="T81" fmla="*/ 244 h 280"/>
                <a:gd name="T82" fmla="*/ 79 w 220"/>
                <a:gd name="T83" fmla="*/ 233 h 280"/>
                <a:gd name="T84" fmla="*/ 82 w 220"/>
                <a:gd name="T85" fmla="*/ 240 h 280"/>
                <a:gd name="T86" fmla="*/ 96 w 220"/>
                <a:gd name="T87" fmla="*/ 223 h 280"/>
                <a:gd name="T88" fmla="*/ 108 w 220"/>
                <a:gd name="T89" fmla="*/ 236 h 280"/>
                <a:gd name="T90" fmla="*/ 125 w 220"/>
                <a:gd name="T91" fmla="*/ 215 h 280"/>
                <a:gd name="T92" fmla="*/ 122 w 220"/>
                <a:gd name="T93" fmla="*/ 194 h 280"/>
                <a:gd name="T94" fmla="*/ 133 w 220"/>
                <a:gd name="T95" fmla="*/ 179 h 280"/>
                <a:gd name="T96" fmla="*/ 145 w 220"/>
                <a:gd name="T97" fmla="*/ 192 h 280"/>
                <a:gd name="T98" fmla="*/ 166 w 220"/>
                <a:gd name="T99" fmla="*/ 187 h 280"/>
                <a:gd name="T100" fmla="*/ 170 w 220"/>
                <a:gd name="T101" fmla="*/ 192 h 280"/>
                <a:gd name="T102" fmla="*/ 186 w 220"/>
                <a:gd name="T103" fmla="*/ 215 h 280"/>
                <a:gd name="T104" fmla="*/ 196 w 220"/>
                <a:gd name="T105" fmla="*/ 269 h 280"/>
                <a:gd name="T106" fmla="*/ 203 w 220"/>
                <a:gd name="T107" fmla="*/ 280 h 280"/>
                <a:gd name="T108" fmla="*/ 127 w 220"/>
                <a:gd name="T109" fmla="*/ 192 h 280"/>
                <a:gd name="T110" fmla="*/ 128 w 220"/>
                <a:gd name="T111" fmla="*/ 209 h 280"/>
                <a:gd name="T112" fmla="*/ 133 w 220"/>
                <a:gd name="T113" fmla="*/ 212 h 280"/>
                <a:gd name="T114" fmla="*/ 139 w 220"/>
                <a:gd name="T115" fmla="*/ 199 h 280"/>
                <a:gd name="T116" fmla="*/ 133 w 220"/>
                <a:gd name="T117" fmla="*/ 190 h 280"/>
                <a:gd name="T118" fmla="*/ 127 w 220"/>
                <a:gd name="T119" fmla="*/ 19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0" h="280">
                  <a:moveTo>
                    <a:pt x="203" y="280"/>
                  </a:moveTo>
                  <a:lnTo>
                    <a:pt x="204" y="258"/>
                  </a:lnTo>
                  <a:lnTo>
                    <a:pt x="210" y="255"/>
                  </a:lnTo>
                  <a:lnTo>
                    <a:pt x="220" y="258"/>
                  </a:lnTo>
                  <a:lnTo>
                    <a:pt x="218" y="231"/>
                  </a:lnTo>
                  <a:lnTo>
                    <a:pt x="212" y="179"/>
                  </a:lnTo>
                  <a:lnTo>
                    <a:pt x="196" y="138"/>
                  </a:lnTo>
                  <a:lnTo>
                    <a:pt x="190" y="138"/>
                  </a:lnTo>
                  <a:lnTo>
                    <a:pt x="182" y="150"/>
                  </a:lnTo>
                  <a:lnTo>
                    <a:pt x="172" y="175"/>
                  </a:lnTo>
                  <a:lnTo>
                    <a:pt x="162" y="162"/>
                  </a:lnTo>
                  <a:lnTo>
                    <a:pt x="153" y="161"/>
                  </a:lnTo>
                  <a:lnTo>
                    <a:pt x="147" y="131"/>
                  </a:lnTo>
                  <a:lnTo>
                    <a:pt x="149" y="125"/>
                  </a:lnTo>
                  <a:lnTo>
                    <a:pt x="179" y="102"/>
                  </a:lnTo>
                  <a:lnTo>
                    <a:pt x="203" y="72"/>
                  </a:lnTo>
                  <a:lnTo>
                    <a:pt x="170" y="62"/>
                  </a:lnTo>
                  <a:lnTo>
                    <a:pt x="98" y="62"/>
                  </a:lnTo>
                  <a:lnTo>
                    <a:pt x="85" y="50"/>
                  </a:lnTo>
                  <a:lnTo>
                    <a:pt x="76" y="14"/>
                  </a:lnTo>
                  <a:lnTo>
                    <a:pt x="69" y="26"/>
                  </a:lnTo>
                  <a:lnTo>
                    <a:pt x="60" y="21"/>
                  </a:lnTo>
                  <a:lnTo>
                    <a:pt x="57" y="25"/>
                  </a:lnTo>
                  <a:lnTo>
                    <a:pt x="49" y="4"/>
                  </a:lnTo>
                  <a:lnTo>
                    <a:pt x="43" y="3"/>
                  </a:lnTo>
                  <a:lnTo>
                    <a:pt x="40" y="20"/>
                  </a:lnTo>
                  <a:lnTo>
                    <a:pt x="26" y="0"/>
                  </a:lnTo>
                  <a:lnTo>
                    <a:pt x="8" y="31"/>
                  </a:lnTo>
                  <a:lnTo>
                    <a:pt x="14" y="46"/>
                  </a:lnTo>
                  <a:lnTo>
                    <a:pt x="32" y="50"/>
                  </a:lnTo>
                  <a:lnTo>
                    <a:pt x="35" y="62"/>
                  </a:lnTo>
                  <a:lnTo>
                    <a:pt x="18" y="63"/>
                  </a:lnTo>
                  <a:lnTo>
                    <a:pt x="15" y="71"/>
                  </a:lnTo>
                  <a:lnTo>
                    <a:pt x="5" y="74"/>
                  </a:lnTo>
                  <a:lnTo>
                    <a:pt x="0" y="85"/>
                  </a:lnTo>
                  <a:lnTo>
                    <a:pt x="28" y="110"/>
                  </a:lnTo>
                  <a:lnTo>
                    <a:pt x="26" y="144"/>
                  </a:lnTo>
                  <a:lnTo>
                    <a:pt x="35" y="167"/>
                  </a:lnTo>
                  <a:lnTo>
                    <a:pt x="34" y="189"/>
                  </a:lnTo>
                  <a:lnTo>
                    <a:pt x="40" y="201"/>
                  </a:lnTo>
                  <a:lnTo>
                    <a:pt x="47" y="244"/>
                  </a:lnTo>
                  <a:lnTo>
                    <a:pt x="79" y="233"/>
                  </a:lnTo>
                  <a:lnTo>
                    <a:pt x="82" y="240"/>
                  </a:lnTo>
                  <a:lnTo>
                    <a:pt x="96" y="223"/>
                  </a:lnTo>
                  <a:lnTo>
                    <a:pt x="108" y="236"/>
                  </a:lnTo>
                  <a:lnTo>
                    <a:pt x="125" y="215"/>
                  </a:lnTo>
                  <a:lnTo>
                    <a:pt x="122" y="194"/>
                  </a:lnTo>
                  <a:lnTo>
                    <a:pt x="133" y="179"/>
                  </a:lnTo>
                  <a:lnTo>
                    <a:pt x="145" y="192"/>
                  </a:lnTo>
                  <a:lnTo>
                    <a:pt x="166" y="187"/>
                  </a:lnTo>
                  <a:lnTo>
                    <a:pt x="170" y="192"/>
                  </a:lnTo>
                  <a:lnTo>
                    <a:pt x="186" y="215"/>
                  </a:lnTo>
                  <a:lnTo>
                    <a:pt x="196" y="269"/>
                  </a:lnTo>
                  <a:lnTo>
                    <a:pt x="203" y="280"/>
                  </a:lnTo>
                  <a:close/>
                  <a:moveTo>
                    <a:pt x="127" y="192"/>
                  </a:moveTo>
                  <a:lnTo>
                    <a:pt x="128" y="209"/>
                  </a:lnTo>
                  <a:lnTo>
                    <a:pt x="133" y="212"/>
                  </a:lnTo>
                  <a:lnTo>
                    <a:pt x="139" y="199"/>
                  </a:lnTo>
                  <a:lnTo>
                    <a:pt x="133" y="190"/>
                  </a:lnTo>
                  <a:lnTo>
                    <a:pt x="127" y="192"/>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61" name="Freeform 59">
              <a:extLst>
                <a:ext uri="{FF2B5EF4-FFF2-40B4-BE49-F238E27FC236}">
                  <a16:creationId xmlns:a16="http://schemas.microsoft.com/office/drawing/2014/main" id="{6C7D3730-540B-4C43-8D07-E66D375CD4F7}"/>
                </a:ext>
              </a:extLst>
            </p:cNvPr>
            <p:cNvSpPr>
              <a:spLocks noChangeAspect="1" noEditPoints="1"/>
            </p:cNvSpPr>
            <p:nvPr/>
          </p:nvSpPr>
          <p:spPr bwMode="gray">
            <a:xfrm>
              <a:off x="5806600" y="3579750"/>
              <a:ext cx="175166" cy="238065"/>
            </a:xfrm>
            <a:custGeom>
              <a:avLst/>
              <a:gdLst>
                <a:gd name="T0" fmla="*/ 171 w 359"/>
                <a:gd name="T1" fmla="*/ 144 h 407"/>
                <a:gd name="T2" fmla="*/ 162 w 359"/>
                <a:gd name="T3" fmla="*/ 170 h 407"/>
                <a:gd name="T4" fmla="*/ 156 w 359"/>
                <a:gd name="T5" fmla="*/ 193 h 407"/>
                <a:gd name="T6" fmla="*/ 147 w 359"/>
                <a:gd name="T7" fmla="*/ 218 h 407"/>
                <a:gd name="T8" fmla="*/ 139 w 359"/>
                <a:gd name="T9" fmla="*/ 243 h 407"/>
                <a:gd name="T10" fmla="*/ 105 w 359"/>
                <a:gd name="T11" fmla="*/ 254 h 407"/>
                <a:gd name="T12" fmla="*/ 69 w 359"/>
                <a:gd name="T13" fmla="*/ 266 h 407"/>
                <a:gd name="T14" fmla="*/ 35 w 359"/>
                <a:gd name="T15" fmla="*/ 278 h 407"/>
                <a:gd name="T16" fmla="*/ 0 w 359"/>
                <a:gd name="T17" fmla="*/ 291 h 407"/>
                <a:gd name="T18" fmla="*/ 24 w 359"/>
                <a:gd name="T19" fmla="*/ 349 h 407"/>
                <a:gd name="T20" fmla="*/ 48 w 359"/>
                <a:gd name="T21" fmla="*/ 407 h 407"/>
                <a:gd name="T22" fmla="*/ 99 w 359"/>
                <a:gd name="T23" fmla="*/ 388 h 407"/>
                <a:gd name="T24" fmla="*/ 136 w 359"/>
                <a:gd name="T25" fmla="*/ 390 h 407"/>
                <a:gd name="T26" fmla="*/ 151 w 359"/>
                <a:gd name="T27" fmla="*/ 376 h 407"/>
                <a:gd name="T28" fmla="*/ 151 w 359"/>
                <a:gd name="T29" fmla="*/ 362 h 407"/>
                <a:gd name="T30" fmla="*/ 164 w 359"/>
                <a:gd name="T31" fmla="*/ 347 h 407"/>
                <a:gd name="T32" fmla="*/ 204 w 359"/>
                <a:gd name="T33" fmla="*/ 340 h 407"/>
                <a:gd name="T34" fmla="*/ 221 w 359"/>
                <a:gd name="T35" fmla="*/ 303 h 407"/>
                <a:gd name="T36" fmla="*/ 238 w 359"/>
                <a:gd name="T37" fmla="*/ 291 h 407"/>
                <a:gd name="T38" fmla="*/ 266 w 359"/>
                <a:gd name="T39" fmla="*/ 288 h 407"/>
                <a:gd name="T40" fmla="*/ 264 w 359"/>
                <a:gd name="T41" fmla="*/ 238 h 407"/>
                <a:gd name="T42" fmla="*/ 276 w 359"/>
                <a:gd name="T43" fmla="*/ 224 h 407"/>
                <a:gd name="T44" fmla="*/ 286 w 359"/>
                <a:gd name="T45" fmla="*/ 213 h 407"/>
                <a:gd name="T46" fmla="*/ 292 w 359"/>
                <a:gd name="T47" fmla="*/ 221 h 407"/>
                <a:gd name="T48" fmla="*/ 300 w 359"/>
                <a:gd name="T49" fmla="*/ 220 h 407"/>
                <a:gd name="T50" fmla="*/ 317 w 359"/>
                <a:gd name="T51" fmla="*/ 190 h 407"/>
                <a:gd name="T52" fmla="*/ 351 w 359"/>
                <a:gd name="T53" fmla="*/ 149 h 407"/>
                <a:gd name="T54" fmla="*/ 359 w 359"/>
                <a:gd name="T55" fmla="*/ 122 h 407"/>
                <a:gd name="T56" fmla="*/ 334 w 359"/>
                <a:gd name="T57" fmla="*/ 104 h 407"/>
                <a:gd name="T58" fmla="*/ 308 w 359"/>
                <a:gd name="T59" fmla="*/ 66 h 407"/>
                <a:gd name="T60" fmla="*/ 261 w 359"/>
                <a:gd name="T61" fmla="*/ 53 h 407"/>
                <a:gd name="T62" fmla="*/ 224 w 359"/>
                <a:gd name="T63" fmla="*/ 34 h 407"/>
                <a:gd name="T64" fmla="*/ 204 w 359"/>
                <a:gd name="T65" fmla="*/ 11 h 407"/>
                <a:gd name="T66" fmla="*/ 200 w 359"/>
                <a:gd name="T67" fmla="*/ 0 h 407"/>
                <a:gd name="T68" fmla="*/ 185 w 359"/>
                <a:gd name="T69" fmla="*/ 0 h 407"/>
                <a:gd name="T70" fmla="*/ 171 w 359"/>
                <a:gd name="T71" fmla="*/ 0 h 407"/>
                <a:gd name="T72" fmla="*/ 178 w 359"/>
                <a:gd name="T73" fmla="*/ 20 h 407"/>
                <a:gd name="T74" fmla="*/ 185 w 359"/>
                <a:gd name="T75" fmla="*/ 39 h 407"/>
                <a:gd name="T76" fmla="*/ 158 w 359"/>
                <a:gd name="T77" fmla="*/ 49 h 407"/>
                <a:gd name="T78" fmla="*/ 153 w 359"/>
                <a:gd name="T79" fmla="*/ 80 h 407"/>
                <a:gd name="T80" fmla="*/ 150 w 359"/>
                <a:gd name="T81" fmla="*/ 110 h 407"/>
                <a:gd name="T82" fmla="*/ 171 w 359"/>
                <a:gd name="T83" fmla="*/ 144 h 407"/>
                <a:gd name="T84" fmla="*/ 305 w 359"/>
                <a:gd name="T85" fmla="*/ 230 h 407"/>
                <a:gd name="T86" fmla="*/ 318 w 359"/>
                <a:gd name="T87" fmla="*/ 215 h 407"/>
                <a:gd name="T88" fmla="*/ 317 w 359"/>
                <a:gd name="T89" fmla="*/ 209 h 407"/>
                <a:gd name="T90" fmla="*/ 306 w 359"/>
                <a:gd name="T91" fmla="*/ 221 h 407"/>
                <a:gd name="T92" fmla="*/ 305 w 359"/>
                <a:gd name="T93" fmla="*/ 23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9" h="407">
                  <a:moveTo>
                    <a:pt x="171" y="144"/>
                  </a:moveTo>
                  <a:lnTo>
                    <a:pt x="162" y="170"/>
                  </a:lnTo>
                  <a:lnTo>
                    <a:pt x="156" y="193"/>
                  </a:lnTo>
                  <a:lnTo>
                    <a:pt x="147" y="218"/>
                  </a:lnTo>
                  <a:lnTo>
                    <a:pt x="139" y="243"/>
                  </a:lnTo>
                  <a:lnTo>
                    <a:pt x="105" y="254"/>
                  </a:lnTo>
                  <a:lnTo>
                    <a:pt x="69" y="266"/>
                  </a:lnTo>
                  <a:lnTo>
                    <a:pt x="35" y="278"/>
                  </a:lnTo>
                  <a:lnTo>
                    <a:pt x="0" y="291"/>
                  </a:lnTo>
                  <a:lnTo>
                    <a:pt x="24" y="349"/>
                  </a:lnTo>
                  <a:lnTo>
                    <a:pt x="48" y="407"/>
                  </a:lnTo>
                  <a:lnTo>
                    <a:pt x="99" y="388"/>
                  </a:lnTo>
                  <a:lnTo>
                    <a:pt x="136" y="390"/>
                  </a:lnTo>
                  <a:lnTo>
                    <a:pt x="151" y="376"/>
                  </a:lnTo>
                  <a:lnTo>
                    <a:pt x="151" y="362"/>
                  </a:lnTo>
                  <a:lnTo>
                    <a:pt x="164" y="347"/>
                  </a:lnTo>
                  <a:lnTo>
                    <a:pt x="204" y="340"/>
                  </a:lnTo>
                  <a:lnTo>
                    <a:pt x="221" y="303"/>
                  </a:lnTo>
                  <a:lnTo>
                    <a:pt x="238" y="291"/>
                  </a:lnTo>
                  <a:lnTo>
                    <a:pt x="266" y="288"/>
                  </a:lnTo>
                  <a:lnTo>
                    <a:pt x="264" y="238"/>
                  </a:lnTo>
                  <a:lnTo>
                    <a:pt x="276" y="224"/>
                  </a:lnTo>
                  <a:lnTo>
                    <a:pt x="286" y="213"/>
                  </a:lnTo>
                  <a:lnTo>
                    <a:pt x="292" y="221"/>
                  </a:lnTo>
                  <a:lnTo>
                    <a:pt x="300" y="220"/>
                  </a:lnTo>
                  <a:lnTo>
                    <a:pt x="317" y="190"/>
                  </a:lnTo>
                  <a:lnTo>
                    <a:pt x="351" y="149"/>
                  </a:lnTo>
                  <a:lnTo>
                    <a:pt x="359" y="122"/>
                  </a:lnTo>
                  <a:lnTo>
                    <a:pt x="334" y="104"/>
                  </a:lnTo>
                  <a:lnTo>
                    <a:pt x="308" y="66"/>
                  </a:lnTo>
                  <a:lnTo>
                    <a:pt x="261" y="53"/>
                  </a:lnTo>
                  <a:lnTo>
                    <a:pt x="224" y="34"/>
                  </a:lnTo>
                  <a:lnTo>
                    <a:pt x="204" y="11"/>
                  </a:lnTo>
                  <a:lnTo>
                    <a:pt x="200" y="0"/>
                  </a:lnTo>
                  <a:lnTo>
                    <a:pt x="185" y="0"/>
                  </a:lnTo>
                  <a:lnTo>
                    <a:pt x="171" y="0"/>
                  </a:lnTo>
                  <a:lnTo>
                    <a:pt x="178" y="20"/>
                  </a:lnTo>
                  <a:lnTo>
                    <a:pt x="185" y="39"/>
                  </a:lnTo>
                  <a:lnTo>
                    <a:pt x="158" y="49"/>
                  </a:lnTo>
                  <a:lnTo>
                    <a:pt x="153" y="80"/>
                  </a:lnTo>
                  <a:lnTo>
                    <a:pt x="150" y="110"/>
                  </a:lnTo>
                  <a:lnTo>
                    <a:pt x="171" y="144"/>
                  </a:lnTo>
                  <a:close/>
                  <a:moveTo>
                    <a:pt x="305" y="230"/>
                  </a:moveTo>
                  <a:lnTo>
                    <a:pt x="318" y="215"/>
                  </a:lnTo>
                  <a:lnTo>
                    <a:pt x="317" y="209"/>
                  </a:lnTo>
                  <a:lnTo>
                    <a:pt x="306" y="221"/>
                  </a:lnTo>
                  <a:lnTo>
                    <a:pt x="305" y="23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62" name="Freeform 60">
              <a:extLst>
                <a:ext uri="{FF2B5EF4-FFF2-40B4-BE49-F238E27FC236}">
                  <a16:creationId xmlns:a16="http://schemas.microsoft.com/office/drawing/2014/main" id="{AF13D1B9-1527-CB43-8413-4ADAB6A8B4D0}"/>
                </a:ext>
              </a:extLst>
            </p:cNvPr>
            <p:cNvSpPr>
              <a:spLocks noChangeAspect="1" noEditPoints="1"/>
            </p:cNvSpPr>
            <p:nvPr/>
          </p:nvSpPr>
          <p:spPr bwMode="gray">
            <a:xfrm>
              <a:off x="5593811" y="3743515"/>
              <a:ext cx="267528" cy="188148"/>
            </a:xfrm>
            <a:custGeom>
              <a:avLst/>
              <a:gdLst>
                <a:gd name="T0" fmla="*/ 432 w 549"/>
                <a:gd name="T1" fmla="*/ 0 h 320"/>
                <a:gd name="T2" fmla="*/ 396 w 549"/>
                <a:gd name="T3" fmla="*/ 9 h 320"/>
                <a:gd name="T4" fmla="*/ 359 w 549"/>
                <a:gd name="T5" fmla="*/ 17 h 320"/>
                <a:gd name="T6" fmla="*/ 322 w 549"/>
                <a:gd name="T7" fmla="*/ 26 h 320"/>
                <a:gd name="T8" fmla="*/ 285 w 549"/>
                <a:gd name="T9" fmla="*/ 34 h 320"/>
                <a:gd name="T10" fmla="*/ 256 w 549"/>
                <a:gd name="T11" fmla="*/ 66 h 320"/>
                <a:gd name="T12" fmla="*/ 227 w 549"/>
                <a:gd name="T13" fmla="*/ 99 h 320"/>
                <a:gd name="T14" fmla="*/ 198 w 549"/>
                <a:gd name="T15" fmla="*/ 131 h 320"/>
                <a:gd name="T16" fmla="*/ 170 w 549"/>
                <a:gd name="T17" fmla="*/ 162 h 320"/>
                <a:gd name="T18" fmla="*/ 170 w 549"/>
                <a:gd name="T19" fmla="*/ 110 h 320"/>
                <a:gd name="T20" fmla="*/ 127 w 549"/>
                <a:gd name="T21" fmla="*/ 97 h 320"/>
                <a:gd name="T22" fmla="*/ 85 w 549"/>
                <a:gd name="T23" fmla="*/ 82 h 320"/>
                <a:gd name="T24" fmla="*/ 37 w 549"/>
                <a:gd name="T25" fmla="*/ 94 h 320"/>
                <a:gd name="T26" fmla="*/ 19 w 549"/>
                <a:gd name="T27" fmla="*/ 108 h 320"/>
                <a:gd name="T28" fmla="*/ 12 w 549"/>
                <a:gd name="T29" fmla="*/ 121 h 320"/>
                <a:gd name="T30" fmla="*/ 3 w 549"/>
                <a:gd name="T31" fmla="*/ 124 h 320"/>
                <a:gd name="T32" fmla="*/ 7 w 549"/>
                <a:gd name="T33" fmla="*/ 150 h 320"/>
                <a:gd name="T34" fmla="*/ 2 w 549"/>
                <a:gd name="T35" fmla="*/ 158 h 320"/>
                <a:gd name="T36" fmla="*/ 5 w 549"/>
                <a:gd name="T37" fmla="*/ 176 h 320"/>
                <a:gd name="T38" fmla="*/ 0 w 549"/>
                <a:gd name="T39" fmla="*/ 178 h 320"/>
                <a:gd name="T40" fmla="*/ 11 w 549"/>
                <a:gd name="T41" fmla="*/ 190 h 320"/>
                <a:gd name="T42" fmla="*/ 20 w 549"/>
                <a:gd name="T43" fmla="*/ 238 h 320"/>
                <a:gd name="T44" fmla="*/ 28 w 549"/>
                <a:gd name="T45" fmla="*/ 247 h 320"/>
                <a:gd name="T46" fmla="*/ 29 w 549"/>
                <a:gd name="T47" fmla="*/ 278 h 320"/>
                <a:gd name="T48" fmla="*/ 41 w 549"/>
                <a:gd name="T49" fmla="*/ 300 h 320"/>
                <a:gd name="T50" fmla="*/ 59 w 549"/>
                <a:gd name="T51" fmla="*/ 303 h 320"/>
                <a:gd name="T52" fmla="*/ 105 w 549"/>
                <a:gd name="T53" fmla="*/ 298 h 320"/>
                <a:gd name="T54" fmla="*/ 132 w 549"/>
                <a:gd name="T55" fmla="*/ 285 h 320"/>
                <a:gd name="T56" fmla="*/ 147 w 549"/>
                <a:gd name="T57" fmla="*/ 268 h 320"/>
                <a:gd name="T58" fmla="*/ 192 w 549"/>
                <a:gd name="T59" fmla="*/ 268 h 320"/>
                <a:gd name="T60" fmla="*/ 214 w 549"/>
                <a:gd name="T61" fmla="*/ 263 h 320"/>
                <a:gd name="T62" fmla="*/ 241 w 549"/>
                <a:gd name="T63" fmla="*/ 243 h 320"/>
                <a:gd name="T64" fmla="*/ 273 w 549"/>
                <a:gd name="T65" fmla="*/ 243 h 320"/>
                <a:gd name="T66" fmla="*/ 283 w 549"/>
                <a:gd name="T67" fmla="*/ 235 h 320"/>
                <a:gd name="T68" fmla="*/ 299 w 549"/>
                <a:gd name="T69" fmla="*/ 215 h 320"/>
                <a:gd name="T70" fmla="*/ 320 w 549"/>
                <a:gd name="T71" fmla="*/ 204 h 320"/>
                <a:gd name="T72" fmla="*/ 402 w 549"/>
                <a:gd name="T73" fmla="*/ 181 h 320"/>
                <a:gd name="T74" fmla="*/ 418 w 549"/>
                <a:gd name="T75" fmla="*/ 170 h 320"/>
                <a:gd name="T76" fmla="*/ 444 w 549"/>
                <a:gd name="T77" fmla="*/ 164 h 320"/>
                <a:gd name="T78" fmla="*/ 442 w 549"/>
                <a:gd name="T79" fmla="*/ 148 h 320"/>
                <a:gd name="T80" fmla="*/ 449 w 549"/>
                <a:gd name="T81" fmla="*/ 136 h 320"/>
                <a:gd name="T82" fmla="*/ 480 w 549"/>
                <a:gd name="T83" fmla="*/ 116 h 320"/>
                <a:gd name="T84" fmla="*/ 456 w 549"/>
                <a:gd name="T85" fmla="*/ 58 h 320"/>
                <a:gd name="T86" fmla="*/ 432 w 549"/>
                <a:gd name="T87" fmla="*/ 0 h 320"/>
                <a:gd name="T88" fmla="*/ 543 w 549"/>
                <a:gd name="T89" fmla="*/ 305 h 320"/>
                <a:gd name="T90" fmla="*/ 549 w 549"/>
                <a:gd name="T91" fmla="*/ 306 h 320"/>
                <a:gd name="T92" fmla="*/ 542 w 549"/>
                <a:gd name="T93" fmla="*/ 315 h 320"/>
                <a:gd name="T94" fmla="*/ 525 w 549"/>
                <a:gd name="T95" fmla="*/ 320 h 320"/>
                <a:gd name="T96" fmla="*/ 498 w 549"/>
                <a:gd name="T97" fmla="*/ 311 h 320"/>
                <a:gd name="T98" fmla="*/ 506 w 549"/>
                <a:gd name="T99" fmla="*/ 300 h 320"/>
                <a:gd name="T100" fmla="*/ 514 w 549"/>
                <a:gd name="T101" fmla="*/ 305 h 320"/>
                <a:gd name="T102" fmla="*/ 543 w 549"/>
                <a:gd name="T103" fmla="*/ 305 h 320"/>
                <a:gd name="T104" fmla="*/ 2 w 549"/>
                <a:gd name="T105" fmla="*/ 243 h 320"/>
                <a:gd name="T106" fmla="*/ 7 w 549"/>
                <a:gd name="T107" fmla="*/ 244 h 320"/>
                <a:gd name="T108" fmla="*/ 5 w 549"/>
                <a:gd name="T109" fmla="*/ 239 h 320"/>
                <a:gd name="T110" fmla="*/ 2 w 549"/>
                <a:gd name="T111" fmla="*/ 24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49" h="320">
                  <a:moveTo>
                    <a:pt x="432" y="0"/>
                  </a:moveTo>
                  <a:lnTo>
                    <a:pt x="396" y="9"/>
                  </a:lnTo>
                  <a:lnTo>
                    <a:pt x="359" y="17"/>
                  </a:lnTo>
                  <a:lnTo>
                    <a:pt x="322" y="26"/>
                  </a:lnTo>
                  <a:lnTo>
                    <a:pt x="285" y="34"/>
                  </a:lnTo>
                  <a:lnTo>
                    <a:pt x="256" y="66"/>
                  </a:lnTo>
                  <a:lnTo>
                    <a:pt x="227" y="99"/>
                  </a:lnTo>
                  <a:lnTo>
                    <a:pt x="198" y="131"/>
                  </a:lnTo>
                  <a:lnTo>
                    <a:pt x="170" y="162"/>
                  </a:lnTo>
                  <a:lnTo>
                    <a:pt x="170" y="110"/>
                  </a:lnTo>
                  <a:lnTo>
                    <a:pt x="127" y="97"/>
                  </a:lnTo>
                  <a:lnTo>
                    <a:pt x="85" y="82"/>
                  </a:lnTo>
                  <a:lnTo>
                    <a:pt x="37" y="94"/>
                  </a:lnTo>
                  <a:lnTo>
                    <a:pt x="19" y="108"/>
                  </a:lnTo>
                  <a:lnTo>
                    <a:pt x="12" y="121"/>
                  </a:lnTo>
                  <a:lnTo>
                    <a:pt x="3" y="124"/>
                  </a:lnTo>
                  <a:lnTo>
                    <a:pt x="7" y="150"/>
                  </a:lnTo>
                  <a:lnTo>
                    <a:pt x="2" y="158"/>
                  </a:lnTo>
                  <a:lnTo>
                    <a:pt x="5" y="176"/>
                  </a:lnTo>
                  <a:lnTo>
                    <a:pt x="0" y="178"/>
                  </a:lnTo>
                  <a:lnTo>
                    <a:pt x="11" y="190"/>
                  </a:lnTo>
                  <a:lnTo>
                    <a:pt x="20" y="238"/>
                  </a:lnTo>
                  <a:lnTo>
                    <a:pt x="28" y="247"/>
                  </a:lnTo>
                  <a:lnTo>
                    <a:pt x="29" y="278"/>
                  </a:lnTo>
                  <a:lnTo>
                    <a:pt x="41" y="300"/>
                  </a:lnTo>
                  <a:lnTo>
                    <a:pt x="59" y="303"/>
                  </a:lnTo>
                  <a:lnTo>
                    <a:pt x="105" y="298"/>
                  </a:lnTo>
                  <a:lnTo>
                    <a:pt x="132" y="285"/>
                  </a:lnTo>
                  <a:lnTo>
                    <a:pt x="147" y="268"/>
                  </a:lnTo>
                  <a:lnTo>
                    <a:pt x="192" y="268"/>
                  </a:lnTo>
                  <a:lnTo>
                    <a:pt x="214" y="263"/>
                  </a:lnTo>
                  <a:lnTo>
                    <a:pt x="241" y="243"/>
                  </a:lnTo>
                  <a:lnTo>
                    <a:pt x="273" y="243"/>
                  </a:lnTo>
                  <a:lnTo>
                    <a:pt x="283" y="235"/>
                  </a:lnTo>
                  <a:lnTo>
                    <a:pt x="299" y="215"/>
                  </a:lnTo>
                  <a:lnTo>
                    <a:pt x="320" y="204"/>
                  </a:lnTo>
                  <a:lnTo>
                    <a:pt x="402" y="181"/>
                  </a:lnTo>
                  <a:lnTo>
                    <a:pt x="418" y="170"/>
                  </a:lnTo>
                  <a:lnTo>
                    <a:pt x="444" y="164"/>
                  </a:lnTo>
                  <a:lnTo>
                    <a:pt x="442" y="148"/>
                  </a:lnTo>
                  <a:lnTo>
                    <a:pt x="449" y="136"/>
                  </a:lnTo>
                  <a:lnTo>
                    <a:pt x="480" y="116"/>
                  </a:lnTo>
                  <a:lnTo>
                    <a:pt x="456" y="58"/>
                  </a:lnTo>
                  <a:lnTo>
                    <a:pt x="432" y="0"/>
                  </a:lnTo>
                  <a:close/>
                  <a:moveTo>
                    <a:pt x="543" y="305"/>
                  </a:moveTo>
                  <a:lnTo>
                    <a:pt x="549" y="306"/>
                  </a:lnTo>
                  <a:lnTo>
                    <a:pt x="542" y="315"/>
                  </a:lnTo>
                  <a:lnTo>
                    <a:pt x="525" y="320"/>
                  </a:lnTo>
                  <a:lnTo>
                    <a:pt x="498" y="311"/>
                  </a:lnTo>
                  <a:lnTo>
                    <a:pt x="506" y="300"/>
                  </a:lnTo>
                  <a:lnTo>
                    <a:pt x="514" y="305"/>
                  </a:lnTo>
                  <a:lnTo>
                    <a:pt x="543" y="305"/>
                  </a:lnTo>
                  <a:close/>
                  <a:moveTo>
                    <a:pt x="2" y="243"/>
                  </a:moveTo>
                  <a:lnTo>
                    <a:pt x="7" y="244"/>
                  </a:lnTo>
                  <a:lnTo>
                    <a:pt x="5" y="239"/>
                  </a:lnTo>
                  <a:lnTo>
                    <a:pt x="2" y="243"/>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63" name="Freeform 61">
              <a:extLst>
                <a:ext uri="{FF2B5EF4-FFF2-40B4-BE49-F238E27FC236}">
                  <a16:creationId xmlns:a16="http://schemas.microsoft.com/office/drawing/2014/main" id="{81E7B882-717D-344C-9926-87995CEB96D5}"/>
                </a:ext>
              </a:extLst>
            </p:cNvPr>
            <p:cNvSpPr>
              <a:spLocks noChangeAspect="1" noEditPoints="1"/>
            </p:cNvSpPr>
            <p:nvPr/>
          </p:nvSpPr>
          <p:spPr bwMode="gray">
            <a:xfrm>
              <a:off x="5221184" y="3012044"/>
              <a:ext cx="420400" cy="220786"/>
            </a:xfrm>
            <a:custGeom>
              <a:avLst/>
              <a:gdLst>
                <a:gd name="T0" fmla="*/ 817 w 866"/>
                <a:gd name="T1" fmla="*/ 104 h 376"/>
                <a:gd name="T2" fmla="*/ 798 w 866"/>
                <a:gd name="T3" fmla="*/ 56 h 376"/>
                <a:gd name="T4" fmla="*/ 719 w 866"/>
                <a:gd name="T5" fmla="*/ 34 h 376"/>
                <a:gd name="T6" fmla="*/ 615 w 866"/>
                <a:gd name="T7" fmla="*/ 62 h 376"/>
                <a:gd name="T8" fmla="*/ 531 w 866"/>
                <a:gd name="T9" fmla="*/ 68 h 376"/>
                <a:gd name="T10" fmla="*/ 466 w 866"/>
                <a:gd name="T11" fmla="*/ 22 h 376"/>
                <a:gd name="T12" fmla="*/ 433 w 866"/>
                <a:gd name="T13" fmla="*/ 19 h 376"/>
                <a:gd name="T14" fmla="*/ 340 w 866"/>
                <a:gd name="T15" fmla="*/ 5 h 376"/>
                <a:gd name="T16" fmla="*/ 150 w 866"/>
                <a:gd name="T17" fmla="*/ 53 h 376"/>
                <a:gd name="T18" fmla="*/ 178 w 866"/>
                <a:gd name="T19" fmla="*/ 85 h 376"/>
                <a:gd name="T20" fmla="*/ 141 w 866"/>
                <a:gd name="T21" fmla="*/ 101 h 376"/>
                <a:gd name="T22" fmla="*/ 91 w 866"/>
                <a:gd name="T23" fmla="*/ 99 h 376"/>
                <a:gd name="T24" fmla="*/ 58 w 866"/>
                <a:gd name="T25" fmla="*/ 101 h 376"/>
                <a:gd name="T26" fmla="*/ 9 w 866"/>
                <a:gd name="T27" fmla="*/ 135 h 376"/>
                <a:gd name="T28" fmla="*/ 32 w 866"/>
                <a:gd name="T29" fmla="*/ 173 h 376"/>
                <a:gd name="T30" fmla="*/ 51 w 866"/>
                <a:gd name="T31" fmla="*/ 220 h 376"/>
                <a:gd name="T32" fmla="*/ 19 w 866"/>
                <a:gd name="T33" fmla="*/ 224 h 376"/>
                <a:gd name="T34" fmla="*/ 58 w 866"/>
                <a:gd name="T35" fmla="*/ 252 h 376"/>
                <a:gd name="T36" fmla="*/ 66 w 866"/>
                <a:gd name="T37" fmla="*/ 266 h 376"/>
                <a:gd name="T38" fmla="*/ 63 w 866"/>
                <a:gd name="T39" fmla="*/ 299 h 376"/>
                <a:gd name="T40" fmla="*/ 108 w 866"/>
                <a:gd name="T41" fmla="*/ 300 h 376"/>
                <a:gd name="T42" fmla="*/ 96 w 866"/>
                <a:gd name="T43" fmla="*/ 316 h 376"/>
                <a:gd name="T44" fmla="*/ 119 w 866"/>
                <a:gd name="T45" fmla="*/ 314 h 376"/>
                <a:gd name="T46" fmla="*/ 144 w 866"/>
                <a:gd name="T47" fmla="*/ 320 h 376"/>
                <a:gd name="T48" fmla="*/ 180 w 866"/>
                <a:gd name="T49" fmla="*/ 351 h 376"/>
                <a:gd name="T50" fmla="*/ 231 w 866"/>
                <a:gd name="T51" fmla="*/ 310 h 376"/>
                <a:gd name="T52" fmla="*/ 317 w 866"/>
                <a:gd name="T53" fmla="*/ 359 h 376"/>
                <a:gd name="T54" fmla="*/ 399 w 866"/>
                <a:gd name="T55" fmla="*/ 316 h 376"/>
                <a:gd name="T56" fmla="*/ 447 w 866"/>
                <a:gd name="T57" fmla="*/ 319 h 376"/>
                <a:gd name="T58" fmla="*/ 459 w 866"/>
                <a:gd name="T59" fmla="*/ 333 h 376"/>
                <a:gd name="T60" fmla="*/ 467 w 866"/>
                <a:gd name="T61" fmla="*/ 370 h 376"/>
                <a:gd name="T62" fmla="*/ 493 w 866"/>
                <a:gd name="T63" fmla="*/ 345 h 376"/>
                <a:gd name="T64" fmla="*/ 509 w 866"/>
                <a:gd name="T65" fmla="*/ 317 h 376"/>
                <a:gd name="T66" fmla="*/ 569 w 866"/>
                <a:gd name="T67" fmla="*/ 307 h 376"/>
                <a:gd name="T68" fmla="*/ 679 w 866"/>
                <a:gd name="T69" fmla="*/ 295 h 376"/>
                <a:gd name="T70" fmla="*/ 752 w 866"/>
                <a:gd name="T71" fmla="*/ 293 h 376"/>
                <a:gd name="T72" fmla="*/ 800 w 866"/>
                <a:gd name="T73" fmla="*/ 282 h 376"/>
                <a:gd name="T74" fmla="*/ 859 w 866"/>
                <a:gd name="T75" fmla="*/ 293 h 376"/>
                <a:gd name="T76" fmla="*/ 842 w 866"/>
                <a:gd name="T77" fmla="*/ 252 h 376"/>
                <a:gd name="T78" fmla="*/ 848 w 866"/>
                <a:gd name="T79" fmla="*/ 156 h 376"/>
                <a:gd name="T80" fmla="*/ 66 w 866"/>
                <a:gd name="T81" fmla="*/ 14 h 376"/>
                <a:gd name="T82" fmla="*/ 25 w 866"/>
                <a:gd name="T83" fmla="*/ 31 h 376"/>
                <a:gd name="T84" fmla="*/ 9 w 866"/>
                <a:gd name="T85" fmla="*/ 73 h 376"/>
                <a:gd name="T86" fmla="*/ 37 w 866"/>
                <a:gd name="T87" fmla="*/ 88 h 376"/>
                <a:gd name="T88" fmla="*/ 71 w 866"/>
                <a:gd name="T89" fmla="*/ 68 h 376"/>
                <a:gd name="T90" fmla="*/ 99 w 866"/>
                <a:gd name="T91" fmla="*/ 3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6" h="376">
                  <a:moveTo>
                    <a:pt x="857" y="136"/>
                  </a:moveTo>
                  <a:lnTo>
                    <a:pt x="822" y="112"/>
                  </a:lnTo>
                  <a:lnTo>
                    <a:pt x="817" y="104"/>
                  </a:lnTo>
                  <a:lnTo>
                    <a:pt x="812" y="75"/>
                  </a:lnTo>
                  <a:lnTo>
                    <a:pt x="806" y="63"/>
                  </a:lnTo>
                  <a:lnTo>
                    <a:pt x="798" y="56"/>
                  </a:lnTo>
                  <a:lnTo>
                    <a:pt x="773" y="29"/>
                  </a:lnTo>
                  <a:lnTo>
                    <a:pt x="752" y="37"/>
                  </a:lnTo>
                  <a:lnTo>
                    <a:pt x="719" y="34"/>
                  </a:lnTo>
                  <a:lnTo>
                    <a:pt x="713" y="29"/>
                  </a:lnTo>
                  <a:lnTo>
                    <a:pt x="661" y="67"/>
                  </a:lnTo>
                  <a:lnTo>
                    <a:pt x="615" y="62"/>
                  </a:lnTo>
                  <a:lnTo>
                    <a:pt x="558" y="71"/>
                  </a:lnTo>
                  <a:lnTo>
                    <a:pt x="541" y="63"/>
                  </a:lnTo>
                  <a:lnTo>
                    <a:pt x="531" y="68"/>
                  </a:lnTo>
                  <a:lnTo>
                    <a:pt x="500" y="51"/>
                  </a:lnTo>
                  <a:lnTo>
                    <a:pt x="478" y="50"/>
                  </a:lnTo>
                  <a:lnTo>
                    <a:pt x="466" y="22"/>
                  </a:lnTo>
                  <a:lnTo>
                    <a:pt x="456" y="29"/>
                  </a:lnTo>
                  <a:lnTo>
                    <a:pt x="444" y="25"/>
                  </a:lnTo>
                  <a:lnTo>
                    <a:pt x="433" y="19"/>
                  </a:lnTo>
                  <a:lnTo>
                    <a:pt x="421" y="0"/>
                  </a:lnTo>
                  <a:lnTo>
                    <a:pt x="405" y="8"/>
                  </a:lnTo>
                  <a:lnTo>
                    <a:pt x="340" y="5"/>
                  </a:lnTo>
                  <a:lnTo>
                    <a:pt x="294" y="22"/>
                  </a:lnTo>
                  <a:lnTo>
                    <a:pt x="236" y="65"/>
                  </a:lnTo>
                  <a:lnTo>
                    <a:pt x="150" y="53"/>
                  </a:lnTo>
                  <a:lnTo>
                    <a:pt x="141" y="67"/>
                  </a:lnTo>
                  <a:lnTo>
                    <a:pt x="148" y="75"/>
                  </a:lnTo>
                  <a:lnTo>
                    <a:pt x="178" y="85"/>
                  </a:lnTo>
                  <a:lnTo>
                    <a:pt x="141" y="87"/>
                  </a:lnTo>
                  <a:lnTo>
                    <a:pt x="133" y="90"/>
                  </a:lnTo>
                  <a:lnTo>
                    <a:pt x="141" y="101"/>
                  </a:lnTo>
                  <a:lnTo>
                    <a:pt x="131" y="102"/>
                  </a:lnTo>
                  <a:lnTo>
                    <a:pt x="91" y="104"/>
                  </a:lnTo>
                  <a:lnTo>
                    <a:pt x="91" y="99"/>
                  </a:lnTo>
                  <a:lnTo>
                    <a:pt x="80" y="95"/>
                  </a:lnTo>
                  <a:lnTo>
                    <a:pt x="83" y="107"/>
                  </a:lnTo>
                  <a:lnTo>
                    <a:pt x="58" y="101"/>
                  </a:lnTo>
                  <a:lnTo>
                    <a:pt x="36" y="104"/>
                  </a:lnTo>
                  <a:lnTo>
                    <a:pt x="17" y="126"/>
                  </a:lnTo>
                  <a:lnTo>
                    <a:pt x="9" y="135"/>
                  </a:lnTo>
                  <a:lnTo>
                    <a:pt x="6" y="156"/>
                  </a:lnTo>
                  <a:lnTo>
                    <a:pt x="40" y="153"/>
                  </a:lnTo>
                  <a:lnTo>
                    <a:pt x="32" y="173"/>
                  </a:lnTo>
                  <a:lnTo>
                    <a:pt x="45" y="195"/>
                  </a:lnTo>
                  <a:lnTo>
                    <a:pt x="37" y="207"/>
                  </a:lnTo>
                  <a:lnTo>
                    <a:pt x="51" y="220"/>
                  </a:lnTo>
                  <a:lnTo>
                    <a:pt x="29" y="220"/>
                  </a:lnTo>
                  <a:lnTo>
                    <a:pt x="20" y="206"/>
                  </a:lnTo>
                  <a:lnTo>
                    <a:pt x="19" y="224"/>
                  </a:lnTo>
                  <a:lnTo>
                    <a:pt x="14" y="229"/>
                  </a:lnTo>
                  <a:lnTo>
                    <a:pt x="53" y="244"/>
                  </a:lnTo>
                  <a:lnTo>
                    <a:pt x="58" y="252"/>
                  </a:lnTo>
                  <a:lnTo>
                    <a:pt x="49" y="263"/>
                  </a:lnTo>
                  <a:lnTo>
                    <a:pt x="54" y="269"/>
                  </a:lnTo>
                  <a:lnTo>
                    <a:pt x="66" y="266"/>
                  </a:lnTo>
                  <a:lnTo>
                    <a:pt x="58" y="280"/>
                  </a:lnTo>
                  <a:lnTo>
                    <a:pt x="71" y="290"/>
                  </a:lnTo>
                  <a:lnTo>
                    <a:pt x="63" y="299"/>
                  </a:lnTo>
                  <a:lnTo>
                    <a:pt x="65" y="303"/>
                  </a:lnTo>
                  <a:lnTo>
                    <a:pt x="102" y="299"/>
                  </a:lnTo>
                  <a:lnTo>
                    <a:pt x="108" y="300"/>
                  </a:lnTo>
                  <a:lnTo>
                    <a:pt x="71" y="319"/>
                  </a:lnTo>
                  <a:lnTo>
                    <a:pt x="68" y="324"/>
                  </a:lnTo>
                  <a:lnTo>
                    <a:pt x="96" y="316"/>
                  </a:lnTo>
                  <a:lnTo>
                    <a:pt x="97" y="325"/>
                  </a:lnTo>
                  <a:lnTo>
                    <a:pt x="107" y="316"/>
                  </a:lnTo>
                  <a:lnTo>
                    <a:pt x="119" y="314"/>
                  </a:lnTo>
                  <a:lnTo>
                    <a:pt x="133" y="324"/>
                  </a:lnTo>
                  <a:lnTo>
                    <a:pt x="138" y="319"/>
                  </a:lnTo>
                  <a:lnTo>
                    <a:pt x="144" y="320"/>
                  </a:lnTo>
                  <a:lnTo>
                    <a:pt x="147" y="337"/>
                  </a:lnTo>
                  <a:lnTo>
                    <a:pt x="155" y="344"/>
                  </a:lnTo>
                  <a:lnTo>
                    <a:pt x="180" y="351"/>
                  </a:lnTo>
                  <a:lnTo>
                    <a:pt x="209" y="342"/>
                  </a:lnTo>
                  <a:lnTo>
                    <a:pt x="215" y="311"/>
                  </a:lnTo>
                  <a:lnTo>
                    <a:pt x="231" y="310"/>
                  </a:lnTo>
                  <a:lnTo>
                    <a:pt x="277" y="328"/>
                  </a:lnTo>
                  <a:lnTo>
                    <a:pt x="300" y="354"/>
                  </a:lnTo>
                  <a:lnTo>
                    <a:pt x="317" y="359"/>
                  </a:lnTo>
                  <a:lnTo>
                    <a:pt x="373" y="341"/>
                  </a:lnTo>
                  <a:lnTo>
                    <a:pt x="391" y="319"/>
                  </a:lnTo>
                  <a:lnTo>
                    <a:pt x="399" y="316"/>
                  </a:lnTo>
                  <a:lnTo>
                    <a:pt x="441" y="328"/>
                  </a:lnTo>
                  <a:lnTo>
                    <a:pt x="447" y="327"/>
                  </a:lnTo>
                  <a:lnTo>
                    <a:pt x="447" y="319"/>
                  </a:lnTo>
                  <a:lnTo>
                    <a:pt x="463" y="311"/>
                  </a:lnTo>
                  <a:lnTo>
                    <a:pt x="472" y="319"/>
                  </a:lnTo>
                  <a:lnTo>
                    <a:pt x="459" y="333"/>
                  </a:lnTo>
                  <a:lnTo>
                    <a:pt x="456" y="373"/>
                  </a:lnTo>
                  <a:lnTo>
                    <a:pt x="464" y="376"/>
                  </a:lnTo>
                  <a:lnTo>
                    <a:pt x="467" y="370"/>
                  </a:lnTo>
                  <a:lnTo>
                    <a:pt x="478" y="359"/>
                  </a:lnTo>
                  <a:lnTo>
                    <a:pt x="478" y="350"/>
                  </a:lnTo>
                  <a:lnTo>
                    <a:pt x="493" y="345"/>
                  </a:lnTo>
                  <a:lnTo>
                    <a:pt x="484" y="333"/>
                  </a:lnTo>
                  <a:lnTo>
                    <a:pt x="492" y="311"/>
                  </a:lnTo>
                  <a:lnTo>
                    <a:pt x="509" y="317"/>
                  </a:lnTo>
                  <a:lnTo>
                    <a:pt x="510" y="322"/>
                  </a:lnTo>
                  <a:lnTo>
                    <a:pt x="529" y="322"/>
                  </a:lnTo>
                  <a:lnTo>
                    <a:pt x="569" y="307"/>
                  </a:lnTo>
                  <a:lnTo>
                    <a:pt x="586" y="317"/>
                  </a:lnTo>
                  <a:lnTo>
                    <a:pt x="608" y="322"/>
                  </a:lnTo>
                  <a:lnTo>
                    <a:pt x="679" y="295"/>
                  </a:lnTo>
                  <a:lnTo>
                    <a:pt x="725" y="297"/>
                  </a:lnTo>
                  <a:lnTo>
                    <a:pt x="747" y="283"/>
                  </a:lnTo>
                  <a:lnTo>
                    <a:pt x="752" y="293"/>
                  </a:lnTo>
                  <a:lnTo>
                    <a:pt x="755" y="299"/>
                  </a:lnTo>
                  <a:lnTo>
                    <a:pt x="781" y="274"/>
                  </a:lnTo>
                  <a:lnTo>
                    <a:pt x="800" y="282"/>
                  </a:lnTo>
                  <a:lnTo>
                    <a:pt x="839" y="282"/>
                  </a:lnTo>
                  <a:lnTo>
                    <a:pt x="848" y="291"/>
                  </a:lnTo>
                  <a:lnTo>
                    <a:pt x="859" y="293"/>
                  </a:lnTo>
                  <a:lnTo>
                    <a:pt x="866" y="286"/>
                  </a:lnTo>
                  <a:lnTo>
                    <a:pt x="864" y="273"/>
                  </a:lnTo>
                  <a:lnTo>
                    <a:pt x="842" y="252"/>
                  </a:lnTo>
                  <a:lnTo>
                    <a:pt x="842" y="185"/>
                  </a:lnTo>
                  <a:lnTo>
                    <a:pt x="835" y="163"/>
                  </a:lnTo>
                  <a:lnTo>
                    <a:pt x="848" y="156"/>
                  </a:lnTo>
                  <a:lnTo>
                    <a:pt x="857" y="136"/>
                  </a:lnTo>
                  <a:close/>
                  <a:moveTo>
                    <a:pt x="91" y="12"/>
                  </a:moveTo>
                  <a:lnTo>
                    <a:pt x="66" y="14"/>
                  </a:lnTo>
                  <a:lnTo>
                    <a:pt x="51" y="5"/>
                  </a:lnTo>
                  <a:lnTo>
                    <a:pt x="14" y="19"/>
                  </a:lnTo>
                  <a:lnTo>
                    <a:pt x="25" y="31"/>
                  </a:lnTo>
                  <a:lnTo>
                    <a:pt x="25" y="41"/>
                  </a:lnTo>
                  <a:lnTo>
                    <a:pt x="14" y="48"/>
                  </a:lnTo>
                  <a:lnTo>
                    <a:pt x="9" y="73"/>
                  </a:lnTo>
                  <a:lnTo>
                    <a:pt x="0" y="85"/>
                  </a:lnTo>
                  <a:lnTo>
                    <a:pt x="9" y="92"/>
                  </a:lnTo>
                  <a:lnTo>
                    <a:pt x="37" y="88"/>
                  </a:lnTo>
                  <a:lnTo>
                    <a:pt x="9" y="105"/>
                  </a:lnTo>
                  <a:lnTo>
                    <a:pt x="9" y="122"/>
                  </a:lnTo>
                  <a:lnTo>
                    <a:pt x="71" y="68"/>
                  </a:lnTo>
                  <a:lnTo>
                    <a:pt x="136" y="67"/>
                  </a:lnTo>
                  <a:lnTo>
                    <a:pt x="139" y="51"/>
                  </a:lnTo>
                  <a:lnTo>
                    <a:pt x="99" y="34"/>
                  </a:lnTo>
                  <a:lnTo>
                    <a:pt x="94" y="28"/>
                  </a:lnTo>
                  <a:lnTo>
                    <a:pt x="91" y="12"/>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64" name="Freeform 62">
              <a:extLst>
                <a:ext uri="{FF2B5EF4-FFF2-40B4-BE49-F238E27FC236}">
                  <a16:creationId xmlns:a16="http://schemas.microsoft.com/office/drawing/2014/main" id="{E740130A-BE5E-284E-9240-29F45C3F0D28}"/>
                </a:ext>
              </a:extLst>
            </p:cNvPr>
            <p:cNvSpPr>
              <a:spLocks noChangeAspect="1"/>
            </p:cNvSpPr>
            <p:nvPr/>
          </p:nvSpPr>
          <p:spPr bwMode="gray">
            <a:xfrm>
              <a:off x="8898092" y="5580836"/>
              <a:ext cx="11147" cy="11517"/>
            </a:xfrm>
            <a:custGeom>
              <a:avLst/>
              <a:gdLst>
                <a:gd name="T0" fmla="*/ 23 w 23"/>
                <a:gd name="T1" fmla="*/ 0 h 20"/>
                <a:gd name="T2" fmla="*/ 22 w 23"/>
                <a:gd name="T3" fmla="*/ 16 h 20"/>
                <a:gd name="T4" fmla="*/ 12 w 23"/>
                <a:gd name="T5" fmla="*/ 20 h 20"/>
                <a:gd name="T6" fmla="*/ 8 w 23"/>
                <a:gd name="T7" fmla="*/ 5 h 20"/>
                <a:gd name="T8" fmla="*/ 0 w 23"/>
                <a:gd name="T9" fmla="*/ 3 h 20"/>
                <a:gd name="T10" fmla="*/ 23 w 23"/>
                <a:gd name="T11" fmla="*/ 0 h 20"/>
              </a:gdLst>
              <a:ahLst/>
              <a:cxnLst>
                <a:cxn ang="0">
                  <a:pos x="T0" y="T1"/>
                </a:cxn>
                <a:cxn ang="0">
                  <a:pos x="T2" y="T3"/>
                </a:cxn>
                <a:cxn ang="0">
                  <a:pos x="T4" y="T5"/>
                </a:cxn>
                <a:cxn ang="0">
                  <a:pos x="T6" y="T7"/>
                </a:cxn>
                <a:cxn ang="0">
                  <a:pos x="T8" y="T9"/>
                </a:cxn>
                <a:cxn ang="0">
                  <a:pos x="T10" y="T11"/>
                </a:cxn>
              </a:cxnLst>
              <a:rect l="0" t="0" r="r" b="b"/>
              <a:pathLst>
                <a:path w="23" h="20">
                  <a:moveTo>
                    <a:pt x="23" y="0"/>
                  </a:moveTo>
                  <a:lnTo>
                    <a:pt x="22" y="16"/>
                  </a:lnTo>
                  <a:lnTo>
                    <a:pt x="12" y="20"/>
                  </a:lnTo>
                  <a:lnTo>
                    <a:pt x="8" y="5"/>
                  </a:lnTo>
                  <a:lnTo>
                    <a:pt x="0" y="3"/>
                  </a:lnTo>
                  <a:lnTo>
                    <a:pt x="23" y="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65" name="Freeform 64">
              <a:extLst>
                <a:ext uri="{FF2B5EF4-FFF2-40B4-BE49-F238E27FC236}">
                  <a16:creationId xmlns:a16="http://schemas.microsoft.com/office/drawing/2014/main" id="{12A6B754-66C1-1246-9B56-0CCF4A5FE47E}"/>
                </a:ext>
              </a:extLst>
            </p:cNvPr>
            <p:cNvSpPr>
              <a:spLocks noChangeAspect="1"/>
            </p:cNvSpPr>
            <p:nvPr/>
          </p:nvSpPr>
          <p:spPr bwMode="gray">
            <a:xfrm>
              <a:off x="5401753" y="3372219"/>
              <a:ext cx="7974" cy="13434"/>
            </a:xfrm>
            <a:custGeom>
              <a:avLst/>
              <a:gdLst>
                <a:gd name="T0" fmla="*/ 3 w 17"/>
                <a:gd name="T1" fmla="*/ 20 h 20"/>
                <a:gd name="T2" fmla="*/ 9 w 17"/>
                <a:gd name="T3" fmla="*/ 17 h 20"/>
                <a:gd name="T4" fmla="*/ 9 w 17"/>
                <a:gd name="T5" fmla="*/ 14 h 20"/>
                <a:gd name="T6" fmla="*/ 17 w 17"/>
                <a:gd name="T7" fmla="*/ 3 h 20"/>
                <a:gd name="T8" fmla="*/ 13 w 17"/>
                <a:gd name="T9" fmla="*/ 0 h 20"/>
                <a:gd name="T10" fmla="*/ 0 w 17"/>
                <a:gd name="T11" fmla="*/ 12 h 20"/>
                <a:gd name="T12" fmla="*/ 3 w 17"/>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7" h="20">
                  <a:moveTo>
                    <a:pt x="3" y="20"/>
                  </a:moveTo>
                  <a:lnTo>
                    <a:pt x="9" y="17"/>
                  </a:lnTo>
                  <a:lnTo>
                    <a:pt x="9" y="14"/>
                  </a:lnTo>
                  <a:lnTo>
                    <a:pt x="17" y="3"/>
                  </a:lnTo>
                  <a:lnTo>
                    <a:pt x="13" y="0"/>
                  </a:lnTo>
                  <a:lnTo>
                    <a:pt x="0" y="12"/>
                  </a:lnTo>
                  <a:lnTo>
                    <a:pt x="3" y="2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66" name="Freeform 65">
              <a:extLst>
                <a:ext uri="{FF2B5EF4-FFF2-40B4-BE49-F238E27FC236}">
                  <a16:creationId xmlns:a16="http://schemas.microsoft.com/office/drawing/2014/main" id="{FF7C0F19-5780-244A-B370-F86F802E2C8B}"/>
                </a:ext>
              </a:extLst>
            </p:cNvPr>
            <p:cNvSpPr>
              <a:spLocks noChangeAspect="1"/>
            </p:cNvSpPr>
            <p:nvPr/>
          </p:nvSpPr>
          <p:spPr bwMode="gray">
            <a:xfrm>
              <a:off x="5003052" y="4874753"/>
              <a:ext cx="368401" cy="391466"/>
            </a:xfrm>
            <a:custGeom>
              <a:avLst/>
              <a:gdLst>
                <a:gd name="T0" fmla="*/ 59 w 755"/>
                <a:gd name="T1" fmla="*/ 354 h 664"/>
                <a:gd name="T2" fmla="*/ 49 w 755"/>
                <a:gd name="T3" fmla="*/ 331 h 664"/>
                <a:gd name="T4" fmla="*/ 16 w 755"/>
                <a:gd name="T5" fmla="*/ 319 h 664"/>
                <a:gd name="T6" fmla="*/ 0 w 755"/>
                <a:gd name="T7" fmla="*/ 337 h 664"/>
                <a:gd name="T8" fmla="*/ 81 w 755"/>
                <a:gd name="T9" fmla="*/ 509 h 664"/>
                <a:gd name="T10" fmla="*/ 76 w 755"/>
                <a:gd name="T11" fmla="*/ 559 h 664"/>
                <a:gd name="T12" fmla="*/ 62 w 755"/>
                <a:gd name="T13" fmla="*/ 568 h 664"/>
                <a:gd name="T14" fmla="*/ 69 w 755"/>
                <a:gd name="T15" fmla="*/ 580 h 664"/>
                <a:gd name="T16" fmla="*/ 86 w 755"/>
                <a:gd name="T17" fmla="*/ 630 h 664"/>
                <a:gd name="T18" fmla="*/ 95 w 755"/>
                <a:gd name="T19" fmla="*/ 630 h 664"/>
                <a:gd name="T20" fmla="*/ 107 w 755"/>
                <a:gd name="T21" fmla="*/ 645 h 664"/>
                <a:gd name="T22" fmla="*/ 130 w 755"/>
                <a:gd name="T23" fmla="*/ 656 h 664"/>
                <a:gd name="T24" fmla="*/ 164 w 755"/>
                <a:gd name="T25" fmla="*/ 664 h 664"/>
                <a:gd name="T26" fmla="*/ 247 w 755"/>
                <a:gd name="T27" fmla="*/ 645 h 664"/>
                <a:gd name="T28" fmla="*/ 265 w 755"/>
                <a:gd name="T29" fmla="*/ 628 h 664"/>
                <a:gd name="T30" fmla="*/ 307 w 755"/>
                <a:gd name="T31" fmla="*/ 631 h 664"/>
                <a:gd name="T32" fmla="*/ 386 w 755"/>
                <a:gd name="T33" fmla="*/ 635 h 664"/>
                <a:gd name="T34" fmla="*/ 426 w 755"/>
                <a:gd name="T35" fmla="*/ 630 h 664"/>
                <a:gd name="T36" fmla="*/ 430 w 755"/>
                <a:gd name="T37" fmla="*/ 611 h 664"/>
                <a:gd name="T38" fmla="*/ 492 w 755"/>
                <a:gd name="T39" fmla="*/ 599 h 664"/>
                <a:gd name="T40" fmla="*/ 601 w 755"/>
                <a:gd name="T41" fmla="*/ 494 h 664"/>
                <a:gd name="T42" fmla="*/ 689 w 755"/>
                <a:gd name="T43" fmla="*/ 367 h 664"/>
                <a:gd name="T44" fmla="*/ 755 w 755"/>
                <a:gd name="T45" fmla="*/ 237 h 664"/>
                <a:gd name="T46" fmla="*/ 717 w 755"/>
                <a:gd name="T47" fmla="*/ 188 h 664"/>
                <a:gd name="T48" fmla="*/ 695 w 755"/>
                <a:gd name="T49" fmla="*/ 29 h 664"/>
                <a:gd name="T50" fmla="*/ 662 w 755"/>
                <a:gd name="T51" fmla="*/ 8 h 664"/>
                <a:gd name="T52" fmla="*/ 602 w 755"/>
                <a:gd name="T53" fmla="*/ 0 h 664"/>
                <a:gd name="T54" fmla="*/ 540 w 755"/>
                <a:gd name="T55" fmla="*/ 34 h 664"/>
                <a:gd name="T56" fmla="*/ 484 w 755"/>
                <a:gd name="T57" fmla="*/ 88 h 664"/>
                <a:gd name="T58" fmla="*/ 434 w 755"/>
                <a:gd name="T59" fmla="*/ 141 h 664"/>
                <a:gd name="T60" fmla="*/ 381 w 755"/>
                <a:gd name="T61" fmla="*/ 183 h 664"/>
                <a:gd name="T62" fmla="*/ 316 w 755"/>
                <a:gd name="T63" fmla="*/ 169 h 664"/>
                <a:gd name="T64" fmla="*/ 234 w 755"/>
                <a:gd name="T65" fmla="*/ 240 h 664"/>
                <a:gd name="T66" fmla="*/ 193 w 755"/>
                <a:gd name="T67" fmla="*/ 226 h 664"/>
                <a:gd name="T68" fmla="*/ 200 w 755"/>
                <a:gd name="T69" fmla="*/ 180 h 664"/>
                <a:gd name="T70" fmla="*/ 157 w 755"/>
                <a:gd name="T71" fmla="*/ 189 h 664"/>
                <a:gd name="T72" fmla="*/ 157 w 755"/>
                <a:gd name="T73" fmla="*/ 328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5" h="664">
                  <a:moveTo>
                    <a:pt x="118" y="354"/>
                  </a:moveTo>
                  <a:lnTo>
                    <a:pt x="59" y="354"/>
                  </a:lnTo>
                  <a:lnTo>
                    <a:pt x="49" y="344"/>
                  </a:lnTo>
                  <a:lnTo>
                    <a:pt x="49" y="331"/>
                  </a:lnTo>
                  <a:lnTo>
                    <a:pt x="27" y="316"/>
                  </a:lnTo>
                  <a:lnTo>
                    <a:pt x="16" y="319"/>
                  </a:lnTo>
                  <a:lnTo>
                    <a:pt x="8" y="333"/>
                  </a:lnTo>
                  <a:lnTo>
                    <a:pt x="0" y="337"/>
                  </a:lnTo>
                  <a:lnTo>
                    <a:pt x="44" y="441"/>
                  </a:lnTo>
                  <a:lnTo>
                    <a:pt x="81" y="509"/>
                  </a:lnTo>
                  <a:lnTo>
                    <a:pt x="84" y="545"/>
                  </a:lnTo>
                  <a:lnTo>
                    <a:pt x="76" y="559"/>
                  </a:lnTo>
                  <a:lnTo>
                    <a:pt x="66" y="554"/>
                  </a:lnTo>
                  <a:lnTo>
                    <a:pt x="62" y="568"/>
                  </a:lnTo>
                  <a:lnTo>
                    <a:pt x="70" y="574"/>
                  </a:lnTo>
                  <a:lnTo>
                    <a:pt x="69" y="580"/>
                  </a:lnTo>
                  <a:lnTo>
                    <a:pt x="90" y="610"/>
                  </a:lnTo>
                  <a:lnTo>
                    <a:pt x="86" y="630"/>
                  </a:lnTo>
                  <a:lnTo>
                    <a:pt x="92" y="647"/>
                  </a:lnTo>
                  <a:lnTo>
                    <a:pt x="95" y="630"/>
                  </a:lnTo>
                  <a:lnTo>
                    <a:pt x="109" y="630"/>
                  </a:lnTo>
                  <a:lnTo>
                    <a:pt x="107" y="645"/>
                  </a:lnTo>
                  <a:lnTo>
                    <a:pt x="127" y="647"/>
                  </a:lnTo>
                  <a:lnTo>
                    <a:pt x="130" y="656"/>
                  </a:lnTo>
                  <a:lnTo>
                    <a:pt x="140" y="662"/>
                  </a:lnTo>
                  <a:lnTo>
                    <a:pt x="164" y="664"/>
                  </a:lnTo>
                  <a:lnTo>
                    <a:pt x="180" y="652"/>
                  </a:lnTo>
                  <a:lnTo>
                    <a:pt x="247" y="645"/>
                  </a:lnTo>
                  <a:lnTo>
                    <a:pt x="248" y="638"/>
                  </a:lnTo>
                  <a:lnTo>
                    <a:pt x="265" y="628"/>
                  </a:lnTo>
                  <a:lnTo>
                    <a:pt x="279" y="627"/>
                  </a:lnTo>
                  <a:lnTo>
                    <a:pt x="307" y="631"/>
                  </a:lnTo>
                  <a:lnTo>
                    <a:pt x="332" y="625"/>
                  </a:lnTo>
                  <a:lnTo>
                    <a:pt x="386" y="635"/>
                  </a:lnTo>
                  <a:lnTo>
                    <a:pt x="393" y="625"/>
                  </a:lnTo>
                  <a:lnTo>
                    <a:pt x="426" y="630"/>
                  </a:lnTo>
                  <a:lnTo>
                    <a:pt x="423" y="616"/>
                  </a:lnTo>
                  <a:lnTo>
                    <a:pt x="430" y="611"/>
                  </a:lnTo>
                  <a:lnTo>
                    <a:pt x="474" y="610"/>
                  </a:lnTo>
                  <a:lnTo>
                    <a:pt x="492" y="599"/>
                  </a:lnTo>
                  <a:lnTo>
                    <a:pt x="557" y="546"/>
                  </a:lnTo>
                  <a:lnTo>
                    <a:pt x="601" y="494"/>
                  </a:lnTo>
                  <a:lnTo>
                    <a:pt x="628" y="471"/>
                  </a:lnTo>
                  <a:lnTo>
                    <a:pt x="689" y="367"/>
                  </a:lnTo>
                  <a:lnTo>
                    <a:pt x="737" y="325"/>
                  </a:lnTo>
                  <a:lnTo>
                    <a:pt x="755" y="237"/>
                  </a:lnTo>
                  <a:lnTo>
                    <a:pt x="720" y="235"/>
                  </a:lnTo>
                  <a:lnTo>
                    <a:pt x="717" y="188"/>
                  </a:lnTo>
                  <a:lnTo>
                    <a:pt x="712" y="110"/>
                  </a:lnTo>
                  <a:lnTo>
                    <a:pt x="695" y="29"/>
                  </a:lnTo>
                  <a:lnTo>
                    <a:pt x="679" y="14"/>
                  </a:lnTo>
                  <a:lnTo>
                    <a:pt x="662" y="8"/>
                  </a:lnTo>
                  <a:lnTo>
                    <a:pt x="630" y="8"/>
                  </a:lnTo>
                  <a:lnTo>
                    <a:pt x="602" y="0"/>
                  </a:lnTo>
                  <a:lnTo>
                    <a:pt x="594" y="3"/>
                  </a:lnTo>
                  <a:lnTo>
                    <a:pt x="540" y="34"/>
                  </a:lnTo>
                  <a:lnTo>
                    <a:pt x="509" y="57"/>
                  </a:lnTo>
                  <a:lnTo>
                    <a:pt x="484" y="88"/>
                  </a:lnTo>
                  <a:lnTo>
                    <a:pt x="469" y="108"/>
                  </a:lnTo>
                  <a:lnTo>
                    <a:pt x="434" y="141"/>
                  </a:lnTo>
                  <a:lnTo>
                    <a:pt x="417" y="175"/>
                  </a:lnTo>
                  <a:lnTo>
                    <a:pt x="381" y="183"/>
                  </a:lnTo>
                  <a:lnTo>
                    <a:pt x="338" y="167"/>
                  </a:lnTo>
                  <a:lnTo>
                    <a:pt x="316" y="169"/>
                  </a:lnTo>
                  <a:lnTo>
                    <a:pt x="262" y="232"/>
                  </a:lnTo>
                  <a:lnTo>
                    <a:pt x="234" y="240"/>
                  </a:lnTo>
                  <a:lnTo>
                    <a:pt x="197" y="234"/>
                  </a:lnTo>
                  <a:lnTo>
                    <a:pt x="193" y="226"/>
                  </a:lnTo>
                  <a:lnTo>
                    <a:pt x="202" y="198"/>
                  </a:lnTo>
                  <a:lnTo>
                    <a:pt x="200" y="180"/>
                  </a:lnTo>
                  <a:lnTo>
                    <a:pt x="157" y="133"/>
                  </a:lnTo>
                  <a:lnTo>
                    <a:pt x="157" y="189"/>
                  </a:lnTo>
                  <a:lnTo>
                    <a:pt x="157" y="247"/>
                  </a:lnTo>
                  <a:lnTo>
                    <a:pt x="157" y="328"/>
                  </a:lnTo>
                  <a:lnTo>
                    <a:pt x="118" y="354"/>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67" name="Freeform 66">
              <a:extLst>
                <a:ext uri="{FF2B5EF4-FFF2-40B4-BE49-F238E27FC236}">
                  <a16:creationId xmlns:a16="http://schemas.microsoft.com/office/drawing/2014/main" id="{C401424B-5B36-EE4E-BCB0-8AC66E1131EA}"/>
                </a:ext>
              </a:extLst>
            </p:cNvPr>
            <p:cNvSpPr>
              <a:spLocks noChangeAspect="1"/>
            </p:cNvSpPr>
            <p:nvPr/>
          </p:nvSpPr>
          <p:spPr bwMode="gray">
            <a:xfrm>
              <a:off x="5127446" y="4487128"/>
              <a:ext cx="264739" cy="272488"/>
            </a:xfrm>
            <a:custGeom>
              <a:avLst/>
              <a:gdLst>
                <a:gd name="T0" fmla="*/ 261 w 539"/>
                <a:gd name="T1" fmla="*/ 408 h 464"/>
                <a:gd name="T2" fmla="*/ 288 w 539"/>
                <a:gd name="T3" fmla="*/ 392 h 464"/>
                <a:gd name="T4" fmla="*/ 307 w 539"/>
                <a:gd name="T5" fmla="*/ 386 h 464"/>
                <a:gd name="T6" fmla="*/ 354 w 539"/>
                <a:gd name="T7" fmla="*/ 347 h 464"/>
                <a:gd name="T8" fmla="*/ 381 w 539"/>
                <a:gd name="T9" fmla="*/ 349 h 464"/>
                <a:gd name="T10" fmla="*/ 405 w 539"/>
                <a:gd name="T11" fmla="*/ 312 h 464"/>
                <a:gd name="T12" fmla="*/ 481 w 539"/>
                <a:gd name="T13" fmla="*/ 284 h 464"/>
                <a:gd name="T14" fmla="*/ 505 w 539"/>
                <a:gd name="T15" fmla="*/ 270 h 464"/>
                <a:gd name="T16" fmla="*/ 508 w 539"/>
                <a:gd name="T17" fmla="*/ 235 h 464"/>
                <a:gd name="T18" fmla="*/ 531 w 539"/>
                <a:gd name="T19" fmla="*/ 201 h 464"/>
                <a:gd name="T20" fmla="*/ 520 w 539"/>
                <a:gd name="T21" fmla="*/ 157 h 464"/>
                <a:gd name="T22" fmla="*/ 539 w 539"/>
                <a:gd name="T23" fmla="*/ 117 h 464"/>
                <a:gd name="T24" fmla="*/ 517 w 539"/>
                <a:gd name="T25" fmla="*/ 69 h 464"/>
                <a:gd name="T26" fmla="*/ 508 w 539"/>
                <a:gd name="T27" fmla="*/ 57 h 464"/>
                <a:gd name="T28" fmla="*/ 434 w 539"/>
                <a:gd name="T29" fmla="*/ 20 h 464"/>
                <a:gd name="T30" fmla="*/ 415 w 539"/>
                <a:gd name="T31" fmla="*/ 29 h 464"/>
                <a:gd name="T32" fmla="*/ 395 w 539"/>
                <a:gd name="T33" fmla="*/ 0 h 464"/>
                <a:gd name="T34" fmla="*/ 325 w 539"/>
                <a:gd name="T35" fmla="*/ 20 h 464"/>
                <a:gd name="T36" fmla="*/ 317 w 539"/>
                <a:gd name="T37" fmla="*/ 41 h 464"/>
                <a:gd name="T38" fmla="*/ 319 w 539"/>
                <a:gd name="T39" fmla="*/ 84 h 464"/>
                <a:gd name="T40" fmla="*/ 302 w 539"/>
                <a:gd name="T41" fmla="*/ 168 h 464"/>
                <a:gd name="T42" fmla="*/ 354 w 539"/>
                <a:gd name="T43" fmla="*/ 190 h 464"/>
                <a:gd name="T44" fmla="*/ 344 w 539"/>
                <a:gd name="T45" fmla="*/ 230 h 464"/>
                <a:gd name="T46" fmla="*/ 317 w 539"/>
                <a:gd name="T47" fmla="*/ 228 h 464"/>
                <a:gd name="T48" fmla="*/ 282 w 539"/>
                <a:gd name="T49" fmla="*/ 191 h 464"/>
                <a:gd name="T50" fmla="*/ 234 w 539"/>
                <a:gd name="T51" fmla="*/ 165 h 464"/>
                <a:gd name="T52" fmla="*/ 158 w 539"/>
                <a:gd name="T53" fmla="*/ 156 h 464"/>
                <a:gd name="T54" fmla="*/ 115 w 539"/>
                <a:gd name="T55" fmla="*/ 145 h 464"/>
                <a:gd name="T56" fmla="*/ 93 w 539"/>
                <a:gd name="T57" fmla="*/ 125 h 464"/>
                <a:gd name="T58" fmla="*/ 88 w 539"/>
                <a:gd name="T59" fmla="*/ 215 h 464"/>
                <a:gd name="T60" fmla="*/ 67 w 539"/>
                <a:gd name="T61" fmla="*/ 225 h 464"/>
                <a:gd name="T62" fmla="*/ 0 w 539"/>
                <a:gd name="T63" fmla="*/ 225 h 464"/>
                <a:gd name="T64" fmla="*/ 0 w 539"/>
                <a:gd name="T65" fmla="*/ 293 h 464"/>
                <a:gd name="T66" fmla="*/ 2 w 539"/>
                <a:gd name="T67" fmla="*/ 394 h 464"/>
                <a:gd name="T68" fmla="*/ 96 w 539"/>
                <a:gd name="T69" fmla="*/ 433 h 464"/>
                <a:gd name="T70" fmla="*/ 144 w 539"/>
                <a:gd name="T71" fmla="*/ 453 h 464"/>
                <a:gd name="T72" fmla="*/ 203 w 539"/>
                <a:gd name="T73" fmla="*/ 457 h 464"/>
                <a:gd name="T74" fmla="*/ 222 w 539"/>
                <a:gd name="T75" fmla="*/ 462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39" h="464">
                  <a:moveTo>
                    <a:pt x="227" y="456"/>
                  </a:moveTo>
                  <a:lnTo>
                    <a:pt x="261" y="408"/>
                  </a:lnTo>
                  <a:lnTo>
                    <a:pt x="273" y="406"/>
                  </a:lnTo>
                  <a:lnTo>
                    <a:pt x="288" y="392"/>
                  </a:lnTo>
                  <a:lnTo>
                    <a:pt x="305" y="392"/>
                  </a:lnTo>
                  <a:lnTo>
                    <a:pt x="307" y="386"/>
                  </a:lnTo>
                  <a:lnTo>
                    <a:pt x="308" y="366"/>
                  </a:lnTo>
                  <a:lnTo>
                    <a:pt x="354" y="347"/>
                  </a:lnTo>
                  <a:lnTo>
                    <a:pt x="367" y="352"/>
                  </a:lnTo>
                  <a:lnTo>
                    <a:pt x="381" y="349"/>
                  </a:lnTo>
                  <a:lnTo>
                    <a:pt x="370" y="323"/>
                  </a:lnTo>
                  <a:lnTo>
                    <a:pt x="405" y="312"/>
                  </a:lnTo>
                  <a:lnTo>
                    <a:pt x="441" y="299"/>
                  </a:lnTo>
                  <a:lnTo>
                    <a:pt x="481" y="284"/>
                  </a:lnTo>
                  <a:lnTo>
                    <a:pt x="515" y="275"/>
                  </a:lnTo>
                  <a:lnTo>
                    <a:pt x="505" y="270"/>
                  </a:lnTo>
                  <a:lnTo>
                    <a:pt x="497" y="258"/>
                  </a:lnTo>
                  <a:lnTo>
                    <a:pt x="508" y="235"/>
                  </a:lnTo>
                  <a:lnTo>
                    <a:pt x="509" y="211"/>
                  </a:lnTo>
                  <a:lnTo>
                    <a:pt x="531" y="201"/>
                  </a:lnTo>
                  <a:lnTo>
                    <a:pt x="520" y="188"/>
                  </a:lnTo>
                  <a:lnTo>
                    <a:pt x="520" y="157"/>
                  </a:lnTo>
                  <a:lnTo>
                    <a:pt x="526" y="126"/>
                  </a:lnTo>
                  <a:lnTo>
                    <a:pt x="539" y="117"/>
                  </a:lnTo>
                  <a:lnTo>
                    <a:pt x="522" y="75"/>
                  </a:lnTo>
                  <a:lnTo>
                    <a:pt x="517" y="69"/>
                  </a:lnTo>
                  <a:lnTo>
                    <a:pt x="509" y="69"/>
                  </a:lnTo>
                  <a:lnTo>
                    <a:pt x="508" y="57"/>
                  </a:lnTo>
                  <a:lnTo>
                    <a:pt x="452" y="37"/>
                  </a:lnTo>
                  <a:lnTo>
                    <a:pt x="434" y="20"/>
                  </a:lnTo>
                  <a:lnTo>
                    <a:pt x="422" y="18"/>
                  </a:lnTo>
                  <a:lnTo>
                    <a:pt x="415" y="29"/>
                  </a:lnTo>
                  <a:lnTo>
                    <a:pt x="396" y="18"/>
                  </a:lnTo>
                  <a:lnTo>
                    <a:pt x="395" y="0"/>
                  </a:lnTo>
                  <a:lnTo>
                    <a:pt x="333" y="15"/>
                  </a:lnTo>
                  <a:lnTo>
                    <a:pt x="325" y="20"/>
                  </a:lnTo>
                  <a:lnTo>
                    <a:pt x="324" y="32"/>
                  </a:lnTo>
                  <a:lnTo>
                    <a:pt x="317" y="41"/>
                  </a:lnTo>
                  <a:lnTo>
                    <a:pt x="317" y="52"/>
                  </a:lnTo>
                  <a:lnTo>
                    <a:pt x="319" y="84"/>
                  </a:lnTo>
                  <a:lnTo>
                    <a:pt x="319" y="105"/>
                  </a:lnTo>
                  <a:lnTo>
                    <a:pt x="302" y="168"/>
                  </a:lnTo>
                  <a:lnTo>
                    <a:pt x="322" y="190"/>
                  </a:lnTo>
                  <a:lnTo>
                    <a:pt x="354" y="190"/>
                  </a:lnTo>
                  <a:lnTo>
                    <a:pt x="356" y="239"/>
                  </a:lnTo>
                  <a:lnTo>
                    <a:pt x="344" y="230"/>
                  </a:lnTo>
                  <a:lnTo>
                    <a:pt x="334" y="233"/>
                  </a:lnTo>
                  <a:lnTo>
                    <a:pt x="317" y="228"/>
                  </a:lnTo>
                  <a:lnTo>
                    <a:pt x="294" y="211"/>
                  </a:lnTo>
                  <a:lnTo>
                    <a:pt x="282" y="191"/>
                  </a:lnTo>
                  <a:lnTo>
                    <a:pt x="251" y="181"/>
                  </a:lnTo>
                  <a:lnTo>
                    <a:pt x="234" y="165"/>
                  </a:lnTo>
                  <a:lnTo>
                    <a:pt x="195" y="173"/>
                  </a:lnTo>
                  <a:lnTo>
                    <a:pt x="158" y="156"/>
                  </a:lnTo>
                  <a:lnTo>
                    <a:pt x="146" y="135"/>
                  </a:lnTo>
                  <a:lnTo>
                    <a:pt x="115" y="145"/>
                  </a:lnTo>
                  <a:lnTo>
                    <a:pt x="107" y="122"/>
                  </a:lnTo>
                  <a:lnTo>
                    <a:pt x="93" y="125"/>
                  </a:lnTo>
                  <a:lnTo>
                    <a:pt x="96" y="131"/>
                  </a:lnTo>
                  <a:lnTo>
                    <a:pt x="88" y="215"/>
                  </a:lnTo>
                  <a:lnTo>
                    <a:pt x="101" y="225"/>
                  </a:lnTo>
                  <a:lnTo>
                    <a:pt x="67" y="225"/>
                  </a:lnTo>
                  <a:lnTo>
                    <a:pt x="33" y="225"/>
                  </a:lnTo>
                  <a:lnTo>
                    <a:pt x="0" y="225"/>
                  </a:lnTo>
                  <a:lnTo>
                    <a:pt x="0" y="258"/>
                  </a:lnTo>
                  <a:lnTo>
                    <a:pt x="0" y="293"/>
                  </a:lnTo>
                  <a:lnTo>
                    <a:pt x="0" y="340"/>
                  </a:lnTo>
                  <a:lnTo>
                    <a:pt x="2" y="394"/>
                  </a:lnTo>
                  <a:lnTo>
                    <a:pt x="54" y="443"/>
                  </a:lnTo>
                  <a:lnTo>
                    <a:pt x="96" y="433"/>
                  </a:lnTo>
                  <a:lnTo>
                    <a:pt x="129" y="439"/>
                  </a:lnTo>
                  <a:lnTo>
                    <a:pt x="144" y="453"/>
                  </a:lnTo>
                  <a:lnTo>
                    <a:pt x="178" y="460"/>
                  </a:lnTo>
                  <a:lnTo>
                    <a:pt x="203" y="457"/>
                  </a:lnTo>
                  <a:lnTo>
                    <a:pt x="212" y="464"/>
                  </a:lnTo>
                  <a:lnTo>
                    <a:pt x="222" y="462"/>
                  </a:lnTo>
                  <a:lnTo>
                    <a:pt x="227" y="456"/>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68" name="Freeform 67">
              <a:extLst>
                <a:ext uri="{FF2B5EF4-FFF2-40B4-BE49-F238E27FC236}">
                  <a16:creationId xmlns:a16="http://schemas.microsoft.com/office/drawing/2014/main" id="{0EA2FFD5-2A63-2945-AE03-FAC13000659E}"/>
                </a:ext>
              </a:extLst>
            </p:cNvPr>
            <p:cNvSpPr>
              <a:spLocks noChangeAspect="1"/>
            </p:cNvSpPr>
            <p:nvPr/>
          </p:nvSpPr>
          <p:spPr bwMode="gray">
            <a:xfrm>
              <a:off x="5309254" y="4548533"/>
              <a:ext cx="240815" cy="468224"/>
            </a:xfrm>
            <a:custGeom>
              <a:avLst/>
              <a:gdLst>
                <a:gd name="T0" fmla="*/ 216 w 490"/>
                <a:gd name="T1" fmla="*/ 96 h 794"/>
                <a:gd name="T2" fmla="*/ 263 w 490"/>
                <a:gd name="T3" fmla="*/ 56 h 794"/>
                <a:gd name="T4" fmla="*/ 296 w 490"/>
                <a:gd name="T5" fmla="*/ 62 h 794"/>
                <a:gd name="T6" fmla="*/ 351 w 490"/>
                <a:gd name="T7" fmla="*/ 54 h 794"/>
                <a:gd name="T8" fmla="*/ 385 w 490"/>
                <a:gd name="T9" fmla="*/ 39 h 794"/>
                <a:gd name="T10" fmla="*/ 413 w 490"/>
                <a:gd name="T11" fmla="*/ 44 h 794"/>
                <a:gd name="T12" fmla="*/ 481 w 490"/>
                <a:gd name="T13" fmla="*/ 8 h 794"/>
                <a:gd name="T14" fmla="*/ 486 w 490"/>
                <a:gd name="T15" fmla="*/ 8 h 794"/>
                <a:gd name="T16" fmla="*/ 490 w 490"/>
                <a:gd name="T17" fmla="*/ 29 h 794"/>
                <a:gd name="T18" fmla="*/ 478 w 490"/>
                <a:gd name="T19" fmla="*/ 113 h 794"/>
                <a:gd name="T20" fmla="*/ 478 w 490"/>
                <a:gd name="T21" fmla="*/ 125 h 794"/>
                <a:gd name="T22" fmla="*/ 484 w 490"/>
                <a:gd name="T23" fmla="*/ 180 h 794"/>
                <a:gd name="T24" fmla="*/ 484 w 490"/>
                <a:gd name="T25" fmla="*/ 192 h 794"/>
                <a:gd name="T26" fmla="*/ 490 w 490"/>
                <a:gd name="T27" fmla="*/ 201 h 794"/>
                <a:gd name="T28" fmla="*/ 482 w 490"/>
                <a:gd name="T29" fmla="*/ 229 h 794"/>
                <a:gd name="T30" fmla="*/ 455 w 490"/>
                <a:gd name="T31" fmla="*/ 269 h 794"/>
                <a:gd name="T32" fmla="*/ 447 w 490"/>
                <a:gd name="T33" fmla="*/ 281 h 794"/>
                <a:gd name="T34" fmla="*/ 416 w 490"/>
                <a:gd name="T35" fmla="*/ 305 h 794"/>
                <a:gd name="T36" fmla="*/ 376 w 490"/>
                <a:gd name="T37" fmla="*/ 323 h 794"/>
                <a:gd name="T38" fmla="*/ 314 w 490"/>
                <a:gd name="T39" fmla="*/ 359 h 794"/>
                <a:gd name="T40" fmla="*/ 297 w 490"/>
                <a:gd name="T41" fmla="*/ 373 h 794"/>
                <a:gd name="T42" fmla="*/ 283 w 490"/>
                <a:gd name="T43" fmla="*/ 403 h 794"/>
                <a:gd name="T44" fmla="*/ 277 w 490"/>
                <a:gd name="T45" fmla="*/ 393 h 794"/>
                <a:gd name="T46" fmla="*/ 223 w 490"/>
                <a:gd name="T47" fmla="*/ 452 h 794"/>
                <a:gd name="T48" fmla="*/ 211 w 490"/>
                <a:gd name="T49" fmla="*/ 487 h 794"/>
                <a:gd name="T50" fmla="*/ 228 w 490"/>
                <a:gd name="T51" fmla="*/ 506 h 794"/>
                <a:gd name="T52" fmla="*/ 246 w 490"/>
                <a:gd name="T53" fmla="*/ 562 h 794"/>
                <a:gd name="T54" fmla="*/ 249 w 490"/>
                <a:gd name="T55" fmla="*/ 616 h 794"/>
                <a:gd name="T56" fmla="*/ 238 w 490"/>
                <a:gd name="T57" fmla="*/ 664 h 794"/>
                <a:gd name="T58" fmla="*/ 245 w 490"/>
                <a:gd name="T59" fmla="*/ 662 h 794"/>
                <a:gd name="T60" fmla="*/ 216 w 490"/>
                <a:gd name="T61" fmla="*/ 696 h 794"/>
                <a:gd name="T62" fmla="*/ 127 w 490"/>
                <a:gd name="T63" fmla="*/ 737 h 794"/>
                <a:gd name="T64" fmla="*/ 122 w 490"/>
                <a:gd name="T65" fmla="*/ 770 h 794"/>
                <a:gd name="T66" fmla="*/ 128 w 490"/>
                <a:gd name="T67" fmla="*/ 794 h 794"/>
                <a:gd name="T68" fmla="*/ 90 w 490"/>
                <a:gd name="T69" fmla="*/ 745 h 794"/>
                <a:gd name="T70" fmla="*/ 68 w 490"/>
                <a:gd name="T71" fmla="*/ 586 h 794"/>
                <a:gd name="T72" fmla="*/ 94 w 490"/>
                <a:gd name="T73" fmla="*/ 542 h 794"/>
                <a:gd name="T74" fmla="*/ 122 w 490"/>
                <a:gd name="T75" fmla="*/ 408 h 794"/>
                <a:gd name="T76" fmla="*/ 135 w 490"/>
                <a:gd name="T77" fmla="*/ 334 h 794"/>
                <a:gd name="T78" fmla="*/ 119 w 490"/>
                <a:gd name="T79" fmla="*/ 288 h 794"/>
                <a:gd name="T80" fmla="*/ 11 w 490"/>
                <a:gd name="T81" fmla="*/ 260 h 794"/>
                <a:gd name="T82" fmla="*/ 0 w 490"/>
                <a:gd name="T83" fmla="*/ 220 h 794"/>
                <a:gd name="T84" fmla="*/ 71 w 490"/>
                <a:gd name="T85" fmla="*/ 196 h 794"/>
                <a:gd name="T86" fmla="*/ 145 w 490"/>
                <a:gd name="T87" fmla="*/ 172 h 794"/>
                <a:gd name="T88" fmla="*/ 201 w 490"/>
                <a:gd name="T89" fmla="*/ 192 h 794"/>
                <a:gd name="T90" fmla="*/ 211 w 490"/>
                <a:gd name="T91" fmla="*/ 230 h 794"/>
                <a:gd name="T92" fmla="*/ 204 w 490"/>
                <a:gd name="T93" fmla="*/ 276 h 794"/>
                <a:gd name="T94" fmla="*/ 233 w 490"/>
                <a:gd name="T95" fmla="*/ 317 h 794"/>
                <a:gd name="T96" fmla="*/ 245 w 490"/>
                <a:gd name="T97" fmla="*/ 302 h 794"/>
                <a:gd name="T98" fmla="*/ 243 w 490"/>
                <a:gd name="T99" fmla="*/ 276 h 794"/>
                <a:gd name="T100" fmla="*/ 272 w 490"/>
                <a:gd name="T101" fmla="*/ 238 h 794"/>
                <a:gd name="T102" fmla="*/ 272 w 490"/>
                <a:gd name="T103" fmla="*/ 212 h 794"/>
                <a:gd name="T104" fmla="*/ 223 w 490"/>
                <a:gd name="T105" fmla="*/ 147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0" h="794">
                  <a:moveTo>
                    <a:pt x="223" y="147"/>
                  </a:moveTo>
                  <a:lnTo>
                    <a:pt x="216" y="96"/>
                  </a:lnTo>
                  <a:lnTo>
                    <a:pt x="228" y="54"/>
                  </a:lnTo>
                  <a:lnTo>
                    <a:pt x="263" y="56"/>
                  </a:lnTo>
                  <a:lnTo>
                    <a:pt x="277" y="51"/>
                  </a:lnTo>
                  <a:lnTo>
                    <a:pt x="296" y="62"/>
                  </a:lnTo>
                  <a:lnTo>
                    <a:pt x="319" y="54"/>
                  </a:lnTo>
                  <a:lnTo>
                    <a:pt x="351" y="54"/>
                  </a:lnTo>
                  <a:lnTo>
                    <a:pt x="365" y="42"/>
                  </a:lnTo>
                  <a:lnTo>
                    <a:pt x="385" y="39"/>
                  </a:lnTo>
                  <a:lnTo>
                    <a:pt x="398" y="46"/>
                  </a:lnTo>
                  <a:lnTo>
                    <a:pt x="413" y="44"/>
                  </a:lnTo>
                  <a:lnTo>
                    <a:pt x="460" y="28"/>
                  </a:lnTo>
                  <a:lnTo>
                    <a:pt x="481" y="8"/>
                  </a:lnTo>
                  <a:lnTo>
                    <a:pt x="482" y="0"/>
                  </a:lnTo>
                  <a:lnTo>
                    <a:pt x="486" y="8"/>
                  </a:lnTo>
                  <a:lnTo>
                    <a:pt x="490" y="14"/>
                  </a:lnTo>
                  <a:lnTo>
                    <a:pt x="490" y="29"/>
                  </a:lnTo>
                  <a:lnTo>
                    <a:pt x="475" y="65"/>
                  </a:lnTo>
                  <a:lnTo>
                    <a:pt x="478" y="113"/>
                  </a:lnTo>
                  <a:lnTo>
                    <a:pt x="473" y="119"/>
                  </a:lnTo>
                  <a:lnTo>
                    <a:pt x="478" y="125"/>
                  </a:lnTo>
                  <a:lnTo>
                    <a:pt x="478" y="180"/>
                  </a:lnTo>
                  <a:lnTo>
                    <a:pt x="484" y="180"/>
                  </a:lnTo>
                  <a:lnTo>
                    <a:pt x="487" y="184"/>
                  </a:lnTo>
                  <a:lnTo>
                    <a:pt x="484" y="192"/>
                  </a:lnTo>
                  <a:lnTo>
                    <a:pt x="490" y="195"/>
                  </a:lnTo>
                  <a:lnTo>
                    <a:pt x="490" y="201"/>
                  </a:lnTo>
                  <a:lnTo>
                    <a:pt x="475" y="227"/>
                  </a:lnTo>
                  <a:lnTo>
                    <a:pt x="482" y="229"/>
                  </a:lnTo>
                  <a:lnTo>
                    <a:pt x="481" y="242"/>
                  </a:lnTo>
                  <a:lnTo>
                    <a:pt x="455" y="269"/>
                  </a:lnTo>
                  <a:lnTo>
                    <a:pt x="441" y="277"/>
                  </a:lnTo>
                  <a:lnTo>
                    <a:pt x="447" y="281"/>
                  </a:lnTo>
                  <a:lnTo>
                    <a:pt x="443" y="289"/>
                  </a:lnTo>
                  <a:lnTo>
                    <a:pt x="416" y="305"/>
                  </a:lnTo>
                  <a:lnTo>
                    <a:pt x="411" y="313"/>
                  </a:lnTo>
                  <a:lnTo>
                    <a:pt x="376" y="323"/>
                  </a:lnTo>
                  <a:lnTo>
                    <a:pt x="339" y="340"/>
                  </a:lnTo>
                  <a:lnTo>
                    <a:pt x="314" y="359"/>
                  </a:lnTo>
                  <a:lnTo>
                    <a:pt x="313" y="367"/>
                  </a:lnTo>
                  <a:lnTo>
                    <a:pt x="297" y="373"/>
                  </a:lnTo>
                  <a:lnTo>
                    <a:pt x="305" y="378"/>
                  </a:lnTo>
                  <a:lnTo>
                    <a:pt x="283" y="403"/>
                  </a:lnTo>
                  <a:lnTo>
                    <a:pt x="280" y="403"/>
                  </a:lnTo>
                  <a:lnTo>
                    <a:pt x="277" y="393"/>
                  </a:lnTo>
                  <a:lnTo>
                    <a:pt x="271" y="407"/>
                  </a:lnTo>
                  <a:lnTo>
                    <a:pt x="223" y="452"/>
                  </a:lnTo>
                  <a:lnTo>
                    <a:pt x="213" y="454"/>
                  </a:lnTo>
                  <a:lnTo>
                    <a:pt x="211" y="487"/>
                  </a:lnTo>
                  <a:lnTo>
                    <a:pt x="226" y="501"/>
                  </a:lnTo>
                  <a:lnTo>
                    <a:pt x="228" y="506"/>
                  </a:lnTo>
                  <a:lnTo>
                    <a:pt x="243" y="565"/>
                  </a:lnTo>
                  <a:lnTo>
                    <a:pt x="246" y="562"/>
                  </a:lnTo>
                  <a:lnTo>
                    <a:pt x="250" y="565"/>
                  </a:lnTo>
                  <a:lnTo>
                    <a:pt x="249" y="616"/>
                  </a:lnTo>
                  <a:lnTo>
                    <a:pt x="237" y="655"/>
                  </a:lnTo>
                  <a:lnTo>
                    <a:pt x="238" y="664"/>
                  </a:lnTo>
                  <a:lnTo>
                    <a:pt x="249" y="648"/>
                  </a:lnTo>
                  <a:lnTo>
                    <a:pt x="245" y="662"/>
                  </a:lnTo>
                  <a:lnTo>
                    <a:pt x="228" y="687"/>
                  </a:lnTo>
                  <a:lnTo>
                    <a:pt x="216" y="696"/>
                  </a:lnTo>
                  <a:lnTo>
                    <a:pt x="162" y="715"/>
                  </a:lnTo>
                  <a:lnTo>
                    <a:pt x="127" y="737"/>
                  </a:lnTo>
                  <a:lnTo>
                    <a:pt x="111" y="757"/>
                  </a:lnTo>
                  <a:lnTo>
                    <a:pt x="122" y="770"/>
                  </a:lnTo>
                  <a:lnTo>
                    <a:pt x="131" y="761"/>
                  </a:lnTo>
                  <a:lnTo>
                    <a:pt x="128" y="794"/>
                  </a:lnTo>
                  <a:lnTo>
                    <a:pt x="93" y="792"/>
                  </a:lnTo>
                  <a:lnTo>
                    <a:pt x="90" y="745"/>
                  </a:lnTo>
                  <a:lnTo>
                    <a:pt x="85" y="667"/>
                  </a:lnTo>
                  <a:lnTo>
                    <a:pt x="68" y="586"/>
                  </a:lnTo>
                  <a:lnTo>
                    <a:pt x="73" y="562"/>
                  </a:lnTo>
                  <a:lnTo>
                    <a:pt x="94" y="542"/>
                  </a:lnTo>
                  <a:lnTo>
                    <a:pt x="130" y="455"/>
                  </a:lnTo>
                  <a:lnTo>
                    <a:pt x="122" y="408"/>
                  </a:lnTo>
                  <a:lnTo>
                    <a:pt x="135" y="373"/>
                  </a:lnTo>
                  <a:lnTo>
                    <a:pt x="135" y="334"/>
                  </a:lnTo>
                  <a:lnTo>
                    <a:pt x="128" y="294"/>
                  </a:lnTo>
                  <a:lnTo>
                    <a:pt x="119" y="288"/>
                  </a:lnTo>
                  <a:lnTo>
                    <a:pt x="59" y="264"/>
                  </a:lnTo>
                  <a:lnTo>
                    <a:pt x="11" y="260"/>
                  </a:lnTo>
                  <a:lnTo>
                    <a:pt x="11" y="246"/>
                  </a:lnTo>
                  <a:lnTo>
                    <a:pt x="0" y="220"/>
                  </a:lnTo>
                  <a:lnTo>
                    <a:pt x="35" y="209"/>
                  </a:lnTo>
                  <a:lnTo>
                    <a:pt x="71" y="196"/>
                  </a:lnTo>
                  <a:lnTo>
                    <a:pt x="111" y="181"/>
                  </a:lnTo>
                  <a:lnTo>
                    <a:pt x="145" y="172"/>
                  </a:lnTo>
                  <a:lnTo>
                    <a:pt x="165" y="196"/>
                  </a:lnTo>
                  <a:lnTo>
                    <a:pt x="201" y="192"/>
                  </a:lnTo>
                  <a:lnTo>
                    <a:pt x="207" y="196"/>
                  </a:lnTo>
                  <a:lnTo>
                    <a:pt x="211" y="230"/>
                  </a:lnTo>
                  <a:lnTo>
                    <a:pt x="198" y="260"/>
                  </a:lnTo>
                  <a:lnTo>
                    <a:pt x="204" y="276"/>
                  </a:lnTo>
                  <a:lnTo>
                    <a:pt x="237" y="306"/>
                  </a:lnTo>
                  <a:lnTo>
                    <a:pt x="233" y="317"/>
                  </a:lnTo>
                  <a:lnTo>
                    <a:pt x="243" y="317"/>
                  </a:lnTo>
                  <a:lnTo>
                    <a:pt x="245" y="302"/>
                  </a:lnTo>
                  <a:lnTo>
                    <a:pt x="240" y="289"/>
                  </a:lnTo>
                  <a:lnTo>
                    <a:pt x="243" y="276"/>
                  </a:lnTo>
                  <a:lnTo>
                    <a:pt x="267" y="263"/>
                  </a:lnTo>
                  <a:lnTo>
                    <a:pt x="272" y="238"/>
                  </a:lnTo>
                  <a:lnTo>
                    <a:pt x="267" y="227"/>
                  </a:lnTo>
                  <a:lnTo>
                    <a:pt x="272" y="212"/>
                  </a:lnTo>
                  <a:lnTo>
                    <a:pt x="267" y="196"/>
                  </a:lnTo>
                  <a:lnTo>
                    <a:pt x="223" y="147"/>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69" name="Freeform 68">
              <a:extLst>
                <a:ext uri="{FF2B5EF4-FFF2-40B4-BE49-F238E27FC236}">
                  <a16:creationId xmlns:a16="http://schemas.microsoft.com/office/drawing/2014/main" id="{A4F40B89-AEA1-6547-AE71-1D26642BB14A}"/>
                </a:ext>
              </a:extLst>
            </p:cNvPr>
            <p:cNvSpPr>
              <a:spLocks noChangeAspect="1"/>
            </p:cNvSpPr>
            <p:nvPr/>
          </p:nvSpPr>
          <p:spPr bwMode="gray">
            <a:xfrm>
              <a:off x="5371453" y="4523589"/>
              <a:ext cx="70171" cy="211084"/>
            </a:xfrm>
            <a:custGeom>
              <a:avLst/>
              <a:gdLst>
                <a:gd name="T0" fmla="*/ 96 w 145"/>
                <a:gd name="T1" fmla="*/ 193 h 363"/>
                <a:gd name="T2" fmla="*/ 96 w 145"/>
                <a:gd name="T3" fmla="*/ 204 h 363"/>
                <a:gd name="T4" fmla="*/ 105 w 145"/>
                <a:gd name="T5" fmla="*/ 209 h 363"/>
                <a:gd name="T6" fmla="*/ 113 w 145"/>
                <a:gd name="T7" fmla="*/ 236 h 363"/>
                <a:gd name="T8" fmla="*/ 96 w 145"/>
                <a:gd name="T9" fmla="*/ 219 h 363"/>
                <a:gd name="T10" fmla="*/ 93 w 145"/>
                <a:gd name="T11" fmla="*/ 227 h 363"/>
                <a:gd name="T12" fmla="*/ 82 w 145"/>
                <a:gd name="T13" fmla="*/ 224 h 363"/>
                <a:gd name="T14" fmla="*/ 82 w 145"/>
                <a:gd name="T15" fmla="*/ 205 h 363"/>
                <a:gd name="T16" fmla="*/ 74 w 145"/>
                <a:gd name="T17" fmla="*/ 193 h 363"/>
                <a:gd name="T18" fmla="*/ 68 w 145"/>
                <a:gd name="T19" fmla="*/ 158 h 363"/>
                <a:gd name="T20" fmla="*/ 57 w 145"/>
                <a:gd name="T21" fmla="*/ 137 h 363"/>
                <a:gd name="T22" fmla="*/ 69 w 145"/>
                <a:gd name="T23" fmla="*/ 108 h 363"/>
                <a:gd name="T24" fmla="*/ 68 w 145"/>
                <a:gd name="T25" fmla="*/ 48 h 363"/>
                <a:gd name="T26" fmla="*/ 52 w 145"/>
                <a:gd name="T27" fmla="*/ 26 h 363"/>
                <a:gd name="T28" fmla="*/ 55 w 145"/>
                <a:gd name="T29" fmla="*/ 12 h 363"/>
                <a:gd name="T30" fmla="*/ 46 w 145"/>
                <a:gd name="T31" fmla="*/ 7 h 363"/>
                <a:gd name="T32" fmla="*/ 34 w 145"/>
                <a:gd name="T33" fmla="*/ 10 h 363"/>
                <a:gd name="T34" fmla="*/ 11 w 145"/>
                <a:gd name="T35" fmla="*/ 0 h 363"/>
                <a:gd name="T36" fmla="*/ 12 w 145"/>
                <a:gd name="T37" fmla="*/ 12 h 363"/>
                <a:gd name="T38" fmla="*/ 20 w 145"/>
                <a:gd name="T39" fmla="*/ 12 h 363"/>
                <a:gd name="T40" fmla="*/ 25 w 145"/>
                <a:gd name="T41" fmla="*/ 18 h 363"/>
                <a:gd name="T42" fmla="*/ 42 w 145"/>
                <a:gd name="T43" fmla="*/ 60 h 363"/>
                <a:gd name="T44" fmla="*/ 29 w 145"/>
                <a:gd name="T45" fmla="*/ 69 h 363"/>
                <a:gd name="T46" fmla="*/ 23 w 145"/>
                <a:gd name="T47" fmla="*/ 100 h 363"/>
                <a:gd name="T48" fmla="*/ 23 w 145"/>
                <a:gd name="T49" fmla="*/ 131 h 363"/>
                <a:gd name="T50" fmla="*/ 34 w 145"/>
                <a:gd name="T51" fmla="*/ 144 h 363"/>
                <a:gd name="T52" fmla="*/ 12 w 145"/>
                <a:gd name="T53" fmla="*/ 154 h 363"/>
                <a:gd name="T54" fmla="*/ 11 w 145"/>
                <a:gd name="T55" fmla="*/ 178 h 363"/>
                <a:gd name="T56" fmla="*/ 0 w 145"/>
                <a:gd name="T57" fmla="*/ 201 h 363"/>
                <a:gd name="T58" fmla="*/ 8 w 145"/>
                <a:gd name="T59" fmla="*/ 213 h 363"/>
                <a:gd name="T60" fmla="*/ 18 w 145"/>
                <a:gd name="T61" fmla="*/ 218 h 363"/>
                <a:gd name="T62" fmla="*/ 38 w 145"/>
                <a:gd name="T63" fmla="*/ 242 h 363"/>
                <a:gd name="T64" fmla="*/ 74 w 145"/>
                <a:gd name="T65" fmla="*/ 238 h 363"/>
                <a:gd name="T66" fmla="*/ 80 w 145"/>
                <a:gd name="T67" fmla="*/ 242 h 363"/>
                <a:gd name="T68" fmla="*/ 84 w 145"/>
                <a:gd name="T69" fmla="*/ 276 h 363"/>
                <a:gd name="T70" fmla="*/ 71 w 145"/>
                <a:gd name="T71" fmla="*/ 306 h 363"/>
                <a:gd name="T72" fmla="*/ 77 w 145"/>
                <a:gd name="T73" fmla="*/ 322 h 363"/>
                <a:gd name="T74" fmla="*/ 110 w 145"/>
                <a:gd name="T75" fmla="*/ 352 h 363"/>
                <a:gd name="T76" fmla="*/ 106 w 145"/>
                <a:gd name="T77" fmla="*/ 363 h 363"/>
                <a:gd name="T78" fmla="*/ 116 w 145"/>
                <a:gd name="T79" fmla="*/ 363 h 363"/>
                <a:gd name="T80" fmla="*/ 118 w 145"/>
                <a:gd name="T81" fmla="*/ 348 h 363"/>
                <a:gd name="T82" fmla="*/ 113 w 145"/>
                <a:gd name="T83" fmla="*/ 335 h 363"/>
                <a:gd name="T84" fmla="*/ 116 w 145"/>
                <a:gd name="T85" fmla="*/ 322 h 363"/>
                <a:gd name="T86" fmla="*/ 140 w 145"/>
                <a:gd name="T87" fmla="*/ 309 h 363"/>
                <a:gd name="T88" fmla="*/ 145 w 145"/>
                <a:gd name="T89" fmla="*/ 284 h 363"/>
                <a:gd name="T90" fmla="*/ 140 w 145"/>
                <a:gd name="T91" fmla="*/ 273 h 363"/>
                <a:gd name="T92" fmla="*/ 145 w 145"/>
                <a:gd name="T93" fmla="*/ 258 h 363"/>
                <a:gd name="T94" fmla="*/ 140 w 145"/>
                <a:gd name="T95" fmla="*/ 242 h 363"/>
                <a:gd name="T96" fmla="*/ 96 w 145"/>
                <a:gd name="T97" fmla="*/ 19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5" h="363">
                  <a:moveTo>
                    <a:pt x="96" y="193"/>
                  </a:moveTo>
                  <a:lnTo>
                    <a:pt x="96" y="204"/>
                  </a:lnTo>
                  <a:lnTo>
                    <a:pt x="105" y="209"/>
                  </a:lnTo>
                  <a:lnTo>
                    <a:pt x="113" y="236"/>
                  </a:lnTo>
                  <a:lnTo>
                    <a:pt x="96" y="219"/>
                  </a:lnTo>
                  <a:lnTo>
                    <a:pt x="93" y="227"/>
                  </a:lnTo>
                  <a:lnTo>
                    <a:pt x="82" y="224"/>
                  </a:lnTo>
                  <a:lnTo>
                    <a:pt x="82" y="205"/>
                  </a:lnTo>
                  <a:lnTo>
                    <a:pt x="74" y="193"/>
                  </a:lnTo>
                  <a:lnTo>
                    <a:pt x="68" y="158"/>
                  </a:lnTo>
                  <a:lnTo>
                    <a:pt x="57" y="137"/>
                  </a:lnTo>
                  <a:lnTo>
                    <a:pt x="69" y="108"/>
                  </a:lnTo>
                  <a:lnTo>
                    <a:pt x="68" y="48"/>
                  </a:lnTo>
                  <a:lnTo>
                    <a:pt x="52" y="26"/>
                  </a:lnTo>
                  <a:lnTo>
                    <a:pt x="55" y="12"/>
                  </a:lnTo>
                  <a:lnTo>
                    <a:pt x="46" y="7"/>
                  </a:lnTo>
                  <a:lnTo>
                    <a:pt x="34" y="10"/>
                  </a:lnTo>
                  <a:lnTo>
                    <a:pt x="11" y="0"/>
                  </a:lnTo>
                  <a:lnTo>
                    <a:pt x="12" y="12"/>
                  </a:lnTo>
                  <a:lnTo>
                    <a:pt x="20" y="12"/>
                  </a:lnTo>
                  <a:lnTo>
                    <a:pt x="25" y="18"/>
                  </a:lnTo>
                  <a:lnTo>
                    <a:pt x="42" y="60"/>
                  </a:lnTo>
                  <a:lnTo>
                    <a:pt x="29" y="69"/>
                  </a:lnTo>
                  <a:lnTo>
                    <a:pt x="23" y="100"/>
                  </a:lnTo>
                  <a:lnTo>
                    <a:pt x="23" y="131"/>
                  </a:lnTo>
                  <a:lnTo>
                    <a:pt x="34" y="144"/>
                  </a:lnTo>
                  <a:lnTo>
                    <a:pt x="12" y="154"/>
                  </a:lnTo>
                  <a:lnTo>
                    <a:pt x="11" y="178"/>
                  </a:lnTo>
                  <a:lnTo>
                    <a:pt x="0" y="201"/>
                  </a:lnTo>
                  <a:lnTo>
                    <a:pt x="8" y="213"/>
                  </a:lnTo>
                  <a:lnTo>
                    <a:pt x="18" y="218"/>
                  </a:lnTo>
                  <a:lnTo>
                    <a:pt x="38" y="242"/>
                  </a:lnTo>
                  <a:lnTo>
                    <a:pt x="74" y="238"/>
                  </a:lnTo>
                  <a:lnTo>
                    <a:pt x="80" y="242"/>
                  </a:lnTo>
                  <a:lnTo>
                    <a:pt x="84" y="276"/>
                  </a:lnTo>
                  <a:lnTo>
                    <a:pt x="71" y="306"/>
                  </a:lnTo>
                  <a:lnTo>
                    <a:pt x="77" y="322"/>
                  </a:lnTo>
                  <a:lnTo>
                    <a:pt x="110" y="352"/>
                  </a:lnTo>
                  <a:lnTo>
                    <a:pt x="106" y="363"/>
                  </a:lnTo>
                  <a:lnTo>
                    <a:pt x="116" y="363"/>
                  </a:lnTo>
                  <a:lnTo>
                    <a:pt x="118" y="348"/>
                  </a:lnTo>
                  <a:lnTo>
                    <a:pt x="113" y="335"/>
                  </a:lnTo>
                  <a:lnTo>
                    <a:pt x="116" y="322"/>
                  </a:lnTo>
                  <a:lnTo>
                    <a:pt x="140" y="309"/>
                  </a:lnTo>
                  <a:lnTo>
                    <a:pt x="145" y="284"/>
                  </a:lnTo>
                  <a:lnTo>
                    <a:pt x="140" y="273"/>
                  </a:lnTo>
                  <a:lnTo>
                    <a:pt x="145" y="258"/>
                  </a:lnTo>
                  <a:lnTo>
                    <a:pt x="140" y="242"/>
                  </a:lnTo>
                  <a:lnTo>
                    <a:pt x="96" y="193"/>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70" name="Freeform 69">
              <a:extLst>
                <a:ext uri="{FF2B5EF4-FFF2-40B4-BE49-F238E27FC236}">
                  <a16:creationId xmlns:a16="http://schemas.microsoft.com/office/drawing/2014/main" id="{CF4600AE-80E6-D546-8B9F-9009AFA0DAE0}"/>
                </a:ext>
              </a:extLst>
            </p:cNvPr>
            <p:cNvSpPr>
              <a:spLocks noChangeAspect="1"/>
            </p:cNvSpPr>
            <p:nvPr/>
          </p:nvSpPr>
          <p:spPr bwMode="gray">
            <a:xfrm>
              <a:off x="5396970" y="4143634"/>
              <a:ext cx="180214" cy="249462"/>
            </a:xfrm>
            <a:custGeom>
              <a:avLst/>
              <a:gdLst>
                <a:gd name="T0" fmla="*/ 13 w 366"/>
                <a:gd name="T1" fmla="*/ 256 h 423"/>
                <a:gd name="T2" fmla="*/ 5 w 366"/>
                <a:gd name="T3" fmla="*/ 247 h 423"/>
                <a:gd name="T4" fmla="*/ 13 w 366"/>
                <a:gd name="T5" fmla="*/ 237 h 423"/>
                <a:gd name="T6" fmla="*/ 22 w 366"/>
                <a:gd name="T7" fmla="*/ 237 h 423"/>
                <a:gd name="T8" fmla="*/ 29 w 366"/>
                <a:gd name="T9" fmla="*/ 231 h 423"/>
                <a:gd name="T10" fmla="*/ 39 w 366"/>
                <a:gd name="T11" fmla="*/ 227 h 423"/>
                <a:gd name="T12" fmla="*/ 39 w 366"/>
                <a:gd name="T13" fmla="*/ 223 h 423"/>
                <a:gd name="T14" fmla="*/ 29 w 366"/>
                <a:gd name="T15" fmla="*/ 222 h 423"/>
                <a:gd name="T16" fmla="*/ 21 w 366"/>
                <a:gd name="T17" fmla="*/ 223 h 423"/>
                <a:gd name="T18" fmla="*/ 16 w 366"/>
                <a:gd name="T19" fmla="*/ 227 h 423"/>
                <a:gd name="T20" fmla="*/ 10 w 366"/>
                <a:gd name="T21" fmla="*/ 227 h 423"/>
                <a:gd name="T22" fmla="*/ 7 w 366"/>
                <a:gd name="T23" fmla="*/ 220 h 423"/>
                <a:gd name="T24" fmla="*/ 2 w 366"/>
                <a:gd name="T25" fmla="*/ 214 h 423"/>
                <a:gd name="T26" fmla="*/ 2 w 366"/>
                <a:gd name="T27" fmla="*/ 202 h 423"/>
                <a:gd name="T28" fmla="*/ 46 w 366"/>
                <a:gd name="T29" fmla="*/ 143 h 423"/>
                <a:gd name="T30" fmla="*/ 50 w 366"/>
                <a:gd name="T31" fmla="*/ 113 h 423"/>
                <a:gd name="T32" fmla="*/ 46 w 366"/>
                <a:gd name="T33" fmla="*/ 84 h 423"/>
                <a:gd name="T34" fmla="*/ 25 w 366"/>
                <a:gd name="T35" fmla="*/ 67 h 423"/>
                <a:gd name="T36" fmla="*/ 17 w 366"/>
                <a:gd name="T37" fmla="*/ 30 h 423"/>
                <a:gd name="T38" fmla="*/ 0 w 366"/>
                <a:gd name="T39" fmla="*/ 24 h 423"/>
                <a:gd name="T40" fmla="*/ 24 w 366"/>
                <a:gd name="T41" fmla="*/ 2 h 423"/>
                <a:gd name="T42" fmla="*/ 87 w 366"/>
                <a:gd name="T43" fmla="*/ 0 h 423"/>
                <a:gd name="T44" fmla="*/ 124 w 366"/>
                <a:gd name="T45" fmla="*/ 4 h 423"/>
                <a:gd name="T46" fmla="*/ 180 w 366"/>
                <a:gd name="T47" fmla="*/ 39 h 423"/>
                <a:gd name="T48" fmla="*/ 229 w 366"/>
                <a:gd name="T49" fmla="*/ 51 h 423"/>
                <a:gd name="T50" fmla="*/ 249 w 366"/>
                <a:gd name="T51" fmla="*/ 51 h 423"/>
                <a:gd name="T52" fmla="*/ 270 w 366"/>
                <a:gd name="T53" fmla="*/ 41 h 423"/>
                <a:gd name="T54" fmla="*/ 283 w 366"/>
                <a:gd name="T55" fmla="*/ 27 h 423"/>
                <a:gd name="T56" fmla="*/ 315 w 366"/>
                <a:gd name="T57" fmla="*/ 19 h 423"/>
                <a:gd name="T58" fmla="*/ 342 w 366"/>
                <a:gd name="T59" fmla="*/ 33 h 423"/>
                <a:gd name="T60" fmla="*/ 366 w 366"/>
                <a:gd name="T61" fmla="*/ 33 h 423"/>
                <a:gd name="T62" fmla="*/ 347 w 366"/>
                <a:gd name="T63" fmla="*/ 62 h 423"/>
                <a:gd name="T64" fmla="*/ 325 w 366"/>
                <a:gd name="T65" fmla="*/ 83 h 423"/>
                <a:gd name="T66" fmla="*/ 325 w 366"/>
                <a:gd name="T67" fmla="*/ 126 h 423"/>
                <a:gd name="T68" fmla="*/ 325 w 366"/>
                <a:gd name="T69" fmla="*/ 168 h 423"/>
                <a:gd name="T70" fmla="*/ 325 w 366"/>
                <a:gd name="T71" fmla="*/ 210 h 423"/>
                <a:gd name="T72" fmla="*/ 325 w 366"/>
                <a:gd name="T73" fmla="*/ 253 h 423"/>
                <a:gd name="T74" fmla="*/ 350 w 366"/>
                <a:gd name="T75" fmla="*/ 287 h 423"/>
                <a:gd name="T76" fmla="*/ 339 w 366"/>
                <a:gd name="T77" fmla="*/ 299 h 423"/>
                <a:gd name="T78" fmla="*/ 327 w 366"/>
                <a:gd name="T79" fmla="*/ 304 h 423"/>
                <a:gd name="T80" fmla="*/ 319 w 366"/>
                <a:gd name="T81" fmla="*/ 322 h 423"/>
                <a:gd name="T82" fmla="*/ 304 w 366"/>
                <a:gd name="T83" fmla="*/ 328 h 423"/>
                <a:gd name="T84" fmla="*/ 296 w 366"/>
                <a:gd name="T85" fmla="*/ 335 h 423"/>
                <a:gd name="T86" fmla="*/ 265 w 366"/>
                <a:gd name="T87" fmla="*/ 409 h 423"/>
                <a:gd name="T88" fmla="*/ 249 w 366"/>
                <a:gd name="T89" fmla="*/ 423 h 423"/>
                <a:gd name="T90" fmla="*/ 185 w 366"/>
                <a:gd name="T91" fmla="*/ 384 h 423"/>
                <a:gd name="T92" fmla="*/ 175 w 366"/>
                <a:gd name="T93" fmla="*/ 349 h 423"/>
                <a:gd name="T94" fmla="*/ 13 w 366"/>
                <a:gd name="T95" fmla="*/ 256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6" h="423">
                  <a:moveTo>
                    <a:pt x="13" y="256"/>
                  </a:moveTo>
                  <a:lnTo>
                    <a:pt x="5" y="247"/>
                  </a:lnTo>
                  <a:lnTo>
                    <a:pt x="13" y="237"/>
                  </a:lnTo>
                  <a:lnTo>
                    <a:pt x="22" y="237"/>
                  </a:lnTo>
                  <a:lnTo>
                    <a:pt x="29" y="231"/>
                  </a:lnTo>
                  <a:lnTo>
                    <a:pt x="39" y="227"/>
                  </a:lnTo>
                  <a:lnTo>
                    <a:pt x="39" y="223"/>
                  </a:lnTo>
                  <a:lnTo>
                    <a:pt x="29" y="222"/>
                  </a:lnTo>
                  <a:lnTo>
                    <a:pt x="21" y="223"/>
                  </a:lnTo>
                  <a:lnTo>
                    <a:pt x="16" y="227"/>
                  </a:lnTo>
                  <a:lnTo>
                    <a:pt x="10" y="227"/>
                  </a:lnTo>
                  <a:lnTo>
                    <a:pt x="7" y="220"/>
                  </a:lnTo>
                  <a:lnTo>
                    <a:pt x="2" y="214"/>
                  </a:lnTo>
                  <a:lnTo>
                    <a:pt x="2" y="202"/>
                  </a:lnTo>
                  <a:lnTo>
                    <a:pt x="46" y="143"/>
                  </a:lnTo>
                  <a:lnTo>
                    <a:pt x="50" y="113"/>
                  </a:lnTo>
                  <a:lnTo>
                    <a:pt x="46" y="84"/>
                  </a:lnTo>
                  <a:lnTo>
                    <a:pt x="25" y="67"/>
                  </a:lnTo>
                  <a:lnTo>
                    <a:pt x="17" y="30"/>
                  </a:lnTo>
                  <a:lnTo>
                    <a:pt x="0" y="24"/>
                  </a:lnTo>
                  <a:lnTo>
                    <a:pt x="24" y="2"/>
                  </a:lnTo>
                  <a:lnTo>
                    <a:pt x="87" y="0"/>
                  </a:lnTo>
                  <a:lnTo>
                    <a:pt x="124" y="4"/>
                  </a:lnTo>
                  <a:lnTo>
                    <a:pt x="180" y="39"/>
                  </a:lnTo>
                  <a:lnTo>
                    <a:pt x="229" y="51"/>
                  </a:lnTo>
                  <a:lnTo>
                    <a:pt x="249" y="51"/>
                  </a:lnTo>
                  <a:lnTo>
                    <a:pt x="270" y="41"/>
                  </a:lnTo>
                  <a:lnTo>
                    <a:pt x="283" y="27"/>
                  </a:lnTo>
                  <a:lnTo>
                    <a:pt x="315" y="19"/>
                  </a:lnTo>
                  <a:lnTo>
                    <a:pt x="342" y="33"/>
                  </a:lnTo>
                  <a:lnTo>
                    <a:pt x="366" y="33"/>
                  </a:lnTo>
                  <a:lnTo>
                    <a:pt x="347" y="62"/>
                  </a:lnTo>
                  <a:lnTo>
                    <a:pt x="325" y="83"/>
                  </a:lnTo>
                  <a:lnTo>
                    <a:pt x="325" y="126"/>
                  </a:lnTo>
                  <a:lnTo>
                    <a:pt x="325" y="168"/>
                  </a:lnTo>
                  <a:lnTo>
                    <a:pt x="325" y="210"/>
                  </a:lnTo>
                  <a:lnTo>
                    <a:pt x="325" y="253"/>
                  </a:lnTo>
                  <a:lnTo>
                    <a:pt x="350" y="287"/>
                  </a:lnTo>
                  <a:lnTo>
                    <a:pt x="339" y="299"/>
                  </a:lnTo>
                  <a:lnTo>
                    <a:pt x="327" y="304"/>
                  </a:lnTo>
                  <a:lnTo>
                    <a:pt x="319" y="322"/>
                  </a:lnTo>
                  <a:lnTo>
                    <a:pt x="304" y="328"/>
                  </a:lnTo>
                  <a:lnTo>
                    <a:pt x="296" y="335"/>
                  </a:lnTo>
                  <a:lnTo>
                    <a:pt x="265" y="409"/>
                  </a:lnTo>
                  <a:lnTo>
                    <a:pt x="249" y="423"/>
                  </a:lnTo>
                  <a:lnTo>
                    <a:pt x="185" y="384"/>
                  </a:lnTo>
                  <a:lnTo>
                    <a:pt x="175" y="349"/>
                  </a:lnTo>
                  <a:lnTo>
                    <a:pt x="13" y="256"/>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71" name="Freeform 70">
              <a:extLst>
                <a:ext uri="{FF2B5EF4-FFF2-40B4-BE49-F238E27FC236}">
                  <a16:creationId xmlns:a16="http://schemas.microsoft.com/office/drawing/2014/main" id="{748B2921-FA67-6842-957E-C1E850DF196D}"/>
                </a:ext>
              </a:extLst>
            </p:cNvPr>
            <p:cNvSpPr>
              <a:spLocks noChangeAspect="1"/>
            </p:cNvSpPr>
            <p:nvPr/>
          </p:nvSpPr>
          <p:spPr bwMode="gray">
            <a:xfrm>
              <a:off x="4893011" y="4423803"/>
              <a:ext cx="285471" cy="339653"/>
            </a:xfrm>
            <a:custGeom>
              <a:avLst/>
              <a:gdLst>
                <a:gd name="T0" fmla="*/ 260 w 582"/>
                <a:gd name="T1" fmla="*/ 540 h 574"/>
                <a:gd name="T2" fmla="*/ 156 w 582"/>
                <a:gd name="T3" fmla="*/ 540 h 574"/>
                <a:gd name="T4" fmla="*/ 78 w 582"/>
                <a:gd name="T5" fmla="*/ 518 h 574"/>
                <a:gd name="T6" fmla="*/ 51 w 582"/>
                <a:gd name="T7" fmla="*/ 518 h 574"/>
                <a:gd name="T8" fmla="*/ 20 w 582"/>
                <a:gd name="T9" fmla="*/ 526 h 574"/>
                <a:gd name="T10" fmla="*/ 0 w 582"/>
                <a:gd name="T11" fmla="*/ 506 h 574"/>
                <a:gd name="T12" fmla="*/ 5 w 582"/>
                <a:gd name="T13" fmla="*/ 472 h 574"/>
                <a:gd name="T14" fmla="*/ 20 w 582"/>
                <a:gd name="T15" fmla="*/ 438 h 574"/>
                <a:gd name="T16" fmla="*/ 45 w 582"/>
                <a:gd name="T17" fmla="*/ 350 h 574"/>
                <a:gd name="T18" fmla="*/ 58 w 582"/>
                <a:gd name="T19" fmla="*/ 327 h 574"/>
                <a:gd name="T20" fmla="*/ 90 w 582"/>
                <a:gd name="T21" fmla="*/ 299 h 574"/>
                <a:gd name="T22" fmla="*/ 99 w 582"/>
                <a:gd name="T23" fmla="*/ 243 h 574"/>
                <a:gd name="T24" fmla="*/ 99 w 582"/>
                <a:gd name="T25" fmla="*/ 220 h 574"/>
                <a:gd name="T26" fmla="*/ 68 w 582"/>
                <a:gd name="T27" fmla="*/ 156 h 574"/>
                <a:gd name="T28" fmla="*/ 75 w 582"/>
                <a:gd name="T29" fmla="*/ 114 h 574"/>
                <a:gd name="T30" fmla="*/ 33 w 582"/>
                <a:gd name="T31" fmla="*/ 20 h 574"/>
                <a:gd name="T32" fmla="*/ 112 w 582"/>
                <a:gd name="T33" fmla="*/ 2 h 574"/>
                <a:gd name="T34" fmla="*/ 180 w 582"/>
                <a:gd name="T35" fmla="*/ 0 h 574"/>
                <a:gd name="T36" fmla="*/ 231 w 582"/>
                <a:gd name="T37" fmla="*/ 14 h 574"/>
                <a:gd name="T38" fmla="*/ 274 w 582"/>
                <a:gd name="T39" fmla="*/ 104 h 574"/>
                <a:gd name="T40" fmla="*/ 325 w 582"/>
                <a:gd name="T41" fmla="*/ 99 h 574"/>
                <a:gd name="T42" fmla="*/ 367 w 582"/>
                <a:gd name="T43" fmla="*/ 54 h 574"/>
                <a:gd name="T44" fmla="*/ 424 w 582"/>
                <a:gd name="T45" fmla="*/ 68 h 574"/>
                <a:gd name="T46" fmla="*/ 469 w 582"/>
                <a:gd name="T47" fmla="*/ 79 h 574"/>
                <a:gd name="T48" fmla="*/ 471 w 582"/>
                <a:gd name="T49" fmla="*/ 168 h 574"/>
                <a:gd name="T50" fmla="*/ 480 w 582"/>
                <a:gd name="T51" fmla="*/ 246 h 574"/>
                <a:gd name="T52" fmla="*/ 503 w 582"/>
                <a:gd name="T53" fmla="*/ 241 h 574"/>
                <a:gd name="T54" fmla="*/ 565 w 582"/>
                <a:gd name="T55" fmla="*/ 240 h 574"/>
                <a:gd name="T56" fmla="*/ 577 w 582"/>
                <a:gd name="T57" fmla="*/ 240 h 574"/>
                <a:gd name="T58" fmla="*/ 582 w 582"/>
                <a:gd name="T59" fmla="*/ 334 h 574"/>
                <a:gd name="T60" fmla="*/ 514 w 582"/>
                <a:gd name="T61" fmla="*/ 334 h 574"/>
                <a:gd name="T62" fmla="*/ 481 w 582"/>
                <a:gd name="T63" fmla="*/ 368 h 574"/>
                <a:gd name="T64" fmla="*/ 481 w 582"/>
                <a:gd name="T65" fmla="*/ 449 h 574"/>
                <a:gd name="T66" fmla="*/ 535 w 582"/>
                <a:gd name="T67" fmla="*/ 552 h 574"/>
                <a:gd name="T68" fmla="*/ 390 w 582"/>
                <a:gd name="T69" fmla="*/ 560 h 574"/>
                <a:gd name="T70" fmla="*/ 328 w 582"/>
                <a:gd name="T71" fmla="*/ 557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2" h="574">
                  <a:moveTo>
                    <a:pt x="310" y="540"/>
                  </a:moveTo>
                  <a:lnTo>
                    <a:pt x="260" y="540"/>
                  </a:lnTo>
                  <a:lnTo>
                    <a:pt x="207" y="540"/>
                  </a:lnTo>
                  <a:lnTo>
                    <a:pt x="156" y="540"/>
                  </a:lnTo>
                  <a:lnTo>
                    <a:pt x="105" y="540"/>
                  </a:lnTo>
                  <a:lnTo>
                    <a:pt x="78" y="518"/>
                  </a:lnTo>
                  <a:lnTo>
                    <a:pt x="71" y="518"/>
                  </a:lnTo>
                  <a:lnTo>
                    <a:pt x="51" y="518"/>
                  </a:lnTo>
                  <a:lnTo>
                    <a:pt x="29" y="532"/>
                  </a:lnTo>
                  <a:lnTo>
                    <a:pt x="20" y="526"/>
                  </a:lnTo>
                  <a:lnTo>
                    <a:pt x="2" y="539"/>
                  </a:lnTo>
                  <a:lnTo>
                    <a:pt x="0" y="506"/>
                  </a:lnTo>
                  <a:lnTo>
                    <a:pt x="5" y="515"/>
                  </a:lnTo>
                  <a:lnTo>
                    <a:pt x="5" y="472"/>
                  </a:lnTo>
                  <a:lnTo>
                    <a:pt x="12" y="466"/>
                  </a:lnTo>
                  <a:lnTo>
                    <a:pt x="20" y="438"/>
                  </a:lnTo>
                  <a:lnTo>
                    <a:pt x="36" y="371"/>
                  </a:lnTo>
                  <a:lnTo>
                    <a:pt x="45" y="350"/>
                  </a:lnTo>
                  <a:lnTo>
                    <a:pt x="58" y="337"/>
                  </a:lnTo>
                  <a:lnTo>
                    <a:pt x="58" y="327"/>
                  </a:lnTo>
                  <a:lnTo>
                    <a:pt x="75" y="319"/>
                  </a:lnTo>
                  <a:lnTo>
                    <a:pt x="90" y="299"/>
                  </a:lnTo>
                  <a:lnTo>
                    <a:pt x="96" y="277"/>
                  </a:lnTo>
                  <a:lnTo>
                    <a:pt x="99" y="243"/>
                  </a:lnTo>
                  <a:lnTo>
                    <a:pt x="102" y="235"/>
                  </a:lnTo>
                  <a:lnTo>
                    <a:pt x="99" y="220"/>
                  </a:lnTo>
                  <a:lnTo>
                    <a:pt x="78" y="195"/>
                  </a:lnTo>
                  <a:lnTo>
                    <a:pt x="68" y="156"/>
                  </a:lnTo>
                  <a:lnTo>
                    <a:pt x="78" y="139"/>
                  </a:lnTo>
                  <a:lnTo>
                    <a:pt x="75" y="114"/>
                  </a:lnTo>
                  <a:lnTo>
                    <a:pt x="56" y="58"/>
                  </a:lnTo>
                  <a:lnTo>
                    <a:pt x="33" y="20"/>
                  </a:lnTo>
                  <a:lnTo>
                    <a:pt x="78" y="2"/>
                  </a:lnTo>
                  <a:lnTo>
                    <a:pt x="112" y="2"/>
                  </a:lnTo>
                  <a:lnTo>
                    <a:pt x="146" y="0"/>
                  </a:lnTo>
                  <a:lnTo>
                    <a:pt x="180" y="0"/>
                  </a:lnTo>
                  <a:lnTo>
                    <a:pt x="215" y="0"/>
                  </a:lnTo>
                  <a:lnTo>
                    <a:pt x="231" y="14"/>
                  </a:lnTo>
                  <a:lnTo>
                    <a:pt x="246" y="70"/>
                  </a:lnTo>
                  <a:lnTo>
                    <a:pt x="274" y="104"/>
                  </a:lnTo>
                  <a:lnTo>
                    <a:pt x="285" y="107"/>
                  </a:lnTo>
                  <a:lnTo>
                    <a:pt x="325" y="99"/>
                  </a:lnTo>
                  <a:lnTo>
                    <a:pt x="356" y="101"/>
                  </a:lnTo>
                  <a:lnTo>
                    <a:pt x="367" y="54"/>
                  </a:lnTo>
                  <a:lnTo>
                    <a:pt x="424" y="50"/>
                  </a:lnTo>
                  <a:lnTo>
                    <a:pt x="424" y="68"/>
                  </a:lnTo>
                  <a:lnTo>
                    <a:pt x="464" y="68"/>
                  </a:lnTo>
                  <a:lnTo>
                    <a:pt x="469" y="79"/>
                  </a:lnTo>
                  <a:lnTo>
                    <a:pt x="475" y="142"/>
                  </a:lnTo>
                  <a:lnTo>
                    <a:pt x="471" y="168"/>
                  </a:lnTo>
                  <a:lnTo>
                    <a:pt x="484" y="220"/>
                  </a:lnTo>
                  <a:lnTo>
                    <a:pt x="480" y="246"/>
                  </a:lnTo>
                  <a:lnTo>
                    <a:pt x="493" y="254"/>
                  </a:lnTo>
                  <a:lnTo>
                    <a:pt x="503" y="241"/>
                  </a:lnTo>
                  <a:lnTo>
                    <a:pt x="532" y="240"/>
                  </a:lnTo>
                  <a:lnTo>
                    <a:pt x="565" y="240"/>
                  </a:lnTo>
                  <a:lnTo>
                    <a:pt x="574" y="234"/>
                  </a:lnTo>
                  <a:lnTo>
                    <a:pt x="577" y="240"/>
                  </a:lnTo>
                  <a:lnTo>
                    <a:pt x="569" y="324"/>
                  </a:lnTo>
                  <a:lnTo>
                    <a:pt x="582" y="334"/>
                  </a:lnTo>
                  <a:lnTo>
                    <a:pt x="548" y="334"/>
                  </a:lnTo>
                  <a:lnTo>
                    <a:pt x="514" y="334"/>
                  </a:lnTo>
                  <a:lnTo>
                    <a:pt x="481" y="334"/>
                  </a:lnTo>
                  <a:lnTo>
                    <a:pt x="481" y="368"/>
                  </a:lnTo>
                  <a:lnTo>
                    <a:pt x="481" y="402"/>
                  </a:lnTo>
                  <a:lnTo>
                    <a:pt x="481" y="449"/>
                  </a:lnTo>
                  <a:lnTo>
                    <a:pt x="483" y="503"/>
                  </a:lnTo>
                  <a:lnTo>
                    <a:pt x="535" y="552"/>
                  </a:lnTo>
                  <a:lnTo>
                    <a:pt x="454" y="574"/>
                  </a:lnTo>
                  <a:lnTo>
                    <a:pt x="390" y="560"/>
                  </a:lnTo>
                  <a:lnTo>
                    <a:pt x="344" y="562"/>
                  </a:lnTo>
                  <a:lnTo>
                    <a:pt x="328" y="557"/>
                  </a:lnTo>
                  <a:lnTo>
                    <a:pt x="310" y="54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72" name="Freeform 71">
              <a:extLst>
                <a:ext uri="{FF2B5EF4-FFF2-40B4-BE49-F238E27FC236}">
                  <a16:creationId xmlns:a16="http://schemas.microsoft.com/office/drawing/2014/main" id="{02CB1F1A-44B7-EB45-B406-7B80756C9E95}"/>
                </a:ext>
              </a:extLst>
            </p:cNvPr>
            <p:cNvSpPr>
              <a:spLocks noChangeAspect="1"/>
            </p:cNvSpPr>
            <p:nvPr/>
          </p:nvSpPr>
          <p:spPr bwMode="gray">
            <a:xfrm>
              <a:off x="5197618" y="4692454"/>
              <a:ext cx="178619" cy="199572"/>
            </a:xfrm>
            <a:custGeom>
              <a:avLst/>
              <a:gdLst>
                <a:gd name="T0" fmla="*/ 83 w 361"/>
                <a:gd name="T1" fmla="*/ 109 h 342"/>
                <a:gd name="T2" fmla="*/ 95 w 361"/>
                <a:gd name="T3" fmla="*/ 104 h 342"/>
                <a:gd name="T4" fmla="*/ 115 w 361"/>
                <a:gd name="T5" fmla="*/ 83 h 342"/>
                <a:gd name="T6" fmla="*/ 132 w 361"/>
                <a:gd name="T7" fmla="*/ 73 h 342"/>
                <a:gd name="T8" fmla="*/ 133 w 361"/>
                <a:gd name="T9" fmla="*/ 64 h 342"/>
                <a:gd name="T10" fmla="*/ 150 w 361"/>
                <a:gd name="T11" fmla="*/ 58 h 342"/>
                <a:gd name="T12" fmla="*/ 164 w 361"/>
                <a:gd name="T13" fmla="*/ 61 h 342"/>
                <a:gd name="T14" fmla="*/ 172 w 361"/>
                <a:gd name="T15" fmla="*/ 52 h 342"/>
                <a:gd name="T16" fmla="*/ 161 w 361"/>
                <a:gd name="T17" fmla="*/ 45 h 342"/>
                <a:gd name="T18" fmla="*/ 163 w 361"/>
                <a:gd name="T19" fmla="*/ 39 h 342"/>
                <a:gd name="T20" fmla="*/ 164 w 361"/>
                <a:gd name="T21" fmla="*/ 19 h 342"/>
                <a:gd name="T22" fmla="*/ 210 w 361"/>
                <a:gd name="T23" fmla="*/ 0 h 342"/>
                <a:gd name="T24" fmla="*/ 223 w 361"/>
                <a:gd name="T25" fmla="*/ 5 h 342"/>
                <a:gd name="T26" fmla="*/ 237 w 361"/>
                <a:gd name="T27" fmla="*/ 2 h 342"/>
                <a:gd name="T28" fmla="*/ 237 w 361"/>
                <a:gd name="T29" fmla="*/ 16 h 342"/>
                <a:gd name="T30" fmla="*/ 285 w 361"/>
                <a:gd name="T31" fmla="*/ 20 h 342"/>
                <a:gd name="T32" fmla="*/ 345 w 361"/>
                <a:gd name="T33" fmla="*/ 44 h 342"/>
                <a:gd name="T34" fmla="*/ 354 w 361"/>
                <a:gd name="T35" fmla="*/ 50 h 342"/>
                <a:gd name="T36" fmla="*/ 361 w 361"/>
                <a:gd name="T37" fmla="*/ 90 h 342"/>
                <a:gd name="T38" fmla="*/ 361 w 361"/>
                <a:gd name="T39" fmla="*/ 129 h 342"/>
                <a:gd name="T40" fmla="*/ 348 w 361"/>
                <a:gd name="T41" fmla="*/ 164 h 342"/>
                <a:gd name="T42" fmla="*/ 356 w 361"/>
                <a:gd name="T43" fmla="*/ 211 h 342"/>
                <a:gd name="T44" fmla="*/ 320 w 361"/>
                <a:gd name="T45" fmla="*/ 298 h 342"/>
                <a:gd name="T46" fmla="*/ 299 w 361"/>
                <a:gd name="T47" fmla="*/ 318 h 342"/>
                <a:gd name="T48" fmla="*/ 294 w 361"/>
                <a:gd name="T49" fmla="*/ 342 h 342"/>
                <a:gd name="T50" fmla="*/ 278 w 361"/>
                <a:gd name="T51" fmla="*/ 327 h 342"/>
                <a:gd name="T52" fmla="*/ 261 w 361"/>
                <a:gd name="T53" fmla="*/ 321 h 342"/>
                <a:gd name="T54" fmla="*/ 229 w 361"/>
                <a:gd name="T55" fmla="*/ 321 h 342"/>
                <a:gd name="T56" fmla="*/ 201 w 361"/>
                <a:gd name="T57" fmla="*/ 313 h 342"/>
                <a:gd name="T58" fmla="*/ 193 w 361"/>
                <a:gd name="T59" fmla="*/ 316 h 342"/>
                <a:gd name="T60" fmla="*/ 163 w 361"/>
                <a:gd name="T61" fmla="*/ 301 h 342"/>
                <a:gd name="T62" fmla="*/ 141 w 361"/>
                <a:gd name="T63" fmla="*/ 299 h 342"/>
                <a:gd name="T64" fmla="*/ 127 w 361"/>
                <a:gd name="T65" fmla="*/ 288 h 342"/>
                <a:gd name="T66" fmla="*/ 119 w 361"/>
                <a:gd name="T67" fmla="*/ 242 h 342"/>
                <a:gd name="T68" fmla="*/ 79 w 361"/>
                <a:gd name="T69" fmla="*/ 211 h 342"/>
                <a:gd name="T70" fmla="*/ 67 w 361"/>
                <a:gd name="T71" fmla="*/ 208 h 342"/>
                <a:gd name="T72" fmla="*/ 41 w 361"/>
                <a:gd name="T73" fmla="*/ 183 h 342"/>
                <a:gd name="T74" fmla="*/ 22 w 361"/>
                <a:gd name="T75" fmla="*/ 146 h 342"/>
                <a:gd name="T76" fmla="*/ 3 w 361"/>
                <a:gd name="T77" fmla="*/ 118 h 342"/>
                <a:gd name="T78" fmla="*/ 0 w 361"/>
                <a:gd name="T79" fmla="*/ 106 h 342"/>
                <a:gd name="T80" fmla="*/ 34 w 361"/>
                <a:gd name="T81" fmla="*/ 113 h 342"/>
                <a:gd name="T82" fmla="*/ 59 w 361"/>
                <a:gd name="T83" fmla="*/ 110 h 342"/>
                <a:gd name="T84" fmla="*/ 68 w 361"/>
                <a:gd name="T85" fmla="*/ 117 h 342"/>
                <a:gd name="T86" fmla="*/ 78 w 361"/>
                <a:gd name="T87" fmla="*/ 115 h 342"/>
                <a:gd name="T88" fmla="*/ 83 w 361"/>
                <a:gd name="T89" fmla="*/ 1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1" h="342">
                  <a:moveTo>
                    <a:pt x="83" y="109"/>
                  </a:moveTo>
                  <a:lnTo>
                    <a:pt x="95" y="104"/>
                  </a:lnTo>
                  <a:lnTo>
                    <a:pt x="115" y="83"/>
                  </a:lnTo>
                  <a:lnTo>
                    <a:pt x="132" y="73"/>
                  </a:lnTo>
                  <a:lnTo>
                    <a:pt x="133" y="64"/>
                  </a:lnTo>
                  <a:lnTo>
                    <a:pt x="150" y="58"/>
                  </a:lnTo>
                  <a:lnTo>
                    <a:pt x="164" y="61"/>
                  </a:lnTo>
                  <a:lnTo>
                    <a:pt x="172" y="52"/>
                  </a:lnTo>
                  <a:lnTo>
                    <a:pt x="161" y="45"/>
                  </a:lnTo>
                  <a:lnTo>
                    <a:pt x="163" y="39"/>
                  </a:lnTo>
                  <a:lnTo>
                    <a:pt x="164" y="19"/>
                  </a:lnTo>
                  <a:lnTo>
                    <a:pt x="210" y="0"/>
                  </a:lnTo>
                  <a:lnTo>
                    <a:pt x="223" y="5"/>
                  </a:lnTo>
                  <a:lnTo>
                    <a:pt x="237" y="2"/>
                  </a:lnTo>
                  <a:lnTo>
                    <a:pt x="237" y="16"/>
                  </a:lnTo>
                  <a:lnTo>
                    <a:pt x="285" y="20"/>
                  </a:lnTo>
                  <a:lnTo>
                    <a:pt x="345" y="44"/>
                  </a:lnTo>
                  <a:lnTo>
                    <a:pt x="354" y="50"/>
                  </a:lnTo>
                  <a:lnTo>
                    <a:pt x="361" y="90"/>
                  </a:lnTo>
                  <a:lnTo>
                    <a:pt x="361" y="129"/>
                  </a:lnTo>
                  <a:lnTo>
                    <a:pt x="348" y="164"/>
                  </a:lnTo>
                  <a:lnTo>
                    <a:pt x="356" y="211"/>
                  </a:lnTo>
                  <a:lnTo>
                    <a:pt x="320" y="298"/>
                  </a:lnTo>
                  <a:lnTo>
                    <a:pt x="299" y="318"/>
                  </a:lnTo>
                  <a:lnTo>
                    <a:pt x="294" y="342"/>
                  </a:lnTo>
                  <a:lnTo>
                    <a:pt x="278" y="327"/>
                  </a:lnTo>
                  <a:lnTo>
                    <a:pt x="261" y="321"/>
                  </a:lnTo>
                  <a:lnTo>
                    <a:pt x="229" y="321"/>
                  </a:lnTo>
                  <a:lnTo>
                    <a:pt x="201" y="313"/>
                  </a:lnTo>
                  <a:lnTo>
                    <a:pt x="193" y="316"/>
                  </a:lnTo>
                  <a:lnTo>
                    <a:pt x="163" y="301"/>
                  </a:lnTo>
                  <a:lnTo>
                    <a:pt x="141" y="299"/>
                  </a:lnTo>
                  <a:lnTo>
                    <a:pt x="127" y="288"/>
                  </a:lnTo>
                  <a:lnTo>
                    <a:pt x="119" y="242"/>
                  </a:lnTo>
                  <a:lnTo>
                    <a:pt x="79" y="211"/>
                  </a:lnTo>
                  <a:lnTo>
                    <a:pt x="67" y="208"/>
                  </a:lnTo>
                  <a:lnTo>
                    <a:pt x="41" y="183"/>
                  </a:lnTo>
                  <a:lnTo>
                    <a:pt x="22" y="146"/>
                  </a:lnTo>
                  <a:lnTo>
                    <a:pt x="3" y="118"/>
                  </a:lnTo>
                  <a:lnTo>
                    <a:pt x="0" y="106"/>
                  </a:lnTo>
                  <a:lnTo>
                    <a:pt x="34" y="113"/>
                  </a:lnTo>
                  <a:lnTo>
                    <a:pt x="59" y="110"/>
                  </a:lnTo>
                  <a:lnTo>
                    <a:pt x="68" y="117"/>
                  </a:lnTo>
                  <a:lnTo>
                    <a:pt x="78" y="115"/>
                  </a:lnTo>
                  <a:lnTo>
                    <a:pt x="83" y="109"/>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73" name="Freeform 72">
              <a:extLst>
                <a:ext uri="{FF2B5EF4-FFF2-40B4-BE49-F238E27FC236}">
                  <a16:creationId xmlns:a16="http://schemas.microsoft.com/office/drawing/2014/main" id="{F58A95CA-CB60-7B45-A5C4-6F7A6B4B4ED0}"/>
                </a:ext>
              </a:extLst>
            </p:cNvPr>
            <p:cNvSpPr>
              <a:spLocks noChangeAspect="1"/>
            </p:cNvSpPr>
            <p:nvPr/>
          </p:nvSpPr>
          <p:spPr bwMode="gray">
            <a:xfrm>
              <a:off x="5081198" y="4753861"/>
              <a:ext cx="212109" cy="262897"/>
            </a:xfrm>
            <a:custGeom>
              <a:avLst/>
              <a:gdLst>
                <a:gd name="T0" fmla="*/ 437 w 437"/>
                <a:gd name="T1" fmla="*/ 212 h 449"/>
                <a:gd name="T2" fmla="*/ 407 w 437"/>
                <a:gd name="T3" fmla="*/ 197 h 449"/>
                <a:gd name="T4" fmla="*/ 385 w 437"/>
                <a:gd name="T5" fmla="*/ 195 h 449"/>
                <a:gd name="T6" fmla="*/ 371 w 437"/>
                <a:gd name="T7" fmla="*/ 184 h 449"/>
                <a:gd name="T8" fmla="*/ 363 w 437"/>
                <a:gd name="T9" fmla="*/ 138 h 449"/>
                <a:gd name="T10" fmla="*/ 323 w 437"/>
                <a:gd name="T11" fmla="*/ 107 h 449"/>
                <a:gd name="T12" fmla="*/ 311 w 437"/>
                <a:gd name="T13" fmla="*/ 104 h 449"/>
                <a:gd name="T14" fmla="*/ 285 w 437"/>
                <a:gd name="T15" fmla="*/ 79 h 449"/>
                <a:gd name="T16" fmla="*/ 266 w 437"/>
                <a:gd name="T17" fmla="*/ 42 h 449"/>
                <a:gd name="T18" fmla="*/ 247 w 437"/>
                <a:gd name="T19" fmla="*/ 14 h 449"/>
                <a:gd name="T20" fmla="*/ 244 w 437"/>
                <a:gd name="T21" fmla="*/ 2 h 449"/>
                <a:gd name="T22" fmla="*/ 229 w 437"/>
                <a:gd name="T23" fmla="*/ 0 h 449"/>
                <a:gd name="T24" fmla="*/ 219 w 437"/>
                <a:gd name="T25" fmla="*/ 9 h 449"/>
                <a:gd name="T26" fmla="*/ 196 w 437"/>
                <a:gd name="T27" fmla="*/ 16 h 449"/>
                <a:gd name="T28" fmla="*/ 170 w 437"/>
                <a:gd name="T29" fmla="*/ 42 h 449"/>
                <a:gd name="T30" fmla="*/ 161 w 437"/>
                <a:gd name="T31" fmla="*/ 19 h 449"/>
                <a:gd name="T32" fmla="*/ 139 w 437"/>
                <a:gd name="T33" fmla="*/ 14 h 449"/>
                <a:gd name="T34" fmla="*/ 48 w 437"/>
                <a:gd name="T35" fmla="*/ 34 h 449"/>
                <a:gd name="T36" fmla="*/ 48 w 437"/>
                <a:gd name="T37" fmla="*/ 81 h 449"/>
                <a:gd name="T38" fmla="*/ 48 w 437"/>
                <a:gd name="T39" fmla="*/ 115 h 449"/>
                <a:gd name="T40" fmla="*/ 48 w 437"/>
                <a:gd name="T41" fmla="*/ 155 h 449"/>
                <a:gd name="T42" fmla="*/ 48 w 437"/>
                <a:gd name="T43" fmla="*/ 204 h 449"/>
                <a:gd name="T44" fmla="*/ 6 w 437"/>
                <a:gd name="T45" fmla="*/ 203 h 449"/>
                <a:gd name="T46" fmla="*/ 0 w 437"/>
                <a:gd name="T47" fmla="*/ 206 h 449"/>
                <a:gd name="T48" fmla="*/ 0 w 437"/>
                <a:gd name="T49" fmla="*/ 277 h 449"/>
                <a:gd name="T50" fmla="*/ 0 w 437"/>
                <a:gd name="T51" fmla="*/ 342 h 449"/>
                <a:gd name="T52" fmla="*/ 43 w 437"/>
                <a:gd name="T53" fmla="*/ 389 h 449"/>
                <a:gd name="T54" fmla="*/ 45 w 437"/>
                <a:gd name="T55" fmla="*/ 407 h 449"/>
                <a:gd name="T56" fmla="*/ 36 w 437"/>
                <a:gd name="T57" fmla="*/ 435 h 449"/>
                <a:gd name="T58" fmla="*/ 40 w 437"/>
                <a:gd name="T59" fmla="*/ 443 h 449"/>
                <a:gd name="T60" fmla="*/ 77 w 437"/>
                <a:gd name="T61" fmla="*/ 449 h 449"/>
                <a:gd name="T62" fmla="*/ 105 w 437"/>
                <a:gd name="T63" fmla="*/ 441 h 449"/>
                <a:gd name="T64" fmla="*/ 159 w 437"/>
                <a:gd name="T65" fmla="*/ 378 h 449"/>
                <a:gd name="T66" fmla="*/ 181 w 437"/>
                <a:gd name="T67" fmla="*/ 376 h 449"/>
                <a:gd name="T68" fmla="*/ 224 w 437"/>
                <a:gd name="T69" fmla="*/ 392 h 449"/>
                <a:gd name="T70" fmla="*/ 260 w 437"/>
                <a:gd name="T71" fmla="*/ 384 h 449"/>
                <a:gd name="T72" fmla="*/ 277 w 437"/>
                <a:gd name="T73" fmla="*/ 350 h 449"/>
                <a:gd name="T74" fmla="*/ 312 w 437"/>
                <a:gd name="T75" fmla="*/ 317 h 449"/>
                <a:gd name="T76" fmla="*/ 327 w 437"/>
                <a:gd name="T77" fmla="*/ 297 h 449"/>
                <a:gd name="T78" fmla="*/ 352 w 437"/>
                <a:gd name="T79" fmla="*/ 266 h 449"/>
                <a:gd name="T80" fmla="*/ 383 w 437"/>
                <a:gd name="T81" fmla="*/ 243 h 449"/>
                <a:gd name="T82" fmla="*/ 437 w 437"/>
                <a:gd name="T83" fmla="*/ 212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7" h="449">
                  <a:moveTo>
                    <a:pt x="437" y="212"/>
                  </a:moveTo>
                  <a:lnTo>
                    <a:pt x="407" y="197"/>
                  </a:lnTo>
                  <a:lnTo>
                    <a:pt x="385" y="195"/>
                  </a:lnTo>
                  <a:lnTo>
                    <a:pt x="371" y="184"/>
                  </a:lnTo>
                  <a:lnTo>
                    <a:pt x="363" y="138"/>
                  </a:lnTo>
                  <a:lnTo>
                    <a:pt x="323" y="107"/>
                  </a:lnTo>
                  <a:lnTo>
                    <a:pt x="311" y="104"/>
                  </a:lnTo>
                  <a:lnTo>
                    <a:pt x="285" y="79"/>
                  </a:lnTo>
                  <a:lnTo>
                    <a:pt x="266" y="42"/>
                  </a:lnTo>
                  <a:lnTo>
                    <a:pt x="247" y="14"/>
                  </a:lnTo>
                  <a:lnTo>
                    <a:pt x="244" y="2"/>
                  </a:lnTo>
                  <a:lnTo>
                    <a:pt x="229" y="0"/>
                  </a:lnTo>
                  <a:lnTo>
                    <a:pt x="219" y="9"/>
                  </a:lnTo>
                  <a:lnTo>
                    <a:pt x="196" y="16"/>
                  </a:lnTo>
                  <a:lnTo>
                    <a:pt x="170" y="42"/>
                  </a:lnTo>
                  <a:lnTo>
                    <a:pt x="161" y="19"/>
                  </a:lnTo>
                  <a:lnTo>
                    <a:pt x="139" y="14"/>
                  </a:lnTo>
                  <a:lnTo>
                    <a:pt x="48" y="34"/>
                  </a:lnTo>
                  <a:lnTo>
                    <a:pt x="48" y="81"/>
                  </a:lnTo>
                  <a:lnTo>
                    <a:pt x="48" y="115"/>
                  </a:lnTo>
                  <a:lnTo>
                    <a:pt x="48" y="155"/>
                  </a:lnTo>
                  <a:lnTo>
                    <a:pt x="48" y="204"/>
                  </a:lnTo>
                  <a:lnTo>
                    <a:pt x="6" y="203"/>
                  </a:lnTo>
                  <a:lnTo>
                    <a:pt x="0" y="206"/>
                  </a:lnTo>
                  <a:lnTo>
                    <a:pt x="0" y="277"/>
                  </a:lnTo>
                  <a:lnTo>
                    <a:pt x="0" y="342"/>
                  </a:lnTo>
                  <a:lnTo>
                    <a:pt x="43" y="389"/>
                  </a:lnTo>
                  <a:lnTo>
                    <a:pt x="45" y="407"/>
                  </a:lnTo>
                  <a:lnTo>
                    <a:pt x="36" y="435"/>
                  </a:lnTo>
                  <a:lnTo>
                    <a:pt x="40" y="443"/>
                  </a:lnTo>
                  <a:lnTo>
                    <a:pt x="77" y="449"/>
                  </a:lnTo>
                  <a:lnTo>
                    <a:pt x="105" y="441"/>
                  </a:lnTo>
                  <a:lnTo>
                    <a:pt x="159" y="378"/>
                  </a:lnTo>
                  <a:lnTo>
                    <a:pt x="181" y="376"/>
                  </a:lnTo>
                  <a:lnTo>
                    <a:pt x="224" y="392"/>
                  </a:lnTo>
                  <a:lnTo>
                    <a:pt x="260" y="384"/>
                  </a:lnTo>
                  <a:lnTo>
                    <a:pt x="277" y="350"/>
                  </a:lnTo>
                  <a:lnTo>
                    <a:pt x="312" y="317"/>
                  </a:lnTo>
                  <a:lnTo>
                    <a:pt x="327" y="297"/>
                  </a:lnTo>
                  <a:lnTo>
                    <a:pt x="352" y="266"/>
                  </a:lnTo>
                  <a:lnTo>
                    <a:pt x="383" y="243"/>
                  </a:lnTo>
                  <a:lnTo>
                    <a:pt x="437" y="212"/>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74" name="Freeform 73">
              <a:extLst>
                <a:ext uri="{FF2B5EF4-FFF2-40B4-BE49-F238E27FC236}">
                  <a16:creationId xmlns:a16="http://schemas.microsoft.com/office/drawing/2014/main" id="{FFC2F333-8D92-7B49-BBD4-51DCF5A4CF60}"/>
                </a:ext>
              </a:extLst>
            </p:cNvPr>
            <p:cNvSpPr>
              <a:spLocks noChangeAspect="1"/>
            </p:cNvSpPr>
            <p:nvPr/>
          </p:nvSpPr>
          <p:spPr bwMode="gray">
            <a:xfrm>
              <a:off x="4894604" y="4726996"/>
              <a:ext cx="303014" cy="356923"/>
            </a:xfrm>
            <a:custGeom>
              <a:avLst/>
              <a:gdLst>
                <a:gd name="T0" fmla="*/ 308 w 623"/>
                <a:gd name="T1" fmla="*/ 22 h 605"/>
                <a:gd name="T2" fmla="*/ 258 w 623"/>
                <a:gd name="T3" fmla="*/ 22 h 605"/>
                <a:gd name="T4" fmla="*/ 205 w 623"/>
                <a:gd name="T5" fmla="*/ 22 h 605"/>
                <a:gd name="T6" fmla="*/ 154 w 623"/>
                <a:gd name="T7" fmla="*/ 22 h 605"/>
                <a:gd name="T8" fmla="*/ 103 w 623"/>
                <a:gd name="T9" fmla="*/ 22 h 605"/>
                <a:gd name="T10" fmla="*/ 76 w 623"/>
                <a:gd name="T11" fmla="*/ 0 h 605"/>
                <a:gd name="T12" fmla="*/ 69 w 623"/>
                <a:gd name="T13" fmla="*/ 0 h 605"/>
                <a:gd name="T14" fmla="*/ 49 w 623"/>
                <a:gd name="T15" fmla="*/ 0 h 605"/>
                <a:gd name="T16" fmla="*/ 27 w 623"/>
                <a:gd name="T17" fmla="*/ 14 h 605"/>
                <a:gd name="T18" fmla="*/ 18 w 623"/>
                <a:gd name="T19" fmla="*/ 8 h 605"/>
                <a:gd name="T20" fmla="*/ 0 w 623"/>
                <a:gd name="T21" fmla="*/ 21 h 605"/>
                <a:gd name="T22" fmla="*/ 1 w 623"/>
                <a:gd name="T23" fmla="*/ 61 h 605"/>
                <a:gd name="T24" fmla="*/ 46 w 623"/>
                <a:gd name="T25" fmla="*/ 126 h 605"/>
                <a:gd name="T26" fmla="*/ 80 w 623"/>
                <a:gd name="T27" fmla="*/ 200 h 605"/>
                <a:gd name="T28" fmla="*/ 125 w 623"/>
                <a:gd name="T29" fmla="*/ 276 h 605"/>
                <a:gd name="T30" fmla="*/ 127 w 623"/>
                <a:gd name="T31" fmla="*/ 356 h 605"/>
                <a:gd name="T32" fmla="*/ 144 w 623"/>
                <a:gd name="T33" fmla="*/ 400 h 605"/>
                <a:gd name="T34" fmla="*/ 144 w 623"/>
                <a:gd name="T35" fmla="*/ 437 h 605"/>
                <a:gd name="T36" fmla="*/ 162 w 623"/>
                <a:gd name="T37" fmla="*/ 522 h 605"/>
                <a:gd name="T38" fmla="*/ 187 w 623"/>
                <a:gd name="T39" fmla="*/ 557 h 605"/>
                <a:gd name="T40" fmla="*/ 222 w 623"/>
                <a:gd name="T41" fmla="*/ 588 h 605"/>
                <a:gd name="T42" fmla="*/ 230 w 623"/>
                <a:gd name="T43" fmla="*/ 584 h 605"/>
                <a:gd name="T44" fmla="*/ 238 w 623"/>
                <a:gd name="T45" fmla="*/ 570 h 605"/>
                <a:gd name="T46" fmla="*/ 249 w 623"/>
                <a:gd name="T47" fmla="*/ 567 h 605"/>
                <a:gd name="T48" fmla="*/ 271 w 623"/>
                <a:gd name="T49" fmla="*/ 582 h 605"/>
                <a:gd name="T50" fmla="*/ 271 w 623"/>
                <a:gd name="T51" fmla="*/ 595 h 605"/>
                <a:gd name="T52" fmla="*/ 281 w 623"/>
                <a:gd name="T53" fmla="*/ 605 h 605"/>
                <a:gd name="T54" fmla="*/ 340 w 623"/>
                <a:gd name="T55" fmla="*/ 605 h 605"/>
                <a:gd name="T56" fmla="*/ 379 w 623"/>
                <a:gd name="T57" fmla="*/ 579 h 605"/>
                <a:gd name="T58" fmla="*/ 379 w 623"/>
                <a:gd name="T59" fmla="*/ 498 h 605"/>
                <a:gd name="T60" fmla="*/ 379 w 623"/>
                <a:gd name="T61" fmla="*/ 440 h 605"/>
                <a:gd name="T62" fmla="*/ 379 w 623"/>
                <a:gd name="T63" fmla="*/ 384 h 605"/>
                <a:gd name="T64" fmla="*/ 379 w 623"/>
                <a:gd name="T65" fmla="*/ 319 h 605"/>
                <a:gd name="T66" fmla="*/ 379 w 623"/>
                <a:gd name="T67" fmla="*/ 248 h 605"/>
                <a:gd name="T68" fmla="*/ 385 w 623"/>
                <a:gd name="T69" fmla="*/ 245 h 605"/>
                <a:gd name="T70" fmla="*/ 427 w 623"/>
                <a:gd name="T71" fmla="*/ 246 h 605"/>
                <a:gd name="T72" fmla="*/ 427 w 623"/>
                <a:gd name="T73" fmla="*/ 197 h 605"/>
                <a:gd name="T74" fmla="*/ 427 w 623"/>
                <a:gd name="T75" fmla="*/ 155 h 605"/>
                <a:gd name="T76" fmla="*/ 427 w 623"/>
                <a:gd name="T77" fmla="*/ 124 h 605"/>
                <a:gd name="T78" fmla="*/ 427 w 623"/>
                <a:gd name="T79" fmla="*/ 76 h 605"/>
                <a:gd name="T80" fmla="*/ 518 w 623"/>
                <a:gd name="T81" fmla="*/ 56 h 605"/>
                <a:gd name="T82" fmla="*/ 540 w 623"/>
                <a:gd name="T83" fmla="*/ 61 h 605"/>
                <a:gd name="T84" fmla="*/ 549 w 623"/>
                <a:gd name="T85" fmla="*/ 84 h 605"/>
                <a:gd name="T86" fmla="*/ 575 w 623"/>
                <a:gd name="T87" fmla="*/ 58 h 605"/>
                <a:gd name="T88" fmla="*/ 598 w 623"/>
                <a:gd name="T89" fmla="*/ 51 h 605"/>
                <a:gd name="T90" fmla="*/ 608 w 623"/>
                <a:gd name="T91" fmla="*/ 42 h 605"/>
                <a:gd name="T92" fmla="*/ 623 w 623"/>
                <a:gd name="T93" fmla="*/ 44 h 605"/>
                <a:gd name="T94" fmla="*/ 608 w 623"/>
                <a:gd name="T95" fmla="*/ 30 h 605"/>
                <a:gd name="T96" fmla="*/ 575 w 623"/>
                <a:gd name="T97" fmla="*/ 24 h 605"/>
                <a:gd name="T98" fmla="*/ 533 w 623"/>
                <a:gd name="T99" fmla="*/ 34 h 605"/>
                <a:gd name="T100" fmla="*/ 452 w 623"/>
                <a:gd name="T101" fmla="*/ 56 h 605"/>
                <a:gd name="T102" fmla="*/ 388 w 623"/>
                <a:gd name="T103" fmla="*/ 42 h 605"/>
                <a:gd name="T104" fmla="*/ 342 w 623"/>
                <a:gd name="T105" fmla="*/ 44 h 605"/>
                <a:gd name="T106" fmla="*/ 326 w 623"/>
                <a:gd name="T107" fmla="*/ 39 h 605"/>
                <a:gd name="T108" fmla="*/ 308 w 623"/>
                <a:gd name="T109" fmla="*/ 22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3" h="605">
                  <a:moveTo>
                    <a:pt x="308" y="22"/>
                  </a:moveTo>
                  <a:lnTo>
                    <a:pt x="258" y="22"/>
                  </a:lnTo>
                  <a:lnTo>
                    <a:pt x="205" y="22"/>
                  </a:lnTo>
                  <a:lnTo>
                    <a:pt x="154" y="22"/>
                  </a:lnTo>
                  <a:lnTo>
                    <a:pt x="103" y="22"/>
                  </a:lnTo>
                  <a:lnTo>
                    <a:pt x="76" y="0"/>
                  </a:lnTo>
                  <a:lnTo>
                    <a:pt x="69" y="0"/>
                  </a:lnTo>
                  <a:lnTo>
                    <a:pt x="49" y="0"/>
                  </a:lnTo>
                  <a:lnTo>
                    <a:pt x="27" y="14"/>
                  </a:lnTo>
                  <a:lnTo>
                    <a:pt x="18" y="8"/>
                  </a:lnTo>
                  <a:lnTo>
                    <a:pt x="0" y="21"/>
                  </a:lnTo>
                  <a:lnTo>
                    <a:pt x="1" y="61"/>
                  </a:lnTo>
                  <a:lnTo>
                    <a:pt x="46" y="126"/>
                  </a:lnTo>
                  <a:lnTo>
                    <a:pt x="80" y="200"/>
                  </a:lnTo>
                  <a:lnTo>
                    <a:pt x="125" y="276"/>
                  </a:lnTo>
                  <a:lnTo>
                    <a:pt x="127" y="356"/>
                  </a:lnTo>
                  <a:lnTo>
                    <a:pt x="144" y="400"/>
                  </a:lnTo>
                  <a:lnTo>
                    <a:pt x="144" y="437"/>
                  </a:lnTo>
                  <a:lnTo>
                    <a:pt x="162" y="522"/>
                  </a:lnTo>
                  <a:lnTo>
                    <a:pt x="187" y="557"/>
                  </a:lnTo>
                  <a:lnTo>
                    <a:pt x="222" y="588"/>
                  </a:lnTo>
                  <a:lnTo>
                    <a:pt x="230" y="584"/>
                  </a:lnTo>
                  <a:lnTo>
                    <a:pt x="238" y="570"/>
                  </a:lnTo>
                  <a:lnTo>
                    <a:pt x="249" y="567"/>
                  </a:lnTo>
                  <a:lnTo>
                    <a:pt x="271" y="582"/>
                  </a:lnTo>
                  <a:lnTo>
                    <a:pt x="271" y="595"/>
                  </a:lnTo>
                  <a:lnTo>
                    <a:pt x="281" y="605"/>
                  </a:lnTo>
                  <a:lnTo>
                    <a:pt x="340" y="605"/>
                  </a:lnTo>
                  <a:lnTo>
                    <a:pt x="379" y="579"/>
                  </a:lnTo>
                  <a:lnTo>
                    <a:pt x="379" y="498"/>
                  </a:lnTo>
                  <a:lnTo>
                    <a:pt x="379" y="440"/>
                  </a:lnTo>
                  <a:lnTo>
                    <a:pt x="379" y="384"/>
                  </a:lnTo>
                  <a:lnTo>
                    <a:pt x="379" y="319"/>
                  </a:lnTo>
                  <a:lnTo>
                    <a:pt x="379" y="248"/>
                  </a:lnTo>
                  <a:lnTo>
                    <a:pt x="385" y="245"/>
                  </a:lnTo>
                  <a:lnTo>
                    <a:pt x="427" y="246"/>
                  </a:lnTo>
                  <a:lnTo>
                    <a:pt x="427" y="197"/>
                  </a:lnTo>
                  <a:lnTo>
                    <a:pt x="427" y="155"/>
                  </a:lnTo>
                  <a:lnTo>
                    <a:pt x="427" y="124"/>
                  </a:lnTo>
                  <a:lnTo>
                    <a:pt x="427" y="76"/>
                  </a:lnTo>
                  <a:lnTo>
                    <a:pt x="518" y="56"/>
                  </a:lnTo>
                  <a:lnTo>
                    <a:pt x="540" y="61"/>
                  </a:lnTo>
                  <a:lnTo>
                    <a:pt x="549" y="84"/>
                  </a:lnTo>
                  <a:lnTo>
                    <a:pt x="575" y="58"/>
                  </a:lnTo>
                  <a:lnTo>
                    <a:pt x="598" y="51"/>
                  </a:lnTo>
                  <a:lnTo>
                    <a:pt x="608" y="42"/>
                  </a:lnTo>
                  <a:lnTo>
                    <a:pt x="623" y="44"/>
                  </a:lnTo>
                  <a:lnTo>
                    <a:pt x="608" y="30"/>
                  </a:lnTo>
                  <a:lnTo>
                    <a:pt x="575" y="24"/>
                  </a:lnTo>
                  <a:lnTo>
                    <a:pt x="533" y="34"/>
                  </a:lnTo>
                  <a:lnTo>
                    <a:pt x="452" y="56"/>
                  </a:lnTo>
                  <a:lnTo>
                    <a:pt x="388" y="42"/>
                  </a:lnTo>
                  <a:lnTo>
                    <a:pt x="342" y="44"/>
                  </a:lnTo>
                  <a:lnTo>
                    <a:pt x="326" y="39"/>
                  </a:lnTo>
                  <a:lnTo>
                    <a:pt x="308" y="22"/>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75" name="Freeform 74">
              <a:extLst>
                <a:ext uri="{FF2B5EF4-FFF2-40B4-BE49-F238E27FC236}">
                  <a16:creationId xmlns:a16="http://schemas.microsoft.com/office/drawing/2014/main" id="{07940BC2-3201-B449-9536-B868751AA30A}"/>
                </a:ext>
              </a:extLst>
            </p:cNvPr>
            <p:cNvSpPr>
              <a:spLocks noChangeAspect="1"/>
            </p:cNvSpPr>
            <p:nvPr/>
          </p:nvSpPr>
          <p:spPr bwMode="gray">
            <a:xfrm>
              <a:off x="5288522" y="4295232"/>
              <a:ext cx="39870" cy="46054"/>
            </a:xfrm>
            <a:custGeom>
              <a:avLst/>
              <a:gdLst>
                <a:gd name="T0" fmla="*/ 67 w 87"/>
                <a:gd name="T1" fmla="*/ 0 h 79"/>
                <a:gd name="T2" fmla="*/ 56 w 87"/>
                <a:gd name="T3" fmla="*/ 4 h 79"/>
                <a:gd name="T4" fmla="*/ 48 w 87"/>
                <a:gd name="T5" fmla="*/ 16 h 79"/>
                <a:gd name="T6" fmla="*/ 33 w 87"/>
                <a:gd name="T7" fmla="*/ 13 h 79"/>
                <a:gd name="T8" fmla="*/ 12 w 87"/>
                <a:gd name="T9" fmla="*/ 42 h 79"/>
                <a:gd name="T10" fmla="*/ 0 w 87"/>
                <a:gd name="T11" fmla="*/ 62 h 79"/>
                <a:gd name="T12" fmla="*/ 5 w 87"/>
                <a:gd name="T13" fmla="*/ 76 h 79"/>
                <a:gd name="T14" fmla="*/ 11 w 87"/>
                <a:gd name="T15" fmla="*/ 67 h 79"/>
                <a:gd name="T16" fmla="*/ 16 w 87"/>
                <a:gd name="T17" fmla="*/ 68 h 79"/>
                <a:gd name="T18" fmla="*/ 24 w 87"/>
                <a:gd name="T19" fmla="*/ 79 h 79"/>
                <a:gd name="T20" fmla="*/ 39 w 87"/>
                <a:gd name="T21" fmla="*/ 76 h 79"/>
                <a:gd name="T22" fmla="*/ 46 w 87"/>
                <a:gd name="T23" fmla="*/ 61 h 79"/>
                <a:gd name="T24" fmla="*/ 68 w 87"/>
                <a:gd name="T25" fmla="*/ 59 h 79"/>
                <a:gd name="T26" fmla="*/ 75 w 87"/>
                <a:gd name="T27" fmla="*/ 62 h 79"/>
                <a:gd name="T28" fmla="*/ 87 w 87"/>
                <a:gd name="T29" fmla="*/ 42 h 79"/>
                <a:gd name="T30" fmla="*/ 67 w 87"/>
                <a:gd name="T3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 h="79">
                  <a:moveTo>
                    <a:pt x="67" y="0"/>
                  </a:moveTo>
                  <a:lnTo>
                    <a:pt x="56" y="4"/>
                  </a:lnTo>
                  <a:lnTo>
                    <a:pt x="48" y="16"/>
                  </a:lnTo>
                  <a:lnTo>
                    <a:pt x="33" y="13"/>
                  </a:lnTo>
                  <a:lnTo>
                    <a:pt x="12" y="42"/>
                  </a:lnTo>
                  <a:lnTo>
                    <a:pt x="0" y="62"/>
                  </a:lnTo>
                  <a:lnTo>
                    <a:pt x="5" y="76"/>
                  </a:lnTo>
                  <a:lnTo>
                    <a:pt x="11" y="67"/>
                  </a:lnTo>
                  <a:lnTo>
                    <a:pt x="16" y="68"/>
                  </a:lnTo>
                  <a:lnTo>
                    <a:pt x="24" y="79"/>
                  </a:lnTo>
                  <a:lnTo>
                    <a:pt x="39" y="76"/>
                  </a:lnTo>
                  <a:lnTo>
                    <a:pt x="46" y="61"/>
                  </a:lnTo>
                  <a:lnTo>
                    <a:pt x="68" y="59"/>
                  </a:lnTo>
                  <a:lnTo>
                    <a:pt x="75" y="62"/>
                  </a:lnTo>
                  <a:lnTo>
                    <a:pt x="87" y="42"/>
                  </a:lnTo>
                  <a:lnTo>
                    <a:pt x="67" y="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76" name="Freeform 75">
              <a:extLst>
                <a:ext uri="{FF2B5EF4-FFF2-40B4-BE49-F238E27FC236}">
                  <a16:creationId xmlns:a16="http://schemas.microsoft.com/office/drawing/2014/main" id="{DEF2F122-AB90-EF4C-BCEB-DCB2D247F2C2}"/>
                </a:ext>
              </a:extLst>
            </p:cNvPr>
            <p:cNvSpPr>
              <a:spLocks noChangeAspect="1"/>
            </p:cNvSpPr>
            <p:nvPr/>
          </p:nvSpPr>
          <p:spPr bwMode="gray">
            <a:xfrm>
              <a:off x="5290117" y="4329772"/>
              <a:ext cx="38273" cy="55649"/>
            </a:xfrm>
            <a:custGeom>
              <a:avLst/>
              <a:gdLst>
                <a:gd name="T0" fmla="*/ 19 w 79"/>
                <a:gd name="T1" fmla="*/ 96 h 96"/>
                <a:gd name="T2" fmla="*/ 9 w 79"/>
                <a:gd name="T3" fmla="*/ 71 h 96"/>
                <a:gd name="T4" fmla="*/ 9 w 79"/>
                <a:gd name="T5" fmla="*/ 48 h 96"/>
                <a:gd name="T6" fmla="*/ 7 w 79"/>
                <a:gd name="T7" fmla="*/ 28 h 96"/>
                <a:gd name="T8" fmla="*/ 0 w 79"/>
                <a:gd name="T9" fmla="*/ 17 h 96"/>
                <a:gd name="T10" fmla="*/ 6 w 79"/>
                <a:gd name="T11" fmla="*/ 8 h 96"/>
                <a:gd name="T12" fmla="*/ 11 w 79"/>
                <a:gd name="T13" fmla="*/ 9 h 96"/>
                <a:gd name="T14" fmla="*/ 19 w 79"/>
                <a:gd name="T15" fmla="*/ 20 h 96"/>
                <a:gd name="T16" fmla="*/ 34 w 79"/>
                <a:gd name="T17" fmla="*/ 17 h 96"/>
                <a:gd name="T18" fmla="*/ 41 w 79"/>
                <a:gd name="T19" fmla="*/ 2 h 96"/>
                <a:gd name="T20" fmla="*/ 63 w 79"/>
                <a:gd name="T21" fmla="*/ 0 h 96"/>
                <a:gd name="T22" fmla="*/ 70 w 79"/>
                <a:gd name="T23" fmla="*/ 3 h 96"/>
                <a:gd name="T24" fmla="*/ 65 w 79"/>
                <a:gd name="T25" fmla="*/ 19 h 96"/>
                <a:gd name="T26" fmla="*/ 77 w 79"/>
                <a:gd name="T27" fmla="*/ 28 h 96"/>
                <a:gd name="T28" fmla="*/ 79 w 79"/>
                <a:gd name="T29" fmla="*/ 39 h 96"/>
                <a:gd name="T30" fmla="*/ 48 w 79"/>
                <a:gd name="T31" fmla="*/ 88 h 96"/>
                <a:gd name="T32" fmla="*/ 24 w 79"/>
                <a:gd name="T33" fmla="*/ 96 h 96"/>
                <a:gd name="T34" fmla="*/ 19 w 79"/>
                <a:gd name="T35"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 h="96">
                  <a:moveTo>
                    <a:pt x="19" y="96"/>
                  </a:moveTo>
                  <a:lnTo>
                    <a:pt x="9" y="71"/>
                  </a:lnTo>
                  <a:lnTo>
                    <a:pt x="9" y="48"/>
                  </a:lnTo>
                  <a:lnTo>
                    <a:pt x="7" y="28"/>
                  </a:lnTo>
                  <a:lnTo>
                    <a:pt x="0" y="17"/>
                  </a:lnTo>
                  <a:lnTo>
                    <a:pt x="6" y="8"/>
                  </a:lnTo>
                  <a:lnTo>
                    <a:pt x="11" y="9"/>
                  </a:lnTo>
                  <a:lnTo>
                    <a:pt x="19" y="20"/>
                  </a:lnTo>
                  <a:lnTo>
                    <a:pt x="34" y="17"/>
                  </a:lnTo>
                  <a:lnTo>
                    <a:pt x="41" y="2"/>
                  </a:lnTo>
                  <a:lnTo>
                    <a:pt x="63" y="0"/>
                  </a:lnTo>
                  <a:lnTo>
                    <a:pt x="70" y="3"/>
                  </a:lnTo>
                  <a:lnTo>
                    <a:pt x="65" y="19"/>
                  </a:lnTo>
                  <a:lnTo>
                    <a:pt x="77" y="28"/>
                  </a:lnTo>
                  <a:lnTo>
                    <a:pt x="79" y="39"/>
                  </a:lnTo>
                  <a:lnTo>
                    <a:pt x="48" y="88"/>
                  </a:lnTo>
                  <a:lnTo>
                    <a:pt x="24" y="96"/>
                  </a:lnTo>
                  <a:lnTo>
                    <a:pt x="19" y="96"/>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77" name="Freeform 76">
              <a:extLst>
                <a:ext uri="{FF2B5EF4-FFF2-40B4-BE49-F238E27FC236}">
                  <a16:creationId xmlns:a16="http://schemas.microsoft.com/office/drawing/2014/main" id="{1E7BD5BE-17AC-5241-97F8-988AE9DC33E4}"/>
                </a:ext>
              </a:extLst>
            </p:cNvPr>
            <p:cNvSpPr>
              <a:spLocks noChangeAspect="1"/>
            </p:cNvSpPr>
            <p:nvPr/>
          </p:nvSpPr>
          <p:spPr bwMode="gray">
            <a:xfrm>
              <a:off x="4900984" y="4385422"/>
              <a:ext cx="23922" cy="40297"/>
            </a:xfrm>
            <a:custGeom>
              <a:avLst/>
              <a:gdLst>
                <a:gd name="T0" fmla="*/ 16 w 48"/>
                <a:gd name="T1" fmla="*/ 66 h 66"/>
                <a:gd name="T2" fmla="*/ 8 w 48"/>
                <a:gd name="T3" fmla="*/ 61 h 66"/>
                <a:gd name="T4" fmla="*/ 5 w 48"/>
                <a:gd name="T5" fmla="*/ 36 h 66"/>
                <a:gd name="T6" fmla="*/ 0 w 48"/>
                <a:gd name="T7" fmla="*/ 30 h 66"/>
                <a:gd name="T8" fmla="*/ 20 w 48"/>
                <a:gd name="T9" fmla="*/ 17 h 66"/>
                <a:gd name="T10" fmla="*/ 28 w 48"/>
                <a:gd name="T11" fmla="*/ 5 h 66"/>
                <a:gd name="T12" fmla="*/ 36 w 48"/>
                <a:gd name="T13" fmla="*/ 0 h 66"/>
                <a:gd name="T14" fmla="*/ 42 w 48"/>
                <a:gd name="T15" fmla="*/ 4 h 66"/>
                <a:gd name="T16" fmla="*/ 48 w 48"/>
                <a:gd name="T17" fmla="*/ 13 h 66"/>
                <a:gd name="T18" fmla="*/ 29 w 48"/>
                <a:gd name="T19" fmla="*/ 27 h 66"/>
                <a:gd name="T20" fmla="*/ 24 w 48"/>
                <a:gd name="T21" fmla="*/ 63 h 66"/>
                <a:gd name="T22" fmla="*/ 16 w 48"/>
                <a:gd name="T23"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66">
                  <a:moveTo>
                    <a:pt x="16" y="66"/>
                  </a:moveTo>
                  <a:lnTo>
                    <a:pt x="8" y="61"/>
                  </a:lnTo>
                  <a:lnTo>
                    <a:pt x="5" y="36"/>
                  </a:lnTo>
                  <a:lnTo>
                    <a:pt x="0" y="30"/>
                  </a:lnTo>
                  <a:lnTo>
                    <a:pt x="20" y="17"/>
                  </a:lnTo>
                  <a:lnTo>
                    <a:pt x="28" y="5"/>
                  </a:lnTo>
                  <a:lnTo>
                    <a:pt x="36" y="0"/>
                  </a:lnTo>
                  <a:lnTo>
                    <a:pt x="42" y="4"/>
                  </a:lnTo>
                  <a:lnTo>
                    <a:pt x="48" y="13"/>
                  </a:lnTo>
                  <a:lnTo>
                    <a:pt x="29" y="27"/>
                  </a:lnTo>
                  <a:lnTo>
                    <a:pt x="24" y="63"/>
                  </a:lnTo>
                  <a:lnTo>
                    <a:pt x="16" y="66"/>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78" name="Freeform 77">
              <a:extLst>
                <a:ext uri="{FF2B5EF4-FFF2-40B4-BE49-F238E27FC236}">
                  <a16:creationId xmlns:a16="http://schemas.microsoft.com/office/drawing/2014/main" id="{F7083EAF-6DCF-3E44-AB16-3BB9C116DEFA}"/>
                </a:ext>
              </a:extLst>
            </p:cNvPr>
            <p:cNvSpPr>
              <a:spLocks noChangeAspect="1"/>
            </p:cNvSpPr>
            <p:nvPr/>
          </p:nvSpPr>
          <p:spPr bwMode="gray">
            <a:xfrm>
              <a:off x="5243866" y="5068570"/>
              <a:ext cx="52629" cy="65244"/>
            </a:xfrm>
            <a:custGeom>
              <a:avLst/>
              <a:gdLst>
                <a:gd name="T0" fmla="*/ 107 w 107"/>
                <a:gd name="T1" fmla="*/ 42 h 110"/>
                <a:gd name="T2" fmla="*/ 107 w 107"/>
                <a:gd name="T3" fmla="*/ 49 h 110"/>
                <a:gd name="T4" fmla="*/ 86 w 107"/>
                <a:gd name="T5" fmla="*/ 83 h 110"/>
                <a:gd name="T6" fmla="*/ 63 w 107"/>
                <a:gd name="T7" fmla="*/ 91 h 110"/>
                <a:gd name="T8" fmla="*/ 48 w 107"/>
                <a:gd name="T9" fmla="*/ 108 h 110"/>
                <a:gd name="T10" fmla="*/ 37 w 107"/>
                <a:gd name="T11" fmla="*/ 110 h 110"/>
                <a:gd name="T12" fmla="*/ 20 w 107"/>
                <a:gd name="T13" fmla="*/ 94 h 110"/>
                <a:gd name="T14" fmla="*/ 0 w 107"/>
                <a:gd name="T15" fmla="*/ 60 h 110"/>
                <a:gd name="T16" fmla="*/ 23 w 107"/>
                <a:gd name="T17" fmla="*/ 23 h 110"/>
                <a:gd name="T18" fmla="*/ 59 w 107"/>
                <a:gd name="T19" fmla="*/ 1 h 110"/>
                <a:gd name="T20" fmla="*/ 71 w 107"/>
                <a:gd name="T21" fmla="*/ 0 h 110"/>
                <a:gd name="T22" fmla="*/ 82 w 107"/>
                <a:gd name="T23" fmla="*/ 4 h 110"/>
                <a:gd name="T24" fmla="*/ 107 w 107"/>
                <a:gd name="T25" fmla="*/ 4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10">
                  <a:moveTo>
                    <a:pt x="107" y="42"/>
                  </a:moveTo>
                  <a:lnTo>
                    <a:pt x="107" y="49"/>
                  </a:lnTo>
                  <a:lnTo>
                    <a:pt x="86" y="83"/>
                  </a:lnTo>
                  <a:lnTo>
                    <a:pt x="63" y="91"/>
                  </a:lnTo>
                  <a:lnTo>
                    <a:pt x="48" y="108"/>
                  </a:lnTo>
                  <a:lnTo>
                    <a:pt x="37" y="110"/>
                  </a:lnTo>
                  <a:lnTo>
                    <a:pt x="20" y="94"/>
                  </a:lnTo>
                  <a:lnTo>
                    <a:pt x="0" y="60"/>
                  </a:lnTo>
                  <a:lnTo>
                    <a:pt x="23" y="23"/>
                  </a:lnTo>
                  <a:lnTo>
                    <a:pt x="59" y="1"/>
                  </a:lnTo>
                  <a:lnTo>
                    <a:pt x="71" y="0"/>
                  </a:lnTo>
                  <a:lnTo>
                    <a:pt x="82" y="4"/>
                  </a:lnTo>
                  <a:lnTo>
                    <a:pt x="107" y="42"/>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79" name="Freeform 78">
              <a:extLst>
                <a:ext uri="{FF2B5EF4-FFF2-40B4-BE49-F238E27FC236}">
                  <a16:creationId xmlns:a16="http://schemas.microsoft.com/office/drawing/2014/main" id="{C34F7B5E-78AD-C84D-831D-6CFC871DFE8D}"/>
                </a:ext>
              </a:extLst>
            </p:cNvPr>
            <p:cNvSpPr>
              <a:spLocks noChangeAspect="1"/>
            </p:cNvSpPr>
            <p:nvPr/>
          </p:nvSpPr>
          <p:spPr bwMode="gray">
            <a:xfrm>
              <a:off x="5326800" y="4984135"/>
              <a:ext cx="27112" cy="44136"/>
            </a:xfrm>
            <a:custGeom>
              <a:avLst/>
              <a:gdLst>
                <a:gd name="T0" fmla="*/ 56 w 56"/>
                <a:gd name="T1" fmla="*/ 52 h 76"/>
                <a:gd name="T2" fmla="*/ 53 w 56"/>
                <a:gd name="T3" fmla="*/ 5 h 76"/>
                <a:gd name="T4" fmla="*/ 47 w 56"/>
                <a:gd name="T5" fmla="*/ 12 h 76"/>
                <a:gd name="T6" fmla="*/ 27 w 56"/>
                <a:gd name="T7" fmla="*/ 0 h 76"/>
                <a:gd name="T8" fmla="*/ 15 w 56"/>
                <a:gd name="T9" fmla="*/ 6 h 76"/>
                <a:gd name="T10" fmla="*/ 0 w 56"/>
                <a:gd name="T11" fmla="*/ 46 h 76"/>
                <a:gd name="T12" fmla="*/ 10 w 56"/>
                <a:gd name="T13" fmla="*/ 72 h 76"/>
                <a:gd name="T14" fmla="*/ 28 w 56"/>
                <a:gd name="T15" fmla="*/ 74 h 76"/>
                <a:gd name="T16" fmla="*/ 40 w 56"/>
                <a:gd name="T17" fmla="*/ 76 h 76"/>
                <a:gd name="T18" fmla="*/ 56 w 56"/>
                <a:gd name="T19" fmla="*/ 5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76">
                  <a:moveTo>
                    <a:pt x="56" y="52"/>
                  </a:moveTo>
                  <a:lnTo>
                    <a:pt x="53" y="5"/>
                  </a:lnTo>
                  <a:lnTo>
                    <a:pt x="47" y="12"/>
                  </a:lnTo>
                  <a:lnTo>
                    <a:pt x="27" y="0"/>
                  </a:lnTo>
                  <a:lnTo>
                    <a:pt x="15" y="6"/>
                  </a:lnTo>
                  <a:lnTo>
                    <a:pt x="0" y="46"/>
                  </a:lnTo>
                  <a:lnTo>
                    <a:pt x="10" y="72"/>
                  </a:lnTo>
                  <a:lnTo>
                    <a:pt x="28" y="74"/>
                  </a:lnTo>
                  <a:lnTo>
                    <a:pt x="40" y="76"/>
                  </a:lnTo>
                  <a:lnTo>
                    <a:pt x="56" y="52"/>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80" name="Freeform 80">
              <a:extLst>
                <a:ext uri="{FF2B5EF4-FFF2-40B4-BE49-F238E27FC236}">
                  <a16:creationId xmlns:a16="http://schemas.microsoft.com/office/drawing/2014/main" id="{2EFBA8F8-7791-1648-A77A-FF4DABAE125F}"/>
                </a:ext>
              </a:extLst>
            </p:cNvPr>
            <p:cNvSpPr>
              <a:spLocks noChangeAspect="1"/>
            </p:cNvSpPr>
            <p:nvPr/>
          </p:nvSpPr>
          <p:spPr bwMode="gray">
            <a:xfrm>
              <a:off x="5676061" y="4523589"/>
              <a:ext cx="6380" cy="1920"/>
            </a:xfrm>
            <a:custGeom>
              <a:avLst/>
              <a:gdLst>
                <a:gd name="T0" fmla="*/ 4 w 11"/>
                <a:gd name="T1" fmla="*/ 2 h 6"/>
                <a:gd name="T2" fmla="*/ 0 w 11"/>
                <a:gd name="T3" fmla="*/ 4 h 6"/>
                <a:gd name="T4" fmla="*/ 4 w 11"/>
                <a:gd name="T5" fmla="*/ 6 h 6"/>
                <a:gd name="T6" fmla="*/ 11 w 11"/>
                <a:gd name="T7" fmla="*/ 0 h 6"/>
                <a:gd name="T8" fmla="*/ 4 w 11"/>
                <a:gd name="T9" fmla="*/ 2 h 6"/>
              </a:gdLst>
              <a:ahLst/>
              <a:cxnLst>
                <a:cxn ang="0">
                  <a:pos x="T0" y="T1"/>
                </a:cxn>
                <a:cxn ang="0">
                  <a:pos x="T2" y="T3"/>
                </a:cxn>
                <a:cxn ang="0">
                  <a:pos x="T4" y="T5"/>
                </a:cxn>
                <a:cxn ang="0">
                  <a:pos x="T6" y="T7"/>
                </a:cxn>
                <a:cxn ang="0">
                  <a:pos x="T8" y="T9"/>
                </a:cxn>
              </a:cxnLst>
              <a:rect l="0" t="0" r="r" b="b"/>
              <a:pathLst>
                <a:path w="11" h="6">
                  <a:moveTo>
                    <a:pt x="4" y="2"/>
                  </a:moveTo>
                  <a:lnTo>
                    <a:pt x="0" y="4"/>
                  </a:lnTo>
                  <a:lnTo>
                    <a:pt x="4" y="6"/>
                  </a:lnTo>
                  <a:lnTo>
                    <a:pt x="11" y="0"/>
                  </a:lnTo>
                  <a:lnTo>
                    <a:pt x="4" y="2"/>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81" name="Freeform 81">
              <a:extLst>
                <a:ext uri="{FF2B5EF4-FFF2-40B4-BE49-F238E27FC236}">
                  <a16:creationId xmlns:a16="http://schemas.microsoft.com/office/drawing/2014/main" id="{9A87CA33-C711-ED43-BF9C-231F0062CE81}"/>
                </a:ext>
              </a:extLst>
            </p:cNvPr>
            <p:cNvSpPr>
              <a:spLocks noChangeAspect="1"/>
            </p:cNvSpPr>
            <p:nvPr/>
          </p:nvSpPr>
          <p:spPr bwMode="gray">
            <a:xfrm>
              <a:off x="5604293" y="4598426"/>
              <a:ext cx="161075" cy="381870"/>
            </a:xfrm>
            <a:custGeom>
              <a:avLst/>
              <a:gdLst>
                <a:gd name="T0" fmla="*/ 60 w 329"/>
                <a:gd name="T1" fmla="*/ 187 h 652"/>
                <a:gd name="T2" fmla="*/ 89 w 329"/>
                <a:gd name="T3" fmla="*/ 179 h 652"/>
                <a:gd name="T4" fmla="*/ 100 w 329"/>
                <a:gd name="T5" fmla="*/ 179 h 652"/>
                <a:gd name="T6" fmla="*/ 110 w 329"/>
                <a:gd name="T7" fmla="*/ 170 h 652"/>
                <a:gd name="T8" fmla="*/ 129 w 329"/>
                <a:gd name="T9" fmla="*/ 166 h 652"/>
                <a:gd name="T10" fmla="*/ 156 w 329"/>
                <a:gd name="T11" fmla="*/ 183 h 652"/>
                <a:gd name="T12" fmla="*/ 146 w 329"/>
                <a:gd name="T13" fmla="*/ 159 h 652"/>
                <a:gd name="T14" fmla="*/ 171 w 329"/>
                <a:gd name="T15" fmla="*/ 147 h 652"/>
                <a:gd name="T16" fmla="*/ 183 w 329"/>
                <a:gd name="T17" fmla="*/ 155 h 652"/>
                <a:gd name="T18" fmla="*/ 186 w 329"/>
                <a:gd name="T19" fmla="*/ 124 h 652"/>
                <a:gd name="T20" fmla="*/ 193 w 329"/>
                <a:gd name="T21" fmla="*/ 133 h 652"/>
                <a:gd name="T22" fmla="*/ 219 w 329"/>
                <a:gd name="T23" fmla="*/ 116 h 652"/>
                <a:gd name="T24" fmla="*/ 213 w 329"/>
                <a:gd name="T25" fmla="*/ 90 h 652"/>
                <a:gd name="T26" fmla="*/ 213 w 329"/>
                <a:gd name="T27" fmla="*/ 67 h 652"/>
                <a:gd name="T28" fmla="*/ 224 w 329"/>
                <a:gd name="T29" fmla="*/ 67 h 652"/>
                <a:gd name="T30" fmla="*/ 241 w 329"/>
                <a:gd name="T31" fmla="*/ 51 h 652"/>
                <a:gd name="T32" fmla="*/ 254 w 329"/>
                <a:gd name="T33" fmla="*/ 51 h 652"/>
                <a:gd name="T34" fmla="*/ 254 w 329"/>
                <a:gd name="T35" fmla="*/ 11 h 652"/>
                <a:gd name="T36" fmla="*/ 273 w 329"/>
                <a:gd name="T37" fmla="*/ 0 h 652"/>
                <a:gd name="T38" fmla="*/ 329 w 329"/>
                <a:gd name="T39" fmla="*/ 152 h 652"/>
                <a:gd name="T40" fmla="*/ 317 w 329"/>
                <a:gd name="T41" fmla="*/ 175 h 652"/>
                <a:gd name="T42" fmla="*/ 300 w 329"/>
                <a:gd name="T43" fmla="*/ 153 h 652"/>
                <a:gd name="T44" fmla="*/ 303 w 329"/>
                <a:gd name="T45" fmla="*/ 209 h 652"/>
                <a:gd name="T46" fmla="*/ 278 w 329"/>
                <a:gd name="T47" fmla="*/ 306 h 652"/>
                <a:gd name="T48" fmla="*/ 199 w 329"/>
                <a:gd name="T49" fmla="*/ 574 h 652"/>
                <a:gd name="T50" fmla="*/ 177 w 329"/>
                <a:gd name="T51" fmla="*/ 618 h 652"/>
                <a:gd name="T52" fmla="*/ 126 w 329"/>
                <a:gd name="T53" fmla="*/ 633 h 652"/>
                <a:gd name="T54" fmla="*/ 41 w 329"/>
                <a:gd name="T55" fmla="*/ 618 h 652"/>
                <a:gd name="T56" fmla="*/ 21 w 329"/>
                <a:gd name="T57" fmla="*/ 568 h 652"/>
                <a:gd name="T58" fmla="*/ 15 w 329"/>
                <a:gd name="T59" fmla="*/ 523 h 652"/>
                <a:gd name="T60" fmla="*/ 0 w 329"/>
                <a:gd name="T61" fmla="*/ 466 h 652"/>
                <a:gd name="T62" fmla="*/ 18 w 329"/>
                <a:gd name="T63" fmla="*/ 435 h 652"/>
                <a:gd name="T64" fmla="*/ 32 w 329"/>
                <a:gd name="T65" fmla="*/ 409 h 652"/>
                <a:gd name="T66" fmla="*/ 61 w 329"/>
                <a:gd name="T67" fmla="*/ 352 h 652"/>
                <a:gd name="T68" fmla="*/ 41 w 329"/>
                <a:gd name="T69" fmla="*/ 265 h 652"/>
                <a:gd name="T70" fmla="*/ 54 w 329"/>
                <a:gd name="T71" fmla="*/ 206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9" h="652">
                  <a:moveTo>
                    <a:pt x="54" y="192"/>
                  </a:moveTo>
                  <a:lnTo>
                    <a:pt x="60" y="187"/>
                  </a:lnTo>
                  <a:lnTo>
                    <a:pt x="78" y="187"/>
                  </a:lnTo>
                  <a:lnTo>
                    <a:pt x="89" y="179"/>
                  </a:lnTo>
                  <a:lnTo>
                    <a:pt x="95" y="184"/>
                  </a:lnTo>
                  <a:lnTo>
                    <a:pt x="100" y="179"/>
                  </a:lnTo>
                  <a:lnTo>
                    <a:pt x="105" y="181"/>
                  </a:lnTo>
                  <a:lnTo>
                    <a:pt x="110" y="170"/>
                  </a:lnTo>
                  <a:lnTo>
                    <a:pt x="123" y="170"/>
                  </a:lnTo>
                  <a:lnTo>
                    <a:pt x="129" y="166"/>
                  </a:lnTo>
                  <a:lnTo>
                    <a:pt x="143" y="183"/>
                  </a:lnTo>
                  <a:lnTo>
                    <a:pt x="156" y="183"/>
                  </a:lnTo>
                  <a:lnTo>
                    <a:pt x="146" y="167"/>
                  </a:lnTo>
                  <a:lnTo>
                    <a:pt x="146" y="159"/>
                  </a:lnTo>
                  <a:lnTo>
                    <a:pt x="165" y="144"/>
                  </a:lnTo>
                  <a:lnTo>
                    <a:pt x="171" y="147"/>
                  </a:lnTo>
                  <a:lnTo>
                    <a:pt x="173" y="157"/>
                  </a:lnTo>
                  <a:lnTo>
                    <a:pt x="183" y="155"/>
                  </a:lnTo>
                  <a:lnTo>
                    <a:pt x="176" y="141"/>
                  </a:lnTo>
                  <a:lnTo>
                    <a:pt x="186" y="124"/>
                  </a:lnTo>
                  <a:lnTo>
                    <a:pt x="193" y="116"/>
                  </a:lnTo>
                  <a:lnTo>
                    <a:pt x="193" y="133"/>
                  </a:lnTo>
                  <a:lnTo>
                    <a:pt x="207" y="116"/>
                  </a:lnTo>
                  <a:lnTo>
                    <a:pt x="219" y="116"/>
                  </a:lnTo>
                  <a:lnTo>
                    <a:pt x="203" y="105"/>
                  </a:lnTo>
                  <a:lnTo>
                    <a:pt x="213" y="90"/>
                  </a:lnTo>
                  <a:lnTo>
                    <a:pt x="219" y="95"/>
                  </a:lnTo>
                  <a:lnTo>
                    <a:pt x="213" y="67"/>
                  </a:lnTo>
                  <a:lnTo>
                    <a:pt x="215" y="64"/>
                  </a:lnTo>
                  <a:lnTo>
                    <a:pt x="224" y="67"/>
                  </a:lnTo>
                  <a:lnTo>
                    <a:pt x="228" y="76"/>
                  </a:lnTo>
                  <a:lnTo>
                    <a:pt x="241" y="51"/>
                  </a:lnTo>
                  <a:lnTo>
                    <a:pt x="245" y="56"/>
                  </a:lnTo>
                  <a:lnTo>
                    <a:pt x="254" y="51"/>
                  </a:lnTo>
                  <a:lnTo>
                    <a:pt x="259" y="20"/>
                  </a:lnTo>
                  <a:lnTo>
                    <a:pt x="254" y="11"/>
                  </a:lnTo>
                  <a:lnTo>
                    <a:pt x="258" y="13"/>
                  </a:lnTo>
                  <a:lnTo>
                    <a:pt x="273" y="0"/>
                  </a:lnTo>
                  <a:lnTo>
                    <a:pt x="304" y="39"/>
                  </a:lnTo>
                  <a:lnTo>
                    <a:pt x="329" y="152"/>
                  </a:lnTo>
                  <a:lnTo>
                    <a:pt x="324" y="175"/>
                  </a:lnTo>
                  <a:lnTo>
                    <a:pt x="317" y="175"/>
                  </a:lnTo>
                  <a:lnTo>
                    <a:pt x="309" y="152"/>
                  </a:lnTo>
                  <a:lnTo>
                    <a:pt x="300" y="153"/>
                  </a:lnTo>
                  <a:lnTo>
                    <a:pt x="298" y="186"/>
                  </a:lnTo>
                  <a:lnTo>
                    <a:pt x="303" y="209"/>
                  </a:lnTo>
                  <a:lnTo>
                    <a:pt x="287" y="237"/>
                  </a:lnTo>
                  <a:lnTo>
                    <a:pt x="278" y="306"/>
                  </a:lnTo>
                  <a:lnTo>
                    <a:pt x="242" y="407"/>
                  </a:lnTo>
                  <a:lnTo>
                    <a:pt x="199" y="574"/>
                  </a:lnTo>
                  <a:lnTo>
                    <a:pt x="188" y="599"/>
                  </a:lnTo>
                  <a:lnTo>
                    <a:pt x="177" y="618"/>
                  </a:lnTo>
                  <a:lnTo>
                    <a:pt x="160" y="628"/>
                  </a:lnTo>
                  <a:lnTo>
                    <a:pt x="126" y="633"/>
                  </a:lnTo>
                  <a:lnTo>
                    <a:pt x="89" y="652"/>
                  </a:lnTo>
                  <a:lnTo>
                    <a:pt x="41" y="618"/>
                  </a:lnTo>
                  <a:lnTo>
                    <a:pt x="29" y="599"/>
                  </a:lnTo>
                  <a:lnTo>
                    <a:pt x="21" y="568"/>
                  </a:lnTo>
                  <a:lnTo>
                    <a:pt x="24" y="548"/>
                  </a:lnTo>
                  <a:lnTo>
                    <a:pt x="15" y="523"/>
                  </a:lnTo>
                  <a:lnTo>
                    <a:pt x="1" y="503"/>
                  </a:lnTo>
                  <a:lnTo>
                    <a:pt x="0" y="466"/>
                  </a:lnTo>
                  <a:lnTo>
                    <a:pt x="12" y="441"/>
                  </a:lnTo>
                  <a:lnTo>
                    <a:pt x="18" y="435"/>
                  </a:lnTo>
                  <a:lnTo>
                    <a:pt x="26" y="432"/>
                  </a:lnTo>
                  <a:lnTo>
                    <a:pt x="32" y="409"/>
                  </a:lnTo>
                  <a:lnTo>
                    <a:pt x="60" y="364"/>
                  </a:lnTo>
                  <a:lnTo>
                    <a:pt x="61" y="352"/>
                  </a:lnTo>
                  <a:lnTo>
                    <a:pt x="46" y="314"/>
                  </a:lnTo>
                  <a:lnTo>
                    <a:pt x="41" y="265"/>
                  </a:lnTo>
                  <a:lnTo>
                    <a:pt x="32" y="252"/>
                  </a:lnTo>
                  <a:lnTo>
                    <a:pt x="54" y="206"/>
                  </a:lnTo>
                  <a:lnTo>
                    <a:pt x="54" y="192"/>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82" name="Freeform 82">
              <a:extLst>
                <a:ext uri="{FF2B5EF4-FFF2-40B4-BE49-F238E27FC236}">
                  <a16:creationId xmlns:a16="http://schemas.microsoft.com/office/drawing/2014/main" id="{6047A3A6-0CF9-F14E-8874-BE37B85F766E}"/>
                </a:ext>
              </a:extLst>
            </p:cNvPr>
            <p:cNvSpPr>
              <a:spLocks noChangeAspect="1"/>
            </p:cNvSpPr>
            <p:nvPr/>
          </p:nvSpPr>
          <p:spPr bwMode="gray">
            <a:xfrm>
              <a:off x="4778185" y="4254933"/>
              <a:ext cx="6380" cy="9595"/>
            </a:xfrm>
            <a:custGeom>
              <a:avLst/>
              <a:gdLst>
                <a:gd name="T0" fmla="*/ 7 w 14"/>
                <a:gd name="T1" fmla="*/ 0 h 17"/>
                <a:gd name="T2" fmla="*/ 14 w 14"/>
                <a:gd name="T3" fmla="*/ 9 h 17"/>
                <a:gd name="T4" fmla="*/ 5 w 14"/>
                <a:gd name="T5" fmla="*/ 17 h 17"/>
                <a:gd name="T6" fmla="*/ 0 w 14"/>
                <a:gd name="T7" fmla="*/ 8 h 17"/>
                <a:gd name="T8" fmla="*/ 7 w 14"/>
                <a:gd name="T9" fmla="*/ 0 h 17"/>
              </a:gdLst>
              <a:ahLst/>
              <a:cxnLst>
                <a:cxn ang="0">
                  <a:pos x="T0" y="T1"/>
                </a:cxn>
                <a:cxn ang="0">
                  <a:pos x="T2" y="T3"/>
                </a:cxn>
                <a:cxn ang="0">
                  <a:pos x="T4" y="T5"/>
                </a:cxn>
                <a:cxn ang="0">
                  <a:pos x="T6" y="T7"/>
                </a:cxn>
                <a:cxn ang="0">
                  <a:pos x="T8" y="T9"/>
                </a:cxn>
              </a:cxnLst>
              <a:rect l="0" t="0" r="r" b="b"/>
              <a:pathLst>
                <a:path w="14" h="17">
                  <a:moveTo>
                    <a:pt x="7" y="0"/>
                  </a:moveTo>
                  <a:lnTo>
                    <a:pt x="14" y="9"/>
                  </a:lnTo>
                  <a:lnTo>
                    <a:pt x="5" y="17"/>
                  </a:lnTo>
                  <a:lnTo>
                    <a:pt x="0" y="8"/>
                  </a:lnTo>
                  <a:lnTo>
                    <a:pt x="7" y="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83" name="Freeform 83">
              <a:extLst>
                <a:ext uri="{FF2B5EF4-FFF2-40B4-BE49-F238E27FC236}">
                  <a16:creationId xmlns:a16="http://schemas.microsoft.com/office/drawing/2014/main" id="{373FDBC9-16D6-F843-8A39-91C926CE75BD}"/>
                </a:ext>
              </a:extLst>
            </p:cNvPr>
            <p:cNvSpPr>
              <a:spLocks noChangeAspect="1"/>
            </p:cNvSpPr>
            <p:nvPr/>
          </p:nvSpPr>
          <p:spPr bwMode="gray">
            <a:xfrm>
              <a:off x="5186454" y="3368380"/>
              <a:ext cx="251980" cy="299356"/>
            </a:xfrm>
            <a:custGeom>
              <a:avLst/>
              <a:gdLst>
                <a:gd name="T0" fmla="*/ 438 w 515"/>
                <a:gd name="T1" fmla="*/ 17 h 508"/>
                <a:gd name="T2" fmla="*/ 394 w 515"/>
                <a:gd name="T3" fmla="*/ 33 h 508"/>
                <a:gd name="T4" fmla="*/ 367 w 515"/>
                <a:gd name="T5" fmla="*/ 33 h 508"/>
                <a:gd name="T6" fmla="*/ 350 w 515"/>
                <a:gd name="T7" fmla="*/ 21 h 508"/>
                <a:gd name="T8" fmla="*/ 336 w 515"/>
                <a:gd name="T9" fmla="*/ 5 h 508"/>
                <a:gd name="T10" fmla="*/ 304 w 515"/>
                <a:gd name="T11" fmla="*/ 8 h 508"/>
                <a:gd name="T12" fmla="*/ 274 w 515"/>
                <a:gd name="T13" fmla="*/ 17 h 508"/>
                <a:gd name="T14" fmla="*/ 261 w 515"/>
                <a:gd name="T15" fmla="*/ 10 h 508"/>
                <a:gd name="T16" fmla="*/ 104 w 515"/>
                <a:gd name="T17" fmla="*/ 10 h 508"/>
                <a:gd name="T18" fmla="*/ 29 w 515"/>
                <a:gd name="T19" fmla="*/ 7 h 508"/>
                <a:gd name="T20" fmla="*/ 16 w 515"/>
                <a:gd name="T21" fmla="*/ 2 h 508"/>
                <a:gd name="T22" fmla="*/ 11 w 515"/>
                <a:gd name="T23" fmla="*/ 69 h 508"/>
                <a:gd name="T24" fmla="*/ 1 w 515"/>
                <a:gd name="T25" fmla="*/ 100 h 508"/>
                <a:gd name="T26" fmla="*/ 6 w 515"/>
                <a:gd name="T27" fmla="*/ 122 h 508"/>
                <a:gd name="T28" fmla="*/ 21 w 515"/>
                <a:gd name="T29" fmla="*/ 183 h 508"/>
                <a:gd name="T30" fmla="*/ 21 w 515"/>
                <a:gd name="T31" fmla="*/ 274 h 508"/>
                <a:gd name="T32" fmla="*/ 21 w 515"/>
                <a:gd name="T33" fmla="*/ 364 h 508"/>
                <a:gd name="T34" fmla="*/ 21 w 515"/>
                <a:gd name="T35" fmla="*/ 452 h 508"/>
                <a:gd name="T36" fmla="*/ 57 w 515"/>
                <a:gd name="T37" fmla="*/ 496 h 508"/>
                <a:gd name="T38" fmla="*/ 128 w 515"/>
                <a:gd name="T39" fmla="*/ 496 h 508"/>
                <a:gd name="T40" fmla="*/ 201 w 515"/>
                <a:gd name="T41" fmla="*/ 496 h 508"/>
                <a:gd name="T42" fmla="*/ 272 w 515"/>
                <a:gd name="T43" fmla="*/ 496 h 508"/>
                <a:gd name="T44" fmla="*/ 314 w 515"/>
                <a:gd name="T45" fmla="*/ 486 h 508"/>
                <a:gd name="T46" fmla="*/ 316 w 515"/>
                <a:gd name="T47" fmla="*/ 496 h 508"/>
                <a:gd name="T48" fmla="*/ 397 w 515"/>
                <a:gd name="T49" fmla="*/ 496 h 508"/>
                <a:gd name="T50" fmla="*/ 436 w 515"/>
                <a:gd name="T51" fmla="*/ 506 h 508"/>
                <a:gd name="T52" fmla="*/ 467 w 515"/>
                <a:gd name="T53" fmla="*/ 479 h 508"/>
                <a:gd name="T54" fmla="*/ 489 w 515"/>
                <a:gd name="T55" fmla="*/ 457 h 508"/>
                <a:gd name="T56" fmla="*/ 501 w 515"/>
                <a:gd name="T57" fmla="*/ 401 h 508"/>
                <a:gd name="T58" fmla="*/ 487 w 515"/>
                <a:gd name="T59" fmla="*/ 372 h 508"/>
                <a:gd name="T60" fmla="*/ 425 w 515"/>
                <a:gd name="T61" fmla="*/ 234 h 508"/>
                <a:gd name="T62" fmla="*/ 410 w 515"/>
                <a:gd name="T63" fmla="*/ 194 h 508"/>
                <a:gd name="T64" fmla="*/ 373 w 515"/>
                <a:gd name="T65" fmla="*/ 148 h 508"/>
                <a:gd name="T66" fmla="*/ 360 w 515"/>
                <a:gd name="T67" fmla="*/ 109 h 508"/>
                <a:gd name="T68" fmla="*/ 377 w 515"/>
                <a:gd name="T69" fmla="*/ 114 h 508"/>
                <a:gd name="T70" fmla="*/ 400 w 515"/>
                <a:gd name="T71" fmla="*/ 163 h 508"/>
                <a:gd name="T72" fmla="*/ 453 w 515"/>
                <a:gd name="T73" fmla="*/ 197 h 508"/>
                <a:gd name="T74" fmla="*/ 473 w 515"/>
                <a:gd name="T75" fmla="*/ 120 h 508"/>
                <a:gd name="T76" fmla="*/ 455 w 515"/>
                <a:gd name="T77" fmla="*/ 69 h 508"/>
                <a:gd name="T78" fmla="*/ 441 w 515"/>
                <a:gd name="T79" fmla="*/ 2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5" h="508">
                  <a:moveTo>
                    <a:pt x="441" y="25"/>
                  </a:moveTo>
                  <a:lnTo>
                    <a:pt x="438" y="17"/>
                  </a:lnTo>
                  <a:lnTo>
                    <a:pt x="413" y="30"/>
                  </a:lnTo>
                  <a:lnTo>
                    <a:pt x="394" y="33"/>
                  </a:lnTo>
                  <a:lnTo>
                    <a:pt x="390" y="29"/>
                  </a:lnTo>
                  <a:lnTo>
                    <a:pt x="367" y="33"/>
                  </a:lnTo>
                  <a:lnTo>
                    <a:pt x="360" y="24"/>
                  </a:lnTo>
                  <a:lnTo>
                    <a:pt x="350" y="21"/>
                  </a:lnTo>
                  <a:lnTo>
                    <a:pt x="350" y="22"/>
                  </a:lnTo>
                  <a:lnTo>
                    <a:pt x="336" y="5"/>
                  </a:lnTo>
                  <a:lnTo>
                    <a:pt x="326" y="8"/>
                  </a:lnTo>
                  <a:lnTo>
                    <a:pt x="304" y="8"/>
                  </a:lnTo>
                  <a:lnTo>
                    <a:pt x="297" y="7"/>
                  </a:lnTo>
                  <a:lnTo>
                    <a:pt x="274" y="17"/>
                  </a:lnTo>
                  <a:lnTo>
                    <a:pt x="282" y="7"/>
                  </a:lnTo>
                  <a:lnTo>
                    <a:pt x="261" y="10"/>
                  </a:lnTo>
                  <a:lnTo>
                    <a:pt x="201" y="44"/>
                  </a:lnTo>
                  <a:lnTo>
                    <a:pt x="104" y="10"/>
                  </a:lnTo>
                  <a:lnTo>
                    <a:pt x="57" y="2"/>
                  </a:lnTo>
                  <a:lnTo>
                    <a:pt x="29" y="7"/>
                  </a:lnTo>
                  <a:lnTo>
                    <a:pt x="21" y="0"/>
                  </a:lnTo>
                  <a:lnTo>
                    <a:pt x="16" y="2"/>
                  </a:lnTo>
                  <a:lnTo>
                    <a:pt x="6" y="17"/>
                  </a:lnTo>
                  <a:lnTo>
                    <a:pt x="11" y="69"/>
                  </a:lnTo>
                  <a:lnTo>
                    <a:pt x="0" y="83"/>
                  </a:lnTo>
                  <a:lnTo>
                    <a:pt x="1" y="100"/>
                  </a:lnTo>
                  <a:lnTo>
                    <a:pt x="9" y="112"/>
                  </a:lnTo>
                  <a:lnTo>
                    <a:pt x="6" y="122"/>
                  </a:lnTo>
                  <a:lnTo>
                    <a:pt x="21" y="137"/>
                  </a:lnTo>
                  <a:lnTo>
                    <a:pt x="21" y="183"/>
                  </a:lnTo>
                  <a:lnTo>
                    <a:pt x="21" y="228"/>
                  </a:lnTo>
                  <a:lnTo>
                    <a:pt x="21" y="274"/>
                  </a:lnTo>
                  <a:lnTo>
                    <a:pt x="21" y="318"/>
                  </a:lnTo>
                  <a:lnTo>
                    <a:pt x="21" y="364"/>
                  </a:lnTo>
                  <a:lnTo>
                    <a:pt x="21" y="408"/>
                  </a:lnTo>
                  <a:lnTo>
                    <a:pt x="21" y="452"/>
                  </a:lnTo>
                  <a:lnTo>
                    <a:pt x="21" y="496"/>
                  </a:lnTo>
                  <a:lnTo>
                    <a:pt x="57" y="496"/>
                  </a:lnTo>
                  <a:lnTo>
                    <a:pt x="93" y="496"/>
                  </a:lnTo>
                  <a:lnTo>
                    <a:pt x="128" y="496"/>
                  </a:lnTo>
                  <a:lnTo>
                    <a:pt x="165" y="496"/>
                  </a:lnTo>
                  <a:lnTo>
                    <a:pt x="201" y="496"/>
                  </a:lnTo>
                  <a:lnTo>
                    <a:pt x="236" y="496"/>
                  </a:lnTo>
                  <a:lnTo>
                    <a:pt x="272" y="496"/>
                  </a:lnTo>
                  <a:lnTo>
                    <a:pt x="308" y="496"/>
                  </a:lnTo>
                  <a:lnTo>
                    <a:pt x="314" y="486"/>
                  </a:lnTo>
                  <a:lnTo>
                    <a:pt x="319" y="486"/>
                  </a:lnTo>
                  <a:lnTo>
                    <a:pt x="316" y="496"/>
                  </a:lnTo>
                  <a:lnTo>
                    <a:pt x="356" y="496"/>
                  </a:lnTo>
                  <a:lnTo>
                    <a:pt x="397" y="496"/>
                  </a:lnTo>
                  <a:lnTo>
                    <a:pt x="414" y="508"/>
                  </a:lnTo>
                  <a:lnTo>
                    <a:pt x="436" y="506"/>
                  </a:lnTo>
                  <a:lnTo>
                    <a:pt x="441" y="486"/>
                  </a:lnTo>
                  <a:lnTo>
                    <a:pt x="467" y="479"/>
                  </a:lnTo>
                  <a:lnTo>
                    <a:pt x="478" y="454"/>
                  </a:lnTo>
                  <a:lnTo>
                    <a:pt x="489" y="457"/>
                  </a:lnTo>
                  <a:lnTo>
                    <a:pt x="507" y="442"/>
                  </a:lnTo>
                  <a:lnTo>
                    <a:pt x="501" y="401"/>
                  </a:lnTo>
                  <a:lnTo>
                    <a:pt x="515" y="400"/>
                  </a:lnTo>
                  <a:lnTo>
                    <a:pt x="487" y="372"/>
                  </a:lnTo>
                  <a:lnTo>
                    <a:pt x="434" y="271"/>
                  </a:lnTo>
                  <a:lnTo>
                    <a:pt x="425" y="234"/>
                  </a:lnTo>
                  <a:lnTo>
                    <a:pt x="413" y="215"/>
                  </a:lnTo>
                  <a:lnTo>
                    <a:pt x="410" y="194"/>
                  </a:lnTo>
                  <a:lnTo>
                    <a:pt x="385" y="171"/>
                  </a:lnTo>
                  <a:lnTo>
                    <a:pt x="373" y="148"/>
                  </a:lnTo>
                  <a:lnTo>
                    <a:pt x="370" y="126"/>
                  </a:lnTo>
                  <a:lnTo>
                    <a:pt x="360" y="109"/>
                  </a:lnTo>
                  <a:lnTo>
                    <a:pt x="367" y="86"/>
                  </a:lnTo>
                  <a:lnTo>
                    <a:pt x="377" y="114"/>
                  </a:lnTo>
                  <a:lnTo>
                    <a:pt x="397" y="148"/>
                  </a:lnTo>
                  <a:lnTo>
                    <a:pt x="400" y="163"/>
                  </a:lnTo>
                  <a:lnTo>
                    <a:pt x="436" y="203"/>
                  </a:lnTo>
                  <a:lnTo>
                    <a:pt x="453" y="197"/>
                  </a:lnTo>
                  <a:lnTo>
                    <a:pt x="455" y="177"/>
                  </a:lnTo>
                  <a:lnTo>
                    <a:pt x="473" y="120"/>
                  </a:lnTo>
                  <a:lnTo>
                    <a:pt x="463" y="95"/>
                  </a:lnTo>
                  <a:lnTo>
                    <a:pt x="455" y="69"/>
                  </a:lnTo>
                  <a:lnTo>
                    <a:pt x="447" y="44"/>
                  </a:lnTo>
                  <a:lnTo>
                    <a:pt x="441" y="25"/>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84" name="Freeform 84">
              <a:extLst>
                <a:ext uri="{FF2B5EF4-FFF2-40B4-BE49-F238E27FC236}">
                  <a16:creationId xmlns:a16="http://schemas.microsoft.com/office/drawing/2014/main" id="{F0128DDD-4EBE-3946-9790-AA704E23F74D}"/>
                </a:ext>
              </a:extLst>
            </p:cNvPr>
            <p:cNvSpPr>
              <a:spLocks noChangeAspect="1"/>
            </p:cNvSpPr>
            <p:nvPr/>
          </p:nvSpPr>
          <p:spPr bwMode="gray">
            <a:xfrm>
              <a:off x="4633056" y="3615924"/>
              <a:ext cx="360427" cy="333897"/>
            </a:xfrm>
            <a:custGeom>
              <a:avLst/>
              <a:gdLst>
                <a:gd name="T0" fmla="*/ 189 w 735"/>
                <a:gd name="T1" fmla="*/ 251 h 567"/>
                <a:gd name="T2" fmla="*/ 189 w 735"/>
                <a:gd name="T3" fmla="*/ 327 h 567"/>
                <a:gd name="T4" fmla="*/ 176 w 735"/>
                <a:gd name="T5" fmla="*/ 368 h 567"/>
                <a:gd name="T6" fmla="*/ 109 w 735"/>
                <a:gd name="T7" fmla="*/ 396 h 567"/>
                <a:gd name="T8" fmla="*/ 36 w 735"/>
                <a:gd name="T9" fmla="*/ 413 h 567"/>
                <a:gd name="T10" fmla="*/ 0 w 735"/>
                <a:gd name="T11" fmla="*/ 435 h 567"/>
                <a:gd name="T12" fmla="*/ 14 w 735"/>
                <a:gd name="T13" fmla="*/ 461 h 567"/>
                <a:gd name="T14" fmla="*/ 62 w 735"/>
                <a:gd name="T15" fmla="*/ 520 h 567"/>
                <a:gd name="T16" fmla="*/ 87 w 735"/>
                <a:gd name="T17" fmla="*/ 520 h 567"/>
                <a:gd name="T18" fmla="*/ 102 w 735"/>
                <a:gd name="T19" fmla="*/ 534 h 567"/>
                <a:gd name="T20" fmla="*/ 93 w 735"/>
                <a:gd name="T21" fmla="*/ 542 h 567"/>
                <a:gd name="T22" fmla="*/ 114 w 735"/>
                <a:gd name="T23" fmla="*/ 554 h 567"/>
                <a:gd name="T24" fmla="*/ 127 w 735"/>
                <a:gd name="T25" fmla="*/ 537 h 567"/>
                <a:gd name="T26" fmla="*/ 163 w 735"/>
                <a:gd name="T27" fmla="*/ 534 h 567"/>
                <a:gd name="T28" fmla="*/ 189 w 735"/>
                <a:gd name="T29" fmla="*/ 486 h 567"/>
                <a:gd name="T30" fmla="*/ 258 w 735"/>
                <a:gd name="T31" fmla="*/ 469 h 567"/>
                <a:gd name="T32" fmla="*/ 319 w 735"/>
                <a:gd name="T33" fmla="*/ 509 h 567"/>
                <a:gd name="T34" fmla="*/ 345 w 735"/>
                <a:gd name="T35" fmla="*/ 494 h 567"/>
                <a:gd name="T36" fmla="*/ 396 w 735"/>
                <a:gd name="T37" fmla="*/ 511 h 567"/>
                <a:gd name="T38" fmla="*/ 438 w 735"/>
                <a:gd name="T39" fmla="*/ 517 h 567"/>
                <a:gd name="T40" fmla="*/ 534 w 735"/>
                <a:gd name="T41" fmla="*/ 489 h 567"/>
                <a:gd name="T42" fmla="*/ 586 w 735"/>
                <a:gd name="T43" fmla="*/ 483 h 567"/>
                <a:gd name="T44" fmla="*/ 605 w 735"/>
                <a:gd name="T45" fmla="*/ 469 h 567"/>
                <a:gd name="T46" fmla="*/ 616 w 735"/>
                <a:gd name="T47" fmla="*/ 444 h 567"/>
                <a:gd name="T48" fmla="*/ 624 w 735"/>
                <a:gd name="T49" fmla="*/ 428 h 567"/>
                <a:gd name="T50" fmla="*/ 707 w 735"/>
                <a:gd name="T51" fmla="*/ 322 h 567"/>
                <a:gd name="T52" fmla="*/ 724 w 735"/>
                <a:gd name="T53" fmla="*/ 173 h 567"/>
                <a:gd name="T54" fmla="*/ 705 w 735"/>
                <a:gd name="T55" fmla="*/ 132 h 567"/>
                <a:gd name="T56" fmla="*/ 690 w 735"/>
                <a:gd name="T57" fmla="*/ 23 h 567"/>
                <a:gd name="T58" fmla="*/ 668 w 735"/>
                <a:gd name="T59" fmla="*/ 17 h 567"/>
                <a:gd name="T60" fmla="*/ 537 w 735"/>
                <a:gd name="T61" fmla="*/ 0 h 567"/>
                <a:gd name="T62" fmla="*/ 495 w 735"/>
                <a:gd name="T63" fmla="*/ 31 h 567"/>
                <a:gd name="T64" fmla="*/ 450 w 735"/>
                <a:gd name="T65" fmla="*/ 59 h 567"/>
                <a:gd name="T66" fmla="*/ 407 w 735"/>
                <a:gd name="T67" fmla="*/ 88 h 567"/>
                <a:gd name="T68" fmla="*/ 363 w 735"/>
                <a:gd name="T69" fmla="*/ 116 h 567"/>
                <a:gd name="T70" fmla="*/ 311 w 735"/>
                <a:gd name="T71" fmla="*/ 158 h 567"/>
                <a:gd name="T72" fmla="*/ 260 w 735"/>
                <a:gd name="T73" fmla="*/ 196 h 567"/>
                <a:gd name="T74" fmla="*/ 189 w 735"/>
                <a:gd name="T75" fmla="*/ 213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5" h="567">
                  <a:moveTo>
                    <a:pt x="189" y="213"/>
                  </a:moveTo>
                  <a:lnTo>
                    <a:pt x="189" y="251"/>
                  </a:lnTo>
                  <a:lnTo>
                    <a:pt x="189" y="289"/>
                  </a:lnTo>
                  <a:lnTo>
                    <a:pt x="189" y="327"/>
                  </a:lnTo>
                  <a:lnTo>
                    <a:pt x="190" y="364"/>
                  </a:lnTo>
                  <a:lnTo>
                    <a:pt x="176" y="368"/>
                  </a:lnTo>
                  <a:lnTo>
                    <a:pt x="156" y="396"/>
                  </a:lnTo>
                  <a:lnTo>
                    <a:pt x="109" y="396"/>
                  </a:lnTo>
                  <a:lnTo>
                    <a:pt x="59" y="396"/>
                  </a:lnTo>
                  <a:lnTo>
                    <a:pt x="36" y="413"/>
                  </a:lnTo>
                  <a:lnTo>
                    <a:pt x="6" y="413"/>
                  </a:lnTo>
                  <a:lnTo>
                    <a:pt x="0" y="435"/>
                  </a:lnTo>
                  <a:lnTo>
                    <a:pt x="11" y="444"/>
                  </a:lnTo>
                  <a:lnTo>
                    <a:pt x="14" y="461"/>
                  </a:lnTo>
                  <a:lnTo>
                    <a:pt x="37" y="484"/>
                  </a:lnTo>
                  <a:lnTo>
                    <a:pt x="62" y="520"/>
                  </a:lnTo>
                  <a:lnTo>
                    <a:pt x="75" y="526"/>
                  </a:lnTo>
                  <a:lnTo>
                    <a:pt x="87" y="520"/>
                  </a:lnTo>
                  <a:lnTo>
                    <a:pt x="96" y="523"/>
                  </a:lnTo>
                  <a:lnTo>
                    <a:pt x="102" y="534"/>
                  </a:lnTo>
                  <a:lnTo>
                    <a:pt x="93" y="537"/>
                  </a:lnTo>
                  <a:lnTo>
                    <a:pt x="93" y="542"/>
                  </a:lnTo>
                  <a:lnTo>
                    <a:pt x="107" y="557"/>
                  </a:lnTo>
                  <a:lnTo>
                    <a:pt x="114" y="554"/>
                  </a:lnTo>
                  <a:lnTo>
                    <a:pt x="107" y="542"/>
                  </a:lnTo>
                  <a:lnTo>
                    <a:pt x="127" y="537"/>
                  </a:lnTo>
                  <a:lnTo>
                    <a:pt x="163" y="567"/>
                  </a:lnTo>
                  <a:lnTo>
                    <a:pt x="163" y="534"/>
                  </a:lnTo>
                  <a:lnTo>
                    <a:pt x="180" y="517"/>
                  </a:lnTo>
                  <a:lnTo>
                    <a:pt x="189" y="486"/>
                  </a:lnTo>
                  <a:lnTo>
                    <a:pt x="218" y="472"/>
                  </a:lnTo>
                  <a:lnTo>
                    <a:pt x="258" y="469"/>
                  </a:lnTo>
                  <a:lnTo>
                    <a:pt x="291" y="486"/>
                  </a:lnTo>
                  <a:lnTo>
                    <a:pt x="319" y="509"/>
                  </a:lnTo>
                  <a:lnTo>
                    <a:pt x="325" y="509"/>
                  </a:lnTo>
                  <a:lnTo>
                    <a:pt x="345" y="494"/>
                  </a:lnTo>
                  <a:lnTo>
                    <a:pt x="363" y="492"/>
                  </a:lnTo>
                  <a:lnTo>
                    <a:pt x="396" y="511"/>
                  </a:lnTo>
                  <a:lnTo>
                    <a:pt x="427" y="518"/>
                  </a:lnTo>
                  <a:lnTo>
                    <a:pt x="438" y="517"/>
                  </a:lnTo>
                  <a:lnTo>
                    <a:pt x="472" y="492"/>
                  </a:lnTo>
                  <a:lnTo>
                    <a:pt x="534" y="489"/>
                  </a:lnTo>
                  <a:lnTo>
                    <a:pt x="566" y="500"/>
                  </a:lnTo>
                  <a:lnTo>
                    <a:pt x="586" y="483"/>
                  </a:lnTo>
                  <a:lnTo>
                    <a:pt x="597" y="483"/>
                  </a:lnTo>
                  <a:lnTo>
                    <a:pt x="605" y="469"/>
                  </a:lnTo>
                  <a:lnTo>
                    <a:pt x="620" y="469"/>
                  </a:lnTo>
                  <a:lnTo>
                    <a:pt x="616" y="444"/>
                  </a:lnTo>
                  <a:lnTo>
                    <a:pt x="614" y="433"/>
                  </a:lnTo>
                  <a:lnTo>
                    <a:pt x="624" y="428"/>
                  </a:lnTo>
                  <a:lnTo>
                    <a:pt x="628" y="410"/>
                  </a:lnTo>
                  <a:lnTo>
                    <a:pt x="707" y="322"/>
                  </a:lnTo>
                  <a:lnTo>
                    <a:pt x="712" y="238"/>
                  </a:lnTo>
                  <a:lnTo>
                    <a:pt x="724" y="173"/>
                  </a:lnTo>
                  <a:lnTo>
                    <a:pt x="735" y="152"/>
                  </a:lnTo>
                  <a:lnTo>
                    <a:pt x="705" y="132"/>
                  </a:lnTo>
                  <a:lnTo>
                    <a:pt x="691" y="99"/>
                  </a:lnTo>
                  <a:lnTo>
                    <a:pt x="690" y="23"/>
                  </a:lnTo>
                  <a:lnTo>
                    <a:pt x="676" y="27"/>
                  </a:lnTo>
                  <a:lnTo>
                    <a:pt x="668" y="17"/>
                  </a:lnTo>
                  <a:lnTo>
                    <a:pt x="641" y="2"/>
                  </a:lnTo>
                  <a:lnTo>
                    <a:pt x="537" y="0"/>
                  </a:lnTo>
                  <a:lnTo>
                    <a:pt x="517" y="15"/>
                  </a:lnTo>
                  <a:lnTo>
                    <a:pt x="495" y="31"/>
                  </a:lnTo>
                  <a:lnTo>
                    <a:pt x="473" y="44"/>
                  </a:lnTo>
                  <a:lnTo>
                    <a:pt x="450" y="59"/>
                  </a:lnTo>
                  <a:lnTo>
                    <a:pt x="429" y="74"/>
                  </a:lnTo>
                  <a:lnTo>
                    <a:pt x="407" y="88"/>
                  </a:lnTo>
                  <a:lnTo>
                    <a:pt x="385" y="103"/>
                  </a:lnTo>
                  <a:lnTo>
                    <a:pt x="363" y="116"/>
                  </a:lnTo>
                  <a:lnTo>
                    <a:pt x="336" y="137"/>
                  </a:lnTo>
                  <a:lnTo>
                    <a:pt x="311" y="158"/>
                  </a:lnTo>
                  <a:lnTo>
                    <a:pt x="285" y="176"/>
                  </a:lnTo>
                  <a:lnTo>
                    <a:pt x="260" y="196"/>
                  </a:lnTo>
                  <a:lnTo>
                    <a:pt x="223" y="204"/>
                  </a:lnTo>
                  <a:lnTo>
                    <a:pt x="189" y="213"/>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85" name="Freeform 85">
              <a:extLst>
                <a:ext uri="{FF2B5EF4-FFF2-40B4-BE49-F238E27FC236}">
                  <a16:creationId xmlns:a16="http://schemas.microsoft.com/office/drawing/2014/main" id="{0CCD1E41-FED2-6942-93A3-6CF75EC7A2E4}"/>
                </a:ext>
              </a:extLst>
            </p:cNvPr>
            <p:cNvSpPr>
              <a:spLocks noChangeAspect="1"/>
            </p:cNvSpPr>
            <p:nvPr/>
          </p:nvSpPr>
          <p:spPr bwMode="gray">
            <a:xfrm>
              <a:off x="4693658" y="3892251"/>
              <a:ext cx="264739" cy="260976"/>
            </a:xfrm>
            <a:custGeom>
              <a:avLst/>
              <a:gdLst>
                <a:gd name="T0" fmla="*/ 73 w 540"/>
                <a:gd name="T1" fmla="*/ 348 h 447"/>
                <a:gd name="T2" fmla="*/ 107 w 540"/>
                <a:gd name="T3" fmla="*/ 373 h 447"/>
                <a:gd name="T4" fmla="*/ 127 w 540"/>
                <a:gd name="T5" fmla="*/ 393 h 447"/>
                <a:gd name="T6" fmla="*/ 127 w 540"/>
                <a:gd name="T7" fmla="*/ 419 h 447"/>
                <a:gd name="T8" fmla="*/ 155 w 540"/>
                <a:gd name="T9" fmla="*/ 440 h 447"/>
                <a:gd name="T10" fmla="*/ 163 w 540"/>
                <a:gd name="T11" fmla="*/ 447 h 447"/>
                <a:gd name="T12" fmla="*/ 190 w 540"/>
                <a:gd name="T13" fmla="*/ 438 h 447"/>
                <a:gd name="T14" fmla="*/ 223 w 540"/>
                <a:gd name="T15" fmla="*/ 435 h 447"/>
                <a:gd name="T16" fmla="*/ 256 w 540"/>
                <a:gd name="T17" fmla="*/ 416 h 447"/>
                <a:gd name="T18" fmla="*/ 279 w 540"/>
                <a:gd name="T19" fmla="*/ 396 h 447"/>
                <a:gd name="T20" fmla="*/ 297 w 540"/>
                <a:gd name="T21" fmla="*/ 348 h 447"/>
                <a:gd name="T22" fmla="*/ 316 w 540"/>
                <a:gd name="T23" fmla="*/ 325 h 447"/>
                <a:gd name="T24" fmla="*/ 385 w 540"/>
                <a:gd name="T25" fmla="*/ 343 h 447"/>
                <a:gd name="T26" fmla="*/ 430 w 540"/>
                <a:gd name="T27" fmla="*/ 284 h 447"/>
                <a:gd name="T28" fmla="*/ 464 w 540"/>
                <a:gd name="T29" fmla="*/ 232 h 447"/>
                <a:gd name="T30" fmla="*/ 495 w 540"/>
                <a:gd name="T31" fmla="*/ 133 h 447"/>
                <a:gd name="T32" fmla="*/ 540 w 540"/>
                <a:gd name="T33" fmla="*/ 100 h 447"/>
                <a:gd name="T34" fmla="*/ 525 w 540"/>
                <a:gd name="T35" fmla="*/ 60 h 447"/>
                <a:gd name="T36" fmla="*/ 498 w 540"/>
                <a:gd name="T37" fmla="*/ 0 h 447"/>
                <a:gd name="T38" fmla="*/ 475 w 540"/>
                <a:gd name="T39" fmla="*/ 14 h 447"/>
                <a:gd name="T40" fmla="*/ 444 w 540"/>
                <a:gd name="T41" fmla="*/ 31 h 447"/>
                <a:gd name="T42" fmla="*/ 350 w 540"/>
                <a:gd name="T43" fmla="*/ 23 h 447"/>
                <a:gd name="T44" fmla="*/ 305 w 540"/>
                <a:gd name="T45" fmla="*/ 49 h 447"/>
                <a:gd name="T46" fmla="*/ 241 w 540"/>
                <a:gd name="T47" fmla="*/ 23 h 447"/>
                <a:gd name="T48" fmla="*/ 203 w 540"/>
                <a:gd name="T49" fmla="*/ 40 h 447"/>
                <a:gd name="T50" fmla="*/ 169 w 540"/>
                <a:gd name="T51" fmla="*/ 17 h 447"/>
                <a:gd name="T52" fmla="*/ 96 w 540"/>
                <a:gd name="T53" fmla="*/ 3 h 447"/>
                <a:gd name="T54" fmla="*/ 58 w 540"/>
                <a:gd name="T55" fmla="*/ 48 h 447"/>
                <a:gd name="T56" fmla="*/ 41 w 540"/>
                <a:gd name="T57" fmla="*/ 98 h 447"/>
                <a:gd name="T58" fmla="*/ 46 w 540"/>
                <a:gd name="T59" fmla="*/ 128 h 447"/>
                <a:gd name="T60" fmla="*/ 39 w 540"/>
                <a:gd name="T61" fmla="*/ 164 h 447"/>
                <a:gd name="T62" fmla="*/ 41 w 540"/>
                <a:gd name="T63" fmla="*/ 182 h 447"/>
                <a:gd name="T64" fmla="*/ 19 w 540"/>
                <a:gd name="T65" fmla="*/ 221 h 447"/>
                <a:gd name="T66" fmla="*/ 0 w 540"/>
                <a:gd name="T67" fmla="*/ 314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0" h="447">
                  <a:moveTo>
                    <a:pt x="5" y="350"/>
                  </a:moveTo>
                  <a:lnTo>
                    <a:pt x="73" y="348"/>
                  </a:lnTo>
                  <a:lnTo>
                    <a:pt x="99" y="360"/>
                  </a:lnTo>
                  <a:lnTo>
                    <a:pt x="107" y="373"/>
                  </a:lnTo>
                  <a:lnTo>
                    <a:pt x="119" y="390"/>
                  </a:lnTo>
                  <a:lnTo>
                    <a:pt x="127" y="393"/>
                  </a:lnTo>
                  <a:lnTo>
                    <a:pt x="122" y="394"/>
                  </a:lnTo>
                  <a:lnTo>
                    <a:pt x="127" y="419"/>
                  </a:lnTo>
                  <a:lnTo>
                    <a:pt x="141" y="436"/>
                  </a:lnTo>
                  <a:lnTo>
                    <a:pt x="155" y="440"/>
                  </a:lnTo>
                  <a:lnTo>
                    <a:pt x="161" y="438"/>
                  </a:lnTo>
                  <a:lnTo>
                    <a:pt x="163" y="447"/>
                  </a:lnTo>
                  <a:lnTo>
                    <a:pt x="177" y="438"/>
                  </a:lnTo>
                  <a:lnTo>
                    <a:pt x="190" y="438"/>
                  </a:lnTo>
                  <a:lnTo>
                    <a:pt x="203" y="427"/>
                  </a:lnTo>
                  <a:lnTo>
                    <a:pt x="223" y="435"/>
                  </a:lnTo>
                  <a:lnTo>
                    <a:pt x="253" y="433"/>
                  </a:lnTo>
                  <a:lnTo>
                    <a:pt x="256" y="416"/>
                  </a:lnTo>
                  <a:lnTo>
                    <a:pt x="263" y="424"/>
                  </a:lnTo>
                  <a:lnTo>
                    <a:pt x="279" y="396"/>
                  </a:lnTo>
                  <a:lnTo>
                    <a:pt x="283" y="373"/>
                  </a:lnTo>
                  <a:lnTo>
                    <a:pt x="297" y="348"/>
                  </a:lnTo>
                  <a:lnTo>
                    <a:pt x="312" y="339"/>
                  </a:lnTo>
                  <a:lnTo>
                    <a:pt x="316" y="325"/>
                  </a:lnTo>
                  <a:lnTo>
                    <a:pt x="361" y="322"/>
                  </a:lnTo>
                  <a:lnTo>
                    <a:pt x="385" y="343"/>
                  </a:lnTo>
                  <a:lnTo>
                    <a:pt x="402" y="340"/>
                  </a:lnTo>
                  <a:lnTo>
                    <a:pt x="430" y="284"/>
                  </a:lnTo>
                  <a:lnTo>
                    <a:pt x="441" y="250"/>
                  </a:lnTo>
                  <a:lnTo>
                    <a:pt x="464" y="232"/>
                  </a:lnTo>
                  <a:lnTo>
                    <a:pt x="475" y="182"/>
                  </a:lnTo>
                  <a:lnTo>
                    <a:pt x="495" y="133"/>
                  </a:lnTo>
                  <a:lnTo>
                    <a:pt x="505" y="120"/>
                  </a:lnTo>
                  <a:lnTo>
                    <a:pt x="540" y="100"/>
                  </a:lnTo>
                  <a:lnTo>
                    <a:pt x="539" y="74"/>
                  </a:lnTo>
                  <a:lnTo>
                    <a:pt x="525" y="60"/>
                  </a:lnTo>
                  <a:lnTo>
                    <a:pt x="525" y="32"/>
                  </a:lnTo>
                  <a:lnTo>
                    <a:pt x="498" y="0"/>
                  </a:lnTo>
                  <a:lnTo>
                    <a:pt x="483" y="0"/>
                  </a:lnTo>
                  <a:lnTo>
                    <a:pt x="475" y="14"/>
                  </a:lnTo>
                  <a:lnTo>
                    <a:pt x="464" y="14"/>
                  </a:lnTo>
                  <a:lnTo>
                    <a:pt x="444" y="31"/>
                  </a:lnTo>
                  <a:lnTo>
                    <a:pt x="412" y="20"/>
                  </a:lnTo>
                  <a:lnTo>
                    <a:pt x="350" y="23"/>
                  </a:lnTo>
                  <a:lnTo>
                    <a:pt x="316" y="48"/>
                  </a:lnTo>
                  <a:lnTo>
                    <a:pt x="305" y="49"/>
                  </a:lnTo>
                  <a:lnTo>
                    <a:pt x="274" y="42"/>
                  </a:lnTo>
                  <a:lnTo>
                    <a:pt x="241" y="23"/>
                  </a:lnTo>
                  <a:lnTo>
                    <a:pt x="223" y="25"/>
                  </a:lnTo>
                  <a:lnTo>
                    <a:pt x="203" y="40"/>
                  </a:lnTo>
                  <a:lnTo>
                    <a:pt x="197" y="40"/>
                  </a:lnTo>
                  <a:lnTo>
                    <a:pt x="169" y="17"/>
                  </a:lnTo>
                  <a:lnTo>
                    <a:pt x="136" y="0"/>
                  </a:lnTo>
                  <a:lnTo>
                    <a:pt x="96" y="3"/>
                  </a:lnTo>
                  <a:lnTo>
                    <a:pt x="67" y="17"/>
                  </a:lnTo>
                  <a:lnTo>
                    <a:pt x="58" y="48"/>
                  </a:lnTo>
                  <a:lnTo>
                    <a:pt x="41" y="65"/>
                  </a:lnTo>
                  <a:lnTo>
                    <a:pt x="41" y="98"/>
                  </a:lnTo>
                  <a:lnTo>
                    <a:pt x="36" y="113"/>
                  </a:lnTo>
                  <a:lnTo>
                    <a:pt x="46" y="128"/>
                  </a:lnTo>
                  <a:lnTo>
                    <a:pt x="50" y="157"/>
                  </a:lnTo>
                  <a:lnTo>
                    <a:pt x="39" y="164"/>
                  </a:lnTo>
                  <a:lnTo>
                    <a:pt x="45" y="174"/>
                  </a:lnTo>
                  <a:lnTo>
                    <a:pt x="41" y="182"/>
                  </a:lnTo>
                  <a:lnTo>
                    <a:pt x="22" y="199"/>
                  </a:lnTo>
                  <a:lnTo>
                    <a:pt x="19" y="221"/>
                  </a:lnTo>
                  <a:lnTo>
                    <a:pt x="5" y="249"/>
                  </a:lnTo>
                  <a:lnTo>
                    <a:pt x="0" y="314"/>
                  </a:lnTo>
                  <a:lnTo>
                    <a:pt x="5" y="35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86" name="Freeform 86">
              <a:extLst>
                <a:ext uri="{FF2B5EF4-FFF2-40B4-BE49-F238E27FC236}">
                  <a16:creationId xmlns:a16="http://schemas.microsoft.com/office/drawing/2014/main" id="{2A3BB359-11BD-4844-8975-BE325724FAE9}"/>
                </a:ext>
              </a:extLst>
            </p:cNvPr>
            <p:cNvSpPr>
              <a:spLocks noChangeAspect="1"/>
            </p:cNvSpPr>
            <p:nvPr/>
          </p:nvSpPr>
          <p:spPr bwMode="gray">
            <a:xfrm>
              <a:off x="4821243" y="3911444"/>
              <a:ext cx="173834" cy="312787"/>
            </a:xfrm>
            <a:custGeom>
              <a:avLst/>
              <a:gdLst>
                <a:gd name="T0" fmla="*/ 132 w 354"/>
                <a:gd name="T1" fmla="*/ 506 h 533"/>
                <a:gd name="T2" fmla="*/ 172 w 354"/>
                <a:gd name="T3" fmla="*/ 501 h 533"/>
                <a:gd name="T4" fmla="*/ 223 w 354"/>
                <a:gd name="T5" fmla="*/ 508 h 533"/>
                <a:gd name="T6" fmla="*/ 288 w 354"/>
                <a:gd name="T7" fmla="*/ 508 h 533"/>
                <a:gd name="T8" fmla="*/ 328 w 354"/>
                <a:gd name="T9" fmla="*/ 517 h 533"/>
                <a:gd name="T10" fmla="*/ 348 w 354"/>
                <a:gd name="T11" fmla="*/ 533 h 533"/>
                <a:gd name="T12" fmla="*/ 354 w 354"/>
                <a:gd name="T13" fmla="*/ 522 h 533"/>
                <a:gd name="T14" fmla="*/ 354 w 354"/>
                <a:gd name="T15" fmla="*/ 475 h 533"/>
                <a:gd name="T16" fmla="*/ 348 w 354"/>
                <a:gd name="T17" fmla="*/ 477 h 533"/>
                <a:gd name="T18" fmla="*/ 320 w 354"/>
                <a:gd name="T19" fmla="*/ 450 h 533"/>
                <a:gd name="T20" fmla="*/ 283 w 354"/>
                <a:gd name="T21" fmla="*/ 386 h 533"/>
                <a:gd name="T22" fmla="*/ 282 w 354"/>
                <a:gd name="T23" fmla="*/ 335 h 533"/>
                <a:gd name="T24" fmla="*/ 296 w 354"/>
                <a:gd name="T25" fmla="*/ 313 h 533"/>
                <a:gd name="T26" fmla="*/ 320 w 354"/>
                <a:gd name="T27" fmla="*/ 266 h 533"/>
                <a:gd name="T28" fmla="*/ 303 w 354"/>
                <a:gd name="T29" fmla="*/ 208 h 533"/>
                <a:gd name="T30" fmla="*/ 294 w 354"/>
                <a:gd name="T31" fmla="*/ 200 h 533"/>
                <a:gd name="T32" fmla="*/ 271 w 354"/>
                <a:gd name="T33" fmla="*/ 189 h 533"/>
                <a:gd name="T34" fmla="*/ 260 w 354"/>
                <a:gd name="T35" fmla="*/ 167 h 533"/>
                <a:gd name="T36" fmla="*/ 262 w 354"/>
                <a:gd name="T37" fmla="*/ 154 h 533"/>
                <a:gd name="T38" fmla="*/ 269 w 354"/>
                <a:gd name="T39" fmla="*/ 147 h 533"/>
                <a:gd name="T40" fmla="*/ 313 w 354"/>
                <a:gd name="T41" fmla="*/ 150 h 533"/>
                <a:gd name="T42" fmla="*/ 319 w 354"/>
                <a:gd name="T43" fmla="*/ 146 h 533"/>
                <a:gd name="T44" fmla="*/ 314 w 354"/>
                <a:gd name="T45" fmla="*/ 133 h 533"/>
                <a:gd name="T46" fmla="*/ 294 w 354"/>
                <a:gd name="T47" fmla="*/ 100 h 533"/>
                <a:gd name="T48" fmla="*/ 300 w 354"/>
                <a:gd name="T49" fmla="*/ 58 h 533"/>
                <a:gd name="T50" fmla="*/ 286 w 354"/>
                <a:gd name="T51" fmla="*/ 16 h 533"/>
                <a:gd name="T52" fmla="*/ 276 w 354"/>
                <a:gd name="T53" fmla="*/ 10 h 533"/>
                <a:gd name="T54" fmla="*/ 273 w 354"/>
                <a:gd name="T55" fmla="*/ 0 h 533"/>
                <a:gd name="T56" fmla="*/ 262 w 354"/>
                <a:gd name="T57" fmla="*/ 0 h 533"/>
                <a:gd name="T58" fmla="*/ 262 w 354"/>
                <a:gd name="T59" fmla="*/ 28 h 533"/>
                <a:gd name="T60" fmla="*/ 276 w 354"/>
                <a:gd name="T61" fmla="*/ 42 h 533"/>
                <a:gd name="T62" fmla="*/ 277 w 354"/>
                <a:gd name="T63" fmla="*/ 68 h 533"/>
                <a:gd name="T64" fmla="*/ 242 w 354"/>
                <a:gd name="T65" fmla="*/ 88 h 533"/>
                <a:gd name="T66" fmla="*/ 232 w 354"/>
                <a:gd name="T67" fmla="*/ 101 h 533"/>
                <a:gd name="T68" fmla="*/ 212 w 354"/>
                <a:gd name="T69" fmla="*/ 150 h 533"/>
                <a:gd name="T70" fmla="*/ 201 w 354"/>
                <a:gd name="T71" fmla="*/ 200 h 533"/>
                <a:gd name="T72" fmla="*/ 178 w 354"/>
                <a:gd name="T73" fmla="*/ 218 h 533"/>
                <a:gd name="T74" fmla="*/ 167 w 354"/>
                <a:gd name="T75" fmla="*/ 252 h 533"/>
                <a:gd name="T76" fmla="*/ 139 w 354"/>
                <a:gd name="T77" fmla="*/ 308 h 533"/>
                <a:gd name="T78" fmla="*/ 122 w 354"/>
                <a:gd name="T79" fmla="*/ 311 h 533"/>
                <a:gd name="T80" fmla="*/ 98 w 354"/>
                <a:gd name="T81" fmla="*/ 290 h 533"/>
                <a:gd name="T82" fmla="*/ 53 w 354"/>
                <a:gd name="T83" fmla="*/ 293 h 533"/>
                <a:gd name="T84" fmla="*/ 49 w 354"/>
                <a:gd name="T85" fmla="*/ 307 h 533"/>
                <a:gd name="T86" fmla="*/ 34 w 354"/>
                <a:gd name="T87" fmla="*/ 316 h 533"/>
                <a:gd name="T88" fmla="*/ 20 w 354"/>
                <a:gd name="T89" fmla="*/ 341 h 533"/>
                <a:gd name="T90" fmla="*/ 16 w 354"/>
                <a:gd name="T91" fmla="*/ 364 h 533"/>
                <a:gd name="T92" fmla="*/ 0 w 354"/>
                <a:gd name="T93" fmla="*/ 392 h 533"/>
                <a:gd name="T94" fmla="*/ 7 w 354"/>
                <a:gd name="T95" fmla="*/ 401 h 533"/>
                <a:gd name="T96" fmla="*/ 19 w 354"/>
                <a:gd name="T97" fmla="*/ 400 h 533"/>
                <a:gd name="T98" fmla="*/ 27 w 354"/>
                <a:gd name="T99" fmla="*/ 420 h 533"/>
                <a:gd name="T100" fmla="*/ 44 w 354"/>
                <a:gd name="T101" fmla="*/ 426 h 533"/>
                <a:gd name="T102" fmla="*/ 57 w 354"/>
                <a:gd name="T103" fmla="*/ 424 h 533"/>
                <a:gd name="T104" fmla="*/ 53 w 354"/>
                <a:gd name="T105" fmla="*/ 438 h 533"/>
                <a:gd name="T106" fmla="*/ 57 w 354"/>
                <a:gd name="T107" fmla="*/ 443 h 533"/>
                <a:gd name="T108" fmla="*/ 70 w 354"/>
                <a:gd name="T109" fmla="*/ 458 h 533"/>
                <a:gd name="T110" fmla="*/ 59 w 354"/>
                <a:gd name="T111" fmla="*/ 508 h 533"/>
                <a:gd name="T112" fmla="*/ 132 w 354"/>
                <a:gd name="T113" fmla="*/ 506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4" h="533">
                  <a:moveTo>
                    <a:pt x="132" y="506"/>
                  </a:moveTo>
                  <a:lnTo>
                    <a:pt x="172" y="501"/>
                  </a:lnTo>
                  <a:lnTo>
                    <a:pt x="223" y="508"/>
                  </a:lnTo>
                  <a:lnTo>
                    <a:pt x="288" y="508"/>
                  </a:lnTo>
                  <a:lnTo>
                    <a:pt x="328" y="517"/>
                  </a:lnTo>
                  <a:lnTo>
                    <a:pt x="348" y="533"/>
                  </a:lnTo>
                  <a:lnTo>
                    <a:pt x="354" y="522"/>
                  </a:lnTo>
                  <a:lnTo>
                    <a:pt x="354" y="475"/>
                  </a:lnTo>
                  <a:lnTo>
                    <a:pt x="348" y="477"/>
                  </a:lnTo>
                  <a:lnTo>
                    <a:pt x="320" y="450"/>
                  </a:lnTo>
                  <a:lnTo>
                    <a:pt x="283" y="386"/>
                  </a:lnTo>
                  <a:lnTo>
                    <a:pt x="282" y="335"/>
                  </a:lnTo>
                  <a:lnTo>
                    <a:pt x="296" y="313"/>
                  </a:lnTo>
                  <a:lnTo>
                    <a:pt x="320" y="266"/>
                  </a:lnTo>
                  <a:lnTo>
                    <a:pt x="303" y="208"/>
                  </a:lnTo>
                  <a:lnTo>
                    <a:pt x="294" y="200"/>
                  </a:lnTo>
                  <a:lnTo>
                    <a:pt x="271" y="189"/>
                  </a:lnTo>
                  <a:lnTo>
                    <a:pt x="260" y="167"/>
                  </a:lnTo>
                  <a:lnTo>
                    <a:pt x="262" y="154"/>
                  </a:lnTo>
                  <a:lnTo>
                    <a:pt x="269" y="147"/>
                  </a:lnTo>
                  <a:lnTo>
                    <a:pt x="313" y="150"/>
                  </a:lnTo>
                  <a:lnTo>
                    <a:pt x="319" y="146"/>
                  </a:lnTo>
                  <a:lnTo>
                    <a:pt x="314" y="133"/>
                  </a:lnTo>
                  <a:lnTo>
                    <a:pt x="294" y="100"/>
                  </a:lnTo>
                  <a:lnTo>
                    <a:pt x="300" y="58"/>
                  </a:lnTo>
                  <a:lnTo>
                    <a:pt x="286" y="16"/>
                  </a:lnTo>
                  <a:lnTo>
                    <a:pt x="276" y="10"/>
                  </a:lnTo>
                  <a:lnTo>
                    <a:pt x="273" y="0"/>
                  </a:lnTo>
                  <a:lnTo>
                    <a:pt x="262" y="0"/>
                  </a:lnTo>
                  <a:lnTo>
                    <a:pt x="262" y="28"/>
                  </a:lnTo>
                  <a:lnTo>
                    <a:pt x="276" y="42"/>
                  </a:lnTo>
                  <a:lnTo>
                    <a:pt x="277" y="68"/>
                  </a:lnTo>
                  <a:lnTo>
                    <a:pt x="242" y="88"/>
                  </a:lnTo>
                  <a:lnTo>
                    <a:pt x="232" y="101"/>
                  </a:lnTo>
                  <a:lnTo>
                    <a:pt x="212" y="150"/>
                  </a:lnTo>
                  <a:lnTo>
                    <a:pt x="201" y="200"/>
                  </a:lnTo>
                  <a:lnTo>
                    <a:pt x="178" y="218"/>
                  </a:lnTo>
                  <a:lnTo>
                    <a:pt x="167" y="252"/>
                  </a:lnTo>
                  <a:lnTo>
                    <a:pt x="139" y="308"/>
                  </a:lnTo>
                  <a:lnTo>
                    <a:pt x="122" y="311"/>
                  </a:lnTo>
                  <a:lnTo>
                    <a:pt x="98" y="290"/>
                  </a:lnTo>
                  <a:lnTo>
                    <a:pt x="53" y="293"/>
                  </a:lnTo>
                  <a:lnTo>
                    <a:pt x="49" y="307"/>
                  </a:lnTo>
                  <a:lnTo>
                    <a:pt x="34" y="316"/>
                  </a:lnTo>
                  <a:lnTo>
                    <a:pt x="20" y="341"/>
                  </a:lnTo>
                  <a:lnTo>
                    <a:pt x="16" y="364"/>
                  </a:lnTo>
                  <a:lnTo>
                    <a:pt x="0" y="392"/>
                  </a:lnTo>
                  <a:lnTo>
                    <a:pt x="7" y="401"/>
                  </a:lnTo>
                  <a:lnTo>
                    <a:pt x="19" y="400"/>
                  </a:lnTo>
                  <a:lnTo>
                    <a:pt x="27" y="420"/>
                  </a:lnTo>
                  <a:lnTo>
                    <a:pt x="44" y="426"/>
                  </a:lnTo>
                  <a:lnTo>
                    <a:pt x="57" y="424"/>
                  </a:lnTo>
                  <a:lnTo>
                    <a:pt x="53" y="438"/>
                  </a:lnTo>
                  <a:lnTo>
                    <a:pt x="57" y="443"/>
                  </a:lnTo>
                  <a:lnTo>
                    <a:pt x="70" y="458"/>
                  </a:lnTo>
                  <a:lnTo>
                    <a:pt x="59" y="508"/>
                  </a:lnTo>
                  <a:lnTo>
                    <a:pt x="132" y="506"/>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20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87" name="Freeform 87">
              <a:extLst>
                <a:ext uri="{FF2B5EF4-FFF2-40B4-BE49-F238E27FC236}">
                  <a16:creationId xmlns:a16="http://schemas.microsoft.com/office/drawing/2014/main" id="{68F4055D-95B4-D444-9CD5-A1F981140B10}"/>
                </a:ext>
              </a:extLst>
            </p:cNvPr>
            <p:cNvSpPr>
              <a:spLocks noChangeAspect="1"/>
            </p:cNvSpPr>
            <p:nvPr/>
          </p:nvSpPr>
          <p:spPr bwMode="gray">
            <a:xfrm>
              <a:off x="4959992" y="3967092"/>
              <a:ext cx="295040" cy="224519"/>
            </a:xfrm>
            <a:custGeom>
              <a:avLst/>
              <a:gdLst>
                <a:gd name="T0" fmla="*/ 578 w 602"/>
                <a:gd name="T1" fmla="*/ 271 h 379"/>
                <a:gd name="T2" fmla="*/ 561 w 602"/>
                <a:gd name="T3" fmla="*/ 274 h 379"/>
                <a:gd name="T4" fmla="*/ 544 w 602"/>
                <a:gd name="T5" fmla="*/ 268 h 379"/>
                <a:gd name="T6" fmla="*/ 495 w 602"/>
                <a:gd name="T7" fmla="*/ 269 h 379"/>
                <a:gd name="T8" fmla="*/ 476 w 602"/>
                <a:gd name="T9" fmla="*/ 283 h 379"/>
                <a:gd name="T10" fmla="*/ 408 w 602"/>
                <a:gd name="T11" fmla="*/ 295 h 379"/>
                <a:gd name="T12" fmla="*/ 375 w 602"/>
                <a:gd name="T13" fmla="*/ 295 h 379"/>
                <a:gd name="T14" fmla="*/ 366 w 602"/>
                <a:gd name="T15" fmla="*/ 311 h 379"/>
                <a:gd name="T16" fmla="*/ 294 w 602"/>
                <a:gd name="T17" fmla="*/ 298 h 379"/>
                <a:gd name="T18" fmla="*/ 280 w 602"/>
                <a:gd name="T19" fmla="*/ 303 h 379"/>
                <a:gd name="T20" fmla="*/ 232 w 602"/>
                <a:gd name="T21" fmla="*/ 271 h 379"/>
                <a:gd name="T22" fmla="*/ 201 w 602"/>
                <a:gd name="T23" fmla="*/ 337 h 379"/>
                <a:gd name="T24" fmla="*/ 158 w 602"/>
                <a:gd name="T25" fmla="*/ 352 h 379"/>
                <a:gd name="T26" fmla="*/ 114 w 602"/>
                <a:gd name="T27" fmla="*/ 342 h 379"/>
                <a:gd name="T28" fmla="*/ 72 w 602"/>
                <a:gd name="T29" fmla="*/ 377 h 379"/>
                <a:gd name="T30" fmla="*/ 38 w 602"/>
                <a:gd name="T31" fmla="*/ 352 h 379"/>
                <a:gd name="T32" fmla="*/ 0 w 602"/>
                <a:gd name="T33" fmla="*/ 237 h 379"/>
                <a:gd name="T34" fmla="*/ 38 w 602"/>
                <a:gd name="T35" fmla="*/ 168 h 379"/>
                <a:gd name="T36" fmla="*/ 87 w 602"/>
                <a:gd name="T37" fmla="*/ 156 h 379"/>
                <a:gd name="T38" fmla="*/ 109 w 602"/>
                <a:gd name="T39" fmla="*/ 162 h 379"/>
                <a:gd name="T40" fmla="*/ 190 w 602"/>
                <a:gd name="T41" fmla="*/ 139 h 379"/>
                <a:gd name="T42" fmla="*/ 206 w 602"/>
                <a:gd name="T43" fmla="*/ 105 h 379"/>
                <a:gd name="T44" fmla="*/ 275 w 602"/>
                <a:gd name="T45" fmla="*/ 88 h 379"/>
                <a:gd name="T46" fmla="*/ 297 w 602"/>
                <a:gd name="T47" fmla="*/ 73 h 379"/>
                <a:gd name="T48" fmla="*/ 334 w 602"/>
                <a:gd name="T49" fmla="*/ 35 h 379"/>
                <a:gd name="T50" fmla="*/ 345 w 602"/>
                <a:gd name="T51" fmla="*/ 9 h 379"/>
                <a:gd name="T52" fmla="*/ 416 w 602"/>
                <a:gd name="T53" fmla="*/ 46 h 379"/>
                <a:gd name="T54" fmla="*/ 416 w 602"/>
                <a:gd name="T55" fmla="*/ 100 h 379"/>
                <a:gd name="T56" fmla="*/ 444 w 602"/>
                <a:gd name="T57" fmla="*/ 111 h 379"/>
                <a:gd name="T58" fmla="*/ 476 w 602"/>
                <a:gd name="T59" fmla="*/ 128 h 379"/>
                <a:gd name="T60" fmla="*/ 497 w 602"/>
                <a:gd name="T61" fmla="*/ 161 h 379"/>
                <a:gd name="T62" fmla="*/ 558 w 602"/>
                <a:gd name="T63" fmla="*/ 229 h 379"/>
                <a:gd name="T64" fmla="*/ 602 w 602"/>
                <a:gd name="T65" fmla="*/ 271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2" h="379">
                  <a:moveTo>
                    <a:pt x="602" y="271"/>
                  </a:moveTo>
                  <a:lnTo>
                    <a:pt x="578" y="271"/>
                  </a:lnTo>
                  <a:lnTo>
                    <a:pt x="572" y="281"/>
                  </a:lnTo>
                  <a:lnTo>
                    <a:pt x="561" y="274"/>
                  </a:lnTo>
                  <a:lnTo>
                    <a:pt x="557" y="281"/>
                  </a:lnTo>
                  <a:lnTo>
                    <a:pt x="544" y="268"/>
                  </a:lnTo>
                  <a:lnTo>
                    <a:pt x="512" y="274"/>
                  </a:lnTo>
                  <a:lnTo>
                    <a:pt x="495" y="269"/>
                  </a:lnTo>
                  <a:lnTo>
                    <a:pt x="493" y="281"/>
                  </a:lnTo>
                  <a:lnTo>
                    <a:pt x="476" y="283"/>
                  </a:lnTo>
                  <a:lnTo>
                    <a:pt x="465" y="277"/>
                  </a:lnTo>
                  <a:lnTo>
                    <a:pt x="408" y="295"/>
                  </a:lnTo>
                  <a:lnTo>
                    <a:pt x="387" y="286"/>
                  </a:lnTo>
                  <a:lnTo>
                    <a:pt x="375" y="295"/>
                  </a:lnTo>
                  <a:lnTo>
                    <a:pt x="373" y="308"/>
                  </a:lnTo>
                  <a:lnTo>
                    <a:pt x="366" y="311"/>
                  </a:lnTo>
                  <a:lnTo>
                    <a:pt x="324" y="311"/>
                  </a:lnTo>
                  <a:lnTo>
                    <a:pt x="294" y="298"/>
                  </a:lnTo>
                  <a:lnTo>
                    <a:pt x="287" y="305"/>
                  </a:lnTo>
                  <a:lnTo>
                    <a:pt x="280" y="303"/>
                  </a:lnTo>
                  <a:lnTo>
                    <a:pt x="255" y="272"/>
                  </a:lnTo>
                  <a:lnTo>
                    <a:pt x="232" y="271"/>
                  </a:lnTo>
                  <a:lnTo>
                    <a:pt x="202" y="303"/>
                  </a:lnTo>
                  <a:lnTo>
                    <a:pt x="201" y="337"/>
                  </a:lnTo>
                  <a:lnTo>
                    <a:pt x="190" y="339"/>
                  </a:lnTo>
                  <a:lnTo>
                    <a:pt x="158" y="352"/>
                  </a:lnTo>
                  <a:lnTo>
                    <a:pt x="130" y="339"/>
                  </a:lnTo>
                  <a:lnTo>
                    <a:pt x="114" y="342"/>
                  </a:lnTo>
                  <a:lnTo>
                    <a:pt x="94" y="354"/>
                  </a:lnTo>
                  <a:lnTo>
                    <a:pt x="72" y="377"/>
                  </a:lnTo>
                  <a:lnTo>
                    <a:pt x="66" y="379"/>
                  </a:lnTo>
                  <a:lnTo>
                    <a:pt x="38" y="352"/>
                  </a:lnTo>
                  <a:lnTo>
                    <a:pt x="1" y="288"/>
                  </a:lnTo>
                  <a:lnTo>
                    <a:pt x="0" y="237"/>
                  </a:lnTo>
                  <a:lnTo>
                    <a:pt x="14" y="215"/>
                  </a:lnTo>
                  <a:lnTo>
                    <a:pt x="38" y="168"/>
                  </a:lnTo>
                  <a:lnTo>
                    <a:pt x="66" y="166"/>
                  </a:lnTo>
                  <a:lnTo>
                    <a:pt x="87" y="156"/>
                  </a:lnTo>
                  <a:lnTo>
                    <a:pt x="94" y="150"/>
                  </a:lnTo>
                  <a:lnTo>
                    <a:pt x="109" y="162"/>
                  </a:lnTo>
                  <a:lnTo>
                    <a:pt x="151" y="142"/>
                  </a:lnTo>
                  <a:lnTo>
                    <a:pt x="190" y="139"/>
                  </a:lnTo>
                  <a:lnTo>
                    <a:pt x="212" y="114"/>
                  </a:lnTo>
                  <a:lnTo>
                    <a:pt x="206" y="105"/>
                  </a:lnTo>
                  <a:lnTo>
                    <a:pt x="207" y="99"/>
                  </a:lnTo>
                  <a:lnTo>
                    <a:pt x="275" y="88"/>
                  </a:lnTo>
                  <a:lnTo>
                    <a:pt x="282" y="80"/>
                  </a:lnTo>
                  <a:lnTo>
                    <a:pt x="297" y="73"/>
                  </a:lnTo>
                  <a:lnTo>
                    <a:pt x="302" y="61"/>
                  </a:lnTo>
                  <a:lnTo>
                    <a:pt x="334" y="35"/>
                  </a:lnTo>
                  <a:lnTo>
                    <a:pt x="334" y="22"/>
                  </a:lnTo>
                  <a:lnTo>
                    <a:pt x="345" y="9"/>
                  </a:lnTo>
                  <a:lnTo>
                    <a:pt x="379" y="0"/>
                  </a:lnTo>
                  <a:lnTo>
                    <a:pt x="416" y="46"/>
                  </a:lnTo>
                  <a:lnTo>
                    <a:pt x="419" y="60"/>
                  </a:lnTo>
                  <a:lnTo>
                    <a:pt x="416" y="100"/>
                  </a:lnTo>
                  <a:lnTo>
                    <a:pt x="424" y="107"/>
                  </a:lnTo>
                  <a:lnTo>
                    <a:pt x="444" y="111"/>
                  </a:lnTo>
                  <a:lnTo>
                    <a:pt x="450" y="124"/>
                  </a:lnTo>
                  <a:lnTo>
                    <a:pt x="476" y="128"/>
                  </a:lnTo>
                  <a:lnTo>
                    <a:pt x="492" y="139"/>
                  </a:lnTo>
                  <a:lnTo>
                    <a:pt x="497" y="161"/>
                  </a:lnTo>
                  <a:lnTo>
                    <a:pt x="543" y="195"/>
                  </a:lnTo>
                  <a:lnTo>
                    <a:pt x="558" y="229"/>
                  </a:lnTo>
                  <a:lnTo>
                    <a:pt x="592" y="249"/>
                  </a:lnTo>
                  <a:lnTo>
                    <a:pt x="602" y="271"/>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88" name="Freeform 88">
              <a:extLst>
                <a:ext uri="{FF2B5EF4-FFF2-40B4-BE49-F238E27FC236}">
                  <a16:creationId xmlns:a16="http://schemas.microsoft.com/office/drawing/2014/main" id="{1B12726C-2F03-9944-A3FA-BC7CDE81E266}"/>
                </a:ext>
              </a:extLst>
            </p:cNvPr>
            <p:cNvSpPr>
              <a:spLocks noChangeAspect="1"/>
            </p:cNvSpPr>
            <p:nvPr/>
          </p:nvSpPr>
          <p:spPr bwMode="gray">
            <a:xfrm>
              <a:off x="4441681" y="3976686"/>
              <a:ext cx="138748" cy="174624"/>
            </a:xfrm>
            <a:custGeom>
              <a:avLst/>
              <a:gdLst>
                <a:gd name="T0" fmla="*/ 18 w 283"/>
                <a:gd name="T1" fmla="*/ 37 h 296"/>
                <a:gd name="T2" fmla="*/ 32 w 283"/>
                <a:gd name="T3" fmla="*/ 62 h 296"/>
                <a:gd name="T4" fmla="*/ 37 w 283"/>
                <a:gd name="T5" fmla="*/ 79 h 296"/>
                <a:gd name="T6" fmla="*/ 35 w 283"/>
                <a:gd name="T7" fmla="*/ 93 h 296"/>
                <a:gd name="T8" fmla="*/ 29 w 283"/>
                <a:gd name="T9" fmla="*/ 105 h 296"/>
                <a:gd name="T10" fmla="*/ 13 w 283"/>
                <a:gd name="T11" fmla="*/ 116 h 296"/>
                <a:gd name="T12" fmla="*/ 27 w 283"/>
                <a:gd name="T13" fmla="*/ 125 h 296"/>
                <a:gd name="T14" fmla="*/ 3 w 283"/>
                <a:gd name="T15" fmla="*/ 148 h 296"/>
                <a:gd name="T16" fmla="*/ 13 w 283"/>
                <a:gd name="T17" fmla="*/ 169 h 296"/>
                <a:gd name="T18" fmla="*/ 0 w 283"/>
                <a:gd name="T19" fmla="*/ 196 h 296"/>
                <a:gd name="T20" fmla="*/ 37 w 283"/>
                <a:gd name="T21" fmla="*/ 223 h 296"/>
                <a:gd name="T22" fmla="*/ 54 w 283"/>
                <a:gd name="T23" fmla="*/ 250 h 296"/>
                <a:gd name="T24" fmla="*/ 47 w 283"/>
                <a:gd name="T25" fmla="*/ 292 h 296"/>
                <a:gd name="T26" fmla="*/ 114 w 283"/>
                <a:gd name="T27" fmla="*/ 272 h 296"/>
                <a:gd name="T28" fmla="*/ 216 w 283"/>
                <a:gd name="T29" fmla="*/ 257 h 296"/>
                <a:gd name="T30" fmla="*/ 258 w 283"/>
                <a:gd name="T31" fmla="*/ 257 h 296"/>
                <a:gd name="T32" fmla="*/ 269 w 283"/>
                <a:gd name="T33" fmla="*/ 237 h 296"/>
                <a:gd name="T34" fmla="*/ 247 w 283"/>
                <a:gd name="T35" fmla="*/ 193 h 296"/>
                <a:gd name="T36" fmla="*/ 261 w 283"/>
                <a:gd name="T37" fmla="*/ 162 h 296"/>
                <a:gd name="T38" fmla="*/ 283 w 283"/>
                <a:gd name="T39" fmla="*/ 114 h 296"/>
                <a:gd name="T40" fmla="*/ 269 w 283"/>
                <a:gd name="T41" fmla="*/ 76 h 296"/>
                <a:gd name="T42" fmla="*/ 272 w 283"/>
                <a:gd name="T43" fmla="*/ 57 h 296"/>
                <a:gd name="T44" fmla="*/ 249 w 283"/>
                <a:gd name="T45" fmla="*/ 35 h 296"/>
                <a:gd name="T46" fmla="*/ 227 w 283"/>
                <a:gd name="T47" fmla="*/ 35 h 296"/>
                <a:gd name="T48" fmla="*/ 193 w 283"/>
                <a:gd name="T49" fmla="*/ 51 h 296"/>
                <a:gd name="T50" fmla="*/ 179 w 283"/>
                <a:gd name="T51" fmla="*/ 47 h 296"/>
                <a:gd name="T52" fmla="*/ 154 w 283"/>
                <a:gd name="T53" fmla="*/ 18 h 296"/>
                <a:gd name="T54" fmla="*/ 137 w 283"/>
                <a:gd name="T55" fmla="*/ 13 h 296"/>
                <a:gd name="T56" fmla="*/ 117 w 283"/>
                <a:gd name="T57" fmla="*/ 21 h 296"/>
                <a:gd name="T58" fmla="*/ 106 w 283"/>
                <a:gd name="T59" fmla="*/ 0 h 296"/>
                <a:gd name="T60" fmla="*/ 97 w 283"/>
                <a:gd name="T61" fmla="*/ 6 h 296"/>
                <a:gd name="T62" fmla="*/ 86 w 283"/>
                <a:gd name="T63" fmla="*/ 17 h 296"/>
                <a:gd name="T64" fmla="*/ 69 w 283"/>
                <a:gd name="T65" fmla="*/ 26 h 296"/>
                <a:gd name="T66" fmla="*/ 54 w 283"/>
                <a:gd name="T67" fmla="*/ 21 h 296"/>
                <a:gd name="T68" fmla="*/ 27 w 283"/>
                <a:gd name="T69" fmla="*/ 25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3" h="296">
                  <a:moveTo>
                    <a:pt x="27" y="25"/>
                  </a:moveTo>
                  <a:lnTo>
                    <a:pt x="18" y="37"/>
                  </a:lnTo>
                  <a:lnTo>
                    <a:pt x="18" y="59"/>
                  </a:lnTo>
                  <a:lnTo>
                    <a:pt x="32" y="62"/>
                  </a:lnTo>
                  <a:lnTo>
                    <a:pt x="30" y="74"/>
                  </a:lnTo>
                  <a:lnTo>
                    <a:pt x="37" y="79"/>
                  </a:lnTo>
                  <a:lnTo>
                    <a:pt x="29" y="91"/>
                  </a:lnTo>
                  <a:lnTo>
                    <a:pt x="35" y="93"/>
                  </a:lnTo>
                  <a:lnTo>
                    <a:pt x="38" y="111"/>
                  </a:lnTo>
                  <a:lnTo>
                    <a:pt x="29" y="105"/>
                  </a:lnTo>
                  <a:lnTo>
                    <a:pt x="13" y="106"/>
                  </a:lnTo>
                  <a:lnTo>
                    <a:pt x="13" y="116"/>
                  </a:lnTo>
                  <a:lnTo>
                    <a:pt x="24" y="119"/>
                  </a:lnTo>
                  <a:lnTo>
                    <a:pt x="27" y="125"/>
                  </a:lnTo>
                  <a:lnTo>
                    <a:pt x="18" y="147"/>
                  </a:lnTo>
                  <a:lnTo>
                    <a:pt x="3" y="148"/>
                  </a:lnTo>
                  <a:lnTo>
                    <a:pt x="4" y="161"/>
                  </a:lnTo>
                  <a:lnTo>
                    <a:pt x="13" y="169"/>
                  </a:lnTo>
                  <a:lnTo>
                    <a:pt x="10" y="182"/>
                  </a:lnTo>
                  <a:lnTo>
                    <a:pt x="0" y="196"/>
                  </a:lnTo>
                  <a:lnTo>
                    <a:pt x="27" y="204"/>
                  </a:lnTo>
                  <a:lnTo>
                    <a:pt x="37" y="223"/>
                  </a:lnTo>
                  <a:lnTo>
                    <a:pt x="51" y="227"/>
                  </a:lnTo>
                  <a:lnTo>
                    <a:pt x="54" y="250"/>
                  </a:lnTo>
                  <a:lnTo>
                    <a:pt x="47" y="263"/>
                  </a:lnTo>
                  <a:lnTo>
                    <a:pt x="47" y="292"/>
                  </a:lnTo>
                  <a:lnTo>
                    <a:pt x="61" y="296"/>
                  </a:lnTo>
                  <a:lnTo>
                    <a:pt x="114" y="272"/>
                  </a:lnTo>
                  <a:lnTo>
                    <a:pt x="174" y="260"/>
                  </a:lnTo>
                  <a:lnTo>
                    <a:pt x="216" y="257"/>
                  </a:lnTo>
                  <a:lnTo>
                    <a:pt x="252" y="264"/>
                  </a:lnTo>
                  <a:lnTo>
                    <a:pt x="258" y="257"/>
                  </a:lnTo>
                  <a:lnTo>
                    <a:pt x="271" y="258"/>
                  </a:lnTo>
                  <a:lnTo>
                    <a:pt x="269" y="237"/>
                  </a:lnTo>
                  <a:lnTo>
                    <a:pt x="258" y="230"/>
                  </a:lnTo>
                  <a:lnTo>
                    <a:pt x="247" y="193"/>
                  </a:lnTo>
                  <a:lnTo>
                    <a:pt x="249" y="178"/>
                  </a:lnTo>
                  <a:lnTo>
                    <a:pt x="261" y="162"/>
                  </a:lnTo>
                  <a:lnTo>
                    <a:pt x="269" y="127"/>
                  </a:lnTo>
                  <a:lnTo>
                    <a:pt x="283" y="114"/>
                  </a:lnTo>
                  <a:lnTo>
                    <a:pt x="275" y="79"/>
                  </a:lnTo>
                  <a:lnTo>
                    <a:pt x="269" y="76"/>
                  </a:lnTo>
                  <a:lnTo>
                    <a:pt x="272" y="69"/>
                  </a:lnTo>
                  <a:lnTo>
                    <a:pt x="272" y="57"/>
                  </a:lnTo>
                  <a:lnTo>
                    <a:pt x="263" y="57"/>
                  </a:lnTo>
                  <a:lnTo>
                    <a:pt x="249" y="35"/>
                  </a:lnTo>
                  <a:lnTo>
                    <a:pt x="244" y="38"/>
                  </a:lnTo>
                  <a:lnTo>
                    <a:pt x="227" y="35"/>
                  </a:lnTo>
                  <a:lnTo>
                    <a:pt x="198" y="43"/>
                  </a:lnTo>
                  <a:lnTo>
                    <a:pt x="193" y="51"/>
                  </a:lnTo>
                  <a:lnTo>
                    <a:pt x="185" y="46"/>
                  </a:lnTo>
                  <a:lnTo>
                    <a:pt x="179" y="47"/>
                  </a:lnTo>
                  <a:lnTo>
                    <a:pt x="165" y="38"/>
                  </a:lnTo>
                  <a:lnTo>
                    <a:pt x="154" y="18"/>
                  </a:lnTo>
                  <a:lnTo>
                    <a:pt x="145" y="20"/>
                  </a:lnTo>
                  <a:lnTo>
                    <a:pt x="137" y="13"/>
                  </a:lnTo>
                  <a:lnTo>
                    <a:pt x="128" y="13"/>
                  </a:lnTo>
                  <a:lnTo>
                    <a:pt x="117" y="21"/>
                  </a:lnTo>
                  <a:lnTo>
                    <a:pt x="110" y="21"/>
                  </a:lnTo>
                  <a:lnTo>
                    <a:pt x="106" y="0"/>
                  </a:lnTo>
                  <a:lnTo>
                    <a:pt x="100" y="1"/>
                  </a:lnTo>
                  <a:lnTo>
                    <a:pt x="97" y="6"/>
                  </a:lnTo>
                  <a:lnTo>
                    <a:pt x="88" y="3"/>
                  </a:lnTo>
                  <a:lnTo>
                    <a:pt x="86" y="17"/>
                  </a:lnTo>
                  <a:lnTo>
                    <a:pt x="71" y="20"/>
                  </a:lnTo>
                  <a:lnTo>
                    <a:pt x="69" y="26"/>
                  </a:lnTo>
                  <a:lnTo>
                    <a:pt x="60" y="20"/>
                  </a:lnTo>
                  <a:lnTo>
                    <a:pt x="54" y="21"/>
                  </a:lnTo>
                  <a:lnTo>
                    <a:pt x="47" y="12"/>
                  </a:lnTo>
                  <a:lnTo>
                    <a:pt x="27" y="25"/>
                  </a:lnTo>
                  <a:close/>
                </a:path>
              </a:pathLst>
            </a:custGeom>
            <a:solidFill>
              <a:schemeClr val="accent1"/>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89" name="Freeform 89">
              <a:extLst>
                <a:ext uri="{FF2B5EF4-FFF2-40B4-BE49-F238E27FC236}">
                  <a16:creationId xmlns:a16="http://schemas.microsoft.com/office/drawing/2014/main" id="{DC5AA5D0-6D5A-AB44-936A-61E1D87C8306}"/>
                </a:ext>
              </a:extLst>
            </p:cNvPr>
            <p:cNvSpPr>
              <a:spLocks noChangeAspect="1"/>
            </p:cNvSpPr>
            <p:nvPr/>
          </p:nvSpPr>
          <p:spPr bwMode="gray">
            <a:xfrm>
              <a:off x="4650599" y="3932550"/>
              <a:ext cx="66982" cy="166948"/>
            </a:xfrm>
            <a:custGeom>
              <a:avLst/>
              <a:gdLst>
                <a:gd name="T0" fmla="*/ 55 w 139"/>
                <a:gd name="T1" fmla="*/ 286 h 286"/>
                <a:gd name="T2" fmla="*/ 51 w 139"/>
                <a:gd name="T3" fmla="*/ 284 h 286"/>
                <a:gd name="T4" fmla="*/ 46 w 139"/>
                <a:gd name="T5" fmla="*/ 266 h 286"/>
                <a:gd name="T6" fmla="*/ 49 w 139"/>
                <a:gd name="T7" fmla="*/ 238 h 286"/>
                <a:gd name="T8" fmla="*/ 46 w 139"/>
                <a:gd name="T9" fmla="*/ 170 h 286"/>
                <a:gd name="T10" fmla="*/ 27 w 139"/>
                <a:gd name="T11" fmla="*/ 116 h 286"/>
                <a:gd name="T12" fmla="*/ 17 w 139"/>
                <a:gd name="T13" fmla="*/ 102 h 286"/>
                <a:gd name="T14" fmla="*/ 0 w 139"/>
                <a:gd name="T15" fmla="*/ 94 h 286"/>
                <a:gd name="T16" fmla="*/ 6 w 139"/>
                <a:gd name="T17" fmla="*/ 64 h 286"/>
                <a:gd name="T18" fmla="*/ 30 w 139"/>
                <a:gd name="T19" fmla="*/ 40 h 286"/>
                <a:gd name="T20" fmla="*/ 59 w 139"/>
                <a:gd name="T21" fmla="*/ 42 h 286"/>
                <a:gd name="T22" fmla="*/ 74 w 139"/>
                <a:gd name="T23" fmla="*/ 20 h 286"/>
                <a:gd name="T24" fmla="*/ 81 w 139"/>
                <a:gd name="T25" fmla="*/ 17 h 286"/>
                <a:gd name="T26" fmla="*/ 74 w 139"/>
                <a:gd name="T27" fmla="*/ 5 h 286"/>
                <a:gd name="T28" fmla="*/ 94 w 139"/>
                <a:gd name="T29" fmla="*/ 0 h 286"/>
                <a:gd name="T30" fmla="*/ 130 w 139"/>
                <a:gd name="T31" fmla="*/ 30 h 286"/>
                <a:gd name="T32" fmla="*/ 125 w 139"/>
                <a:gd name="T33" fmla="*/ 45 h 286"/>
                <a:gd name="T34" fmla="*/ 135 w 139"/>
                <a:gd name="T35" fmla="*/ 60 h 286"/>
                <a:gd name="T36" fmla="*/ 139 w 139"/>
                <a:gd name="T37" fmla="*/ 89 h 286"/>
                <a:gd name="T38" fmla="*/ 128 w 139"/>
                <a:gd name="T39" fmla="*/ 96 h 286"/>
                <a:gd name="T40" fmla="*/ 134 w 139"/>
                <a:gd name="T41" fmla="*/ 106 h 286"/>
                <a:gd name="T42" fmla="*/ 130 w 139"/>
                <a:gd name="T43" fmla="*/ 114 h 286"/>
                <a:gd name="T44" fmla="*/ 111 w 139"/>
                <a:gd name="T45" fmla="*/ 131 h 286"/>
                <a:gd name="T46" fmla="*/ 108 w 139"/>
                <a:gd name="T47" fmla="*/ 153 h 286"/>
                <a:gd name="T48" fmla="*/ 94 w 139"/>
                <a:gd name="T49" fmla="*/ 181 h 286"/>
                <a:gd name="T50" fmla="*/ 89 w 139"/>
                <a:gd name="T51" fmla="*/ 246 h 286"/>
                <a:gd name="T52" fmla="*/ 94 w 139"/>
                <a:gd name="T53" fmla="*/ 282 h 286"/>
                <a:gd name="T54" fmla="*/ 55 w 139"/>
                <a:gd name="T55"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9" h="286">
                  <a:moveTo>
                    <a:pt x="55" y="286"/>
                  </a:moveTo>
                  <a:lnTo>
                    <a:pt x="51" y="284"/>
                  </a:lnTo>
                  <a:lnTo>
                    <a:pt x="46" y="266"/>
                  </a:lnTo>
                  <a:lnTo>
                    <a:pt x="49" y="238"/>
                  </a:lnTo>
                  <a:lnTo>
                    <a:pt x="46" y="170"/>
                  </a:lnTo>
                  <a:lnTo>
                    <a:pt x="27" y="116"/>
                  </a:lnTo>
                  <a:lnTo>
                    <a:pt x="17" y="102"/>
                  </a:lnTo>
                  <a:lnTo>
                    <a:pt x="0" y="94"/>
                  </a:lnTo>
                  <a:lnTo>
                    <a:pt x="6" y="64"/>
                  </a:lnTo>
                  <a:lnTo>
                    <a:pt x="30" y="40"/>
                  </a:lnTo>
                  <a:lnTo>
                    <a:pt x="59" y="42"/>
                  </a:lnTo>
                  <a:lnTo>
                    <a:pt x="74" y="20"/>
                  </a:lnTo>
                  <a:lnTo>
                    <a:pt x="81" y="17"/>
                  </a:lnTo>
                  <a:lnTo>
                    <a:pt x="74" y="5"/>
                  </a:lnTo>
                  <a:lnTo>
                    <a:pt x="94" y="0"/>
                  </a:lnTo>
                  <a:lnTo>
                    <a:pt x="130" y="30"/>
                  </a:lnTo>
                  <a:lnTo>
                    <a:pt x="125" y="45"/>
                  </a:lnTo>
                  <a:lnTo>
                    <a:pt x="135" y="60"/>
                  </a:lnTo>
                  <a:lnTo>
                    <a:pt x="139" y="89"/>
                  </a:lnTo>
                  <a:lnTo>
                    <a:pt x="128" y="96"/>
                  </a:lnTo>
                  <a:lnTo>
                    <a:pt x="134" y="106"/>
                  </a:lnTo>
                  <a:lnTo>
                    <a:pt x="130" y="114"/>
                  </a:lnTo>
                  <a:lnTo>
                    <a:pt x="111" y="131"/>
                  </a:lnTo>
                  <a:lnTo>
                    <a:pt x="108" y="153"/>
                  </a:lnTo>
                  <a:lnTo>
                    <a:pt x="94" y="181"/>
                  </a:lnTo>
                  <a:lnTo>
                    <a:pt x="89" y="246"/>
                  </a:lnTo>
                  <a:lnTo>
                    <a:pt x="94" y="282"/>
                  </a:lnTo>
                  <a:lnTo>
                    <a:pt x="55" y="286"/>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90" name="Freeform 90">
              <a:extLst>
                <a:ext uri="{FF2B5EF4-FFF2-40B4-BE49-F238E27FC236}">
                  <a16:creationId xmlns:a16="http://schemas.microsoft.com/office/drawing/2014/main" id="{73EE82C6-2371-044B-B785-149EE3640A88}"/>
                </a:ext>
              </a:extLst>
            </p:cNvPr>
            <p:cNvSpPr>
              <a:spLocks noChangeAspect="1"/>
            </p:cNvSpPr>
            <p:nvPr/>
          </p:nvSpPr>
          <p:spPr bwMode="gray">
            <a:xfrm>
              <a:off x="4376293" y="4036174"/>
              <a:ext cx="90904" cy="113219"/>
            </a:xfrm>
            <a:custGeom>
              <a:avLst/>
              <a:gdLst>
                <a:gd name="T0" fmla="*/ 0 w 188"/>
                <a:gd name="T1" fmla="*/ 72 h 190"/>
                <a:gd name="T2" fmla="*/ 8 w 188"/>
                <a:gd name="T3" fmla="*/ 59 h 190"/>
                <a:gd name="T4" fmla="*/ 41 w 188"/>
                <a:gd name="T5" fmla="*/ 37 h 190"/>
                <a:gd name="T6" fmla="*/ 39 w 188"/>
                <a:gd name="T7" fmla="*/ 23 h 190"/>
                <a:gd name="T8" fmla="*/ 55 w 188"/>
                <a:gd name="T9" fmla="*/ 17 h 190"/>
                <a:gd name="T10" fmla="*/ 53 w 188"/>
                <a:gd name="T11" fmla="*/ 8 h 190"/>
                <a:gd name="T12" fmla="*/ 61 w 188"/>
                <a:gd name="T13" fmla="*/ 0 h 190"/>
                <a:gd name="T14" fmla="*/ 70 w 188"/>
                <a:gd name="T15" fmla="*/ 4 h 190"/>
                <a:gd name="T16" fmla="*/ 80 w 188"/>
                <a:gd name="T17" fmla="*/ 1 h 190"/>
                <a:gd name="T18" fmla="*/ 90 w 188"/>
                <a:gd name="T19" fmla="*/ 9 h 190"/>
                <a:gd name="T20" fmla="*/ 97 w 188"/>
                <a:gd name="T21" fmla="*/ 35 h 190"/>
                <a:gd name="T22" fmla="*/ 92 w 188"/>
                <a:gd name="T23" fmla="*/ 55 h 190"/>
                <a:gd name="T24" fmla="*/ 100 w 188"/>
                <a:gd name="T25" fmla="*/ 54 h 190"/>
                <a:gd name="T26" fmla="*/ 112 w 188"/>
                <a:gd name="T27" fmla="*/ 62 h 190"/>
                <a:gd name="T28" fmla="*/ 120 w 188"/>
                <a:gd name="T29" fmla="*/ 59 h 190"/>
                <a:gd name="T30" fmla="*/ 129 w 188"/>
                <a:gd name="T31" fmla="*/ 42 h 190"/>
                <a:gd name="T32" fmla="*/ 137 w 188"/>
                <a:gd name="T33" fmla="*/ 46 h 190"/>
                <a:gd name="T34" fmla="*/ 138 w 188"/>
                <a:gd name="T35" fmla="*/ 59 h 190"/>
                <a:gd name="T36" fmla="*/ 147 w 188"/>
                <a:gd name="T37" fmla="*/ 67 h 190"/>
                <a:gd name="T38" fmla="*/ 144 w 188"/>
                <a:gd name="T39" fmla="*/ 80 h 190"/>
                <a:gd name="T40" fmla="*/ 134 w 188"/>
                <a:gd name="T41" fmla="*/ 94 h 190"/>
                <a:gd name="T42" fmla="*/ 161 w 188"/>
                <a:gd name="T43" fmla="*/ 102 h 190"/>
                <a:gd name="T44" fmla="*/ 171 w 188"/>
                <a:gd name="T45" fmla="*/ 121 h 190"/>
                <a:gd name="T46" fmla="*/ 185 w 188"/>
                <a:gd name="T47" fmla="*/ 125 h 190"/>
                <a:gd name="T48" fmla="*/ 188 w 188"/>
                <a:gd name="T49" fmla="*/ 148 h 190"/>
                <a:gd name="T50" fmla="*/ 181 w 188"/>
                <a:gd name="T51" fmla="*/ 161 h 190"/>
                <a:gd name="T52" fmla="*/ 181 w 188"/>
                <a:gd name="T53" fmla="*/ 190 h 190"/>
                <a:gd name="T54" fmla="*/ 138 w 188"/>
                <a:gd name="T55" fmla="*/ 181 h 190"/>
                <a:gd name="T56" fmla="*/ 98 w 188"/>
                <a:gd name="T57" fmla="*/ 156 h 190"/>
                <a:gd name="T58" fmla="*/ 51 w 188"/>
                <a:gd name="T59" fmla="*/ 113 h 190"/>
                <a:gd name="T60" fmla="*/ 27 w 188"/>
                <a:gd name="T61" fmla="*/ 102 h 190"/>
                <a:gd name="T62" fmla="*/ 0 w 188"/>
                <a:gd name="T63" fmla="*/ 72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8" h="190">
                  <a:moveTo>
                    <a:pt x="0" y="72"/>
                  </a:moveTo>
                  <a:lnTo>
                    <a:pt x="8" y="59"/>
                  </a:lnTo>
                  <a:lnTo>
                    <a:pt x="41" y="37"/>
                  </a:lnTo>
                  <a:lnTo>
                    <a:pt x="39" y="23"/>
                  </a:lnTo>
                  <a:lnTo>
                    <a:pt x="55" y="17"/>
                  </a:lnTo>
                  <a:lnTo>
                    <a:pt x="53" y="8"/>
                  </a:lnTo>
                  <a:lnTo>
                    <a:pt x="61" y="0"/>
                  </a:lnTo>
                  <a:lnTo>
                    <a:pt x="70" y="4"/>
                  </a:lnTo>
                  <a:lnTo>
                    <a:pt x="80" y="1"/>
                  </a:lnTo>
                  <a:lnTo>
                    <a:pt x="90" y="9"/>
                  </a:lnTo>
                  <a:lnTo>
                    <a:pt x="97" y="35"/>
                  </a:lnTo>
                  <a:lnTo>
                    <a:pt x="92" y="55"/>
                  </a:lnTo>
                  <a:lnTo>
                    <a:pt x="100" y="54"/>
                  </a:lnTo>
                  <a:lnTo>
                    <a:pt x="112" y="62"/>
                  </a:lnTo>
                  <a:lnTo>
                    <a:pt x="120" y="59"/>
                  </a:lnTo>
                  <a:lnTo>
                    <a:pt x="129" y="42"/>
                  </a:lnTo>
                  <a:lnTo>
                    <a:pt x="137" y="46"/>
                  </a:lnTo>
                  <a:lnTo>
                    <a:pt x="138" y="59"/>
                  </a:lnTo>
                  <a:lnTo>
                    <a:pt x="147" y="67"/>
                  </a:lnTo>
                  <a:lnTo>
                    <a:pt x="144" y="80"/>
                  </a:lnTo>
                  <a:lnTo>
                    <a:pt x="134" y="94"/>
                  </a:lnTo>
                  <a:lnTo>
                    <a:pt x="161" y="102"/>
                  </a:lnTo>
                  <a:lnTo>
                    <a:pt x="171" y="121"/>
                  </a:lnTo>
                  <a:lnTo>
                    <a:pt x="185" y="125"/>
                  </a:lnTo>
                  <a:lnTo>
                    <a:pt x="188" y="148"/>
                  </a:lnTo>
                  <a:lnTo>
                    <a:pt x="181" y="161"/>
                  </a:lnTo>
                  <a:lnTo>
                    <a:pt x="181" y="190"/>
                  </a:lnTo>
                  <a:lnTo>
                    <a:pt x="138" y="181"/>
                  </a:lnTo>
                  <a:lnTo>
                    <a:pt x="98" y="156"/>
                  </a:lnTo>
                  <a:lnTo>
                    <a:pt x="51" y="113"/>
                  </a:lnTo>
                  <a:lnTo>
                    <a:pt x="27" y="102"/>
                  </a:lnTo>
                  <a:lnTo>
                    <a:pt x="0" y="72"/>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91" name="Freeform 91">
              <a:extLst>
                <a:ext uri="{FF2B5EF4-FFF2-40B4-BE49-F238E27FC236}">
                  <a16:creationId xmlns:a16="http://schemas.microsoft.com/office/drawing/2014/main" id="{BECB5FC6-D188-5D48-9CA5-EDD9881E6861}"/>
                </a:ext>
              </a:extLst>
            </p:cNvPr>
            <p:cNvSpPr>
              <a:spLocks noChangeAspect="1"/>
            </p:cNvSpPr>
            <p:nvPr/>
          </p:nvSpPr>
          <p:spPr bwMode="gray">
            <a:xfrm>
              <a:off x="4631461" y="3970931"/>
              <a:ext cx="44655" cy="132408"/>
            </a:xfrm>
            <a:custGeom>
              <a:avLst/>
              <a:gdLst>
                <a:gd name="T0" fmla="*/ 93 w 93"/>
                <a:gd name="T1" fmla="*/ 222 h 230"/>
                <a:gd name="T2" fmla="*/ 61 w 93"/>
                <a:gd name="T3" fmla="*/ 230 h 230"/>
                <a:gd name="T4" fmla="*/ 44 w 93"/>
                <a:gd name="T5" fmla="*/ 213 h 230"/>
                <a:gd name="T6" fmla="*/ 34 w 93"/>
                <a:gd name="T7" fmla="*/ 196 h 230"/>
                <a:gd name="T8" fmla="*/ 28 w 93"/>
                <a:gd name="T9" fmla="*/ 80 h 230"/>
                <a:gd name="T10" fmla="*/ 17 w 93"/>
                <a:gd name="T11" fmla="*/ 38 h 230"/>
                <a:gd name="T12" fmla="*/ 0 w 93"/>
                <a:gd name="T13" fmla="*/ 17 h 230"/>
                <a:gd name="T14" fmla="*/ 5 w 93"/>
                <a:gd name="T15" fmla="*/ 5 h 230"/>
                <a:gd name="T16" fmla="*/ 0 w 93"/>
                <a:gd name="T17" fmla="*/ 4 h 230"/>
                <a:gd name="T18" fmla="*/ 0 w 93"/>
                <a:gd name="T19" fmla="*/ 1 h 230"/>
                <a:gd name="T20" fmla="*/ 14 w 93"/>
                <a:gd name="T21" fmla="*/ 1 h 230"/>
                <a:gd name="T22" fmla="*/ 25 w 93"/>
                <a:gd name="T23" fmla="*/ 4 h 230"/>
                <a:gd name="T24" fmla="*/ 44 w 93"/>
                <a:gd name="T25" fmla="*/ 0 h 230"/>
                <a:gd name="T26" fmla="*/ 38 w 93"/>
                <a:gd name="T27" fmla="*/ 30 h 230"/>
                <a:gd name="T28" fmla="*/ 55 w 93"/>
                <a:gd name="T29" fmla="*/ 38 h 230"/>
                <a:gd name="T30" fmla="*/ 65 w 93"/>
                <a:gd name="T31" fmla="*/ 52 h 230"/>
                <a:gd name="T32" fmla="*/ 84 w 93"/>
                <a:gd name="T33" fmla="*/ 106 h 230"/>
                <a:gd name="T34" fmla="*/ 87 w 93"/>
                <a:gd name="T35" fmla="*/ 174 h 230"/>
                <a:gd name="T36" fmla="*/ 84 w 93"/>
                <a:gd name="T37" fmla="*/ 202 h 230"/>
                <a:gd name="T38" fmla="*/ 89 w 93"/>
                <a:gd name="T39" fmla="*/ 220 h 230"/>
                <a:gd name="T40" fmla="*/ 93 w 93"/>
                <a:gd name="T41" fmla="*/ 22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230">
                  <a:moveTo>
                    <a:pt x="93" y="222"/>
                  </a:moveTo>
                  <a:lnTo>
                    <a:pt x="61" y="230"/>
                  </a:lnTo>
                  <a:lnTo>
                    <a:pt x="44" y="213"/>
                  </a:lnTo>
                  <a:lnTo>
                    <a:pt x="34" y="196"/>
                  </a:lnTo>
                  <a:lnTo>
                    <a:pt x="28" y="80"/>
                  </a:lnTo>
                  <a:lnTo>
                    <a:pt x="17" y="38"/>
                  </a:lnTo>
                  <a:lnTo>
                    <a:pt x="0" y="17"/>
                  </a:lnTo>
                  <a:lnTo>
                    <a:pt x="5" y="5"/>
                  </a:lnTo>
                  <a:lnTo>
                    <a:pt x="0" y="4"/>
                  </a:lnTo>
                  <a:lnTo>
                    <a:pt x="0" y="1"/>
                  </a:lnTo>
                  <a:lnTo>
                    <a:pt x="14" y="1"/>
                  </a:lnTo>
                  <a:lnTo>
                    <a:pt x="25" y="4"/>
                  </a:lnTo>
                  <a:lnTo>
                    <a:pt x="44" y="0"/>
                  </a:lnTo>
                  <a:lnTo>
                    <a:pt x="38" y="30"/>
                  </a:lnTo>
                  <a:lnTo>
                    <a:pt x="55" y="38"/>
                  </a:lnTo>
                  <a:lnTo>
                    <a:pt x="65" y="52"/>
                  </a:lnTo>
                  <a:lnTo>
                    <a:pt x="84" y="106"/>
                  </a:lnTo>
                  <a:lnTo>
                    <a:pt x="87" y="174"/>
                  </a:lnTo>
                  <a:lnTo>
                    <a:pt x="84" y="202"/>
                  </a:lnTo>
                  <a:lnTo>
                    <a:pt x="89" y="220"/>
                  </a:lnTo>
                  <a:lnTo>
                    <a:pt x="93" y="222"/>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92" name="Freeform 92">
              <a:extLst>
                <a:ext uri="{FF2B5EF4-FFF2-40B4-BE49-F238E27FC236}">
                  <a16:creationId xmlns:a16="http://schemas.microsoft.com/office/drawing/2014/main" id="{F87C1570-4EA4-8947-9598-F5FECEA0DA41}"/>
                </a:ext>
              </a:extLst>
            </p:cNvPr>
            <p:cNvSpPr>
              <a:spLocks noChangeAspect="1"/>
            </p:cNvSpPr>
            <p:nvPr/>
          </p:nvSpPr>
          <p:spPr bwMode="gray">
            <a:xfrm>
              <a:off x="4294958" y="3921037"/>
              <a:ext cx="164266" cy="153515"/>
            </a:xfrm>
            <a:custGeom>
              <a:avLst/>
              <a:gdLst>
                <a:gd name="T0" fmla="*/ 92 w 338"/>
                <a:gd name="T1" fmla="*/ 3 h 257"/>
                <a:gd name="T2" fmla="*/ 102 w 338"/>
                <a:gd name="T3" fmla="*/ 8 h 257"/>
                <a:gd name="T4" fmla="*/ 173 w 338"/>
                <a:gd name="T5" fmla="*/ 14 h 257"/>
                <a:gd name="T6" fmla="*/ 171 w 338"/>
                <a:gd name="T7" fmla="*/ 31 h 257"/>
                <a:gd name="T8" fmla="*/ 191 w 338"/>
                <a:gd name="T9" fmla="*/ 23 h 257"/>
                <a:gd name="T10" fmla="*/ 221 w 338"/>
                <a:gd name="T11" fmla="*/ 22 h 257"/>
                <a:gd name="T12" fmla="*/ 249 w 338"/>
                <a:gd name="T13" fmla="*/ 23 h 257"/>
                <a:gd name="T14" fmla="*/ 263 w 338"/>
                <a:gd name="T15" fmla="*/ 9 h 257"/>
                <a:gd name="T16" fmla="*/ 280 w 338"/>
                <a:gd name="T17" fmla="*/ 23 h 257"/>
                <a:gd name="T18" fmla="*/ 289 w 338"/>
                <a:gd name="T19" fmla="*/ 35 h 257"/>
                <a:gd name="T20" fmla="*/ 293 w 338"/>
                <a:gd name="T21" fmla="*/ 49 h 257"/>
                <a:gd name="T22" fmla="*/ 309 w 338"/>
                <a:gd name="T23" fmla="*/ 62 h 257"/>
                <a:gd name="T24" fmla="*/ 295 w 338"/>
                <a:gd name="T25" fmla="*/ 77 h 257"/>
                <a:gd name="T26" fmla="*/ 301 w 338"/>
                <a:gd name="T27" fmla="*/ 77 h 257"/>
                <a:gd name="T28" fmla="*/ 312 w 338"/>
                <a:gd name="T29" fmla="*/ 101 h 257"/>
                <a:gd name="T30" fmla="*/ 318 w 338"/>
                <a:gd name="T31" fmla="*/ 130 h 257"/>
                <a:gd name="T32" fmla="*/ 332 w 338"/>
                <a:gd name="T33" fmla="*/ 155 h 257"/>
                <a:gd name="T34" fmla="*/ 337 w 338"/>
                <a:gd name="T35" fmla="*/ 172 h 257"/>
                <a:gd name="T36" fmla="*/ 335 w 338"/>
                <a:gd name="T37" fmla="*/ 186 h 257"/>
                <a:gd name="T38" fmla="*/ 329 w 338"/>
                <a:gd name="T39" fmla="*/ 198 h 257"/>
                <a:gd name="T40" fmla="*/ 313 w 338"/>
                <a:gd name="T41" fmla="*/ 209 h 257"/>
                <a:gd name="T42" fmla="*/ 327 w 338"/>
                <a:gd name="T43" fmla="*/ 218 h 257"/>
                <a:gd name="T44" fmla="*/ 303 w 338"/>
                <a:gd name="T45" fmla="*/ 241 h 257"/>
                <a:gd name="T46" fmla="*/ 286 w 338"/>
                <a:gd name="T47" fmla="*/ 254 h 257"/>
                <a:gd name="T48" fmla="*/ 266 w 338"/>
                <a:gd name="T49" fmla="*/ 249 h 257"/>
                <a:gd name="T50" fmla="*/ 263 w 338"/>
                <a:gd name="T51" fmla="*/ 230 h 257"/>
                <a:gd name="T52" fmla="*/ 246 w 338"/>
                <a:gd name="T53" fmla="*/ 196 h 257"/>
                <a:gd name="T54" fmla="*/ 227 w 338"/>
                <a:gd name="T55" fmla="*/ 195 h 257"/>
                <a:gd name="T56" fmla="*/ 217 w 338"/>
                <a:gd name="T57" fmla="*/ 198 h 257"/>
                <a:gd name="T58" fmla="*/ 205 w 338"/>
                <a:gd name="T59" fmla="*/ 189 h 257"/>
                <a:gd name="T60" fmla="*/ 208 w 338"/>
                <a:gd name="T61" fmla="*/ 178 h 257"/>
                <a:gd name="T62" fmla="*/ 202 w 338"/>
                <a:gd name="T63" fmla="*/ 157 h 257"/>
                <a:gd name="T64" fmla="*/ 191 w 338"/>
                <a:gd name="T65" fmla="*/ 145 h 257"/>
                <a:gd name="T66" fmla="*/ 122 w 338"/>
                <a:gd name="T67" fmla="*/ 131 h 257"/>
                <a:gd name="T68" fmla="*/ 97 w 338"/>
                <a:gd name="T69" fmla="*/ 169 h 257"/>
                <a:gd name="T70" fmla="*/ 63 w 338"/>
                <a:gd name="T71" fmla="*/ 150 h 257"/>
                <a:gd name="T72" fmla="*/ 32 w 338"/>
                <a:gd name="T73" fmla="*/ 122 h 257"/>
                <a:gd name="T74" fmla="*/ 17 w 338"/>
                <a:gd name="T75" fmla="*/ 96 h 257"/>
                <a:gd name="T76" fmla="*/ 4 w 338"/>
                <a:gd name="T77" fmla="*/ 93 h 257"/>
                <a:gd name="T78" fmla="*/ 9 w 338"/>
                <a:gd name="T79" fmla="*/ 77 h 257"/>
                <a:gd name="T80" fmla="*/ 63 w 338"/>
                <a:gd name="T81" fmla="*/ 47 h 257"/>
                <a:gd name="T82" fmla="*/ 54 w 338"/>
                <a:gd name="T83" fmla="*/ 25 h 257"/>
                <a:gd name="T84" fmla="*/ 63 w 338"/>
                <a:gd name="T85"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8" h="257">
                  <a:moveTo>
                    <a:pt x="63" y="0"/>
                  </a:moveTo>
                  <a:lnTo>
                    <a:pt x="92" y="3"/>
                  </a:lnTo>
                  <a:lnTo>
                    <a:pt x="94" y="11"/>
                  </a:lnTo>
                  <a:lnTo>
                    <a:pt x="102" y="8"/>
                  </a:lnTo>
                  <a:lnTo>
                    <a:pt x="128" y="18"/>
                  </a:lnTo>
                  <a:lnTo>
                    <a:pt x="173" y="14"/>
                  </a:lnTo>
                  <a:lnTo>
                    <a:pt x="166" y="26"/>
                  </a:lnTo>
                  <a:lnTo>
                    <a:pt x="171" y="31"/>
                  </a:lnTo>
                  <a:lnTo>
                    <a:pt x="178" y="32"/>
                  </a:lnTo>
                  <a:lnTo>
                    <a:pt x="191" y="23"/>
                  </a:lnTo>
                  <a:lnTo>
                    <a:pt x="205" y="37"/>
                  </a:lnTo>
                  <a:lnTo>
                    <a:pt x="221" y="22"/>
                  </a:lnTo>
                  <a:lnTo>
                    <a:pt x="247" y="32"/>
                  </a:lnTo>
                  <a:lnTo>
                    <a:pt x="249" y="23"/>
                  </a:lnTo>
                  <a:lnTo>
                    <a:pt x="263" y="18"/>
                  </a:lnTo>
                  <a:lnTo>
                    <a:pt x="263" y="9"/>
                  </a:lnTo>
                  <a:lnTo>
                    <a:pt x="278" y="9"/>
                  </a:lnTo>
                  <a:lnTo>
                    <a:pt x="280" y="23"/>
                  </a:lnTo>
                  <a:lnTo>
                    <a:pt x="284" y="25"/>
                  </a:lnTo>
                  <a:lnTo>
                    <a:pt x="289" y="35"/>
                  </a:lnTo>
                  <a:lnTo>
                    <a:pt x="289" y="49"/>
                  </a:lnTo>
                  <a:lnTo>
                    <a:pt x="293" y="49"/>
                  </a:lnTo>
                  <a:lnTo>
                    <a:pt x="297" y="56"/>
                  </a:lnTo>
                  <a:lnTo>
                    <a:pt x="309" y="62"/>
                  </a:lnTo>
                  <a:lnTo>
                    <a:pt x="309" y="68"/>
                  </a:lnTo>
                  <a:lnTo>
                    <a:pt x="295" y="77"/>
                  </a:lnTo>
                  <a:lnTo>
                    <a:pt x="295" y="82"/>
                  </a:lnTo>
                  <a:lnTo>
                    <a:pt x="301" y="77"/>
                  </a:lnTo>
                  <a:lnTo>
                    <a:pt x="310" y="77"/>
                  </a:lnTo>
                  <a:lnTo>
                    <a:pt x="312" y="101"/>
                  </a:lnTo>
                  <a:lnTo>
                    <a:pt x="327" y="118"/>
                  </a:lnTo>
                  <a:lnTo>
                    <a:pt x="318" y="130"/>
                  </a:lnTo>
                  <a:lnTo>
                    <a:pt x="318" y="152"/>
                  </a:lnTo>
                  <a:lnTo>
                    <a:pt x="332" y="155"/>
                  </a:lnTo>
                  <a:lnTo>
                    <a:pt x="330" y="167"/>
                  </a:lnTo>
                  <a:lnTo>
                    <a:pt x="337" y="172"/>
                  </a:lnTo>
                  <a:lnTo>
                    <a:pt x="329" y="184"/>
                  </a:lnTo>
                  <a:lnTo>
                    <a:pt x="335" y="186"/>
                  </a:lnTo>
                  <a:lnTo>
                    <a:pt x="338" y="204"/>
                  </a:lnTo>
                  <a:lnTo>
                    <a:pt x="329" y="198"/>
                  </a:lnTo>
                  <a:lnTo>
                    <a:pt x="313" y="199"/>
                  </a:lnTo>
                  <a:lnTo>
                    <a:pt x="313" y="209"/>
                  </a:lnTo>
                  <a:lnTo>
                    <a:pt x="324" y="212"/>
                  </a:lnTo>
                  <a:lnTo>
                    <a:pt x="327" y="218"/>
                  </a:lnTo>
                  <a:lnTo>
                    <a:pt x="318" y="240"/>
                  </a:lnTo>
                  <a:lnTo>
                    <a:pt x="303" y="241"/>
                  </a:lnTo>
                  <a:lnTo>
                    <a:pt x="295" y="237"/>
                  </a:lnTo>
                  <a:lnTo>
                    <a:pt x="286" y="254"/>
                  </a:lnTo>
                  <a:lnTo>
                    <a:pt x="278" y="257"/>
                  </a:lnTo>
                  <a:lnTo>
                    <a:pt x="266" y="249"/>
                  </a:lnTo>
                  <a:lnTo>
                    <a:pt x="258" y="250"/>
                  </a:lnTo>
                  <a:lnTo>
                    <a:pt x="263" y="230"/>
                  </a:lnTo>
                  <a:lnTo>
                    <a:pt x="256" y="204"/>
                  </a:lnTo>
                  <a:lnTo>
                    <a:pt x="246" y="196"/>
                  </a:lnTo>
                  <a:lnTo>
                    <a:pt x="236" y="199"/>
                  </a:lnTo>
                  <a:lnTo>
                    <a:pt x="227" y="195"/>
                  </a:lnTo>
                  <a:lnTo>
                    <a:pt x="219" y="203"/>
                  </a:lnTo>
                  <a:lnTo>
                    <a:pt x="217" y="198"/>
                  </a:lnTo>
                  <a:lnTo>
                    <a:pt x="202" y="204"/>
                  </a:lnTo>
                  <a:lnTo>
                    <a:pt x="205" y="189"/>
                  </a:lnTo>
                  <a:lnTo>
                    <a:pt x="210" y="186"/>
                  </a:lnTo>
                  <a:lnTo>
                    <a:pt x="208" y="178"/>
                  </a:lnTo>
                  <a:lnTo>
                    <a:pt x="202" y="170"/>
                  </a:lnTo>
                  <a:lnTo>
                    <a:pt x="202" y="157"/>
                  </a:lnTo>
                  <a:lnTo>
                    <a:pt x="195" y="153"/>
                  </a:lnTo>
                  <a:lnTo>
                    <a:pt x="191" y="145"/>
                  </a:lnTo>
                  <a:lnTo>
                    <a:pt x="178" y="128"/>
                  </a:lnTo>
                  <a:lnTo>
                    <a:pt x="122" y="131"/>
                  </a:lnTo>
                  <a:lnTo>
                    <a:pt x="115" y="147"/>
                  </a:lnTo>
                  <a:lnTo>
                    <a:pt x="97" y="169"/>
                  </a:lnTo>
                  <a:lnTo>
                    <a:pt x="83" y="169"/>
                  </a:lnTo>
                  <a:lnTo>
                    <a:pt x="63" y="150"/>
                  </a:lnTo>
                  <a:lnTo>
                    <a:pt x="56" y="133"/>
                  </a:lnTo>
                  <a:lnTo>
                    <a:pt x="32" y="122"/>
                  </a:lnTo>
                  <a:lnTo>
                    <a:pt x="26" y="98"/>
                  </a:lnTo>
                  <a:lnTo>
                    <a:pt x="17" y="96"/>
                  </a:lnTo>
                  <a:lnTo>
                    <a:pt x="15" y="85"/>
                  </a:lnTo>
                  <a:lnTo>
                    <a:pt x="4" y="93"/>
                  </a:lnTo>
                  <a:lnTo>
                    <a:pt x="0" y="82"/>
                  </a:lnTo>
                  <a:lnTo>
                    <a:pt x="9" y="77"/>
                  </a:lnTo>
                  <a:lnTo>
                    <a:pt x="24" y="57"/>
                  </a:lnTo>
                  <a:lnTo>
                    <a:pt x="63" y="47"/>
                  </a:lnTo>
                  <a:lnTo>
                    <a:pt x="61" y="32"/>
                  </a:lnTo>
                  <a:lnTo>
                    <a:pt x="54" y="25"/>
                  </a:lnTo>
                  <a:lnTo>
                    <a:pt x="68" y="15"/>
                  </a:lnTo>
                  <a:lnTo>
                    <a:pt x="63" y="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93" name="Freeform 93">
              <a:extLst>
                <a:ext uri="{FF2B5EF4-FFF2-40B4-BE49-F238E27FC236}">
                  <a16:creationId xmlns:a16="http://schemas.microsoft.com/office/drawing/2014/main" id="{FB862095-7220-2643-8957-F3329428FD9F}"/>
                </a:ext>
              </a:extLst>
            </p:cNvPr>
            <p:cNvSpPr>
              <a:spLocks noChangeAspect="1"/>
            </p:cNvSpPr>
            <p:nvPr/>
          </p:nvSpPr>
          <p:spPr bwMode="gray">
            <a:xfrm>
              <a:off x="4562885" y="3970931"/>
              <a:ext cx="97284" cy="170786"/>
            </a:xfrm>
            <a:custGeom>
              <a:avLst/>
              <a:gdLst>
                <a:gd name="T0" fmla="*/ 203 w 203"/>
                <a:gd name="T1" fmla="*/ 230 h 293"/>
                <a:gd name="T2" fmla="*/ 186 w 203"/>
                <a:gd name="T3" fmla="*/ 213 h 293"/>
                <a:gd name="T4" fmla="*/ 176 w 203"/>
                <a:gd name="T5" fmla="*/ 196 h 293"/>
                <a:gd name="T6" fmla="*/ 170 w 203"/>
                <a:gd name="T7" fmla="*/ 80 h 293"/>
                <a:gd name="T8" fmla="*/ 159 w 203"/>
                <a:gd name="T9" fmla="*/ 38 h 293"/>
                <a:gd name="T10" fmla="*/ 142 w 203"/>
                <a:gd name="T11" fmla="*/ 17 h 293"/>
                <a:gd name="T12" fmla="*/ 147 w 203"/>
                <a:gd name="T13" fmla="*/ 5 h 293"/>
                <a:gd name="T14" fmla="*/ 142 w 203"/>
                <a:gd name="T15" fmla="*/ 4 h 293"/>
                <a:gd name="T16" fmla="*/ 142 w 203"/>
                <a:gd name="T17" fmla="*/ 1 h 293"/>
                <a:gd name="T18" fmla="*/ 110 w 203"/>
                <a:gd name="T19" fmla="*/ 4 h 293"/>
                <a:gd name="T20" fmla="*/ 17 w 203"/>
                <a:gd name="T21" fmla="*/ 0 h 293"/>
                <a:gd name="T22" fmla="*/ 14 w 203"/>
                <a:gd name="T23" fmla="*/ 13 h 293"/>
                <a:gd name="T24" fmla="*/ 20 w 203"/>
                <a:gd name="T25" fmla="*/ 30 h 293"/>
                <a:gd name="T26" fmla="*/ 25 w 203"/>
                <a:gd name="T27" fmla="*/ 69 h 293"/>
                <a:gd name="T28" fmla="*/ 25 w 203"/>
                <a:gd name="T29" fmla="*/ 81 h 293"/>
                <a:gd name="T30" fmla="*/ 22 w 203"/>
                <a:gd name="T31" fmla="*/ 88 h 293"/>
                <a:gd name="T32" fmla="*/ 28 w 203"/>
                <a:gd name="T33" fmla="*/ 91 h 293"/>
                <a:gd name="T34" fmla="*/ 36 w 203"/>
                <a:gd name="T35" fmla="*/ 126 h 293"/>
                <a:gd name="T36" fmla="*/ 22 w 203"/>
                <a:gd name="T37" fmla="*/ 139 h 293"/>
                <a:gd name="T38" fmla="*/ 14 w 203"/>
                <a:gd name="T39" fmla="*/ 174 h 293"/>
                <a:gd name="T40" fmla="*/ 2 w 203"/>
                <a:gd name="T41" fmla="*/ 190 h 293"/>
                <a:gd name="T42" fmla="*/ 0 w 203"/>
                <a:gd name="T43" fmla="*/ 205 h 293"/>
                <a:gd name="T44" fmla="*/ 11 w 203"/>
                <a:gd name="T45" fmla="*/ 242 h 293"/>
                <a:gd name="T46" fmla="*/ 22 w 203"/>
                <a:gd name="T47" fmla="*/ 249 h 293"/>
                <a:gd name="T48" fmla="*/ 24 w 203"/>
                <a:gd name="T49" fmla="*/ 270 h 293"/>
                <a:gd name="T50" fmla="*/ 11 w 203"/>
                <a:gd name="T51" fmla="*/ 269 h 293"/>
                <a:gd name="T52" fmla="*/ 5 w 203"/>
                <a:gd name="T53" fmla="*/ 276 h 293"/>
                <a:gd name="T54" fmla="*/ 57 w 203"/>
                <a:gd name="T55" fmla="*/ 293 h 293"/>
                <a:gd name="T56" fmla="*/ 82 w 203"/>
                <a:gd name="T57" fmla="*/ 278 h 293"/>
                <a:gd name="T58" fmla="*/ 117 w 203"/>
                <a:gd name="T59" fmla="*/ 269 h 293"/>
                <a:gd name="T60" fmla="*/ 155 w 203"/>
                <a:gd name="T61" fmla="*/ 247 h 293"/>
                <a:gd name="T62" fmla="*/ 159 w 203"/>
                <a:gd name="T63" fmla="*/ 245 h 293"/>
                <a:gd name="T64" fmla="*/ 192 w 203"/>
                <a:gd name="T65" fmla="*/ 244 h 293"/>
                <a:gd name="T66" fmla="*/ 203 w 203"/>
                <a:gd name="T67" fmla="*/ 23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3" h="293">
                  <a:moveTo>
                    <a:pt x="203" y="230"/>
                  </a:moveTo>
                  <a:lnTo>
                    <a:pt x="186" y="213"/>
                  </a:lnTo>
                  <a:lnTo>
                    <a:pt x="176" y="196"/>
                  </a:lnTo>
                  <a:lnTo>
                    <a:pt x="170" y="80"/>
                  </a:lnTo>
                  <a:lnTo>
                    <a:pt x="159" y="38"/>
                  </a:lnTo>
                  <a:lnTo>
                    <a:pt x="142" y="17"/>
                  </a:lnTo>
                  <a:lnTo>
                    <a:pt x="147" y="5"/>
                  </a:lnTo>
                  <a:lnTo>
                    <a:pt x="142" y="4"/>
                  </a:lnTo>
                  <a:lnTo>
                    <a:pt x="142" y="1"/>
                  </a:lnTo>
                  <a:lnTo>
                    <a:pt x="110" y="4"/>
                  </a:lnTo>
                  <a:lnTo>
                    <a:pt x="17" y="0"/>
                  </a:lnTo>
                  <a:lnTo>
                    <a:pt x="14" y="13"/>
                  </a:lnTo>
                  <a:lnTo>
                    <a:pt x="20" y="30"/>
                  </a:lnTo>
                  <a:lnTo>
                    <a:pt x="25" y="69"/>
                  </a:lnTo>
                  <a:lnTo>
                    <a:pt x="25" y="81"/>
                  </a:lnTo>
                  <a:lnTo>
                    <a:pt x="22" y="88"/>
                  </a:lnTo>
                  <a:lnTo>
                    <a:pt x="28" y="91"/>
                  </a:lnTo>
                  <a:lnTo>
                    <a:pt x="36" y="126"/>
                  </a:lnTo>
                  <a:lnTo>
                    <a:pt x="22" y="139"/>
                  </a:lnTo>
                  <a:lnTo>
                    <a:pt x="14" y="174"/>
                  </a:lnTo>
                  <a:lnTo>
                    <a:pt x="2" y="190"/>
                  </a:lnTo>
                  <a:lnTo>
                    <a:pt x="0" y="205"/>
                  </a:lnTo>
                  <a:lnTo>
                    <a:pt x="11" y="242"/>
                  </a:lnTo>
                  <a:lnTo>
                    <a:pt x="22" y="249"/>
                  </a:lnTo>
                  <a:lnTo>
                    <a:pt x="24" y="270"/>
                  </a:lnTo>
                  <a:lnTo>
                    <a:pt x="11" y="269"/>
                  </a:lnTo>
                  <a:lnTo>
                    <a:pt x="5" y="276"/>
                  </a:lnTo>
                  <a:lnTo>
                    <a:pt x="57" y="293"/>
                  </a:lnTo>
                  <a:lnTo>
                    <a:pt x="82" y="278"/>
                  </a:lnTo>
                  <a:lnTo>
                    <a:pt x="117" y="269"/>
                  </a:lnTo>
                  <a:lnTo>
                    <a:pt x="155" y="247"/>
                  </a:lnTo>
                  <a:lnTo>
                    <a:pt x="159" y="245"/>
                  </a:lnTo>
                  <a:lnTo>
                    <a:pt x="192" y="244"/>
                  </a:lnTo>
                  <a:lnTo>
                    <a:pt x="203" y="23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94" name="Freeform 94">
              <a:extLst>
                <a:ext uri="{FF2B5EF4-FFF2-40B4-BE49-F238E27FC236}">
                  <a16:creationId xmlns:a16="http://schemas.microsoft.com/office/drawing/2014/main" id="{179F09B4-1935-DA40-8227-19276F312A12}"/>
                </a:ext>
              </a:extLst>
            </p:cNvPr>
            <p:cNvSpPr>
              <a:spLocks noChangeAspect="1"/>
            </p:cNvSpPr>
            <p:nvPr/>
          </p:nvSpPr>
          <p:spPr bwMode="gray">
            <a:xfrm>
              <a:off x="4255086" y="3890334"/>
              <a:ext cx="70171" cy="21108"/>
            </a:xfrm>
            <a:custGeom>
              <a:avLst/>
              <a:gdLst>
                <a:gd name="T0" fmla="*/ 12 w 141"/>
                <a:gd name="T1" fmla="*/ 12 h 37"/>
                <a:gd name="T2" fmla="*/ 59 w 141"/>
                <a:gd name="T3" fmla="*/ 12 h 37"/>
                <a:gd name="T4" fmla="*/ 68 w 141"/>
                <a:gd name="T5" fmla="*/ 2 h 37"/>
                <a:gd name="T6" fmla="*/ 81 w 141"/>
                <a:gd name="T7" fmla="*/ 0 h 37"/>
                <a:gd name="T8" fmla="*/ 113 w 141"/>
                <a:gd name="T9" fmla="*/ 17 h 37"/>
                <a:gd name="T10" fmla="*/ 141 w 141"/>
                <a:gd name="T11" fmla="*/ 12 h 37"/>
                <a:gd name="T12" fmla="*/ 141 w 141"/>
                <a:gd name="T13" fmla="*/ 20 h 37"/>
                <a:gd name="T14" fmla="*/ 122 w 141"/>
                <a:gd name="T15" fmla="*/ 28 h 37"/>
                <a:gd name="T16" fmla="*/ 79 w 141"/>
                <a:gd name="T17" fmla="*/ 12 h 37"/>
                <a:gd name="T18" fmla="*/ 66 w 141"/>
                <a:gd name="T19" fmla="*/ 22 h 37"/>
                <a:gd name="T20" fmla="*/ 49 w 141"/>
                <a:gd name="T21" fmla="*/ 22 h 37"/>
                <a:gd name="T22" fmla="*/ 45 w 141"/>
                <a:gd name="T23" fmla="*/ 28 h 37"/>
                <a:gd name="T24" fmla="*/ 6 w 141"/>
                <a:gd name="T25" fmla="*/ 33 h 37"/>
                <a:gd name="T26" fmla="*/ 3 w 141"/>
                <a:gd name="T27" fmla="*/ 37 h 37"/>
                <a:gd name="T28" fmla="*/ 0 w 141"/>
                <a:gd name="T29" fmla="*/ 24 h 37"/>
                <a:gd name="T30" fmla="*/ 12 w 141"/>
                <a:gd name="T31" fmla="*/ 17 h 37"/>
                <a:gd name="T32" fmla="*/ 12 w 141"/>
                <a:gd name="T33" fmla="*/ 1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 h="37">
                  <a:moveTo>
                    <a:pt x="12" y="12"/>
                  </a:moveTo>
                  <a:lnTo>
                    <a:pt x="59" y="12"/>
                  </a:lnTo>
                  <a:lnTo>
                    <a:pt x="68" y="2"/>
                  </a:lnTo>
                  <a:lnTo>
                    <a:pt x="81" y="0"/>
                  </a:lnTo>
                  <a:lnTo>
                    <a:pt x="113" y="17"/>
                  </a:lnTo>
                  <a:lnTo>
                    <a:pt x="141" y="12"/>
                  </a:lnTo>
                  <a:lnTo>
                    <a:pt x="141" y="20"/>
                  </a:lnTo>
                  <a:lnTo>
                    <a:pt x="122" y="28"/>
                  </a:lnTo>
                  <a:lnTo>
                    <a:pt x="79" y="12"/>
                  </a:lnTo>
                  <a:lnTo>
                    <a:pt x="66" y="22"/>
                  </a:lnTo>
                  <a:lnTo>
                    <a:pt x="49" y="22"/>
                  </a:lnTo>
                  <a:lnTo>
                    <a:pt x="45" y="28"/>
                  </a:lnTo>
                  <a:lnTo>
                    <a:pt x="6" y="33"/>
                  </a:lnTo>
                  <a:lnTo>
                    <a:pt x="3" y="37"/>
                  </a:lnTo>
                  <a:lnTo>
                    <a:pt x="0" y="24"/>
                  </a:lnTo>
                  <a:lnTo>
                    <a:pt x="12" y="17"/>
                  </a:lnTo>
                  <a:lnTo>
                    <a:pt x="12" y="12"/>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95" name="Freeform 95">
              <a:extLst>
                <a:ext uri="{FF2B5EF4-FFF2-40B4-BE49-F238E27FC236}">
                  <a16:creationId xmlns:a16="http://schemas.microsoft.com/office/drawing/2014/main" id="{254F43F0-5145-3D45-A6EA-68B2E43DF254}"/>
                </a:ext>
              </a:extLst>
            </p:cNvPr>
            <p:cNvSpPr>
              <a:spLocks noChangeAspect="1"/>
            </p:cNvSpPr>
            <p:nvPr/>
          </p:nvSpPr>
          <p:spPr bwMode="gray">
            <a:xfrm>
              <a:off x="4256682" y="3921037"/>
              <a:ext cx="71767" cy="49893"/>
            </a:xfrm>
            <a:custGeom>
              <a:avLst/>
              <a:gdLst>
                <a:gd name="T0" fmla="*/ 78 w 146"/>
                <a:gd name="T1" fmla="*/ 82 h 82"/>
                <a:gd name="T2" fmla="*/ 87 w 146"/>
                <a:gd name="T3" fmla="*/ 77 h 82"/>
                <a:gd name="T4" fmla="*/ 102 w 146"/>
                <a:gd name="T5" fmla="*/ 57 h 82"/>
                <a:gd name="T6" fmla="*/ 141 w 146"/>
                <a:gd name="T7" fmla="*/ 47 h 82"/>
                <a:gd name="T8" fmla="*/ 139 w 146"/>
                <a:gd name="T9" fmla="*/ 32 h 82"/>
                <a:gd name="T10" fmla="*/ 132 w 146"/>
                <a:gd name="T11" fmla="*/ 25 h 82"/>
                <a:gd name="T12" fmla="*/ 146 w 146"/>
                <a:gd name="T13" fmla="*/ 15 h 82"/>
                <a:gd name="T14" fmla="*/ 141 w 146"/>
                <a:gd name="T15" fmla="*/ 0 h 82"/>
                <a:gd name="T16" fmla="*/ 76 w 146"/>
                <a:gd name="T17" fmla="*/ 1 h 82"/>
                <a:gd name="T18" fmla="*/ 50 w 146"/>
                <a:gd name="T19" fmla="*/ 11 h 82"/>
                <a:gd name="T20" fmla="*/ 24 w 146"/>
                <a:gd name="T21" fmla="*/ 11 h 82"/>
                <a:gd name="T22" fmla="*/ 11 w 146"/>
                <a:gd name="T23" fmla="*/ 17 h 82"/>
                <a:gd name="T24" fmla="*/ 0 w 146"/>
                <a:gd name="T25" fmla="*/ 15 h 82"/>
                <a:gd name="T26" fmla="*/ 3 w 146"/>
                <a:gd name="T27" fmla="*/ 23 h 82"/>
                <a:gd name="T28" fmla="*/ 20 w 146"/>
                <a:gd name="T29" fmla="*/ 28 h 82"/>
                <a:gd name="T30" fmla="*/ 26 w 146"/>
                <a:gd name="T31" fmla="*/ 40 h 82"/>
                <a:gd name="T32" fmla="*/ 39 w 146"/>
                <a:gd name="T33" fmla="*/ 42 h 82"/>
                <a:gd name="T34" fmla="*/ 42 w 146"/>
                <a:gd name="T35" fmla="*/ 49 h 82"/>
                <a:gd name="T36" fmla="*/ 88 w 146"/>
                <a:gd name="T37" fmla="*/ 39 h 82"/>
                <a:gd name="T38" fmla="*/ 87 w 146"/>
                <a:gd name="T39" fmla="*/ 42 h 82"/>
                <a:gd name="T40" fmla="*/ 59 w 146"/>
                <a:gd name="T41" fmla="*/ 49 h 82"/>
                <a:gd name="T42" fmla="*/ 63 w 146"/>
                <a:gd name="T43" fmla="*/ 73 h 82"/>
                <a:gd name="T44" fmla="*/ 68 w 146"/>
                <a:gd name="T45" fmla="*/ 77 h 82"/>
                <a:gd name="T46" fmla="*/ 78 w 146"/>
                <a:gd name="T47" fmla="*/ 77 h 82"/>
                <a:gd name="T48" fmla="*/ 78 w 146"/>
                <a:gd name="T4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6" h="82">
                  <a:moveTo>
                    <a:pt x="78" y="82"/>
                  </a:moveTo>
                  <a:lnTo>
                    <a:pt x="87" y="77"/>
                  </a:lnTo>
                  <a:lnTo>
                    <a:pt x="102" y="57"/>
                  </a:lnTo>
                  <a:lnTo>
                    <a:pt x="141" y="47"/>
                  </a:lnTo>
                  <a:lnTo>
                    <a:pt x="139" y="32"/>
                  </a:lnTo>
                  <a:lnTo>
                    <a:pt x="132" y="25"/>
                  </a:lnTo>
                  <a:lnTo>
                    <a:pt x="146" y="15"/>
                  </a:lnTo>
                  <a:lnTo>
                    <a:pt x="141" y="0"/>
                  </a:lnTo>
                  <a:lnTo>
                    <a:pt x="76" y="1"/>
                  </a:lnTo>
                  <a:lnTo>
                    <a:pt x="50" y="11"/>
                  </a:lnTo>
                  <a:lnTo>
                    <a:pt x="24" y="11"/>
                  </a:lnTo>
                  <a:lnTo>
                    <a:pt x="11" y="17"/>
                  </a:lnTo>
                  <a:lnTo>
                    <a:pt x="0" y="15"/>
                  </a:lnTo>
                  <a:lnTo>
                    <a:pt x="3" y="23"/>
                  </a:lnTo>
                  <a:lnTo>
                    <a:pt x="20" y="28"/>
                  </a:lnTo>
                  <a:lnTo>
                    <a:pt x="26" y="40"/>
                  </a:lnTo>
                  <a:lnTo>
                    <a:pt x="39" y="42"/>
                  </a:lnTo>
                  <a:lnTo>
                    <a:pt x="42" y="49"/>
                  </a:lnTo>
                  <a:lnTo>
                    <a:pt x="88" y="39"/>
                  </a:lnTo>
                  <a:lnTo>
                    <a:pt x="87" y="42"/>
                  </a:lnTo>
                  <a:lnTo>
                    <a:pt x="59" y="49"/>
                  </a:lnTo>
                  <a:lnTo>
                    <a:pt x="63" y="73"/>
                  </a:lnTo>
                  <a:lnTo>
                    <a:pt x="68" y="77"/>
                  </a:lnTo>
                  <a:lnTo>
                    <a:pt x="78" y="77"/>
                  </a:lnTo>
                  <a:lnTo>
                    <a:pt x="78" y="82"/>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96" name="Freeform 97">
              <a:extLst>
                <a:ext uri="{FF2B5EF4-FFF2-40B4-BE49-F238E27FC236}">
                  <a16:creationId xmlns:a16="http://schemas.microsoft.com/office/drawing/2014/main" id="{3585E93B-1BC2-6B49-9A42-A101ED1780AB}"/>
                </a:ext>
              </a:extLst>
            </p:cNvPr>
            <p:cNvSpPr>
              <a:spLocks noChangeAspect="1"/>
            </p:cNvSpPr>
            <p:nvPr/>
          </p:nvSpPr>
          <p:spPr bwMode="gray">
            <a:xfrm>
              <a:off x="4239139" y="3813576"/>
              <a:ext cx="140343" cy="118974"/>
            </a:xfrm>
            <a:custGeom>
              <a:avLst/>
              <a:gdLst>
                <a:gd name="T0" fmla="*/ 37 w 288"/>
                <a:gd name="T1" fmla="*/ 202 h 205"/>
                <a:gd name="T2" fmla="*/ 37 w 288"/>
                <a:gd name="T3" fmla="*/ 171 h 205"/>
                <a:gd name="T4" fmla="*/ 40 w 288"/>
                <a:gd name="T5" fmla="*/ 167 h 205"/>
                <a:gd name="T6" fmla="*/ 79 w 288"/>
                <a:gd name="T7" fmla="*/ 162 h 205"/>
                <a:gd name="T8" fmla="*/ 83 w 288"/>
                <a:gd name="T9" fmla="*/ 156 h 205"/>
                <a:gd name="T10" fmla="*/ 100 w 288"/>
                <a:gd name="T11" fmla="*/ 156 h 205"/>
                <a:gd name="T12" fmla="*/ 113 w 288"/>
                <a:gd name="T13" fmla="*/ 146 h 205"/>
                <a:gd name="T14" fmla="*/ 156 w 288"/>
                <a:gd name="T15" fmla="*/ 162 h 205"/>
                <a:gd name="T16" fmla="*/ 175 w 288"/>
                <a:gd name="T17" fmla="*/ 154 h 205"/>
                <a:gd name="T18" fmla="*/ 175 w 288"/>
                <a:gd name="T19" fmla="*/ 146 h 205"/>
                <a:gd name="T20" fmla="*/ 147 w 288"/>
                <a:gd name="T21" fmla="*/ 151 h 205"/>
                <a:gd name="T22" fmla="*/ 115 w 288"/>
                <a:gd name="T23" fmla="*/ 134 h 205"/>
                <a:gd name="T24" fmla="*/ 102 w 288"/>
                <a:gd name="T25" fmla="*/ 136 h 205"/>
                <a:gd name="T26" fmla="*/ 93 w 288"/>
                <a:gd name="T27" fmla="*/ 146 h 205"/>
                <a:gd name="T28" fmla="*/ 46 w 288"/>
                <a:gd name="T29" fmla="*/ 146 h 205"/>
                <a:gd name="T30" fmla="*/ 12 w 288"/>
                <a:gd name="T31" fmla="*/ 92 h 205"/>
                <a:gd name="T32" fmla="*/ 3 w 288"/>
                <a:gd name="T33" fmla="*/ 97 h 205"/>
                <a:gd name="T34" fmla="*/ 0 w 288"/>
                <a:gd name="T35" fmla="*/ 90 h 205"/>
                <a:gd name="T36" fmla="*/ 14 w 288"/>
                <a:gd name="T37" fmla="*/ 85 h 205"/>
                <a:gd name="T38" fmla="*/ 31 w 288"/>
                <a:gd name="T39" fmla="*/ 71 h 205"/>
                <a:gd name="T40" fmla="*/ 46 w 288"/>
                <a:gd name="T41" fmla="*/ 46 h 205"/>
                <a:gd name="T42" fmla="*/ 48 w 288"/>
                <a:gd name="T43" fmla="*/ 26 h 205"/>
                <a:gd name="T44" fmla="*/ 57 w 288"/>
                <a:gd name="T45" fmla="*/ 6 h 205"/>
                <a:gd name="T46" fmla="*/ 87 w 288"/>
                <a:gd name="T47" fmla="*/ 9 h 205"/>
                <a:gd name="T48" fmla="*/ 113 w 288"/>
                <a:gd name="T49" fmla="*/ 0 h 205"/>
                <a:gd name="T50" fmla="*/ 147 w 288"/>
                <a:gd name="T51" fmla="*/ 0 h 205"/>
                <a:gd name="T52" fmla="*/ 171 w 288"/>
                <a:gd name="T53" fmla="*/ 24 h 205"/>
                <a:gd name="T54" fmla="*/ 188 w 288"/>
                <a:gd name="T55" fmla="*/ 24 h 205"/>
                <a:gd name="T56" fmla="*/ 200 w 288"/>
                <a:gd name="T57" fmla="*/ 48 h 205"/>
                <a:gd name="T58" fmla="*/ 213 w 288"/>
                <a:gd name="T59" fmla="*/ 54 h 205"/>
                <a:gd name="T60" fmla="*/ 218 w 288"/>
                <a:gd name="T61" fmla="*/ 65 h 205"/>
                <a:gd name="T62" fmla="*/ 217 w 288"/>
                <a:gd name="T63" fmla="*/ 66 h 205"/>
                <a:gd name="T64" fmla="*/ 249 w 288"/>
                <a:gd name="T65" fmla="*/ 90 h 205"/>
                <a:gd name="T66" fmla="*/ 251 w 288"/>
                <a:gd name="T67" fmla="*/ 107 h 205"/>
                <a:gd name="T68" fmla="*/ 257 w 288"/>
                <a:gd name="T69" fmla="*/ 114 h 205"/>
                <a:gd name="T70" fmla="*/ 261 w 288"/>
                <a:gd name="T71" fmla="*/ 129 h 205"/>
                <a:gd name="T72" fmla="*/ 257 w 288"/>
                <a:gd name="T73" fmla="*/ 141 h 205"/>
                <a:gd name="T74" fmla="*/ 266 w 288"/>
                <a:gd name="T75" fmla="*/ 156 h 205"/>
                <a:gd name="T76" fmla="*/ 276 w 288"/>
                <a:gd name="T77" fmla="*/ 154 h 205"/>
                <a:gd name="T78" fmla="*/ 288 w 288"/>
                <a:gd name="T79" fmla="*/ 173 h 205"/>
                <a:gd name="T80" fmla="*/ 288 w 288"/>
                <a:gd name="T81" fmla="*/ 201 h 205"/>
                <a:gd name="T82" fmla="*/ 243 w 288"/>
                <a:gd name="T83" fmla="*/ 205 h 205"/>
                <a:gd name="T84" fmla="*/ 217 w 288"/>
                <a:gd name="T85" fmla="*/ 195 h 205"/>
                <a:gd name="T86" fmla="*/ 209 w 288"/>
                <a:gd name="T87" fmla="*/ 198 h 205"/>
                <a:gd name="T88" fmla="*/ 207 w 288"/>
                <a:gd name="T89" fmla="*/ 190 h 205"/>
                <a:gd name="T90" fmla="*/ 178 w 288"/>
                <a:gd name="T91" fmla="*/ 187 h 205"/>
                <a:gd name="T92" fmla="*/ 113 w 288"/>
                <a:gd name="T93" fmla="*/ 188 h 205"/>
                <a:gd name="T94" fmla="*/ 87 w 288"/>
                <a:gd name="T95" fmla="*/ 198 h 205"/>
                <a:gd name="T96" fmla="*/ 61 w 288"/>
                <a:gd name="T97" fmla="*/ 198 h 205"/>
                <a:gd name="T98" fmla="*/ 48 w 288"/>
                <a:gd name="T99" fmla="*/ 204 h 205"/>
                <a:gd name="T100" fmla="*/ 37 w 288"/>
                <a:gd name="T101" fmla="*/ 202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8" h="205">
                  <a:moveTo>
                    <a:pt x="37" y="202"/>
                  </a:moveTo>
                  <a:lnTo>
                    <a:pt x="37" y="171"/>
                  </a:lnTo>
                  <a:lnTo>
                    <a:pt x="40" y="167"/>
                  </a:lnTo>
                  <a:lnTo>
                    <a:pt x="79" y="162"/>
                  </a:lnTo>
                  <a:lnTo>
                    <a:pt x="83" y="156"/>
                  </a:lnTo>
                  <a:lnTo>
                    <a:pt x="100" y="156"/>
                  </a:lnTo>
                  <a:lnTo>
                    <a:pt x="113" y="146"/>
                  </a:lnTo>
                  <a:lnTo>
                    <a:pt x="156" y="162"/>
                  </a:lnTo>
                  <a:lnTo>
                    <a:pt x="175" y="154"/>
                  </a:lnTo>
                  <a:lnTo>
                    <a:pt x="175" y="146"/>
                  </a:lnTo>
                  <a:lnTo>
                    <a:pt x="147" y="151"/>
                  </a:lnTo>
                  <a:lnTo>
                    <a:pt x="115" y="134"/>
                  </a:lnTo>
                  <a:lnTo>
                    <a:pt x="102" y="136"/>
                  </a:lnTo>
                  <a:lnTo>
                    <a:pt x="93" y="146"/>
                  </a:lnTo>
                  <a:lnTo>
                    <a:pt x="46" y="146"/>
                  </a:lnTo>
                  <a:lnTo>
                    <a:pt x="12" y="92"/>
                  </a:lnTo>
                  <a:lnTo>
                    <a:pt x="3" y="97"/>
                  </a:lnTo>
                  <a:lnTo>
                    <a:pt x="0" y="90"/>
                  </a:lnTo>
                  <a:lnTo>
                    <a:pt x="14" y="85"/>
                  </a:lnTo>
                  <a:lnTo>
                    <a:pt x="31" y="71"/>
                  </a:lnTo>
                  <a:lnTo>
                    <a:pt x="46" y="46"/>
                  </a:lnTo>
                  <a:lnTo>
                    <a:pt x="48" y="26"/>
                  </a:lnTo>
                  <a:lnTo>
                    <a:pt x="57" y="6"/>
                  </a:lnTo>
                  <a:lnTo>
                    <a:pt x="87" y="9"/>
                  </a:lnTo>
                  <a:lnTo>
                    <a:pt x="113" y="0"/>
                  </a:lnTo>
                  <a:lnTo>
                    <a:pt x="147" y="0"/>
                  </a:lnTo>
                  <a:lnTo>
                    <a:pt x="171" y="24"/>
                  </a:lnTo>
                  <a:lnTo>
                    <a:pt x="188" y="24"/>
                  </a:lnTo>
                  <a:lnTo>
                    <a:pt x="200" y="48"/>
                  </a:lnTo>
                  <a:lnTo>
                    <a:pt x="213" y="54"/>
                  </a:lnTo>
                  <a:lnTo>
                    <a:pt x="218" y="65"/>
                  </a:lnTo>
                  <a:lnTo>
                    <a:pt x="217" y="66"/>
                  </a:lnTo>
                  <a:lnTo>
                    <a:pt x="249" y="90"/>
                  </a:lnTo>
                  <a:lnTo>
                    <a:pt x="251" y="107"/>
                  </a:lnTo>
                  <a:lnTo>
                    <a:pt x="257" y="114"/>
                  </a:lnTo>
                  <a:lnTo>
                    <a:pt x="261" y="129"/>
                  </a:lnTo>
                  <a:lnTo>
                    <a:pt x="257" y="141"/>
                  </a:lnTo>
                  <a:lnTo>
                    <a:pt x="266" y="156"/>
                  </a:lnTo>
                  <a:lnTo>
                    <a:pt x="276" y="154"/>
                  </a:lnTo>
                  <a:lnTo>
                    <a:pt x="288" y="173"/>
                  </a:lnTo>
                  <a:lnTo>
                    <a:pt x="288" y="201"/>
                  </a:lnTo>
                  <a:lnTo>
                    <a:pt x="243" y="205"/>
                  </a:lnTo>
                  <a:lnTo>
                    <a:pt x="217" y="195"/>
                  </a:lnTo>
                  <a:lnTo>
                    <a:pt x="209" y="198"/>
                  </a:lnTo>
                  <a:lnTo>
                    <a:pt x="207" y="190"/>
                  </a:lnTo>
                  <a:lnTo>
                    <a:pt x="178" y="187"/>
                  </a:lnTo>
                  <a:lnTo>
                    <a:pt x="113" y="188"/>
                  </a:lnTo>
                  <a:lnTo>
                    <a:pt x="87" y="198"/>
                  </a:lnTo>
                  <a:lnTo>
                    <a:pt x="61" y="198"/>
                  </a:lnTo>
                  <a:lnTo>
                    <a:pt x="48" y="204"/>
                  </a:lnTo>
                  <a:lnTo>
                    <a:pt x="37" y="202"/>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97" name="Freeform 98">
              <a:extLst>
                <a:ext uri="{FF2B5EF4-FFF2-40B4-BE49-F238E27FC236}">
                  <a16:creationId xmlns:a16="http://schemas.microsoft.com/office/drawing/2014/main" id="{73BB57B5-FED4-EF4E-B1DD-4B6387261896}"/>
                </a:ext>
              </a:extLst>
            </p:cNvPr>
            <p:cNvSpPr>
              <a:spLocks noChangeAspect="1"/>
            </p:cNvSpPr>
            <p:nvPr/>
          </p:nvSpPr>
          <p:spPr bwMode="gray">
            <a:xfrm>
              <a:off x="4838787" y="3322326"/>
              <a:ext cx="357238" cy="410655"/>
            </a:xfrm>
            <a:custGeom>
              <a:avLst/>
              <a:gdLst>
                <a:gd name="T0" fmla="*/ 640 w 731"/>
                <a:gd name="T1" fmla="*/ 678 h 701"/>
                <a:gd name="T2" fmla="*/ 548 w 731"/>
                <a:gd name="T3" fmla="*/ 630 h 701"/>
                <a:gd name="T4" fmla="*/ 455 w 731"/>
                <a:gd name="T5" fmla="*/ 582 h 701"/>
                <a:gd name="T6" fmla="*/ 363 w 731"/>
                <a:gd name="T7" fmla="*/ 535 h 701"/>
                <a:gd name="T8" fmla="*/ 269 w 731"/>
                <a:gd name="T9" fmla="*/ 526 h 701"/>
                <a:gd name="T10" fmla="*/ 247 w 731"/>
                <a:gd name="T11" fmla="*/ 520 h 701"/>
                <a:gd name="T12" fmla="*/ 116 w 731"/>
                <a:gd name="T13" fmla="*/ 503 h 701"/>
                <a:gd name="T14" fmla="*/ 72 w 731"/>
                <a:gd name="T15" fmla="*/ 450 h 701"/>
                <a:gd name="T16" fmla="*/ 35 w 731"/>
                <a:gd name="T17" fmla="*/ 437 h 701"/>
                <a:gd name="T18" fmla="*/ 4 w 731"/>
                <a:gd name="T19" fmla="*/ 367 h 701"/>
                <a:gd name="T20" fmla="*/ 21 w 731"/>
                <a:gd name="T21" fmla="*/ 354 h 701"/>
                <a:gd name="T22" fmla="*/ 18 w 731"/>
                <a:gd name="T23" fmla="*/ 205 h 701"/>
                <a:gd name="T24" fmla="*/ 0 w 731"/>
                <a:gd name="T25" fmla="*/ 163 h 701"/>
                <a:gd name="T26" fmla="*/ 29 w 731"/>
                <a:gd name="T27" fmla="*/ 146 h 701"/>
                <a:gd name="T28" fmla="*/ 38 w 731"/>
                <a:gd name="T29" fmla="*/ 98 h 701"/>
                <a:gd name="T30" fmla="*/ 96 w 731"/>
                <a:gd name="T31" fmla="*/ 42 h 701"/>
                <a:gd name="T32" fmla="*/ 99 w 731"/>
                <a:gd name="T33" fmla="*/ 0 h 701"/>
                <a:gd name="T34" fmla="*/ 176 w 731"/>
                <a:gd name="T35" fmla="*/ 15 h 701"/>
                <a:gd name="T36" fmla="*/ 270 w 731"/>
                <a:gd name="T37" fmla="*/ 46 h 701"/>
                <a:gd name="T38" fmla="*/ 278 w 731"/>
                <a:gd name="T39" fmla="*/ 71 h 701"/>
                <a:gd name="T40" fmla="*/ 311 w 731"/>
                <a:gd name="T41" fmla="*/ 104 h 701"/>
                <a:gd name="T42" fmla="*/ 411 w 731"/>
                <a:gd name="T43" fmla="*/ 130 h 701"/>
                <a:gd name="T44" fmla="*/ 445 w 731"/>
                <a:gd name="T45" fmla="*/ 156 h 701"/>
                <a:gd name="T46" fmla="*/ 487 w 731"/>
                <a:gd name="T47" fmla="*/ 136 h 701"/>
                <a:gd name="T48" fmla="*/ 489 w 731"/>
                <a:gd name="T49" fmla="*/ 83 h 701"/>
                <a:gd name="T50" fmla="*/ 538 w 731"/>
                <a:gd name="T51" fmla="*/ 20 h 701"/>
                <a:gd name="T52" fmla="*/ 626 w 731"/>
                <a:gd name="T53" fmla="*/ 25 h 701"/>
                <a:gd name="T54" fmla="*/ 633 w 731"/>
                <a:gd name="T55" fmla="*/ 46 h 701"/>
                <a:gd name="T56" fmla="*/ 670 w 731"/>
                <a:gd name="T57" fmla="*/ 57 h 701"/>
                <a:gd name="T58" fmla="*/ 731 w 731"/>
                <a:gd name="T59" fmla="*/ 83 h 701"/>
                <a:gd name="T60" fmla="*/ 716 w 731"/>
                <a:gd name="T61" fmla="*/ 100 h 701"/>
                <a:gd name="T62" fmla="*/ 710 w 731"/>
                <a:gd name="T63" fmla="*/ 166 h 701"/>
                <a:gd name="T64" fmla="*/ 719 w 731"/>
                <a:gd name="T65" fmla="*/ 195 h 701"/>
                <a:gd name="T66" fmla="*/ 731 w 731"/>
                <a:gd name="T67" fmla="*/ 220 h 701"/>
                <a:gd name="T68" fmla="*/ 731 w 731"/>
                <a:gd name="T69" fmla="*/ 311 h 701"/>
                <a:gd name="T70" fmla="*/ 731 w 731"/>
                <a:gd name="T71" fmla="*/ 401 h 701"/>
                <a:gd name="T72" fmla="*/ 731 w 731"/>
                <a:gd name="T73" fmla="*/ 491 h 701"/>
                <a:gd name="T74" fmla="*/ 731 w 731"/>
                <a:gd name="T75" fmla="*/ 579 h 701"/>
                <a:gd name="T76" fmla="*/ 731 w 731"/>
                <a:gd name="T77" fmla="*/ 672 h 701"/>
                <a:gd name="T78" fmla="*/ 685 w 731"/>
                <a:gd name="T79" fmla="*/ 701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1" h="701">
                  <a:moveTo>
                    <a:pt x="685" y="701"/>
                  </a:moveTo>
                  <a:lnTo>
                    <a:pt x="640" y="678"/>
                  </a:lnTo>
                  <a:lnTo>
                    <a:pt x="594" y="653"/>
                  </a:lnTo>
                  <a:lnTo>
                    <a:pt x="548" y="630"/>
                  </a:lnTo>
                  <a:lnTo>
                    <a:pt x="501" y="606"/>
                  </a:lnTo>
                  <a:lnTo>
                    <a:pt x="455" y="582"/>
                  </a:lnTo>
                  <a:lnTo>
                    <a:pt x="410" y="559"/>
                  </a:lnTo>
                  <a:lnTo>
                    <a:pt x="363" y="535"/>
                  </a:lnTo>
                  <a:lnTo>
                    <a:pt x="317" y="509"/>
                  </a:lnTo>
                  <a:lnTo>
                    <a:pt x="269" y="526"/>
                  </a:lnTo>
                  <a:lnTo>
                    <a:pt x="255" y="530"/>
                  </a:lnTo>
                  <a:lnTo>
                    <a:pt x="247" y="520"/>
                  </a:lnTo>
                  <a:lnTo>
                    <a:pt x="220" y="505"/>
                  </a:lnTo>
                  <a:lnTo>
                    <a:pt x="116" y="503"/>
                  </a:lnTo>
                  <a:lnTo>
                    <a:pt x="97" y="463"/>
                  </a:lnTo>
                  <a:lnTo>
                    <a:pt x="72" y="450"/>
                  </a:lnTo>
                  <a:lnTo>
                    <a:pt x="46" y="450"/>
                  </a:lnTo>
                  <a:lnTo>
                    <a:pt x="35" y="437"/>
                  </a:lnTo>
                  <a:lnTo>
                    <a:pt x="32" y="412"/>
                  </a:lnTo>
                  <a:lnTo>
                    <a:pt x="4" y="367"/>
                  </a:lnTo>
                  <a:lnTo>
                    <a:pt x="4" y="361"/>
                  </a:lnTo>
                  <a:lnTo>
                    <a:pt x="21" y="354"/>
                  </a:lnTo>
                  <a:lnTo>
                    <a:pt x="25" y="288"/>
                  </a:lnTo>
                  <a:lnTo>
                    <a:pt x="18" y="205"/>
                  </a:lnTo>
                  <a:lnTo>
                    <a:pt x="0" y="175"/>
                  </a:lnTo>
                  <a:lnTo>
                    <a:pt x="0" y="163"/>
                  </a:lnTo>
                  <a:lnTo>
                    <a:pt x="9" y="152"/>
                  </a:lnTo>
                  <a:lnTo>
                    <a:pt x="29" y="146"/>
                  </a:lnTo>
                  <a:lnTo>
                    <a:pt x="43" y="130"/>
                  </a:lnTo>
                  <a:lnTo>
                    <a:pt x="38" y="98"/>
                  </a:lnTo>
                  <a:lnTo>
                    <a:pt x="43" y="83"/>
                  </a:lnTo>
                  <a:lnTo>
                    <a:pt x="96" y="42"/>
                  </a:lnTo>
                  <a:lnTo>
                    <a:pt x="99" y="34"/>
                  </a:lnTo>
                  <a:lnTo>
                    <a:pt x="99" y="0"/>
                  </a:lnTo>
                  <a:lnTo>
                    <a:pt x="142" y="19"/>
                  </a:lnTo>
                  <a:lnTo>
                    <a:pt x="176" y="15"/>
                  </a:lnTo>
                  <a:lnTo>
                    <a:pt x="210" y="20"/>
                  </a:lnTo>
                  <a:lnTo>
                    <a:pt x="270" y="46"/>
                  </a:lnTo>
                  <a:lnTo>
                    <a:pt x="275" y="51"/>
                  </a:lnTo>
                  <a:lnTo>
                    <a:pt x="278" y="71"/>
                  </a:lnTo>
                  <a:lnTo>
                    <a:pt x="301" y="98"/>
                  </a:lnTo>
                  <a:lnTo>
                    <a:pt x="311" y="104"/>
                  </a:lnTo>
                  <a:lnTo>
                    <a:pt x="385" y="119"/>
                  </a:lnTo>
                  <a:lnTo>
                    <a:pt x="411" y="130"/>
                  </a:lnTo>
                  <a:lnTo>
                    <a:pt x="431" y="150"/>
                  </a:lnTo>
                  <a:lnTo>
                    <a:pt x="445" y="156"/>
                  </a:lnTo>
                  <a:lnTo>
                    <a:pt x="472" y="149"/>
                  </a:lnTo>
                  <a:lnTo>
                    <a:pt x="487" y="136"/>
                  </a:lnTo>
                  <a:lnTo>
                    <a:pt x="499" y="110"/>
                  </a:lnTo>
                  <a:lnTo>
                    <a:pt x="489" y="83"/>
                  </a:lnTo>
                  <a:lnTo>
                    <a:pt x="492" y="59"/>
                  </a:lnTo>
                  <a:lnTo>
                    <a:pt x="538" y="20"/>
                  </a:lnTo>
                  <a:lnTo>
                    <a:pt x="589" y="15"/>
                  </a:lnTo>
                  <a:lnTo>
                    <a:pt x="626" y="25"/>
                  </a:lnTo>
                  <a:lnTo>
                    <a:pt x="634" y="31"/>
                  </a:lnTo>
                  <a:lnTo>
                    <a:pt x="633" y="46"/>
                  </a:lnTo>
                  <a:lnTo>
                    <a:pt x="642" y="53"/>
                  </a:lnTo>
                  <a:lnTo>
                    <a:pt x="670" y="57"/>
                  </a:lnTo>
                  <a:lnTo>
                    <a:pt x="719" y="66"/>
                  </a:lnTo>
                  <a:lnTo>
                    <a:pt x="731" y="83"/>
                  </a:lnTo>
                  <a:lnTo>
                    <a:pt x="726" y="85"/>
                  </a:lnTo>
                  <a:lnTo>
                    <a:pt x="716" y="100"/>
                  </a:lnTo>
                  <a:lnTo>
                    <a:pt x="721" y="152"/>
                  </a:lnTo>
                  <a:lnTo>
                    <a:pt x="710" y="166"/>
                  </a:lnTo>
                  <a:lnTo>
                    <a:pt x="711" y="183"/>
                  </a:lnTo>
                  <a:lnTo>
                    <a:pt x="719" y="195"/>
                  </a:lnTo>
                  <a:lnTo>
                    <a:pt x="716" y="205"/>
                  </a:lnTo>
                  <a:lnTo>
                    <a:pt x="731" y="220"/>
                  </a:lnTo>
                  <a:lnTo>
                    <a:pt x="731" y="266"/>
                  </a:lnTo>
                  <a:lnTo>
                    <a:pt x="731" y="311"/>
                  </a:lnTo>
                  <a:lnTo>
                    <a:pt x="731" y="357"/>
                  </a:lnTo>
                  <a:lnTo>
                    <a:pt x="731" y="401"/>
                  </a:lnTo>
                  <a:lnTo>
                    <a:pt x="731" y="447"/>
                  </a:lnTo>
                  <a:lnTo>
                    <a:pt x="731" y="491"/>
                  </a:lnTo>
                  <a:lnTo>
                    <a:pt x="731" y="535"/>
                  </a:lnTo>
                  <a:lnTo>
                    <a:pt x="731" y="579"/>
                  </a:lnTo>
                  <a:lnTo>
                    <a:pt x="731" y="625"/>
                  </a:lnTo>
                  <a:lnTo>
                    <a:pt x="731" y="672"/>
                  </a:lnTo>
                  <a:lnTo>
                    <a:pt x="685" y="672"/>
                  </a:lnTo>
                  <a:lnTo>
                    <a:pt x="685" y="701"/>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98" name="Freeform 99">
              <a:extLst>
                <a:ext uri="{FF2B5EF4-FFF2-40B4-BE49-F238E27FC236}">
                  <a16:creationId xmlns:a16="http://schemas.microsoft.com/office/drawing/2014/main" id="{4A89D82F-BAA3-7942-80CE-5E6878D59E08}"/>
                </a:ext>
              </a:extLst>
            </p:cNvPr>
            <p:cNvSpPr>
              <a:spLocks noChangeAspect="1"/>
            </p:cNvSpPr>
            <p:nvPr/>
          </p:nvSpPr>
          <p:spPr bwMode="gray">
            <a:xfrm>
              <a:off x="4934475" y="3619763"/>
              <a:ext cx="240815" cy="447117"/>
            </a:xfrm>
            <a:custGeom>
              <a:avLst/>
              <a:gdLst>
                <a:gd name="T0" fmla="*/ 492 w 492"/>
                <a:gd name="T1" fmla="*/ 237 h 761"/>
                <a:gd name="T2" fmla="*/ 492 w 492"/>
                <a:gd name="T3" fmla="*/ 325 h 761"/>
                <a:gd name="T4" fmla="*/ 443 w 492"/>
                <a:gd name="T5" fmla="*/ 376 h 761"/>
                <a:gd name="T6" fmla="*/ 413 w 492"/>
                <a:gd name="T7" fmla="*/ 430 h 761"/>
                <a:gd name="T8" fmla="*/ 404 w 492"/>
                <a:gd name="T9" fmla="*/ 461 h 761"/>
                <a:gd name="T10" fmla="*/ 394 w 492"/>
                <a:gd name="T11" fmla="*/ 502 h 761"/>
                <a:gd name="T12" fmla="*/ 415 w 492"/>
                <a:gd name="T13" fmla="*/ 512 h 761"/>
                <a:gd name="T14" fmla="*/ 440 w 492"/>
                <a:gd name="T15" fmla="*/ 583 h 761"/>
                <a:gd name="T16" fmla="*/ 432 w 492"/>
                <a:gd name="T17" fmla="*/ 593 h 761"/>
                <a:gd name="T18" fmla="*/ 387 w 492"/>
                <a:gd name="T19" fmla="*/ 615 h 761"/>
                <a:gd name="T20" fmla="*/ 355 w 492"/>
                <a:gd name="T21" fmla="*/ 654 h 761"/>
                <a:gd name="T22" fmla="*/ 335 w 492"/>
                <a:gd name="T23" fmla="*/ 673 h 761"/>
                <a:gd name="T24" fmla="*/ 260 w 492"/>
                <a:gd name="T25" fmla="*/ 692 h 761"/>
                <a:gd name="T26" fmla="*/ 265 w 492"/>
                <a:gd name="T27" fmla="*/ 707 h 761"/>
                <a:gd name="T28" fmla="*/ 204 w 492"/>
                <a:gd name="T29" fmla="*/ 735 h 761"/>
                <a:gd name="T30" fmla="*/ 147 w 492"/>
                <a:gd name="T31" fmla="*/ 743 h 761"/>
                <a:gd name="T32" fmla="*/ 119 w 492"/>
                <a:gd name="T33" fmla="*/ 759 h 761"/>
                <a:gd name="T34" fmla="*/ 74 w 492"/>
                <a:gd name="T35" fmla="*/ 703 h 761"/>
                <a:gd name="T36" fmla="*/ 42 w 492"/>
                <a:gd name="T37" fmla="*/ 684 h 761"/>
                <a:gd name="T38" fmla="*/ 33 w 492"/>
                <a:gd name="T39" fmla="*/ 649 h 761"/>
                <a:gd name="T40" fmla="*/ 84 w 492"/>
                <a:gd name="T41" fmla="*/ 645 h 761"/>
                <a:gd name="T42" fmla="*/ 85 w 492"/>
                <a:gd name="T43" fmla="*/ 628 h 761"/>
                <a:gd name="T44" fmla="*/ 71 w 492"/>
                <a:gd name="T45" fmla="*/ 553 h 761"/>
                <a:gd name="T46" fmla="*/ 47 w 492"/>
                <a:gd name="T47" fmla="*/ 505 h 761"/>
                <a:gd name="T48" fmla="*/ 33 w 492"/>
                <a:gd name="T49" fmla="*/ 495 h 761"/>
                <a:gd name="T50" fmla="*/ 2 w 492"/>
                <a:gd name="T51" fmla="*/ 438 h 761"/>
                <a:gd name="T52" fmla="*/ 10 w 492"/>
                <a:gd name="T53" fmla="*/ 422 h 761"/>
                <a:gd name="T54" fmla="*/ 93 w 492"/>
                <a:gd name="T55" fmla="*/ 316 h 761"/>
                <a:gd name="T56" fmla="*/ 110 w 492"/>
                <a:gd name="T57" fmla="*/ 167 h 761"/>
                <a:gd name="T58" fmla="*/ 91 w 492"/>
                <a:gd name="T59" fmla="*/ 126 h 761"/>
                <a:gd name="T60" fmla="*/ 76 w 492"/>
                <a:gd name="T61" fmla="*/ 17 h 761"/>
                <a:gd name="T62" fmla="*/ 170 w 492"/>
                <a:gd name="T63" fmla="*/ 26 h 761"/>
                <a:gd name="T64" fmla="*/ 262 w 492"/>
                <a:gd name="T65" fmla="*/ 73 h 761"/>
                <a:gd name="T66" fmla="*/ 355 w 492"/>
                <a:gd name="T67" fmla="*/ 121 h 761"/>
                <a:gd name="T68" fmla="*/ 447 w 492"/>
                <a:gd name="T69" fmla="*/ 169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2" h="761">
                  <a:moveTo>
                    <a:pt x="492" y="192"/>
                  </a:moveTo>
                  <a:lnTo>
                    <a:pt x="492" y="237"/>
                  </a:lnTo>
                  <a:lnTo>
                    <a:pt x="492" y="282"/>
                  </a:lnTo>
                  <a:lnTo>
                    <a:pt x="492" y="325"/>
                  </a:lnTo>
                  <a:lnTo>
                    <a:pt x="492" y="371"/>
                  </a:lnTo>
                  <a:lnTo>
                    <a:pt x="443" y="376"/>
                  </a:lnTo>
                  <a:lnTo>
                    <a:pt x="436" y="401"/>
                  </a:lnTo>
                  <a:lnTo>
                    <a:pt x="413" y="430"/>
                  </a:lnTo>
                  <a:lnTo>
                    <a:pt x="413" y="452"/>
                  </a:lnTo>
                  <a:lnTo>
                    <a:pt x="404" y="461"/>
                  </a:lnTo>
                  <a:lnTo>
                    <a:pt x="402" y="481"/>
                  </a:lnTo>
                  <a:lnTo>
                    <a:pt x="394" y="502"/>
                  </a:lnTo>
                  <a:lnTo>
                    <a:pt x="394" y="515"/>
                  </a:lnTo>
                  <a:lnTo>
                    <a:pt x="415" y="512"/>
                  </a:lnTo>
                  <a:lnTo>
                    <a:pt x="418" y="537"/>
                  </a:lnTo>
                  <a:lnTo>
                    <a:pt x="440" y="583"/>
                  </a:lnTo>
                  <a:lnTo>
                    <a:pt x="440" y="590"/>
                  </a:lnTo>
                  <a:lnTo>
                    <a:pt x="432" y="593"/>
                  </a:lnTo>
                  <a:lnTo>
                    <a:pt x="398" y="602"/>
                  </a:lnTo>
                  <a:lnTo>
                    <a:pt x="387" y="615"/>
                  </a:lnTo>
                  <a:lnTo>
                    <a:pt x="387" y="628"/>
                  </a:lnTo>
                  <a:lnTo>
                    <a:pt x="355" y="654"/>
                  </a:lnTo>
                  <a:lnTo>
                    <a:pt x="350" y="666"/>
                  </a:lnTo>
                  <a:lnTo>
                    <a:pt x="335" y="673"/>
                  </a:lnTo>
                  <a:lnTo>
                    <a:pt x="328" y="681"/>
                  </a:lnTo>
                  <a:lnTo>
                    <a:pt x="260" y="692"/>
                  </a:lnTo>
                  <a:lnTo>
                    <a:pt x="259" y="698"/>
                  </a:lnTo>
                  <a:lnTo>
                    <a:pt x="265" y="707"/>
                  </a:lnTo>
                  <a:lnTo>
                    <a:pt x="243" y="732"/>
                  </a:lnTo>
                  <a:lnTo>
                    <a:pt x="204" y="735"/>
                  </a:lnTo>
                  <a:lnTo>
                    <a:pt x="162" y="755"/>
                  </a:lnTo>
                  <a:lnTo>
                    <a:pt x="147" y="743"/>
                  </a:lnTo>
                  <a:lnTo>
                    <a:pt x="140" y="749"/>
                  </a:lnTo>
                  <a:lnTo>
                    <a:pt x="119" y="759"/>
                  </a:lnTo>
                  <a:lnTo>
                    <a:pt x="91" y="761"/>
                  </a:lnTo>
                  <a:lnTo>
                    <a:pt x="74" y="703"/>
                  </a:lnTo>
                  <a:lnTo>
                    <a:pt x="65" y="695"/>
                  </a:lnTo>
                  <a:lnTo>
                    <a:pt x="42" y="684"/>
                  </a:lnTo>
                  <a:lnTo>
                    <a:pt x="31" y="662"/>
                  </a:lnTo>
                  <a:lnTo>
                    <a:pt x="33" y="649"/>
                  </a:lnTo>
                  <a:lnTo>
                    <a:pt x="40" y="642"/>
                  </a:lnTo>
                  <a:lnTo>
                    <a:pt x="84" y="645"/>
                  </a:lnTo>
                  <a:lnTo>
                    <a:pt x="90" y="641"/>
                  </a:lnTo>
                  <a:lnTo>
                    <a:pt x="85" y="628"/>
                  </a:lnTo>
                  <a:lnTo>
                    <a:pt x="65" y="595"/>
                  </a:lnTo>
                  <a:lnTo>
                    <a:pt x="71" y="553"/>
                  </a:lnTo>
                  <a:lnTo>
                    <a:pt x="57" y="511"/>
                  </a:lnTo>
                  <a:lnTo>
                    <a:pt x="47" y="505"/>
                  </a:lnTo>
                  <a:lnTo>
                    <a:pt x="44" y="495"/>
                  </a:lnTo>
                  <a:lnTo>
                    <a:pt x="33" y="495"/>
                  </a:lnTo>
                  <a:lnTo>
                    <a:pt x="6" y="463"/>
                  </a:lnTo>
                  <a:lnTo>
                    <a:pt x="2" y="438"/>
                  </a:lnTo>
                  <a:lnTo>
                    <a:pt x="0" y="427"/>
                  </a:lnTo>
                  <a:lnTo>
                    <a:pt x="10" y="422"/>
                  </a:lnTo>
                  <a:lnTo>
                    <a:pt x="14" y="404"/>
                  </a:lnTo>
                  <a:lnTo>
                    <a:pt x="93" y="316"/>
                  </a:lnTo>
                  <a:lnTo>
                    <a:pt x="98" y="232"/>
                  </a:lnTo>
                  <a:lnTo>
                    <a:pt x="110" y="167"/>
                  </a:lnTo>
                  <a:lnTo>
                    <a:pt x="121" y="146"/>
                  </a:lnTo>
                  <a:lnTo>
                    <a:pt x="91" y="126"/>
                  </a:lnTo>
                  <a:lnTo>
                    <a:pt x="77" y="93"/>
                  </a:lnTo>
                  <a:lnTo>
                    <a:pt x="76" y="17"/>
                  </a:lnTo>
                  <a:lnTo>
                    <a:pt x="124" y="0"/>
                  </a:lnTo>
                  <a:lnTo>
                    <a:pt x="170" y="26"/>
                  </a:lnTo>
                  <a:lnTo>
                    <a:pt x="217" y="50"/>
                  </a:lnTo>
                  <a:lnTo>
                    <a:pt x="262" y="73"/>
                  </a:lnTo>
                  <a:lnTo>
                    <a:pt x="308" y="97"/>
                  </a:lnTo>
                  <a:lnTo>
                    <a:pt x="355" y="121"/>
                  </a:lnTo>
                  <a:lnTo>
                    <a:pt x="401" y="144"/>
                  </a:lnTo>
                  <a:lnTo>
                    <a:pt x="447" y="169"/>
                  </a:lnTo>
                  <a:lnTo>
                    <a:pt x="492" y="192"/>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99" name="Freeform 100">
              <a:extLst>
                <a:ext uri="{FF2B5EF4-FFF2-40B4-BE49-F238E27FC236}">
                  <a16:creationId xmlns:a16="http://schemas.microsoft.com/office/drawing/2014/main" id="{3C787E9B-0C92-9045-8170-6F9E71064E97}"/>
                </a:ext>
              </a:extLst>
            </p:cNvPr>
            <p:cNvSpPr>
              <a:spLocks noChangeAspect="1"/>
            </p:cNvSpPr>
            <p:nvPr/>
          </p:nvSpPr>
          <p:spPr bwMode="gray">
            <a:xfrm>
              <a:off x="4342802" y="3232135"/>
              <a:ext cx="269523" cy="259058"/>
            </a:xfrm>
            <a:custGeom>
              <a:avLst/>
              <a:gdLst>
                <a:gd name="T0" fmla="*/ 201 w 552"/>
                <a:gd name="T1" fmla="*/ 440 h 441"/>
                <a:gd name="T2" fmla="*/ 150 w 552"/>
                <a:gd name="T3" fmla="*/ 440 h 441"/>
                <a:gd name="T4" fmla="*/ 102 w 552"/>
                <a:gd name="T5" fmla="*/ 440 h 441"/>
                <a:gd name="T6" fmla="*/ 51 w 552"/>
                <a:gd name="T7" fmla="*/ 441 h 441"/>
                <a:gd name="T8" fmla="*/ 0 w 552"/>
                <a:gd name="T9" fmla="*/ 441 h 441"/>
                <a:gd name="T10" fmla="*/ 3 w 552"/>
                <a:gd name="T11" fmla="*/ 432 h 441"/>
                <a:gd name="T12" fmla="*/ 64 w 552"/>
                <a:gd name="T13" fmla="*/ 415 h 441"/>
                <a:gd name="T14" fmla="*/ 85 w 552"/>
                <a:gd name="T15" fmla="*/ 396 h 441"/>
                <a:gd name="T16" fmla="*/ 125 w 552"/>
                <a:gd name="T17" fmla="*/ 366 h 441"/>
                <a:gd name="T18" fmla="*/ 139 w 552"/>
                <a:gd name="T19" fmla="*/ 344 h 441"/>
                <a:gd name="T20" fmla="*/ 153 w 552"/>
                <a:gd name="T21" fmla="*/ 318 h 441"/>
                <a:gd name="T22" fmla="*/ 152 w 552"/>
                <a:gd name="T23" fmla="*/ 302 h 441"/>
                <a:gd name="T24" fmla="*/ 144 w 552"/>
                <a:gd name="T25" fmla="*/ 288 h 441"/>
                <a:gd name="T26" fmla="*/ 149 w 552"/>
                <a:gd name="T27" fmla="*/ 248 h 441"/>
                <a:gd name="T28" fmla="*/ 164 w 552"/>
                <a:gd name="T29" fmla="*/ 220 h 441"/>
                <a:gd name="T30" fmla="*/ 175 w 552"/>
                <a:gd name="T31" fmla="*/ 215 h 441"/>
                <a:gd name="T32" fmla="*/ 178 w 552"/>
                <a:gd name="T33" fmla="*/ 186 h 441"/>
                <a:gd name="T34" fmla="*/ 213 w 552"/>
                <a:gd name="T35" fmla="*/ 146 h 441"/>
                <a:gd name="T36" fmla="*/ 264 w 552"/>
                <a:gd name="T37" fmla="*/ 123 h 441"/>
                <a:gd name="T38" fmla="*/ 291 w 552"/>
                <a:gd name="T39" fmla="*/ 100 h 441"/>
                <a:gd name="T40" fmla="*/ 308 w 552"/>
                <a:gd name="T41" fmla="*/ 73 h 441"/>
                <a:gd name="T42" fmla="*/ 330 w 552"/>
                <a:gd name="T43" fmla="*/ 8 h 441"/>
                <a:gd name="T44" fmla="*/ 352 w 552"/>
                <a:gd name="T45" fmla="*/ 0 h 441"/>
                <a:gd name="T46" fmla="*/ 373 w 552"/>
                <a:gd name="T47" fmla="*/ 27 h 441"/>
                <a:gd name="T48" fmla="*/ 399 w 552"/>
                <a:gd name="T49" fmla="*/ 41 h 441"/>
                <a:gd name="T50" fmla="*/ 461 w 552"/>
                <a:gd name="T51" fmla="*/ 32 h 441"/>
                <a:gd name="T52" fmla="*/ 482 w 552"/>
                <a:gd name="T53" fmla="*/ 44 h 441"/>
                <a:gd name="T54" fmla="*/ 489 w 552"/>
                <a:gd name="T55" fmla="*/ 44 h 441"/>
                <a:gd name="T56" fmla="*/ 507 w 552"/>
                <a:gd name="T57" fmla="*/ 45 h 441"/>
                <a:gd name="T58" fmla="*/ 503 w 552"/>
                <a:gd name="T59" fmla="*/ 49 h 441"/>
                <a:gd name="T60" fmla="*/ 503 w 552"/>
                <a:gd name="T61" fmla="*/ 54 h 441"/>
                <a:gd name="T62" fmla="*/ 516 w 552"/>
                <a:gd name="T63" fmla="*/ 62 h 441"/>
                <a:gd name="T64" fmla="*/ 515 w 552"/>
                <a:gd name="T65" fmla="*/ 66 h 441"/>
                <a:gd name="T66" fmla="*/ 520 w 552"/>
                <a:gd name="T67" fmla="*/ 75 h 441"/>
                <a:gd name="T68" fmla="*/ 516 w 552"/>
                <a:gd name="T69" fmla="*/ 81 h 441"/>
                <a:gd name="T70" fmla="*/ 521 w 552"/>
                <a:gd name="T71" fmla="*/ 98 h 441"/>
                <a:gd name="T72" fmla="*/ 518 w 552"/>
                <a:gd name="T73" fmla="*/ 117 h 441"/>
                <a:gd name="T74" fmla="*/ 524 w 552"/>
                <a:gd name="T75" fmla="*/ 127 h 441"/>
                <a:gd name="T76" fmla="*/ 523 w 552"/>
                <a:gd name="T77" fmla="*/ 140 h 441"/>
                <a:gd name="T78" fmla="*/ 528 w 552"/>
                <a:gd name="T79" fmla="*/ 158 h 441"/>
                <a:gd name="T80" fmla="*/ 535 w 552"/>
                <a:gd name="T81" fmla="*/ 171 h 441"/>
                <a:gd name="T82" fmla="*/ 552 w 552"/>
                <a:gd name="T83" fmla="*/ 184 h 441"/>
                <a:gd name="T84" fmla="*/ 541 w 552"/>
                <a:gd name="T85" fmla="*/ 192 h 441"/>
                <a:gd name="T86" fmla="*/ 545 w 552"/>
                <a:gd name="T87" fmla="*/ 205 h 441"/>
                <a:gd name="T88" fmla="*/ 466 w 552"/>
                <a:gd name="T89" fmla="*/ 206 h 441"/>
                <a:gd name="T90" fmla="*/ 461 w 552"/>
                <a:gd name="T91" fmla="*/ 222 h 441"/>
                <a:gd name="T92" fmla="*/ 424 w 552"/>
                <a:gd name="T93" fmla="*/ 231 h 441"/>
                <a:gd name="T94" fmla="*/ 421 w 552"/>
                <a:gd name="T95" fmla="*/ 242 h 441"/>
                <a:gd name="T96" fmla="*/ 428 w 552"/>
                <a:gd name="T97" fmla="*/ 245 h 441"/>
                <a:gd name="T98" fmla="*/ 421 w 552"/>
                <a:gd name="T99" fmla="*/ 257 h 441"/>
                <a:gd name="T100" fmla="*/ 433 w 552"/>
                <a:gd name="T101" fmla="*/ 262 h 441"/>
                <a:gd name="T102" fmla="*/ 432 w 552"/>
                <a:gd name="T103" fmla="*/ 268 h 441"/>
                <a:gd name="T104" fmla="*/ 376 w 552"/>
                <a:gd name="T105" fmla="*/ 291 h 441"/>
                <a:gd name="T106" fmla="*/ 357 w 552"/>
                <a:gd name="T107" fmla="*/ 315 h 441"/>
                <a:gd name="T108" fmla="*/ 342 w 552"/>
                <a:gd name="T109" fmla="*/ 325 h 441"/>
                <a:gd name="T110" fmla="*/ 298 w 552"/>
                <a:gd name="T111" fmla="*/ 328 h 441"/>
                <a:gd name="T112" fmla="*/ 294 w 552"/>
                <a:gd name="T113" fmla="*/ 340 h 441"/>
                <a:gd name="T114" fmla="*/ 271 w 552"/>
                <a:gd name="T115" fmla="*/ 338 h 441"/>
                <a:gd name="T116" fmla="*/ 250 w 552"/>
                <a:gd name="T117" fmla="*/ 353 h 441"/>
                <a:gd name="T118" fmla="*/ 240 w 552"/>
                <a:gd name="T119" fmla="*/ 355 h 441"/>
                <a:gd name="T120" fmla="*/ 223 w 552"/>
                <a:gd name="T121" fmla="*/ 366 h 441"/>
                <a:gd name="T122" fmla="*/ 201 w 552"/>
                <a:gd name="T123" fmla="*/ 383 h 441"/>
                <a:gd name="T124" fmla="*/ 201 w 552"/>
                <a:gd name="T125" fmla="*/ 440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2" h="441">
                  <a:moveTo>
                    <a:pt x="201" y="440"/>
                  </a:moveTo>
                  <a:lnTo>
                    <a:pt x="150" y="440"/>
                  </a:lnTo>
                  <a:lnTo>
                    <a:pt x="102" y="440"/>
                  </a:lnTo>
                  <a:lnTo>
                    <a:pt x="51" y="441"/>
                  </a:lnTo>
                  <a:lnTo>
                    <a:pt x="0" y="441"/>
                  </a:lnTo>
                  <a:lnTo>
                    <a:pt x="3" y="432"/>
                  </a:lnTo>
                  <a:lnTo>
                    <a:pt x="64" y="415"/>
                  </a:lnTo>
                  <a:lnTo>
                    <a:pt x="85" y="396"/>
                  </a:lnTo>
                  <a:lnTo>
                    <a:pt x="125" y="366"/>
                  </a:lnTo>
                  <a:lnTo>
                    <a:pt x="139" y="344"/>
                  </a:lnTo>
                  <a:lnTo>
                    <a:pt x="153" y="318"/>
                  </a:lnTo>
                  <a:lnTo>
                    <a:pt x="152" y="302"/>
                  </a:lnTo>
                  <a:lnTo>
                    <a:pt x="144" y="288"/>
                  </a:lnTo>
                  <a:lnTo>
                    <a:pt x="149" y="248"/>
                  </a:lnTo>
                  <a:lnTo>
                    <a:pt x="164" y="220"/>
                  </a:lnTo>
                  <a:lnTo>
                    <a:pt x="175" y="215"/>
                  </a:lnTo>
                  <a:lnTo>
                    <a:pt x="178" y="186"/>
                  </a:lnTo>
                  <a:lnTo>
                    <a:pt x="213" y="146"/>
                  </a:lnTo>
                  <a:lnTo>
                    <a:pt x="264" y="123"/>
                  </a:lnTo>
                  <a:lnTo>
                    <a:pt x="291" y="100"/>
                  </a:lnTo>
                  <a:lnTo>
                    <a:pt x="308" y="73"/>
                  </a:lnTo>
                  <a:lnTo>
                    <a:pt x="330" y="8"/>
                  </a:lnTo>
                  <a:lnTo>
                    <a:pt x="352" y="0"/>
                  </a:lnTo>
                  <a:lnTo>
                    <a:pt x="373" y="27"/>
                  </a:lnTo>
                  <a:lnTo>
                    <a:pt x="399" y="41"/>
                  </a:lnTo>
                  <a:lnTo>
                    <a:pt x="461" y="32"/>
                  </a:lnTo>
                  <a:lnTo>
                    <a:pt x="482" y="44"/>
                  </a:lnTo>
                  <a:lnTo>
                    <a:pt x="489" y="44"/>
                  </a:lnTo>
                  <a:lnTo>
                    <a:pt x="507" y="45"/>
                  </a:lnTo>
                  <a:lnTo>
                    <a:pt x="503" y="49"/>
                  </a:lnTo>
                  <a:lnTo>
                    <a:pt x="503" y="54"/>
                  </a:lnTo>
                  <a:lnTo>
                    <a:pt x="516" y="62"/>
                  </a:lnTo>
                  <a:lnTo>
                    <a:pt x="515" y="66"/>
                  </a:lnTo>
                  <a:lnTo>
                    <a:pt x="520" y="75"/>
                  </a:lnTo>
                  <a:lnTo>
                    <a:pt x="516" y="81"/>
                  </a:lnTo>
                  <a:lnTo>
                    <a:pt x="521" y="98"/>
                  </a:lnTo>
                  <a:lnTo>
                    <a:pt x="518" y="117"/>
                  </a:lnTo>
                  <a:lnTo>
                    <a:pt x="524" y="127"/>
                  </a:lnTo>
                  <a:lnTo>
                    <a:pt x="523" y="140"/>
                  </a:lnTo>
                  <a:lnTo>
                    <a:pt x="528" y="158"/>
                  </a:lnTo>
                  <a:lnTo>
                    <a:pt x="535" y="171"/>
                  </a:lnTo>
                  <a:lnTo>
                    <a:pt x="552" y="184"/>
                  </a:lnTo>
                  <a:lnTo>
                    <a:pt x="541" y="192"/>
                  </a:lnTo>
                  <a:lnTo>
                    <a:pt x="545" y="205"/>
                  </a:lnTo>
                  <a:lnTo>
                    <a:pt x="466" y="206"/>
                  </a:lnTo>
                  <a:lnTo>
                    <a:pt x="461" y="222"/>
                  </a:lnTo>
                  <a:lnTo>
                    <a:pt x="424" y="231"/>
                  </a:lnTo>
                  <a:lnTo>
                    <a:pt x="421" y="242"/>
                  </a:lnTo>
                  <a:lnTo>
                    <a:pt x="428" y="245"/>
                  </a:lnTo>
                  <a:lnTo>
                    <a:pt x="421" y="257"/>
                  </a:lnTo>
                  <a:lnTo>
                    <a:pt x="433" y="262"/>
                  </a:lnTo>
                  <a:lnTo>
                    <a:pt x="432" y="268"/>
                  </a:lnTo>
                  <a:lnTo>
                    <a:pt x="376" y="291"/>
                  </a:lnTo>
                  <a:lnTo>
                    <a:pt x="357" y="315"/>
                  </a:lnTo>
                  <a:lnTo>
                    <a:pt x="342" y="325"/>
                  </a:lnTo>
                  <a:lnTo>
                    <a:pt x="298" y="328"/>
                  </a:lnTo>
                  <a:lnTo>
                    <a:pt x="294" y="340"/>
                  </a:lnTo>
                  <a:lnTo>
                    <a:pt x="271" y="338"/>
                  </a:lnTo>
                  <a:lnTo>
                    <a:pt x="250" y="353"/>
                  </a:lnTo>
                  <a:lnTo>
                    <a:pt x="240" y="355"/>
                  </a:lnTo>
                  <a:lnTo>
                    <a:pt x="223" y="366"/>
                  </a:lnTo>
                  <a:lnTo>
                    <a:pt x="201" y="383"/>
                  </a:lnTo>
                  <a:lnTo>
                    <a:pt x="201" y="44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00" name="Freeform 101">
              <a:extLst>
                <a:ext uri="{FF2B5EF4-FFF2-40B4-BE49-F238E27FC236}">
                  <a16:creationId xmlns:a16="http://schemas.microsoft.com/office/drawing/2014/main" id="{082D8298-1263-B742-B0E1-1F89479BD583}"/>
                </a:ext>
              </a:extLst>
            </p:cNvPr>
            <p:cNvSpPr>
              <a:spLocks noChangeAspect="1"/>
            </p:cNvSpPr>
            <p:nvPr/>
          </p:nvSpPr>
          <p:spPr bwMode="gray">
            <a:xfrm>
              <a:off x="4251898" y="3504627"/>
              <a:ext cx="272713" cy="360762"/>
            </a:xfrm>
            <a:custGeom>
              <a:avLst/>
              <a:gdLst>
                <a:gd name="T0" fmla="*/ 368 w 557"/>
                <a:gd name="T1" fmla="*/ 577 h 613"/>
                <a:gd name="T2" fmla="*/ 473 w 557"/>
                <a:gd name="T3" fmla="*/ 580 h 613"/>
                <a:gd name="T4" fmla="*/ 536 w 557"/>
                <a:gd name="T5" fmla="*/ 540 h 613"/>
                <a:gd name="T6" fmla="*/ 512 w 557"/>
                <a:gd name="T7" fmla="*/ 484 h 613"/>
                <a:gd name="T8" fmla="*/ 502 w 557"/>
                <a:gd name="T9" fmla="*/ 379 h 613"/>
                <a:gd name="T10" fmla="*/ 490 w 557"/>
                <a:gd name="T11" fmla="*/ 276 h 613"/>
                <a:gd name="T12" fmla="*/ 480 w 557"/>
                <a:gd name="T13" fmla="*/ 170 h 613"/>
                <a:gd name="T14" fmla="*/ 515 w 557"/>
                <a:gd name="T15" fmla="*/ 116 h 613"/>
                <a:gd name="T16" fmla="*/ 514 w 557"/>
                <a:gd name="T17" fmla="*/ 86 h 613"/>
                <a:gd name="T18" fmla="*/ 430 w 557"/>
                <a:gd name="T19" fmla="*/ 29 h 613"/>
                <a:gd name="T20" fmla="*/ 384 w 557"/>
                <a:gd name="T21" fmla="*/ 63 h 613"/>
                <a:gd name="T22" fmla="*/ 311 w 557"/>
                <a:gd name="T23" fmla="*/ 61 h 613"/>
                <a:gd name="T24" fmla="*/ 238 w 557"/>
                <a:gd name="T25" fmla="*/ 61 h 613"/>
                <a:gd name="T26" fmla="*/ 236 w 557"/>
                <a:gd name="T27" fmla="*/ 145 h 613"/>
                <a:gd name="T28" fmla="*/ 192 w 557"/>
                <a:gd name="T29" fmla="*/ 201 h 613"/>
                <a:gd name="T30" fmla="*/ 184 w 557"/>
                <a:gd name="T31" fmla="*/ 250 h 613"/>
                <a:gd name="T32" fmla="*/ 143 w 557"/>
                <a:gd name="T33" fmla="*/ 293 h 613"/>
                <a:gd name="T34" fmla="*/ 57 w 557"/>
                <a:gd name="T35" fmla="*/ 293 h 613"/>
                <a:gd name="T36" fmla="*/ 0 w 557"/>
                <a:gd name="T37" fmla="*/ 312 h 613"/>
                <a:gd name="T38" fmla="*/ 18 w 557"/>
                <a:gd name="T39" fmla="*/ 331 h 613"/>
                <a:gd name="T40" fmla="*/ 33 w 557"/>
                <a:gd name="T41" fmla="*/ 346 h 613"/>
                <a:gd name="T42" fmla="*/ 35 w 557"/>
                <a:gd name="T43" fmla="*/ 371 h 613"/>
                <a:gd name="T44" fmla="*/ 38 w 557"/>
                <a:gd name="T45" fmla="*/ 413 h 613"/>
                <a:gd name="T46" fmla="*/ 43 w 557"/>
                <a:gd name="T47" fmla="*/ 476 h 613"/>
                <a:gd name="T48" fmla="*/ 29 w 557"/>
                <a:gd name="T49" fmla="*/ 529 h 613"/>
                <a:gd name="T50" fmla="*/ 85 w 557"/>
                <a:gd name="T51" fmla="*/ 523 h 613"/>
                <a:gd name="T52" fmla="*/ 143 w 557"/>
                <a:gd name="T53" fmla="*/ 547 h 613"/>
                <a:gd name="T54" fmla="*/ 172 w 557"/>
                <a:gd name="T55" fmla="*/ 571 h 613"/>
                <a:gd name="T56" fmla="*/ 190 w 557"/>
                <a:gd name="T57" fmla="*/ 588 h 613"/>
                <a:gd name="T58" fmla="*/ 221 w 557"/>
                <a:gd name="T59" fmla="*/ 613 h 613"/>
                <a:gd name="T60" fmla="*/ 257 w 557"/>
                <a:gd name="T61" fmla="*/ 561 h 613"/>
                <a:gd name="T62" fmla="*/ 278 w 557"/>
                <a:gd name="T63" fmla="*/ 592 h 613"/>
                <a:gd name="T64" fmla="*/ 316 w 557"/>
                <a:gd name="T65" fmla="*/ 575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7" h="613">
                  <a:moveTo>
                    <a:pt x="316" y="575"/>
                  </a:moveTo>
                  <a:lnTo>
                    <a:pt x="368" y="577"/>
                  </a:lnTo>
                  <a:lnTo>
                    <a:pt x="421" y="580"/>
                  </a:lnTo>
                  <a:lnTo>
                    <a:pt x="473" y="580"/>
                  </a:lnTo>
                  <a:lnTo>
                    <a:pt x="526" y="581"/>
                  </a:lnTo>
                  <a:lnTo>
                    <a:pt x="536" y="540"/>
                  </a:lnTo>
                  <a:lnTo>
                    <a:pt x="518" y="535"/>
                  </a:lnTo>
                  <a:lnTo>
                    <a:pt x="512" y="484"/>
                  </a:lnTo>
                  <a:lnTo>
                    <a:pt x="507" y="432"/>
                  </a:lnTo>
                  <a:lnTo>
                    <a:pt x="502" y="379"/>
                  </a:lnTo>
                  <a:lnTo>
                    <a:pt x="497" y="329"/>
                  </a:lnTo>
                  <a:lnTo>
                    <a:pt x="490" y="276"/>
                  </a:lnTo>
                  <a:lnTo>
                    <a:pt x="485" y="222"/>
                  </a:lnTo>
                  <a:lnTo>
                    <a:pt x="480" y="170"/>
                  </a:lnTo>
                  <a:lnTo>
                    <a:pt x="475" y="116"/>
                  </a:lnTo>
                  <a:lnTo>
                    <a:pt x="515" y="116"/>
                  </a:lnTo>
                  <a:lnTo>
                    <a:pt x="557" y="116"/>
                  </a:lnTo>
                  <a:lnTo>
                    <a:pt x="514" y="86"/>
                  </a:lnTo>
                  <a:lnTo>
                    <a:pt x="472" y="58"/>
                  </a:lnTo>
                  <a:lnTo>
                    <a:pt x="430" y="29"/>
                  </a:lnTo>
                  <a:lnTo>
                    <a:pt x="387" y="0"/>
                  </a:lnTo>
                  <a:lnTo>
                    <a:pt x="384" y="63"/>
                  </a:lnTo>
                  <a:lnTo>
                    <a:pt x="348" y="63"/>
                  </a:lnTo>
                  <a:lnTo>
                    <a:pt x="311" y="61"/>
                  </a:lnTo>
                  <a:lnTo>
                    <a:pt x="274" y="61"/>
                  </a:lnTo>
                  <a:lnTo>
                    <a:pt x="238" y="61"/>
                  </a:lnTo>
                  <a:lnTo>
                    <a:pt x="238" y="100"/>
                  </a:lnTo>
                  <a:lnTo>
                    <a:pt x="236" y="145"/>
                  </a:lnTo>
                  <a:lnTo>
                    <a:pt x="236" y="190"/>
                  </a:lnTo>
                  <a:lnTo>
                    <a:pt x="192" y="201"/>
                  </a:lnTo>
                  <a:lnTo>
                    <a:pt x="181" y="217"/>
                  </a:lnTo>
                  <a:lnTo>
                    <a:pt x="184" y="250"/>
                  </a:lnTo>
                  <a:lnTo>
                    <a:pt x="187" y="293"/>
                  </a:lnTo>
                  <a:lnTo>
                    <a:pt x="143" y="293"/>
                  </a:lnTo>
                  <a:lnTo>
                    <a:pt x="101" y="293"/>
                  </a:lnTo>
                  <a:lnTo>
                    <a:pt x="57" y="293"/>
                  </a:lnTo>
                  <a:lnTo>
                    <a:pt x="14" y="293"/>
                  </a:lnTo>
                  <a:lnTo>
                    <a:pt x="0" y="312"/>
                  </a:lnTo>
                  <a:lnTo>
                    <a:pt x="9" y="310"/>
                  </a:lnTo>
                  <a:lnTo>
                    <a:pt x="18" y="331"/>
                  </a:lnTo>
                  <a:lnTo>
                    <a:pt x="26" y="331"/>
                  </a:lnTo>
                  <a:lnTo>
                    <a:pt x="33" y="346"/>
                  </a:lnTo>
                  <a:lnTo>
                    <a:pt x="37" y="365"/>
                  </a:lnTo>
                  <a:lnTo>
                    <a:pt x="35" y="371"/>
                  </a:lnTo>
                  <a:lnTo>
                    <a:pt x="23" y="391"/>
                  </a:lnTo>
                  <a:lnTo>
                    <a:pt x="38" y="413"/>
                  </a:lnTo>
                  <a:lnTo>
                    <a:pt x="43" y="436"/>
                  </a:lnTo>
                  <a:lnTo>
                    <a:pt x="43" y="476"/>
                  </a:lnTo>
                  <a:lnTo>
                    <a:pt x="20" y="549"/>
                  </a:lnTo>
                  <a:lnTo>
                    <a:pt x="29" y="529"/>
                  </a:lnTo>
                  <a:lnTo>
                    <a:pt x="59" y="532"/>
                  </a:lnTo>
                  <a:lnTo>
                    <a:pt x="85" y="523"/>
                  </a:lnTo>
                  <a:lnTo>
                    <a:pt x="119" y="523"/>
                  </a:lnTo>
                  <a:lnTo>
                    <a:pt x="143" y="547"/>
                  </a:lnTo>
                  <a:lnTo>
                    <a:pt x="160" y="547"/>
                  </a:lnTo>
                  <a:lnTo>
                    <a:pt x="172" y="571"/>
                  </a:lnTo>
                  <a:lnTo>
                    <a:pt x="185" y="577"/>
                  </a:lnTo>
                  <a:lnTo>
                    <a:pt x="190" y="588"/>
                  </a:lnTo>
                  <a:lnTo>
                    <a:pt x="189" y="589"/>
                  </a:lnTo>
                  <a:lnTo>
                    <a:pt x="221" y="613"/>
                  </a:lnTo>
                  <a:lnTo>
                    <a:pt x="241" y="594"/>
                  </a:lnTo>
                  <a:lnTo>
                    <a:pt x="257" y="561"/>
                  </a:lnTo>
                  <a:lnTo>
                    <a:pt x="269" y="566"/>
                  </a:lnTo>
                  <a:lnTo>
                    <a:pt x="278" y="592"/>
                  </a:lnTo>
                  <a:lnTo>
                    <a:pt x="292" y="594"/>
                  </a:lnTo>
                  <a:lnTo>
                    <a:pt x="316" y="575"/>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01" name="Freeform 102">
              <a:extLst>
                <a:ext uri="{FF2B5EF4-FFF2-40B4-BE49-F238E27FC236}">
                  <a16:creationId xmlns:a16="http://schemas.microsoft.com/office/drawing/2014/main" id="{2AD103DD-8898-6041-AC52-1A2C364D6251}"/>
                </a:ext>
              </a:extLst>
            </p:cNvPr>
            <p:cNvSpPr>
              <a:spLocks noChangeAspect="1"/>
            </p:cNvSpPr>
            <p:nvPr/>
          </p:nvSpPr>
          <p:spPr bwMode="gray">
            <a:xfrm>
              <a:off x="4251898" y="3491193"/>
              <a:ext cx="189782" cy="197651"/>
            </a:xfrm>
            <a:custGeom>
              <a:avLst/>
              <a:gdLst>
                <a:gd name="T0" fmla="*/ 384 w 387"/>
                <a:gd name="T1" fmla="*/ 88 h 337"/>
                <a:gd name="T2" fmla="*/ 348 w 387"/>
                <a:gd name="T3" fmla="*/ 88 h 337"/>
                <a:gd name="T4" fmla="*/ 311 w 387"/>
                <a:gd name="T5" fmla="*/ 86 h 337"/>
                <a:gd name="T6" fmla="*/ 274 w 387"/>
                <a:gd name="T7" fmla="*/ 86 h 337"/>
                <a:gd name="T8" fmla="*/ 238 w 387"/>
                <a:gd name="T9" fmla="*/ 86 h 337"/>
                <a:gd name="T10" fmla="*/ 238 w 387"/>
                <a:gd name="T11" fmla="*/ 125 h 337"/>
                <a:gd name="T12" fmla="*/ 236 w 387"/>
                <a:gd name="T13" fmla="*/ 170 h 337"/>
                <a:gd name="T14" fmla="*/ 236 w 387"/>
                <a:gd name="T15" fmla="*/ 215 h 337"/>
                <a:gd name="T16" fmla="*/ 192 w 387"/>
                <a:gd name="T17" fmla="*/ 226 h 337"/>
                <a:gd name="T18" fmla="*/ 181 w 387"/>
                <a:gd name="T19" fmla="*/ 242 h 337"/>
                <a:gd name="T20" fmla="*/ 184 w 387"/>
                <a:gd name="T21" fmla="*/ 275 h 337"/>
                <a:gd name="T22" fmla="*/ 187 w 387"/>
                <a:gd name="T23" fmla="*/ 318 h 337"/>
                <a:gd name="T24" fmla="*/ 143 w 387"/>
                <a:gd name="T25" fmla="*/ 318 h 337"/>
                <a:gd name="T26" fmla="*/ 101 w 387"/>
                <a:gd name="T27" fmla="*/ 318 h 337"/>
                <a:gd name="T28" fmla="*/ 57 w 387"/>
                <a:gd name="T29" fmla="*/ 318 h 337"/>
                <a:gd name="T30" fmla="*/ 14 w 387"/>
                <a:gd name="T31" fmla="*/ 318 h 337"/>
                <a:gd name="T32" fmla="*/ 0 w 387"/>
                <a:gd name="T33" fmla="*/ 337 h 337"/>
                <a:gd name="T34" fmla="*/ 4 w 387"/>
                <a:gd name="T35" fmla="*/ 300 h 337"/>
                <a:gd name="T36" fmla="*/ 12 w 387"/>
                <a:gd name="T37" fmla="*/ 277 h 337"/>
                <a:gd name="T38" fmla="*/ 23 w 387"/>
                <a:gd name="T39" fmla="*/ 272 h 337"/>
                <a:gd name="T40" fmla="*/ 40 w 387"/>
                <a:gd name="T41" fmla="*/ 238 h 337"/>
                <a:gd name="T42" fmla="*/ 38 w 387"/>
                <a:gd name="T43" fmla="*/ 232 h 337"/>
                <a:gd name="T44" fmla="*/ 60 w 387"/>
                <a:gd name="T45" fmla="*/ 193 h 337"/>
                <a:gd name="T46" fmla="*/ 102 w 387"/>
                <a:gd name="T47" fmla="*/ 137 h 337"/>
                <a:gd name="T48" fmla="*/ 116 w 387"/>
                <a:gd name="T49" fmla="*/ 85 h 337"/>
                <a:gd name="T50" fmla="*/ 130 w 387"/>
                <a:gd name="T51" fmla="*/ 68 h 337"/>
                <a:gd name="T52" fmla="*/ 160 w 387"/>
                <a:gd name="T53" fmla="*/ 49 h 337"/>
                <a:gd name="T54" fmla="*/ 168 w 387"/>
                <a:gd name="T55" fmla="*/ 29 h 337"/>
                <a:gd name="T56" fmla="*/ 184 w 387"/>
                <a:gd name="T57" fmla="*/ 1 h 337"/>
                <a:gd name="T58" fmla="*/ 235 w 387"/>
                <a:gd name="T59" fmla="*/ 1 h 337"/>
                <a:gd name="T60" fmla="*/ 286 w 387"/>
                <a:gd name="T61" fmla="*/ 0 h 337"/>
                <a:gd name="T62" fmla="*/ 334 w 387"/>
                <a:gd name="T63" fmla="*/ 0 h 337"/>
                <a:gd name="T64" fmla="*/ 385 w 387"/>
                <a:gd name="T65" fmla="*/ 0 h 337"/>
                <a:gd name="T66" fmla="*/ 387 w 387"/>
                <a:gd name="T67" fmla="*/ 25 h 337"/>
                <a:gd name="T68" fmla="*/ 384 w 387"/>
                <a:gd name="T69" fmla="*/ 8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7" h="337">
                  <a:moveTo>
                    <a:pt x="384" y="88"/>
                  </a:moveTo>
                  <a:lnTo>
                    <a:pt x="348" y="88"/>
                  </a:lnTo>
                  <a:lnTo>
                    <a:pt x="311" y="86"/>
                  </a:lnTo>
                  <a:lnTo>
                    <a:pt x="274" y="86"/>
                  </a:lnTo>
                  <a:lnTo>
                    <a:pt x="238" y="86"/>
                  </a:lnTo>
                  <a:lnTo>
                    <a:pt x="238" y="125"/>
                  </a:lnTo>
                  <a:lnTo>
                    <a:pt x="236" y="170"/>
                  </a:lnTo>
                  <a:lnTo>
                    <a:pt x="236" y="215"/>
                  </a:lnTo>
                  <a:lnTo>
                    <a:pt x="192" y="226"/>
                  </a:lnTo>
                  <a:lnTo>
                    <a:pt x="181" y="242"/>
                  </a:lnTo>
                  <a:lnTo>
                    <a:pt x="184" y="275"/>
                  </a:lnTo>
                  <a:lnTo>
                    <a:pt x="187" y="318"/>
                  </a:lnTo>
                  <a:lnTo>
                    <a:pt x="143" y="318"/>
                  </a:lnTo>
                  <a:lnTo>
                    <a:pt x="101" y="318"/>
                  </a:lnTo>
                  <a:lnTo>
                    <a:pt x="57" y="318"/>
                  </a:lnTo>
                  <a:lnTo>
                    <a:pt x="14" y="318"/>
                  </a:lnTo>
                  <a:lnTo>
                    <a:pt x="0" y="337"/>
                  </a:lnTo>
                  <a:lnTo>
                    <a:pt x="4" y="300"/>
                  </a:lnTo>
                  <a:lnTo>
                    <a:pt x="12" y="277"/>
                  </a:lnTo>
                  <a:lnTo>
                    <a:pt x="23" y="272"/>
                  </a:lnTo>
                  <a:lnTo>
                    <a:pt x="40" y="238"/>
                  </a:lnTo>
                  <a:lnTo>
                    <a:pt x="38" y="232"/>
                  </a:lnTo>
                  <a:lnTo>
                    <a:pt x="60" y="193"/>
                  </a:lnTo>
                  <a:lnTo>
                    <a:pt x="102" y="137"/>
                  </a:lnTo>
                  <a:lnTo>
                    <a:pt x="116" y="85"/>
                  </a:lnTo>
                  <a:lnTo>
                    <a:pt x="130" y="68"/>
                  </a:lnTo>
                  <a:lnTo>
                    <a:pt x="160" y="49"/>
                  </a:lnTo>
                  <a:lnTo>
                    <a:pt x="168" y="29"/>
                  </a:lnTo>
                  <a:lnTo>
                    <a:pt x="184" y="1"/>
                  </a:lnTo>
                  <a:lnTo>
                    <a:pt x="235" y="1"/>
                  </a:lnTo>
                  <a:lnTo>
                    <a:pt x="286" y="0"/>
                  </a:lnTo>
                  <a:lnTo>
                    <a:pt x="334" y="0"/>
                  </a:lnTo>
                  <a:lnTo>
                    <a:pt x="385" y="0"/>
                  </a:lnTo>
                  <a:lnTo>
                    <a:pt x="387" y="25"/>
                  </a:lnTo>
                  <a:lnTo>
                    <a:pt x="384" y="88"/>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02" name="Freeform 103">
              <a:extLst>
                <a:ext uri="{FF2B5EF4-FFF2-40B4-BE49-F238E27FC236}">
                  <a16:creationId xmlns:a16="http://schemas.microsoft.com/office/drawing/2014/main" id="{8E5214FB-5868-DD46-91C2-764471BDEB78}"/>
                </a:ext>
              </a:extLst>
            </p:cNvPr>
            <p:cNvSpPr>
              <a:spLocks noChangeAspect="1"/>
            </p:cNvSpPr>
            <p:nvPr/>
          </p:nvSpPr>
          <p:spPr bwMode="gray">
            <a:xfrm>
              <a:off x="4440084" y="3189918"/>
              <a:ext cx="457710" cy="556495"/>
            </a:xfrm>
            <a:custGeom>
              <a:avLst/>
              <a:gdLst>
                <a:gd name="T0" fmla="*/ 45 w 933"/>
                <a:gd name="T1" fmla="*/ 563 h 945"/>
                <a:gd name="T2" fmla="*/ 129 w 933"/>
                <a:gd name="T3" fmla="*/ 620 h 945"/>
                <a:gd name="T4" fmla="*/ 206 w 933"/>
                <a:gd name="T5" fmla="*/ 673 h 945"/>
                <a:gd name="T6" fmla="*/ 274 w 933"/>
                <a:gd name="T7" fmla="*/ 721 h 945"/>
                <a:gd name="T8" fmla="*/ 342 w 933"/>
                <a:gd name="T9" fmla="*/ 768 h 945"/>
                <a:gd name="T10" fmla="*/ 408 w 933"/>
                <a:gd name="T11" fmla="*/ 815 h 945"/>
                <a:gd name="T12" fmla="*/ 447 w 933"/>
                <a:gd name="T13" fmla="*/ 856 h 945"/>
                <a:gd name="T14" fmla="*/ 478 w 933"/>
                <a:gd name="T15" fmla="*/ 880 h 945"/>
                <a:gd name="T16" fmla="*/ 506 w 933"/>
                <a:gd name="T17" fmla="*/ 893 h 945"/>
                <a:gd name="T18" fmla="*/ 544 w 933"/>
                <a:gd name="T19" fmla="*/ 922 h 945"/>
                <a:gd name="T20" fmla="*/ 546 w 933"/>
                <a:gd name="T21" fmla="*/ 945 h 945"/>
                <a:gd name="T22" fmla="*/ 619 w 933"/>
                <a:gd name="T23" fmla="*/ 928 h 945"/>
                <a:gd name="T24" fmla="*/ 681 w 933"/>
                <a:gd name="T25" fmla="*/ 900 h 945"/>
                <a:gd name="T26" fmla="*/ 732 w 933"/>
                <a:gd name="T27" fmla="*/ 861 h 945"/>
                <a:gd name="T28" fmla="*/ 781 w 933"/>
                <a:gd name="T29" fmla="*/ 827 h 945"/>
                <a:gd name="T30" fmla="*/ 825 w 933"/>
                <a:gd name="T31" fmla="*/ 798 h 945"/>
                <a:gd name="T32" fmla="*/ 869 w 933"/>
                <a:gd name="T33" fmla="*/ 768 h 945"/>
                <a:gd name="T34" fmla="*/ 913 w 933"/>
                <a:gd name="T35" fmla="*/ 739 h 945"/>
                <a:gd name="T36" fmla="*/ 914 w 933"/>
                <a:gd name="T37" fmla="*/ 684 h 945"/>
                <a:gd name="T38" fmla="*/ 863 w 933"/>
                <a:gd name="T39" fmla="*/ 671 h 945"/>
                <a:gd name="T40" fmla="*/ 849 w 933"/>
                <a:gd name="T41" fmla="*/ 633 h 945"/>
                <a:gd name="T42" fmla="*/ 821 w 933"/>
                <a:gd name="T43" fmla="*/ 582 h 945"/>
                <a:gd name="T44" fmla="*/ 842 w 933"/>
                <a:gd name="T45" fmla="*/ 509 h 945"/>
                <a:gd name="T46" fmla="*/ 817 w 933"/>
                <a:gd name="T47" fmla="*/ 396 h 945"/>
                <a:gd name="T48" fmla="*/ 826 w 933"/>
                <a:gd name="T49" fmla="*/ 373 h 945"/>
                <a:gd name="T50" fmla="*/ 771 w 933"/>
                <a:gd name="T51" fmla="*/ 258 h 945"/>
                <a:gd name="T52" fmla="*/ 764 w 933"/>
                <a:gd name="T53" fmla="*/ 226 h 945"/>
                <a:gd name="T54" fmla="*/ 733 w 933"/>
                <a:gd name="T55" fmla="*/ 178 h 945"/>
                <a:gd name="T56" fmla="*/ 783 w 933"/>
                <a:gd name="T57" fmla="*/ 110 h 945"/>
                <a:gd name="T58" fmla="*/ 783 w 933"/>
                <a:gd name="T59" fmla="*/ 37 h 945"/>
                <a:gd name="T60" fmla="*/ 797 w 933"/>
                <a:gd name="T61" fmla="*/ 8 h 945"/>
                <a:gd name="T62" fmla="*/ 732 w 933"/>
                <a:gd name="T63" fmla="*/ 0 h 945"/>
                <a:gd name="T64" fmla="*/ 688 w 933"/>
                <a:gd name="T65" fmla="*/ 0 h 945"/>
                <a:gd name="T66" fmla="*/ 642 w 933"/>
                <a:gd name="T67" fmla="*/ 21 h 945"/>
                <a:gd name="T68" fmla="*/ 577 w 933"/>
                <a:gd name="T69" fmla="*/ 9 h 945"/>
                <a:gd name="T70" fmla="*/ 537 w 933"/>
                <a:gd name="T71" fmla="*/ 17 h 945"/>
                <a:gd name="T72" fmla="*/ 456 w 933"/>
                <a:gd name="T73" fmla="*/ 34 h 945"/>
                <a:gd name="T74" fmla="*/ 407 w 933"/>
                <a:gd name="T75" fmla="*/ 60 h 945"/>
                <a:gd name="T76" fmla="*/ 361 w 933"/>
                <a:gd name="T77" fmla="*/ 76 h 945"/>
                <a:gd name="T78" fmla="*/ 306 w 933"/>
                <a:gd name="T79" fmla="*/ 114 h 945"/>
                <a:gd name="T80" fmla="*/ 302 w 933"/>
                <a:gd name="T81" fmla="*/ 123 h 945"/>
                <a:gd name="T82" fmla="*/ 314 w 933"/>
                <a:gd name="T83" fmla="*/ 135 h 945"/>
                <a:gd name="T84" fmla="*/ 315 w 933"/>
                <a:gd name="T85" fmla="*/ 150 h 945"/>
                <a:gd name="T86" fmla="*/ 317 w 933"/>
                <a:gd name="T87" fmla="*/ 186 h 945"/>
                <a:gd name="T88" fmla="*/ 322 w 933"/>
                <a:gd name="T89" fmla="*/ 209 h 945"/>
                <a:gd name="T90" fmla="*/ 334 w 933"/>
                <a:gd name="T91" fmla="*/ 240 h 945"/>
                <a:gd name="T92" fmla="*/ 340 w 933"/>
                <a:gd name="T93" fmla="*/ 261 h 945"/>
                <a:gd name="T94" fmla="*/ 265 w 933"/>
                <a:gd name="T95" fmla="*/ 275 h 945"/>
                <a:gd name="T96" fmla="*/ 223 w 933"/>
                <a:gd name="T97" fmla="*/ 300 h 945"/>
                <a:gd name="T98" fmla="*/ 227 w 933"/>
                <a:gd name="T99" fmla="*/ 314 h 945"/>
                <a:gd name="T100" fmla="*/ 232 w 933"/>
                <a:gd name="T101" fmla="*/ 331 h 945"/>
                <a:gd name="T102" fmla="*/ 175 w 933"/>
                <a:gd name="T103" fmla="*/ 360 h 945"/>
                <a:gd name="T104" fmla="*/ 141 w 933"/>
                <a:gd name="T105" fmla="*/ 394 h 945"/>
                <a:gd name="T106" fmla="*/ 93 w 933"/>
                <a:gd name="T107" fmla="*/ 409 h 945"/>
                <a:gd name="T108" fmla="*/ 49 w 933"/>
                <a:gd name="T109" fmla="*/ 422 h 945"/>
                <a:gd name="T110" fmla="*/ 22 w 933"/>
                <a:gd name="T111" fmla="*/ 435 h 945"/>
                <a:gd name="T112" fmla="*/ 0 w 933"/>
                <a:gd name="T113" fmla="*/ 509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33" h="945">
                  <a:moveTo>
                    <a:pt x="2" y="534"/>
                  </a:moveTo>
                  <a:lnTo>
                    <a:pt x="45" y="563"/>
                  </a:lnTo>
                  <a:lnTo>
                    <a:pt x="87" y="592"/>
                  </a:lnTo>
                  <a:lnTo>
                    <a:pt x="129" y="620"/>
                  </a:lnTo>
                  <a:lnTo>
                    <a:pt x="172" y="650"/>
                  </a:lnTo>
                  <a:lnTo>
                    <a:pt x="206" y="673"/>
                  </a:lnTo>
                  <a:lnTo>
                    <a:pt x="241" y="696"/>
                  </a:lnTo>
                  <a:lnTo>
                    <a:pt x="274" y="721"/>
                  </a:lnTo>
                  <a:lnTo>
                    <a:pt x="308" y="744"/>
                  </a:lnTo>
                  <a:lnTo>
                    <a:pt x="342" y="768"/>
                  </a:lnTo>
                  <a:lnTo>
                    <a:pt x="376" y="792"/>
                  </a:lnTo>
                  <a:lnTo>
                    <a:pt x="408" y="815"/>
                  </a:lnTo>
                  <a:lnTo>
                    <a:pt x="444" y="837"/>
                  </a:lnTo>
                  <a:lnTo>
                    <a:pt x="447" y="856"/>
                  </a:lnTo>
                  <a:lnTo>
                    <a:pt x="467" y="865"/>
                  </a:lnTo>
                  <a:lnTo>
                    <a:pt x="478" y="880"/>
                  </a:lnTo>
                  <a:lnTo>
                    <a:pt x="498" y="883"/>
                  </a:lnTo>
                  <a:lnTo>
                    <a:pt x="506" y="893"/>
                  </a:lnTo>
                  <a:lnTo>
                    <a:pt x="540" y="903"/>
                  </a:lnTo>
                  <a:lnTo>
                    <a:pt x="544" y="922"/>
                  </a:lnTo>
                  <a:lnTo>
                    <a:pt x="539" y="939"/>
                  </a:lnTo>
                  <a:lnTo>
                    <a:pt x="546" y="945"/>
                  </a:lnTo>
                  <a:lnTo>
                    <a:pt x="585" y="937"/>
                  </a:lnTo>
                  <a:lnTo>
                    <a:pt x="619" y="928"/>
                  </a:lnTo>
                  <a:lnTo>
                    <a:pt x="656" y="920"/>
                  </a:lnTo>
                  <a:lnTo>
                    <a:pt x="681" y="900"/>
                  </a:lnTo>
                  <a:lnTo>
                    <a:pt x="707" y="882"/>
                  </a:lnTo>
                  <a:lnTo>
                    <a:pt x="732" y="861"/>
                  </a:lnTo>
                  <a:lnTo>
                    <a:pt x="759" y="840"/>
                  </a:lnTo>
                  <a:lnTo>
                    <a:pt x="781" y="827"/>
                  </a:lnTo>
                  <a:lnTo>
                    <a:pt x="803" y="812"/>
                  </a:lnTo>
                  <a:lnTo>
                    <a:pt x="825" y="798"/>
                  </a:lnTo>
                  <a:lnTo>
                    <a:pt x="846" y="783"/>
                  </a:lnTo>
                  <a:lnTo>
                    <a:pt x="869" y="768"/>
                  </a:lnTo>
                  <a:lnTo>
                    <a:pt x="891" y="755"/>
                  </a:lnTo>
                  <a:lnTo>
                    <a:pt x="913" y="739"/>
                  </a:lnTo>
                  <a:lnTo>
                    <a:pt x="933" y="724"/>
                  </a:lnTo>
                  <a:lnTo>
                    <a:pt x="914" y="684"/>
                  </a:lnTo>
                  <a:lnTo>
                    <a:pt x="889" y="671"/>
                  </a:lnTo>
                  <a:lnTo>
                    <a:pt x="863" y="671"/>
                  </a:lnTo>
                  <a:lnTo>
                    <a:pt x="852" y="658"/>
                  </a:lnTo>
                  <a:lnTo>
                    <a:pt x="849" y="633"/>
                  </a:lnTo>
                  <a:lnTo>
                    <a:pt x="821" y="588"/>
                  </a:lnTo>
                  <a:lnTo>
                    <a:pt x="821" y="582"/>
                  </a:lnTo>
                  <a:lnTo>
                    <a:pt x="838" y="575"/>
                  </a:lnTo>
                  <a:lnTo>
                    <a:pt x="842" y="509"/>
                  </a:lnTo>
                  <a:lnTo>
                    <a:pt x="835" y="426"/>
                  </a:lnTo>
                  <a:lnTo>
                    <a:pt x="817" y="396"/>
                  </a:lnTo>
                  <a:lnTo>
                    <a:pt x="817" y="384"/>
                  </a:lnTo>
                  <a:lnTo>
                    <a:pt x="826" y="373"/>
                  </a:lnTo>
                  <a:lnTo>
                    <a:pt x="809" y="280"/>
                  </a:lnTo>
                  <a:lnTo>
                    <a:pt x="771" y="258"/>
                  </a:lnTo>
                  <a:lnTo>
                    <a:pt x="771" y="243"/>
                  </a:lnTo>
                  <a:lnTo>
                    <a:pt x="764" y="226"/>
                  </a:lnTo>
                  <a:lnTo>
                    <a:pt x="744" y="215"/>
                  </a:lnTo>
                  <a:lnTo>
                    <a:pt x="733" y="178"/>
                  </a:lnTo>
                  <a:lnTo>
                    <a:pt x="774" y="142"/>
                  </a:lnTo>
                  <a:lnTo>
                    <a:pt x="783" y="110"/>
                  </a:lnTo>
                  <a:lnTo>
                    <a:pt x="778" y="72"/>
                  </a:lnTo>
                  <a:lnTo>
                    <a:pt x="783" y="37"/>
                  </a:lnTo>
                  <a:lnTo>
                    <a:pt x="774" y="32"/>
                  </a:lnTo>
                  <a:lnTo>
                    <a:pt x="797" y="8"/>
                  </a:lnTo>
                  <a:lnTo>
                    <a:pt x="755" y="11"/>
                  </a:lnTo>
                  <a:lnTo>
                    <a:pt x="732" y="0"/>
                  </a:lnTo>
                  <a:lnTo>
                    <a:pt x="718" y="9"/>
                  </a:lnTo>
                  <a:lnTo>
                    <a:pt x="688" y="0"/>
                  </a:lnTo>
                  <a:lnTo>
                    <a:pt x="681" y="9"/>
                  </a:lnTo>
                  <a:lnTo>
                    <a:pt x="642" y="21"/>
                  </a:lnTo>
                  <a:lnTo>
                    <a:pt x="625" y="11"/>
                  </a:lnTo>
                  <a:lnTo>
                    <a:pt x="577" y="9"/>
                  </a:lnTo>
                  <a:lnTo>
                    <a:pt x="557" y="18"/>
                  </a:lnTo>
                  <a:lnTo>
                    <a:pt x="537" y="17"/>
                  </a:lnTo>
                  <a:lnTo>
                    <a:pt x="520" y="26"/>
                  </a:lnTo>
                  <a:lnTo>
                    <a:pt x="456" y="34"/>
                  </a:lnTo>
                  <a:lnTo>
                    <a:pt x="412" y="54"/>
                  </a:lnTo>
                  <a:lnTo>
                    <a:pt x="407" y="60"/>
                  </a:lnTo>
                  <a:lnTo>
                    <a:pt x="399" y="69"/>
                  </a:lnTo>
                  <a:lnTo>
                    <a:pt x="361" y="76"/>
                  </a:lnTo>
                  <a:lnTo>
                    <a:pt x="337" y="102"/>
                  </a:lnTo>
                  <a:lnTo>
                    <a:pt x="306" y="114"/>
                  </a:lnTo>
                  <a:lnTo>
                    <a:pt x="302" y="118"/>
                  </a:lnTo>
                  <a:lnTo>
                    <a:pt x="302" y="123"/>
                  </a:lnTo>
                  <a:lnTo>
                    <a:pt x="315" y="131"/>
                  </a:lnTo>
                  <a:lnTo>
                    <a:pt x="314" y="135"/>
                  </a:lnTo>
                  <a:lnTo>
                    <a:pt x="319" y="144"/>
                  </a:lnTo>
                  <a:lnTo>
                    <a:pt x="315" y="150"/>
                  </a:lnTo>
                  <a:lnTo>
                    <a:pt x="320" y="167"/>
                  </a:lnTo>
                  <a:lnTo>
                    <a:pt x="317" y="186"/>
                  </a:lnTo>
                  <a:lnTo>
                    <a:pt x="323" y="196"/>
                  </a:lnTo>
                  <a:lnTo>
                    <a:pt x="322" y="209"/>
                  </a:lnTo>
                  <a:lnTo>
                    <a:pt x="327" y="227"/>
                  </a:lnTo>
                  <a:lnTo>
                    <a:pt x="334" y="240"/>
                  </a:lnTo>
                  <a:lnTo>
                    <a:pt x="351" y="253"/>
                  </a:lnTo>
                  <a:lnTo>
                    <a:pt x="340" y="261"/>
                  </a:lnTo>
                  <a:lnTo>
                    <a:pt x="344" y="274"/>
                  </a:lnTo>
                  <a:lnTo>
                    <a:pt x="265" y="275"/>
                  </a:lnTo>
                  <a:lnTo>
                    <a:pt x="260" y="291"/>
                  </a:lnTo>
                  <a:lnTo>
                    <a:pt x="223" y="300"/>
                  </a:lnTo>
                  <a:lnTo>
                    <a:pt x="220" y="311"/>
                  </a:lnTo>
                  <a:lnTo>
                    <a:pt x="227" y="314"/>
                  </a:lnTo>
                  <a:lnTo>
                    <a:pt x="220" y="326"/>
                  </a:lnTo>
                  <a:lnTo>
                    <a:pt x="232" y="331"/>
                  </a:lnTo>
                  <a:lnTo>
                    <a:pt x="231" y="337"/>
                  </a:lnTo>
                  <a:lnTo>
                    <a:pt x="175" y="360"/>
                  </a:lnTo>
                  <a:lnTo>
                    <a:pt x="156" y="384"/>
                  </a:lnTo>
                  <a:lnTo>
                    <a:pt x="141" y="394"/>
                  </a:lnTo>
                  <a:lnTo>
                    <a:pt x="97" y="397"/>
                  </a:lnTo>
                  <a:lnTo>
                    <a:pt x="93" y="409"/>
                  </a:lnTo>
                  <a:lnTo>
                    <a:pt x="70" y="407"/>
                  </a:lnTo>
                  <a:lnTo>
                    <a:pt x="49" y="422"/>
                  </a:lnTo>
                  <a:lnTo>
                    <a:pt x="39" y="424"/>
                  </a:lnTo>
                  <a:lnTo>
                    <a:pt x="22" y="435"/>
                  </a:lnTo>
                  <a:lnTo>
                    <a:pt x="0" y="452"/>
                  </a:lnTo>
                  <a:lnTo>
                    <a:pt x="0" y="509"/>
                  </a:lnTo>
                  <a:lnTo>
                    <a:pt x="2" y="534"/>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03" name="Freeform 104">
              <a:extLst>
                <a:ext uri="{FF2B5EF4-FFF2-40B4-BE49-F238E27FC236}">
                  <a16:creationId xmlns:a16="http://schemas.microsoft.com/office/drawing/2014/main" id="{B72A6233-16CF-FE4B-A17B-E670B7F9B1A7}"/>
                </a:ext>
              </a:extLst>
            </p:cNvPr>
            <p:cNvSpPr>
              <a:spLocks noChangeAspect="1"/>
            </p:cNvSpPr>
            <p:nvPr/>
          </p:nvSpPr>
          <p:spPr bwMode="gray">
            <a:xfrm>
              <a:off x="4360344" y="3573709"/>
              <a:ext cx="366805" cy="418331"/>
            </a:xfrm>
            <a:custGeom>
              <a:avLst/>
              <a:gdLst>
                <a:gd name="T0" fmla="*/ 147 w 750"/>
                <a:gd name="T1" fmla="*/ 461 h 713"/>
                <a:gd name="T2" fmla="*/ 252 w 750"/>
                <a:gd name="T3" fmla="*/ 464 h 713"/>
                <a:gd name="T4" fmla="*/ 315 w 750"/>
                <a:gd name="T5" fmla="*/ 424 h 713"/>
                <a:gd name="T6" fmla="*/ 291 w 750"/>
                <a:gd name="T7" fmla="*/ 368 h 713"/>
                <a:gd name="T8" fmla="*/ 281 w 750"/>
                <a:gd name="T9" fmla="*/ 263 h 713"/>
                <a:gd name="T10" fmla="*/ 269 w 750"/>
                <a:gd name="T11" fmla="*/ 160 h 713"/>
                <a:gd name="T12" fmla="*/ 259 w 750"/>
                <a:gd name="T13" fmla="*/ 54 h 713"/>
                <a:gd name="T14" fmla="*/ 293 w 750"/>
                <a:gd name="T15" fmla="*/ 0 h 713"/>
                <a:gd name="T16" fmla="*/ 370 w 750"/>
                <a:gd name="T17" fmla="*/ 23 h 713"/>
                <a:gd name="T18" fmla="*/ 438 w 750"/>
                <a:gd name="T19" fmla="*/ 71 h 713"/>
                <a:gd name="T20" fmla="*/ 506 w 750"/>
                <a:gd name="T21" fmla="*/ 118 h 713"/>
                <a:gd name="T22" fmla="*/ 572 w 750"/>
                <a:gd name="T23" fmla="*/ 165 h 713"/>
                <a:gd name="T24" fmla="*/ 611 w 750"/>
                <a:gd name="T25" fmla="*/ 206 h 713"/>
                <a:gd name="T26" fmla="*/ 642 w 750"/>
                <a:gd name="T27" fmla="*/ 230 h 713"/>
                <a:gd name="T28" fmla="*/ 670 w 750"/>
                <a:gd name="T29" fmla="*/ 243 h 713"/>
                <a:gd name="T30" fmla="*/ 708 w 750"/>
                <a:gd name="T31" fmla="*/ 272 h 713"/>
                <a:gd name="T32" fmla="*/ 710 w 750"/>
                <a:gd name="T33" fmla="*/ 295 h 713"/>
                <a:gd name="T34" fmla="*/ 749 w 750"/>
                <a:gd name="T35" fmla="*/ 325 h 713"/>
                <a:gd name="T36" fmla="*/ 749 w 750"/>
                <a:gd name="T37" fmla="*/ 401 h 713"/>
                <a:gd name="T38" fmla="*/ 736 w 750"/>
                <a:gd name="T39" fmla="*/ 442 h 713"/>
                <a:gd name="T40" fmla="*/ 669 w 750"/>
                <a:gd name="T41" fmla="*/ 470 h 713"/>
                <a:gd name="T42" fmla="*/ 596 w 750"/>
                <a:gd name="T43" fmla="*/ 487 h 713"/>
                <a:gd name="T44" fmla="*/ 523 w 750"/>
                <a:gd name="T45" fmla="*/ 493 h 713"/>
                <a:gd name="T46" fmla="*/ 381 w 750"/>
                <a:gd name="T47" fmla="*/ 574 h 713"/>
                <a:gd name="T48" fmla="*/ 328 w 750"/>
                <a:gd name="T49" fmla="*/ 653 h 713"/>
                <a:gd name="T50" fmla="*/ 320 w 750"/>
                <a:gd name="T51" fmla="*/ 705 h 713"/>
                <a:gd name="T52" fmla="*/ 303 w 750"/>
                <a:gd name="T53" fmla="*/ 700 h 713"/>
                <a:gd name="T54" fmla="*/ 283 w 750"/>
                <a:gd name="T55" fmla="*/ 708 h 713"/>
                <a:gd name="T56" fmla="*/ 272 w 750"/>
                <a:gd name="T57" fmla="*/ 687 h 713"/>
                <a:gd name="T58" fmla="*/ 263 w 750"/>
                <a:gd name="T59" fmla="*/ 693 h 713"/>
                <a:gd name="T60" fmla="*/ 252 w 750"/>
                <a:gd name="T61" fmla="*/ 704 h 713"/>
                <a:gd name="T62" fmla="*/ 235 w 750"/>
                <a:gd name="T63" fmla="*/ 713 h 713"/>
                <a:gd name="T64" fmla="*/ 220 w 750"/>
                <a:gd name="T65" fmla="*/ 708 h 713"/>
                <a:gd name="T66" fmla="*/ 193 w 750"/>
                <a:gd name="T67" fmla="*/ 712 h 713"/>
                <a:gd name="T68" fmla="*/ 176 w 750"/>
                <a:gd name="T69" fmla="*/ 671 h 713"/>
                <a:gd name="T70" fmla="*/ 161 w 750"/>
                <a:gd name="T71" fmla="*/ 676 h 713"/>
                <a:gd name="T72" fmla="*/ 175 w 750"/>
                <a:gd name="T73" fmla="*/ 662 h 713"/>
                <a:gd name="T74" fmla="*/ 163 w 750"/>
                <a:gd name="T75" fmla="*/ 650 h 713"/>
                <a:gd name="T76" fmla="*/ 155 w 750"/>
                <a:gd name="T77" fmla="*/ 643 h 713"/>
                <a:gd name="T78" fmla="*/ 150 w 750"/>
                <a:gd name="T79" fmla="*/ 619 h 713"/>
                <a:gd name="T80" fmla="*/ 144 w 750"/>
                <a:gd name="T81" fmla="*/ 603 h 713"/>
                <a:gd name="T82" fmla="*/ 129 w 750"/>
                <a:gd name="T83" fmla="*/ 612 h 713"/>
                <a:gd name="T84" fmla="*/ 113 w 750"/>
                <a:gd name="T85" fmla="*/ 626 h 713"/>
                <a:gd name="T86" fmla="*/ 71 w 750"/>
                <a:gd name="T87" fmla="*/ 631 h 713"/>
                <a:gd name="T88" fmla="*/ 44 w 750"/>
                <a:gd name="T89" fmla="*/ 626 h 713"/>
                <a:gd name="T90" fmla="*/ 32 w 750"/>
                <a:gd name="T91" fmla="*/ 620 h 713"/>
                <a:gd name="T92" fmla="*/ 39 w 750"/>
                <a:gd name="T93" fmla="*/ 580 h 713"/>
                <a:gd name="T94" fmla="*/ 17 w 750"/>
                <a:gd name="T95" fmla="*/ 563 h 713"/>
                <a:gd name="T96" fmla="*/ 12 w 750"/>
                <a:gd name="T97" fmla="*/ 536 h 713"/>
                <a:gd name="T98" fmla="*/ 2 w 750"/>
                <a:gd name="T99" fmla="*/ 514 h 713"/>
                <a:gd name="T100" fmla="*/ 20 w 750"/>
                <a:gd name="T101" fmla="*/ 478 h 713"/>
                <a:gd name="T102" fmla="*/ 48 w 750"/>
                <a:gd name="T103" fmla="*/ 450 h 713"/>
                <a:gd name="T104" fmla="*/ 71 w 750"/>
                <a:gd name="T105" fmla="*/ 478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0" h="713">
                  <a:moveTo>
                    <a:pt x="95" y="459"/>
                  </a:moveTo>
                  <a:lnTo>
                    <a:pt x="147" y="461"/>
                  </a:lnTo>
                  <a:lnTo>
                    <a:pt x="200" y="464"/>
                  </a:lnTo>
                  <a:lnTo>
                    <a:pt x="252" y="464"/>
                  </a:lnTo>
                  <a:lnTo>
                    <a:pt x="305" y="465"/>
                  </a:lnTo>
                  <a:lnTo>
                    <a:pt x="315" y="424"/>
                  </a:lnTo>
                  <a:lnTo>
                    <a:pt x="297" y="419"/>
                  </a:lnTo>
                  <a:lnTo>
                    <a:pt x="291" y="368"/>
                  </a:lnTo>
                  <a:lnTo>
                    <a:pt x="286" y="316"/>
                  </a:lnTo>
                  <a:lnTo>
                    <a:pt x="281" y="263"/>
                  </a:lnTo>
                  <a:lnTo>
                    <a:pt x="276" y="213"/>
                  </a:lnTo>
                  <a:lnTo>
                    <a:pt x="269" y="160"/>
                  </a:lnTo>
                  <a:lnTo>
                    <a:pt x="264" y="106"/>
                  </a:lnTo>
                  <a:lnTo>
                    <a:pt x="259" y="54"/>
                  </a:lnTo>
                  <a:lnTo>
                    <a:pt x="254" y="0"/>
                  </a:lnTo>
                  <a:lnTo>
                    <a:pt x="293" y="0"/>
                  </a:lnTo>
                  <a:lnTo>
                    <a:pt x="336" y="0"/>
                  </a:lnTo>
                  <a:lnTo>
                    <a:pt x="370" y="23"/>
                  </a:lnTo>
                  <a:lnTo>
                    <a:pt x="405" y="46"/>
                  </a:lnTo>
                  <a:lnTo>
                    <a:pt x="438" y="71"/>
                  </a:lnTo>
                  <a:lnTo>
                    <a:pt x="472" y="94"/>
                  </a:lnTo>
                  <a:lnTo>
                    <a:pt x="506" y="118"/>
                  </a:lnTo>
                  <a:lnTo>
                    <a:pt x="540" y="142"/>
                  </a:lnTo>
                  <a:lnTo>
                    <a:pt x="572" y="165"/>
                  </a:lnTo>
                  <a:lnTo>
                    <a:pt x="608" y="187"/>
                  </a:lnTo>
                  <a:lnTo>
                    <a:pt x="611" y="206"/>
                  </a:lnTo>
                  <a:lnTo>
                    <a:pt x="631" y="215"/>
                  </a:lnTo>
                  <a:lnTo>
                    <a:pt x="642" y="230"/>
                  </a:lnTo>
                  <a:lnTo>
                    <a:pt x="662" y="233"/>
                  </a:lnTo>
                  <a:lnTo>
                    <a:pt x="670" y="243"/>
                  </a:lnTo>
                  <a:lnTo>
                    <a:pt x="704" y="253"/>
                  </a:lnTo>
                  <a:lnTo>
                    <a:pt x="708" y="272"/>
                  </a:lnTo>
                  <a:lnTo>
                    <a:pt x="703" y="289"/>
                  </a:lnTo>
                  <a:lnTo>
                    <a:pt x="710" y="295"/>
                  </a:lnTo>
                  <a:lnTo>
                    <a:pt x="749" y="287"/>
                  </a:lnTo>
                  <a:lnTo>
                    <a:pt x="749" y="325"/>
                  </a:lnTo>
                  <a:lnTo>
                    <a:pt x="749" y="363"/>
                  </a:lnTo>
                  <a:lnTo>
                    <a:pt x="749" y="401"/>
                  </a:lnTo>
                  <a:lnTo>
                    <a:pt x="750" y="438"/>
                  </a:lnTo>
                  <a:lnTo>
                    <a:pt x="736" y="442"/>
                  </a:lnTo>
                  <a:lnTo>
                    <a:pt x="716" y="470"/>
                  </a:lnTo>
                  <a:lnTo>
                    <a:pt x="669" y="470"/>
                  </a:lnTo>
                  <a:lnTo>
                    <a:pt x="619" y="470"/>
                  </a:lnTo>
                  <a:lnTo>
                    <a:pt x="596" y="487"/>
                  </a:lnTo>
                  <a:lnTo>
                    <a:pt x="566" y="487"/>
                  </a:lnTo>
                  <a:lnTo>
                    <a:pt x="523" y="493"/>
                  </a:lnTo>
                  <a:lnTo>
                    <a:pt x="445" y="553"/>
                  </a:lnTo>
                  <a:lnTo>
                    <a:pt x="381" y="574"/>
                  </a:lnTo>
                  <a:lnTo>
                    <a:pt x="364" y="616"/>
                  </a:lnTo>
                  <a:lnTo>
                    <a:pt x="328" y="653"/>
                  </a:lnTo>
                  <a:lnTo>
                    <a:pt x="320" y="675"/>
                  </a:lnTo>
                  <a:lnTo>
                    <a:pt x="320" y="705"/>
                  </a:lnTo>
                  <a:lnTo>
                    <a:pt x="311" y="707"/>
                  </a:lnTo>
                  <a:lnTo>
                    <a:pt x="303" y="700"/>
                  </a:lnTo>
                  <a:lnTo>
                    <a:pt x="294" y="700"/>
                  </a:lnTo>
                  <a:lnTo>
                    <a:pt x="283" y="708"/>
                  </a:lnTo>
                  <a:lnTo>
                    <a:pt x="276" y="708"/>
                  </a:lnTo>
                  <a:lnTo>
                    <a:pt x="272" y="687"/>
                  </a:lnTo>
                  <a:lnTo>
                    <a:pt x="266" y="688"/>
                  </a:lnTo>
                  <a:lnTo>
                    <a:pt x="263" y="693"/>
                  </a:lnTo>
                  <a:lnTo>
                    <a:pt x="254" y="690"/>
                  </a:lnTo>
                  <a:lnTo>
                    <a:pt x="252" y="704"/>
                  </a:lnTo>
                  <a:lnTo>
                    <a:pt x="237" y="707"/>
                  </a:lnTo>
                  <a:lnTo>
                    <a:pt x="235" y="713"/>
                  </a:lnTo>
                  <a:lnTo>
                    <a:pt x="226" y="707"/>
                  </a:lnTo>
                  <a:lnTo>
                    <a:pt x="220" y="708"/>
                  </a:lnTo>
                  <a:lnTo>
                    <a:pt x="213" y="699"/>
                  </a:lnTo>
                  <a:lnTo>
                    <a:pt x="193" y="712"/>
                  </a:lnTo>
                  <a:lnTo>
                    <a:pt x="178" y="695"/>
                  </a:lnTo>
                  <a:lnTo>
                    <a:pt x="176" y="671"/>
                  </a:lnTo>
                  <a:lnTo>
                    <a:pt x="167" y="671"/>
                  </a:lnTo>
                  <a:lnTo>
                    <a:pt x="161" y="676"/>
                  </a:lnTo>
                  <a:lnTo>
                    <a:pt x="161" y="671"/>
                  </a:lnTo>
                  <a:lnTo>
                    <a:pt x="175" y="662"/>
                  </a:lnTo>
                  <a:lnTo>
                    <a:pt x="175" y="656"/>
                  </a:lnTo>
                  <a:lnTo>
                    <a:pt x="163" y="650"/>
                  </a:lnTo>
                  <a:lnTo>
                    <a:pt x="159" y="643"/>
                  </a:lnTo>
                  <a:lnTo>
                    <a:pt x="155" y="643"/>
                  </a:lnTo>
                  <a:lnTo>
                    <a:pt x="155" y="629"/>
                  </a:lnTo>
                  <a:lnTo>
                    <a:pt x="150" y="619"/>
                  </a:lnTo>
                  <a:lnTo>
                    <a:pt x="146" y="617"/>
                  </a:lnTo>
                  <a:lnTo>
                    <a:pt x="144" y="603"/>
                  </a:lnTo>
                  <a:lnTo>
                    <a:pt x="129" y="603"/>
                  </a:lnTo>
                  <a:lnTo>
                    <a:pt x="129" y="612"/>
                  </a:lnTo>
                  <a:lnTo>
                    <a:pt x="115" y="617"/>
                  </a:lnTo>
                  <a:lnTo>
                    <a:pt x="113" y="626"/>
                  </a:lnTo>
                  <a:lnTo>
                    <a:pt x="87" y="616"/>
                  </a:lnTo>
                  <a:lnTo>
                    <a:pt x="71" y="631"/>
                  </a:lnTo>
                  <a:lnTo>
                    <a:pt x="57" y="617"/>
                  </a:lnTo>
                  <a:lnTo>
                    <a:pt x="44" y="626"/>
                  </a:lnTo>
                  <a:lnTo>
                    <a:pt x="37" y="625"/>
                  </a:lnTo>
                  <a:lnTo>
                    <a:pt x="32" y="620"/>
                  </a:lnTo>
                  <a:lnTo>
                    <a:pt x="39" y="608"/>
                  </a:lnTo>
                  <a:lnTo>
                    <a:pt x="39" y="580"/>
                  </a:lnTo>
                  <a:lnTo>
                    <a:pt x="27" y="561"/>
                  </a:lnTo>
                  <a:lnTo>
                    <a:pt x="17" y="563"/>
                  </a:lnTo>
                  <a:lnTo>
                    <a:pt x="8" y="548"/>
                  </a:lnTo>
                  <a:lnTo>
                    <a:pt x="12" y="536"/>
                  </a:lnTo>
                  <a:lnTo>
                    <a:pt x="8" y="521"/>
                  </a:lnTo>
                  <a:lnTo>
                    <a:pt x="2" y="514"/>
                  </a:lnTo>
                  <a:lnTo>
                    <a:pt x="0" y="497"/>
                  </a:lnTo>
                  <a:lnTo>
                    <a:pt x="20" y="478"/>
                  </a:lnTo>
                  <a:lnTo>
                    <a:pt x="36" y="445"/>
                  </a:lnTo>
                  <a:lnTo>
                    <a:pt x="48" y="450"/>
                  </a:lnTo>
                  <a:lnTo>
                    <a:pt x="57" y="476"/>
                  </a:lnTo>
                  <a:lnTo>
                    <a:pt x="71" y="478"/>
                  </a:lnTo>
                  <a:lnTo>
                    <a:pt x="95" y="459"/>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104" name="Freeform 105">
              <a:extLst>
                <a:ext uri="{FF2B5EF4-FFF2-40B4-BE49-F238E27FC236}">
                  <a16:creationId xmlns:a16="http://schemas.microsoft.com/office/drawing/2014/main" id="{511D7A78-F029-6C40-88CA-11E7798F1492}"/>
                </a:ext>
              </a:extLst>
            </p:cNvPr>
            <p:cNvSpPr>
              <a:spLocks noChangeAspect="1"/>
            </p:cNvSpPr>
            <p:nvPr/>
          </p:nvSpPr>
          <p:spPr bwMode="gray">
            <a:xfrm>
              <a:off x="4516635" y="3859632"/>
              <a:ext cx="169049" cy="149678"/>
            </a:xfrm>
            <a:custGeom>
              <a:avLst/>
              <a:gdLst>
                <a:gd name="T0" fmla="*/ 118 w 347"/>
                <a:gd name="T1" fmla="*/ 257 h 257"/>
                <a:gd name="T2" fmla="*/ 113 w 347"/>
                <a:gd name="T3" fmla="*/ 218 h 257"/>
                <a:gd name="T4" fmla="*/ 107 w 347"/>
                <a:gd name="T5" fmla="*/ 201 h 257"/>
                <a:gd name="T6" fmla="*/ 110 w 347"/>
                <a:gd name="T7" fmla="*/ 188 h 257"/>
                <a:gd name="T8" fmla="*/ 203 w 347"/>
                <a:gd name="T9" fmla="*/ 192 h 257"/>
                <a:gd name="T10" fmla="*/ 235 w 347"/>
                <a:gd name="T11" fmla="*/ 189 h 257"/>
                <a:gd name="T12" fmla="*/ 249 w 347"/>
                <a:gd name="T13" fmla="*/ 189 h 257"/>
                <a:gd name="T14" fmla="*/ 260 w 347"/>
                <a:gd name="T15" fmla="*/ 192 h 257"/>
                <a:gd name="T16" fmla="*/ 279 w 347"/>
                <a:gd name="T17" fmla="*/ 188 h 257"/>
                <a:gd name="T18" fmla="*/ 303 w 347"/>
                <a:gd name="T19" fmla="*/ 164 h 257"/>
                <a:gd name="T20" fmla="*/ 332 w 347"/>
                <a:gd name="T21" fmla="*/ 166 h 257"/>
                <a:gd name="T22" fmla="*/ 347 w 347"/>
                <a:gd name="T23" fmla="*/ 144 h 257"/>
                <a:gd name="T24" fmla="*/ 333 w 347"/>
                <a:gd name="T25" fmla="*/ 129 h 257"/>
                <a:gd name="T26" fmla="*/ 333 w 347"/>
                <a:gd name="T27" fmla="*/ 124 h 257"/>
                <a:gd name="T28" fmla="*/ 342 w 347"/>
                <a:gd name="T29" fmla="*/ 121 h 257"/>
                <a:gd name="T30" fmla="*/ 336 w 347"/>
                <a:gd name="T31" fmla="*/ 110 h 257"/>
                <a:gd name="T32" fmla="*/ 327 w 347"/>
                <a:gd name="T33" fmla="*/ 107 h 257"/>
                <a:gd name="T34" fmla="*/ 315 w 347"/>
                <a:gd name="T35" fmla="*/ 113 h 257"/>
                <a:gd name="T36" fmla="*/ 302 w 347"/>
                <a:gd name="T37" fmla="*/ 107 h 257"/>
                <a:gd name="T38" fmla="*/ 277 w 347"/>
                <a:gd name="T39" fmla="*/ 71 h 257"/>
                <a:gd name="T40" fmla="*/ 254 w 347"/>
                <a:gd name="T41" fmla="*/ 48 h 257"/>
                <a:gd name="T42" fmla="*/ 251 w 347"/>
                <a:gd name="T43" fmla="*/ 31 h 257"/>
                <a:gd name="T44" fmla="*/ 240 w 347"/>
                <a:gd name="T45" fmla="*/ 22 h 257"/>
                <a:gd name="T46" fmla="*/ 246 w 347"/>
                <a:gd name="T47" fmla="*/ 0 h 257"/>
                <a:gd name="T48" fmla="*/ 203 w 347"/>
                <a:gd name="T49" fmla="*/ 6 h 257"/>
                <a:gd name="T50" fmla="*/ 125 w 347"/>
                <a:gd name="T51" fmla="*/ 66 h 257"/>
                <a:gd name="T52" fmla="*/ 61 w 347"/>
                <a:gd name="T53" fmla="*/ 87 h 257"/>
                <a:gd name="T54" fmla="*/ 44 w 347"/>
                <a:gd name="T55" fmla="*/ 129 h 257"/>
                <a:gd name="T56" fmla="*/ 8 w 347"/>
                <a:gd name="T57" fmla="*/ 166 h 257"/>
                <a:gd name="T58" fmla="*/ 0 w 347"/>
                <a:gd name="T59" fmla="*/ 188 h 257"/>
                <a:gd name="T60" fmla="*/ 0 w 347"/>
                <a:gd name="T61" fmla="*/ 218 h 257"/>
                <a:gd name="T62" fmla="*/ 11 w 347"/>
                <a:gd name="T63" fmla="*/ 238 h 257"/>
                <a:gd name="T64" fmla="*/ 25 w 347"/>
                <a:gd name="T65" fmla="*/ 247 h 257"/>
                <a:gd name="T66" fmla="*/ 31 w 347"/>
                <a:gd name="T67" fmla="*/ 246 h 257"/>
                <a:gd name="T68" fmla="*/ 39 w 347"/>
                <a:gd name="T69" fmla="*/ 251 h 257"/>
                <a:gd name="T70" fmla="*/ 44 w 347"/>
                <a:gd name="T71" fmla="*/ 243 h 257"/>
                <a:gd name="T72" fmla="*/ 73 w 347"/>
                <a:gd name="T73" fmla="*/ 235 h 257"/>
                <a:gd name="T74" fmla="*/ 90 w 347"/>
                <a:gd name="T75" fmla="*/ 238 h 257"/>
                <a:gd name="T76" fmla="*/ 95 w 347"/>
                <a:gd name="T77" fmla="*/ 235 h 257"/>
                <a:gd name="T78" fmla="*/ 109 w 347"/>
                <a:gd name="T79" fmla="*/ 257 h 257"/>
                <a:gd name="T80" fmla="*/ 118 w 347"/>
                <a:gd name="T81"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7" h="257">
                  <a:moveTo>
                    <a:pt x="118" y="257"/>
                  </a:moveTo>
                  <a:lnTo>
                    <a:pt x="113" y="218"/>
                  </a:lnTo>
                  <a:lnTo>
                    <a:pt x="107" y="201"/>
                  </a:lnTo>
                  <a:lnTo>
                    <a:pt x="110" y="188"/>
                  </a:lnTo>
                  <a:lnTo>
                    <a:pt x="203" y="192"/>
                  </a:lnTo>
                  <a:lnTo>
                    <a:pt x="235" y="189"/>
                  </a:lnTo>
                  <a:lnTo>
                    <a:pt x="249" y="189"/>
                  </a:lnTo>
                  <a:lnTo>
                    <a:pt x="260" y="192"/>
                  </a:lnTo>
                  <a:lnTo>
                    <a:pt x="279" y="188"/>
                  </a:lnTo>
                  <a:lnTo>
                    <a:pt x="303" y="164"/>
                  </a:lnTo>
                  <a:lnTo>
                    <a:pt x="332" y="166"/>
                  </a:lnTo>
                  <a:lnTo>
                    <a:pt x="347" y="144"/>
                  </a:lnTo>
                  <a:lnTo>
                    <a:pt x="333" y="129"/>
                  </a:lnTo>
                  <a:lnTo>
                    <a:pt x="333" y="124"/>
                  </a:lnTo>
                  <a:lnTo>
                    <a:pt x="342" y="121"/>
                  </a:lnTo>
                  <a:lnTo>
                    <a:pt x="336" y="110"/>
                  </a:lnTo>
                  <a:lnTo>
                    <a:pt x="327" y="107"/>
                  </a:lnTo>
                  <a:lnTo>
                    <a:pt x="315" y="113"/>
                  </a:lnTo>
                  <a:lnTo>
                    <a:pt x="302" y="107"/>
                  </a:lnTo>
                  <a:lnTo>
                    <a:pt x="277" y="71"/>
                  </a:lnTo>
                  <a:lnTo>
                    <a:pt x="254" y="48"/>
                  </a:lnTo>
                  <a:lnTo>
                    <a:pt x="251" y="31"/>
                  </a:lnTo>
                  <a:lnTo>
                    <a:pt x="240" y="22"/>
                  </a:lnTo>
                  <a:lnTo>
                    <a:pt x="246" y="0"/>
                  </a:lnTo>
                  <a:lnTo>
                    <a:pt x="203" y="6"/>
                  </a:lnTo>
                  <a:lnTo>
                    <a:pt x="125" y="66"/>
                  </a:lnTo>
                  <a:lnTo>
                    <a:pt x="61" y="87"/>
                  </a:lnTo>
                  <a:lnTo>
                    <a:pt x="44" y="129"/>
                  </a:lnTo>
                  <a:lnTo>
                    <a:pt x="8" y="166"/>
                  </a:lnTo>
                  <a:lnTo>
                    <a:pt x="0" y="188"/>
                  </a:lnTo>
                  <a:lnTo>
                    <a:pt x="0" y="218"/>
                  </a:lnTo>
                  <a:lnTo>
                    <a:pt x="11" y="238"/>
                  </a:lnTo>
                  <a:lnTo>
                    <a:pt x="25" y="247"/>
                  </a:lnTo>
                  <a:lnTo>
                    <a:pt x="31" y="246"/>
                  </a:lnTo>
                  <a:lnTo>
                    <a:pt x="39" y="251"/>
                  </a:lnTo>
                  <a:lnTo>
                    <a:pt x="44" y="243"/>
                  </a:lnTo>
                  <a:lnTo>
                    <a:pt x="73" y="235"/>
                  </a:lnTo>
                  <a:lnTo>
                    <a:pt x="90" y="238"/>
                  </a:lnTo>
                  <a:lnTo>
                    <a:pt x="95" y="235"/>
                  </a:lnTo>
                  <a:lnTo>
                    <a:pt x="109" y="257"/>
                  </a:lnTo>
                  <a:lnTo>
                    <a:pt x="118" y="257"/>
                  </a:lnTo>
                  <a:close/>
                </a:path>
              </a:pathLst>
            </a:custGeom>
            <a:solidFill>
              <a:schemeClr val="accent1"/>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05" name="Freeform 106">
              <a:extLst>
                <a:ext uri="{FF2B5EF4-FFF2-40B4-BE49-F238E27FC236}">
                  <a16:creationId xmlns:a16="http://schemas.microsoft.com/office/drawing/2014/main" id="{25CCD4F3-FDF2-8546-9211-F25244B209A9}"/>
                </a:ext>
              </a:extLst>
            </p:cNvPr>
            <p:cNvSpPr>
              <a:spLocks noChangeAspect="1"/>
            </p:cNvSpPr>
            <p:nvPr/>
          </p:nvSpPr>
          <p:spPr bwMode="gray">
            <a:xfrm>
              <a:off x="5126022" y="3630155"/>
              <a:ext cx="373185" cy="541144"/>
            </a:xfrm>
            <a:custGeom>
              <a:avLst/>
              <a:gdLst>
                <a:gd name="T0" fmla="*/ 98 w 764"/>
                <a:gd name="T1" fmla="*/ 221 h 920"/>
                <a:gd name="T2" fmla="*/ 98 w 764"/>
                <a:gd name="T3" fmla="*/ 309 h 920"/>
                <a:gd name="T4" fmla="*/ 49 w 764"/>
                <a:gd name="T5" fmla="*/ 360 h 920"/>
                <a:gd name="T6" fmla="*/ 19 w 764"/>
                <a:gd name="T7" fmla="*/ 414 h 920"/>
                <a:gd name="T8" fmla="*/ 10 w 764"/>
                <a:gd name="T9" fmla="*/ 445 h 920"/>
                <a:gd name="T10" fmla="*/ 0 w 764"/>
                <a:gd name="T11" fmla="*/ 486 h 920"/>
                <a:gd name="T12" fmla="*/ 21 w 764"/>
                <a:gd name="T13" fmla="*/ 496 h 920"/>
                <a:gd name="T14" fmla="*/ 46 w 764"/>
                <a:gd name="T15" fmla="*/ 567 h 920"/>
                <a:gd name="T16" fmla="*/ 38 w 764"/>
                <a:gd name="T17" fmla="*/ 577 h 920"/>
                <a:gd name="T18" fmla="*/ 78 w 764"/>
                <a:gd name="T19" fmla="*/ 637 h 920"/>
                <a:gd name="T20" fmla="*/ 83 w 764"/>
                <a:gd name="T21" fmla="*/ 684 h 920"/>
                <a:gd name="T22" fmla="*/ 109 w 764"/>
                <a:gd name="T23" fmla="*/ 701 h 920"/>
                <a:gd name="T24" fmla="*/ 151 w 764"/>
                <a:gd name="T25" fmla="*/ 716 h 920"/>
                <a:gd name="T26" fmla="*/ 202 w 764"/>
                <a:gd name="T27" fmla="*/ 772 h 920"/>
                <a:gd name="T28" fmla="*/ 251 w 764"/>
                <a:gd name="T29" fmla="*/ 826 h 920"/>
                <a:gd name="T30" fmla="*/ 287 w 764"/>
                <a:gd name="T31" fmla="*/ 880 h 920"/>
                <a:gd name="T32" fmla="*/ 316 w 764"/>
                <a:gd name="T33" fmla="*/ 879 h 920"/>
                <a:gd name="T34" fmla="*/ 359 w 764"/>
                <a:gd name="T35" fmla="*/ 874 h 920"/>
                <a:gd name="T36" fmla="*/ 418 w 764"/>
                <a:gd name="T37" fmla="*/ 919 h 920"/>
                <a:gd name="T38" fmla="*/ 465 w 764"/>
                <a:gd name="T39" fmla="*/ 914 h 920"/>
                <a:gd name="T40" fmla="*/ 505 w 764"/>
                <a:gd name="T41" fmla="*/ 912 h 920"/>
                <a:gd name="T42" fmla="*/ 557 w 764"/>
                <a:gd name="T43" fmla="*/ 899 h 920"/>
                <a:gd name="T44" fmla="*/ 644 w 764"/>
                <a:gd name="T45" fmla="*/ 875 h 920"/>
                <a:gd name="T46" fmla="*/ 612 w 764"/>
                <a:gd name="T47" fmla="*/ 829 h 920"/>
                <a:gd name="T48" fmla="*/ 565 w 764"/>
                <a:gd name="T49" fmla="*/ 764 h 920"/>
                <a:gd name="T50" fmla="*/ 513 w 764"/>
                <a:gd name="T51" fmla="*/ 724 h 920"/>
                <a:gd name="T52" fmla="*/ 522 w 764"/>
                <a:gd name="T53" fmla="*/ 701 h 920"/>
                <a:gd name="T54" fmla="*/ 564 w 764"/>
                <a:gd name="T55" fmla="*/ 691 h 920"/>
                <a:gd name="T56" fmla="*/ 573 w 764"/>
                <a:gd name="T57" fmla="*/ 604 h 920"/>
                <a:gd name="T58" fmla="*/ 599 w 764"/>
                <a:gd name="T59" fmla="*/ 580 h 920"/>
                <a:gd name="T60" fmla="*/ 638 w 764"/>
                <a:gd name="T61" fmla="*/ 504 h 920"/>
                <a:gd name="T62" fmla="*/ 674 w 764"/>
                <a:gd name="T63" fmla="*/ 440 h 920"/>
                <a:gd name="T64" fmla="*/ 671 w 764"/>
                <a:gd name="T65" fmla="*/ 396 h 920"/>
                <a:gd name="T66" fmla="*/ 709 w 764"/>
                <a:gd name="T67" fmla="*/ 291 h 920"/>
                <a:gd name="T68" fmla="*/ 756 w 764"/>
                <a:gd name="T69" fmla="*/ 266 h 920"/>
                <a:gd name="T70" fmla="*/ 760 w 764"/>
                <a:gd name="T71" fmla="*/ 237 h 920"/>
                <a:gd name="T72" fmla="*/ 740 w 764"/>
                <a:gd name="T73" fmla="*/ 221 h 920"/>
                <a:gd name="T74" fmla="*/ 714 w 764"/>
                <a:gd name="T75" fmla="*/ 203 h 920"/>
                <a:gd name="T76" fmla="*/ 706 w 764"/>
                <a:gd name="T77" fmla="*/ 98 h 920"/>
                <a:gd name="T78" fmla="*/ 689 w 764"/>
                <a:gd name="T79" fmla="*/ 54 h 920"/>
                <a:gd name="T80" fmla="*/ 640 w 764"/>
                <a:gd name="T81" fmla="*/ 15 h 920"/>
                <a:gd name="T82" fmla="*/ 612 w 764"/>
                <a:gd name="T83" fmla="*/ 15 h 920"/>
                <a:gd name="T84" fmla="*/ 590 w 764"/>
                <a:gd name="T85" fmla="*/ 37 h 920"/>
                <a:gd name="T86" fmla="*/ 559 w 764"/>
                <a:gd name="T87" fmla="*/ 64 h 920"/>
                <a:gd name="T88" fmla="*/ 520 w 764"/>
                <a:gd name="T89" fmla="*/ 54 h 920"/>
                <a:gd name="T90" fmla="*/ 439 w 764"/>
                <a:gd name="T91" fmla="*/ 54 h 920"/>
                <a:gd name="T92" fmla="*/ 437 w 764"/>
                <a:gd name="T93" fmla="*/ 44 h 920"/>
                <a:gd name="T94" fmla="*/ 395 w 764"/>
                <a:gd name="T95" fmla="*/ 54 h 920"/>
                <a:gd name="T96" fmla="*/ 324 w 764"/>
                <a:gd name="T97" fmla="*/ 54 h 920"/>
                <a:gd name="T98" fmla="*/ 251 w 764"/>
                <a:gd name="T99" fmla="*/ 54 h 920"/>
                <a:gd name="T100" fmla="*/ 180 w 764"/>
                <a:gd name="T101" fmla="*/ 54 h 920"/>
                <a:gd name="T102" fmla="*/ 144 w 764"/>
                <a:gd name="T103" fmla="*/ 100 h 920"/>
                <a:gd name="T104" fmla="*/ 98 w 764"/>
                <a:gd name="T105" fmla="*/ 14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4" h="920">
                  <a:moveTo>
                    <a:pt x="98" y="176"/>
                  </a:moveTo>
                  <a:lnTo>
                    <a:pt x="98" y="221"/>
                  </a:lnTo>
                  <a:lnTo>
                    <a:pt x="98" y="266"/>
                  </a:lnTo>
                  <a:lnTo>
                    <a:pt x="98" y="309"/>
                  </a:lnTo>
                  <a:lnTo>
                    <a:pt x="98" y="355"/>
                  </a:lnTo>
                  <a:lnTo>
                    <a:pt x="49" y="360"/>
                  </a:lnTo>
                  <a:lnTo>
                    <a:pt x="42" y="385"/>
                  </a:lnTo>
                  <a:lnTo>
                    <a:pt x="19" y="414"/>
                  </a:lnTo>
                  <a:lnTo>
                    <a:pt x="19" y="436"/>
                  </a:lnTo>
                  <a:lnTo>
                    <a:pt x="10" y="445"/>
                  </a:lnTo>
                  <a:lnTo>
                    <a:pt x="8" y="465"/>
                  </a:lnTo>
                  <a:lnTo>
                    <a:pt x="0" y="486"/>
                  </a:lnTo>
                  <a:lnTo>
                    <a:pt x="0" y="499"/>
                  </a:lnTo>
                  <a:lnTo>
                    <a:pt x="21" y="496"/>
                  </a:lnTo>
                  <a:lnTo>
                    <a:pt x="24" y="521"/>
                  </a:lnTo>
                  <a:lnTo>
                    <a:pt x="46" y="567"/>
                  </a:lnTo>
                  <a:lnTo>
                    <a:pt x="46" y="574"/>
                  </a:lnTo>
                  <a:lnTo>
                    <a:pt x="38" y="577"/>
                  </a:lnTo>
                  <a:lnTo>
                    <a:pt x="75" y="623"/>
                  </a:lnTo>
                  <a:lnTo>
                    <a:pt x="78" y="637"/>
                  </a:lnTo>
                  <a:lnTo>
                    <a:pt x="75" y="677"/>
                  </a:lnTo>
                  <a:lnTo>
                    <a:pt x="83" y="684"/>
                  </a:lnTo>
                  <a:lnTo>
                    <a:pt x="103" y="688"/>
                  </a:lnTo>
                  <a:lnTo>
                    <a:pt x="109" y="701"/>
                  </a:lnTo>
                  <a:lnTo>
                    <a:pt x="135" y="705"/>
                  </a:lnTo>
                  <a:lnTo>
                    <a:pt x="151" y="716"/>
                  </a:lnTo>
                  <a:lnTo>
                    <a:pt x="156" y="738"/>
                  </a:lnTo>
                  <a:lnTo>
                    <a:pt x="202" y="772"/>
                  </a:lnTo>
                  <a:lnTo>
                    <a:pt x="217" y="806"/>
                  </a:lnTo>
                  <a:lnTo>
                    <a:pt x="251" y="826"/>
                  </a:lnTo>
                  <a:lnTo>
                    <a:pt x="261" y="848"/>
                  </a:lnTo>
                  <a:lnTo>
                    <a:pt x="287" y="880"/>
                  </a:lnTo>
                  <a:lnTo>
                    <a:pt x="305" y="888"/>
                  </a:lnTo>
                  <a:lnTo>
                    <a:pt x="316" y="879"/>
                  </a:lnTo>
                  <a:lnTo>
                    <a:pt x="347" y="882"/>
                  </a:lnTo>
                  <a:lnTo>
                    <a:pt x="359" y="874"/>
                  </a:lnTo>
                  <a:lnTo>
                    <a:pt x="414" y="920"/>
                  </a:lnTo>
                  <a:lnTo>
                    <a:pt x="418" y="919"/>
                  </a:lnTo>
                  <a:lnTo>
                    <a:pt x="423" y="916"/>
                  </a:lnTo>
                  <a:lnTo>
                    <a:pt x="465" y="914"/>
                  </a:lnTo>
                  <a:lnTo>
                    <a:pt x="469" y="920"/>
                  </a:lnTo>
                  <a:lnTo>
                    <a:pt x="505" y="912"/>
                  </a:lnTo>
                  <a:lnTo>
                    <a:pt x="536" y="912"/>
                  </a:lnTo>
                  <a:lnTo>
                    <a:pt x="557" y="899"/>
                  </a:lnTo>
                  <a:lnTo>
                    <a:pt x="581" y="877"/>
                  </a:lnTo>
                  <a:lnTo>
                    <a:pt x="644" y="875"/>
                  </a:lnTo>
                  <a:lnTo>
                    <a:pt x="646" y="843"/>
                  </a:lnTo>
                  <a:lnTo>
                    <a:pt x="612" y="829"/>
                  </a:lnTo>
                  <a:lnTo>
                    <a:pt x="591" y="781"/>
                  </a:lnTo>
                  <a:lnTo>
                    <a:pt x="565" y="764"/>
                  </a:lnTo>
                  <a:lnTo>
                    <a:pt x="553" y="739"/>
                  </a:lnTo>
                  <a:lnTo>
                    <a:pt x="513" y="724"/>
                  </a:lnTo>
                  <a:lnTo>
                    <a:pt x="522" y="714"/>
                  </a:lnTo>
                  <a:lnTo>
                    <a:pt x="522" y="701"/>
                  </a:lnTo>
                  <a:lnTo>
                    <a:pt x="548" y="699"/>
                  </a:lnTo>
                  <a:lnTo>
                    <a:pt x="564" y="691"/>
                  </a:lnTo>
                  <a:lnTo>
                    <a:pt x="570" y="603"/>
                  </a:lnTo>
                  <a:lnTo>
                    <a:pt x="573" y="604"/>
                  </a:lnTo>
                  <a:lnTo>
                    <a:pt x="581" y="589"/>
                  </a:lnTo>
                  <a:lnTo>
                    <a:pt x="599" y="580"/>
                  </a:lnTo>
                  <a:lnTo>
                    <a:pt x="608" y="547"/>
                  </a:lnTo>
                  <a:lnTo>
                    <a:pt x="638" y="504"/>
                  </a:lnTo>
                  <a:lnTo>
                    <a:pt x="658" y="489"/>
                  </a:lnTo>
                  <a:lnTo>
                    <a:pt x="674" y="440"/>
                  </a:lnTo>
                  <a:lnTo>
                    <a:pt x="674" y="427"/>
                  </a:lnTo>
                  <a:lnTo>
                    <a:pt x="671" y="396"/>
                  </a:lnTo>
                  <a:lnTo>
                    <a:pt x="698" y="292"/>
                  </a:lnTo>
                  <a:lnTo>
                    <a:pt x="709" y="291"/>
                  </a:lnTo>
                  <a:lnTo>
                    <a:pt x="720" y="281"/>
                  </a:lnTo>
                  <a:lnTo>
                    <a:pt x="756" y="266"/>
                  </a:lnTo>
                  <a:lnTo>
                    <a:pt x="764" y="244"/>
                  </a:lnTo>
                  <a:lnTo>
                    <a:pt x="760" y="237"/>
                  </a:lnTo>
                  <a:lnTo>
                    <a:pt x="751" y="235"/>
                  </a:lnTo>
                  <a:lnTo>
                    <a:pt x="740" y="221"/>
                  </a:lnTo>
                  <a:lnTo>
                    <a:pt x="723" y="215"/>
                  </a:lnTo>
                  <a:lnTo>
                    <a:pt x="714" y="203"/>
                  </a:lnTo>
                  <a:lnTo>
                    <a:pt x="705" y="159"/>
                  </a:lnTo>
                  <a:lnTo>
                    <a:pt x="706" y="98"/>
                  </a:lnTo>
                  <a:lnTo>
                    <a:pt x="691" y="77"/>
                  </a:lnTo>
                  <a:lnTo>
                    <a:pt x="689" y="54"/>
                  </a:lnTo>
                  <a:lnTo>
                    <a:pt x="663" y="26"/>
                  </a:lnTo>
                  <a:lnTo>
                    <a:pt x="640" y="15"/>
                  </a:lnTo>
                  <a:lnTo>
                    <a:pt x="630" y="0"/>
                  </a:lnTo>
                  <a:lnTo>
                    <a:pt x="612" y="15"/>
                  </a:lnTo>
                  <a:lnTo>
                    <a:pt x="601" y="12"/>
                  </a:lnTo>
                  <a:lnTo>
                    <a:pt x="590" y="37"/>
                  </a:lnTo>
                  <a:lnTo>
                    <a:pt x="564" y="44"/>
                  </a:lnTo>
                  <a:lnTo>
                    <a:pt x="559" y="64"/>
                  </a:lnTo>
                  <a:lnTo>
                    <a:pt x="537" y="66"/>
                  </a:lnTo>
                  <a:lnTo>
                    <a:pt x="520" y="54"/>
                  </a:lnTo>
                  <a:lnTo>
                    <a:pt x="479" y="54"/>
                  </a:lnTo>
                  <a:lnTo>
                    <a:pt x="439" y="54"/>
                  </a:lnTo>
                  <a:lnTo>
                    <a:pt x="442" y="44"/>
                  </a:lnTo>
                  <a:lnTo>
                    <a:pt x="437" y="44"/>
                  </a:lnTo>
                  <a:lnTo>
                    <a:pt x="431" y="54"/>
                  </a:lnTo>
                  <a:lnTo>
                    <a:pt x="395" y="54"/>
                  </a:lnTo>
                  <a:lnTo>
                    <a:pt x="359" y="54"/>
                  </a:lnTo>
                  <a:lnTo>
                    <a:pt x="324" y="54"/>
                  </a:lnTo>
                  <a:lnTo>
                    <a:pt x="288" y="54"/>
                  </a:lnTo>
                  <a:lnTo>
                    <a:pt x="251" y="54"/>
                  </a:lnTo>
                  <a:lnTo>
                    <a:pt x="216" y="54"/>
                  </a:lnTo>
                  <a:lnTo>
                    <a:pt x="180" y="54"/>
                  </a:lnTo>
                  <a:lnTo>
                    <a:pt x="144" y="54"/>
                  </a:lnTo>
                  <a:lnTo>
                    <a:pt x="144" y="100"/>
                  </a:lnTo>
                  <a:lnTo>
                    <a:pt x="144" y="147"/>
                  </a:lnTo>
                  <a:lnTo>
                    <a:pt x="98" y="147"/>
                  </a:lnTo>
                  <a:lnTo>
                    <a:pt x="98" y="176"/>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06" name="Freeform 107">
              <a:extLst>
                <a:ext uri="{FF2B5EF4-FFF2-40B4-BE49-F238E27FC236}">
                  <a16:creationId xmlns:a16="http://schemas.microsoft.com/office/drawing/2014/main" id="{4D9099B6-11A6-0B48-8631-D475F0B3D1F1}"/>
                </a:ext>
              </a:extLst>
            </p:cNvPr>
            <p:cNvSpPr>
              <a:spLocks noChangeAspect="1"/>
            </p:cNvSpPr>
            <p:nvPr/>
          </p:nvSpPr>
          <p:spPr bwMode="gray">
            <a:xfrm>
              <a:off x="4908959" y="4126367"/>
              <a:ext cx="430597" cy="502766"/>
            </a:xfrm>
            <a:custGeom>
              <a:avLst/>
              <a:gdLst>
                <a:gd name="T0" fmla="*/ 841 w 878"/>
                <a:gd name="T1" fmla="*/ 173 h 855"/>
                <a:gd name="T2" fmla="*/ 861 w 878"/>
                <a:gd name="T3" fmla="*/ 130 h 855"/>
                <a:gd name="T4" fmla="*/ 861 w 878"/>
                <a:gd name="T5" fmla="*/ 74 h 855"/>
                <a:gd name="T6" fmla="*/ 802 w 878"/>
                <a:gd name="T7" fmla="*/ 29 h 855"/>
                <a:gd name="T8" fmla="*/ 759 w 878"/>
                <a:gd name="T9" fmla="*/ 34 h 855"/>
                <a:gd name="T10" fmla="*/ 730 w 878"/>
                <a:gd name="T11" fmla="*/ 35 h 855"/>
                <a:gd name="T12" fmla="*/ 680 w 878"/>
                <a:gd name="T13" fmla="*/ 3 h 855"/>
                <a:gd name="T14" fmla="*/ 663 w 878"/>
                <a:gd name="T15" fmla="*/ 6 h 855"/>
                <a:gd name="T16" fmla="*/ 646 w 878"/>
                <a:gd name="T17" fmla="*/ 0 h 855"/>
                <a:gd name="T18" fmla="*/ 597 w 878"/>
                <a:gd name="T19" fmla="*/ 1 h 855"/>
                <a:gd name="T20" fmla="*/ 578 w 878"/>
                <a:gd name="T21" fmla="*/ 15 h 855"/>
                <a:gd name="T22" fmla="*/ 510 w 878"/>
                <a:gd name="T23" fmla="*/ 27 h 855"/>
                <a:gd name="T24" fmla="*/ 477 w 878"/>
                <a:gd name="T25" fmla="*/ 27 h 855"/>
                <a:gd name="T26" fmla="*/ 468 w 878"/>
                <a:gd name="T27" fmla="*/ 43 h 855"/>
                <a:gd name="T28" fmla="*/ 396 w 878"/>
                <a:gd name="T29" fmla="*/ 30 h 855"/>
                <a:gd name="T30" fmla="*/ 382 w 878"/>
                <a:gd name="T31" fmla="*/ 35 h 855"/>
                <a:gd name="T32" fmla="*/ 334 w 878"/>
                <a:gd name="T33" fmla="*/ 3 h 855"/>
                <a:gd name="T34" fmla="*/ 303 w 878"/>
                <a:gd name="T35" fmla="*/ 69 h 855"/>
                <a:gd name="T36" fmla="*/ 289 w 878"/>
                <a:gd name="T37" fmla="*/ 101 h 855"/>
                <a:gd name="T38" fmla="*/ 250 w 878"/>
                <a:gd name="T39" fmla="*/ 272 h 855"/>
                <a:gd name="T40" fmla="*/ 185 w 878"/>
                <a:gd name="T41" fmla="*/ 337 h 855"/>
                <a:gd name="T42" fmla="*/ 177 w 878"/>
                <a:gd name="T43" fmla="*/ 389 h 855"/>
                <a:gd name="T44" fmla="*/ 120 w 878"/>
                <a:gd name="T45" fmla="*/ 456 h 855"/>
                <a:gd name="T46" fmla="*/ 93 w 878"/>
                <a:gd name="T47" fmla="*/ 460 h 855"/>
                <a:gd name="T48" fmla="*/ 68 w 878"/>
                <a:gd name="T49" fmla="*/ 447 h 855"/>
                <a:gd name="T50" fmla="*/ 45 w 878"/>
                <a:gd name="T51" fmla="*/ 464 h 855"/>
                <a:gd name="T52" fmla="*/ 13 w 878"/>
                <a:gd name="T53" fmla="*/ 470 h 855"/>
                <a:gd name="T54" fmla="*/ 0 w 878"/>
                <a:gd name="T55" fmla="*/ 509 h 855"/>
                <a:gd name="T56" fmla="*/ 45 w 878"/>
                <a:gd name="T57" fmla="*/ 509 h 855"/>
                <a:gd name="T58" fmla="*/ 113 w 878"/>
                <a:gd name="T59" fmla="*/ 507 h 855"/>
                <a:gd name="T60" fmla="*/ 182 w 878"/>
                <a:gd name="T61" fmla="*/ 507 h 855"/>
                <a:gd name="T62" fmla="*/ 213 w 878"/>
                <a:gd name="T63" fmla="*/ 577 h 855"/>
                <a:gd name="T64" fmla="*/ 252 w 878"/>
                <a:gd name="T65" fmla="*/ 614 h 855"/>
                <a:gd name="T66" fmla="*/ 323 w 878"/>
                <a:gd name="T67" fmla="*/ 608 h 855"/>
                <a:gd name="T68" fmla="*/ 391 w 878"/>
                <a:gd name="T69" fmla="*/ 557 h 855"/>
                <a:gd name="T70" fmla="*/ 431 w 878"/>
                <a:gd name="T71" fmla="*/ 575 h 855"/>
                <a:gd name="T72" fmla="*/ 442 w 878"/>
                <a:gd name="T73" fmla="*/ 649 h 855"/>
                <a:gd name="T74" fmla="*/ 451 w 878"/>
                <a:gd name="T75" fmla="*/ 727 h 855"/>
                <a:gd name="T76" fmla="*/ 460 w 878"/>
                <a:gd name="T77" fmla="*/ 761 h 855"/>
                <a:gd name="T78" fmla="*/ 499 w 878"/>
                <a:gd name="T79" fmla="*/ 747 h 855"/>
                <a:gd name="T80" fmla="*/ 541 w 878"/>
                <a:gd name="T81" fmla="*/ 741 h 855"/>
                <a:gd name="T82" fmla="*/ 563 w 878"/>
                <a:gd name="T83" fmla="*/ 761 h 855"/>
                <a:gd name="T84" fmla="*/ 606 w 878"/>
                <a:gd name="T85" fmla="*/ 772 h 855"/>
                <a:gd name="T86" fmla="*/ 682 w 878"/>
                <a:gd name="T87" fmla="*/ 781 h 855"/>
                <a:gd name="T88" fmla="*/ 730 w 878"/>
                <a:gd name="T89" fmla="*/ 807 h 855"/>
                <a:gd name="T90" fmla="*/ 765 w 878"/>
                <a:gd name="T91" fmla="*/ 844 h 855"/>
                <a:gd name="T92" fmla="*/ 792 w 878"/>
                <a:gd name="T93" fmla="*/ 846 h 855"/>
                <a:gd name="T94" fmla="*/ 802 w 878"/>
                <a:gd name="T95" fmla="*/ 806 h 855"/>
                <a:gd name="T96" fmla="*/ 750 w 878"/>
                <a:gd name="T97" fmla="*/ 784 h 855"/>
                <a:gd name="T98" fmla="*/ 767 w 878"/>
                <a:gd name="T99" fmla="*/ 700 h 855"/>
                <a:gd name="T100" fmla="*/ 765 w 878"/>
                <a:gd name="T101" fmla="*/ 657 h 855"/>
                <a:gd name="T102" fmla="*/ 773 w 878"/>
                <a:gd name="T103" fmla="*/ 636 h 855"/>
                <a:gd name="T104" fmla="*/ 843 w 878"/>
                <a:gd name="T105" fmla="*/ 616 h 855"/>
                <a:gd name="T106" fmla="*/ 806 w 878"/>
                <a:gd name="T107" fmla="*/ 563 h 855"/>
                <a:gd name="T108" fmla="*/ 789 w 878"/>
                <a:gd name="T109" fmla="*/ 501 h 855"/>
                <a:gd name="T110" fmla="*/ 778 w 878"/>
                <a:gd name="T111" fmla="*/ 475 h 855"/>
                <a:gd name="T112" fmla="*/ 782 w 878"/>
                <a:gd name="T113" fmla="*/ 434 h 855"/>
                <a:gd name="T114" fmla="*/ 778 w 878"/>
                <a:gd name="T115" fmla="*/ 421 h 855"/>
                <a:gd name="T116" fmla="*/ 785 w 878"/>
                <a:gd name="T117" fmla="*/ 374 h 855"/>
                <a:gd name="T118" fmla="*/ 773 w 878"/>
                <a:gd name="T119" fmla="*/ 349 h 855"/>
                <a:gd name="T120" fmla="*/ 806 w 878"/>
                <a:gd name="T121" fmla="*/ 300 h 855"/>
                <a:gd name="T122" fmla="*/ 807 w 878"/>
                <a:gd name="T123" fmla="*/ 247 h 855"/>
                <a:gd name="T124" fmla="*/ 843 w 878"/>
                <a:gd name="T125" fmla="*/ 184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8" h="855">
                  <a:moveTo>
                    <a:pt x="843" y="184"/>
                  </a:moveTo>
                  <a:lnTo>
                    <a:pt x="841" y="173"/>
                  </a:lnTo>
                  <a:lnTo>
                    <a:pt x="878" y="140"/>
                  </a:lnTo>
                  <a:lnTo>
                    <a:pt x="861" y="130"/>
                  </a:lnTo>
                  <a:lnTo>
                    <a:pt x="857" y="118"/>
                  </a:lnTo>
                  <a:lnTo>
                    <a:pt x="861" y="74"/>
                  </a:lnTo>
                  <a:lnTo>
                    <a:pt x="857" y="75"/>
                  </a:lnTo>
                  <a:lnTo>
                    <a:pt x="802" y="29"/>
                  </a:lnTo>
                  <a:lnTo>
                    <a:pt x="790" y="37"/>
                  </a:lnTo>
                  <a:lnTo>
                    <a:pt x="759" y="34"/>
                  </a:lnTo>
                  <a:lnTo>
                    <a:pt x="748" y="43"/>
                  </a:lnTo>
                  <a:lnTo>
                    <a:pt x="730" y="35"/>
                  </a:lnTo>
                  <a:lnTo>
                    <a:pt x="704" y="3"/>
                  </a:lnTo>
                  <a:lnTo>
                    <a:pt x="680" y="3"/>
                  </a:lnTo>
                  <a:lnTo>
                    <a:pt x="674" y="13"/>
                  </a:lnTo>
                  <a:lnTo>
                    <a:pt x="663" y="6"/>
                  </a:lnTo>
                  <a:lnTo>
                    <a:pt x="659" y="13"/>
                  </a:lnTo>
                  <a:lnTo>
                    <a:pt x="646" y="0"/>
                  </a:lnTo>
                  <a:lnTo>
                    <a:pt x="614" y="6"/>
                  </a:lnTo>
                  <a:lnTo>
                    <a:pt x="597" y="1"/>
                  </a:lnTo>
                  <a:lnTo>
                    <a:pt x="595" y="13"/>
                  </a:lnTo>
                  <a:lnTo>
                    <a:pt x="578" y="15"/>
                  </a:lnTo>
                  <a:lnTo>
                    <a:pt x="567" y="9"/>
                  </a:lnTo>
                  <a:lnTo>
                    <a:pt x="510" y="27"/>
                  </a:lnTo>
                  <a:lnTo>
                    <a:pt x="489" y="18"/>
                  </a:lnTo>
                  <a:lnTo>
                    <a:pt x="477" y="27"/>
                  </a:lnTo>
                  <a:lnTo>
                    <a:pt x="475" y="40"/>
                  </a:lnTo>
                  <a:lnTo>
                    <a:pt x="468" y="43"/>
                  </a:lnTo>
                  <a:lnTo>
                    <a:pt x="426" y="43"/>
                  </a:lnTo>
                  <a:lnTo>
                    <a:pt x="396" y="30"/>
                  </a:lnTo>
                  <a:lnTo>
                    <a:pt x="389" y="37"/>
                  </a:lnTo>
                  <a:lnTo>
                    <a:pt x="382" y="35"/>
                  </a:lnTo>
                  <a:lnTo>
                    <a:pt x="357" y="4"/>
                  </a:lnTo>
                  <a:lnTo>
                    <a:pt x="334" y="3"/>
                  </a:lnTo>
                  <a:lnTo>
                    <a:pt x="304" y="35"/>
                  </a:lnTo>
                  <a:lnTo>
                    <a:pt x="303" y="69"/>
                  </a:lnTo>
                  <a:lnTo>
                    <a:pt x="292" y="71"/>
                  </a:lnTo>
                  <a:lnTo>
                    <a:pt x="289" y="101"/>
                  </a:lnTo>
                  <a:lnTo>
                    <a:pt x="264" y="151"/>
                  </a:lnTo>
                  <a:lnTo>
                    <a:pt x="250" y="272"/>
                  </a:lnTo>
                  <a:lnTo>
                    <a:pt x="206" y="306"/>
                  </a:lnTo>
                  <a:lnTo>
                    <a:pt x="185" y="337"/>
                  </a:lnTo>
                  <a:lnTo>
                    <a:pt x="181" y="355"/>
                  </a:lnTo>
                  <a:lnTo>
                    <a:pt x="177" y="389"/>
                  </a:lnTo>
                  <a:lnTo>
                    <a:pt x="164" y="421"/>
                  </a:lnTo>
                  <a:lnTo>
                    <a:pt x="120" y="456"/>
                  </a:lnTo>
                  <a:lnTo>
                    <a:pt x="103" y="462"/>
                  </a:lnTo>
                  <a:lnTo>
                    <a:pt x="93" y="460"/>
                  </a:lnTo>
                  <a:lnTo>
                    <a:pt x="91" y="442"/>
                  </a:lnTo>
                  <a:lnTo>
                    <a:pt x="68" y="447"/>
                  </a:lnTo>
                  <a:lnTo>
                    <a:pt x="55" y="462"/>
                  </a:lnTo>
                  <a:lnTo>
                    <a:pt x="45" y="464"/>
                  </a:lnTo>
                  <a:lnTo>
                    <a:pt x="32" y="456"/>
                  </a:lnTo>
                  <a:lnTo>
                    <a:pt x="13" y="470"/>
                  </a:lnTo>
                  <a:lnTo>
                    <a:pt x="8" y="506"/>
                  </a:lnTo>
                  <a:lnTo>
                    <a:pt x="0" y="509"/>
                  </a:lnTo>
                  <a:lnTo>
                    <a:pt x="0" y="527"/>
                  </a:lnTo>
                  <a:lnTo>
                    <a:pt x="45" y="509"/>
                  </a:lnTo>
                  <a:lnTo>
                    <a:pt x="79" y="509"/>
                  </a:lnTo>
                  <a:lnTo>
                    <a:pt x="113" y="507"/>
                  </a:lnTo>
                  <a:lnTo>
                    <a:pt x="147" y="507"/>
                  </a:lnTo>
                  <a:lnTo>
                    <a:pt x="182" y="507"/>
                  </a:lnTo>
                  <a:lnTo>
                    <a:pt x="198" y="521"/>
                  </a:lnTo>
                  <a:lnTo>
                    <a:pt x="213" y="577"/>
                  </a:lnTo>
                  <a:lnTo>
                    <a:pt x="241" y="611"/>
                  </a:lnTo>
                  <a:lnTo>
                    <a:pt x="252" y="614"/>
                  </a:lnTo>
                  <a:lnTo>
                    <a:pt x="292" y="606"/>
                  </a:lnTo>
                  <a:lnTo>
                    <a:pt x="323" y="608"/>
                  </a:lnTo>
                  <a:lnTo>
                    <a:pt x="334" y="561"/>
                  </a:lnTo>
                  <a:lnTo>
                    <a:pt x="391" y="557"/>
                  </a:lnTo>
                  <a:lnTo>
                    <a:pt x="391" y="575"/>
                  </a:lnTo>
                  <a:lnTo>
                    <a:pt x="431" y="575"/>
                  </a:lnTo>
                  <a:lnTo>
                    <a:pt x="436" y="586"/>
                  </a:lnTo>
                  <a:lnTo>
                    <a:pt x="442" y="649"/>
                  </a:lnTo>
                  <a:lnTo>
                    <a:pt x="438" y="675"/>
                  </a:lnTo>
                  <a:lnTo>
                    <a:pt x="451" y="727"/>
                  </a:lnTo>
                  <a:lnTo>
                    <a:pt x="447" y="753"/>
                  </a:lnTo>
                  <a:lnTo>
                    <a:pt x="460" y="761"/>
                  </a:lnTo>
                  <a:lnTo>
                    <a:pt x="470" y="748"/>
                  </a:lnTo>
                  <a:lnTo>
                    <a:pt x="499" y="747"/>
                  </a:lnTo>
                  <a:lnTo>
                    <a:pt x="532" y="747"/>
                  </a:lnTo>
                  <a:lnTo>
                    <a:pt x="541" y="741"/>
                  </a:lnTo>
                  <a:lnTo>
                    <a:pt x="555" y="738"/>
                  </a:lnTo>
                  <a:lnTo>
                    <a:pt x="563" y="761"/>
                  </a:lnTo>
                  <a:lnTo>
                    <a:pt x="594" y="751"/>
                  </a:lnTo>
                  <a:lnTo>
                    <a:pt x="606" y="772"/>
                  </a:lnTo>
                  <a:lnTo>
                    <a:pt x="643" y="789"/>
                  </a:lnTo>
                  <a:lnTo>
                    <a:pt x="682" y="781"/>
                  </a:lnTo>
                  <a:lnTo>
                    <a:pt x="699" y="797"/>
                  </a:lnTo>
                  <a:lnTo>
                    <a:pt x="730" y="807"/>
                  </a:lnTo>
                  <a:lnTo>
                    <a:pt x="742" y="827"/>
                  </a:lnTo>
                  <a:lnTo>
                    <a:pt x="765" y="844"/>
                  </a:lnTo>
                  <a:lnTo>
                    <a:pt x="782" y="849"/>
                  </a:lnTo>
                  <a:lnTo>
                    <a:pt x="792" y="846"/>
                  </a:lnTo>
                  <a:lnTo>
                    <a:pt x="804" y="855"/>
                  </a:lnTo>
                  <a:lnTo>
                    <a:pt x="802" y="806"/>
                  </a:lnTo>
                  <a:lnTo>
                    <a:pt x="770" y="806"/>
                  </a:lnTo>
                  <a:lnTo>
                    <a:pt x="750" y="784"/>
                  </a:lnTo>
                  <a:lnTo>
                    <a:pt x="767" y="721"/>
                  </a:lnTo>
                  <a:lnTo>
                    <a:pt x="767" y="700"/>
                  </a:lnTo>
                  <a:lnTo>
                    <a:pt x="765" y="668"/>
                  </a:lnTo>
                  <a:lnTo>
                    <a:pt x="765" y="657"/>
                  </a:lnTo>
                  <a:lnTo>
                    <a:pt x="772" y="648"/>
                  </a:lnTo>
                  <a:lnTo>
                    <a:pt x="773" y="636"/>
                  </a:lnTo>
                  <a:lnTo>
                    <a:pt x="781" y="631"/>
                  </a:lnTo>
                  <a:lnTo>
                    <a:pt x="843" y="616"/>
                  </a:lnTo>
                  <a:lnTo>
                    <a:pt x="836" y="587"/>
                  </a:lnTo>
                  <a:lnTo>
                    <a:pt x="806" y="563"/>
                  </a:lnTo>
                  <a:lnTo>
                    <a:pt x="789" y="536"/>
                  </a:lnTo>
                  <a:lnTo>
                    <a:pt x="789" y="501"/>
                  </a:lnTo>
                  <a:lnTo>
                    <a:pt x="784" y="489"/>
                  </a:lnTo>
                  <a:lnTo>
                    <a:pt x="778" y="475"/>
                  </a:lnTo>
                  <a:lnTo>
                    <a:pt x="784" y="443"/>
                  </a:lnTo>
                  <a:lnTo>
                    <a:pt x="782" y="434"/>
                  </a:lnTo>
                  <a:lnTo>
                    <a:pt x="778" y="436"/>
                  </a:lnTo>
                  <a:lnTo>
                    <a:pt x="778" y="421"/>
                  </a:lnTo>
                  <a:lnTo>
                    <a:pt x="787" y="394"/>
                  </a:lnTo>
                  <a:lnTo>
                    <a:pt x="785" y="374"/>
                  </a:lnTo>
                  <a:lnTo>
                    <a:pt x="778" y="363"/>
                  </a:lnTo>
                  <a:lnTo>
                    <a:pt x="773" y="349"/>
                  </a:lnTo>
                  <a:lnTo>
                    <a:pt x="785" y="329"/>
                  </a:lnTo>
                  <a:lnTo>
                    <a:pt x="806" y="300"/>
                  </a:lnTo>
                  <a:lnTo>
                    <a:pt x="807" y="258"/>
                  </a:lnTo>
                  <a:lnTo>
                    <a:pt x="807" y="247"/>
                  </a:lnTo>
                  <a:lnTo>
                    <a:pt x="814" y="221"/>
                  </a:lnTo>
                  <a:lnTo>
                    <a:pt x="843" y="184"/>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07" name="Freeform 108">
              <a:extLst>
                <a:ext uri="{FF2B5EF4-FFF2-40B4-BE49-F238E27FC236}">
                  <a16:creationId xmlns:a16="http://schemas.microsoft.com/office/drawing/2014/main" id="{62668A12-53E9-B842-AF39-8CDDB3773274}"/>
                </a:ext>
              </a:extLst>
            </p:cNvPr>
            <p:cNvSpPr>
              <a:spLocks noChangeAspect="1"/>
            </p:cNvSpPr>
            <p:nvPr/>
          </p:nvSpPr>
          <p:spPr bwMode="gray">
            <a:xfrm>
              <a:off x="4830813" y="4205042"/>
              <a:ext cx="124394" cy="168868"/>
            </a:xfrm>
            <a:custGeom>
              <a:avLst/>
              <a:gdLst>
                <a:gd name="T0" fmla="*/ 115 w 256"/>
                <a:gd name="T1" fmla="*/ 5 h 288"/>
                <a:gd name="T2" fmla="*/ 110 w 256"/>
                <a:gd name="T3" fmla="*/ 16 h 288"/>
                <a:gd name="T4" fmla="*/ 115 w 256"/>
                <a:gd name="T5" fmla="*/ 56 h 288"/>
                <a:gd name="T6" fmla="*/ 56 w 256"/>
                <a:gd name="T7" fmla="*/ 56 h 288"/>
                <a:gd name="T8" fmla="*/ 36 w 256"/>
                <a:gd name="T9" fmla="*/ 61 h 288"/>
                <a:gd name="T10" fmla="*/ 36 w 256"/>
                <a:gd name="T11" fmla="*/ 75 h 288"/>
                <a:gd name="T12" fmla="*/ 25 w 256"/>
                <a:gd name="T13" fmla="*/ 83 h 288"/>
                <a:gd name="T14" fmla="*/ 48 w 256"/>
                <a:gd name="T15" fmla="*/ 100 h 288"/>
                <a:gd name="T16" fmla="*/ 37 w 256"/>
                <a:gd name="T17" fmla="*/ 101 h 288"/>
                <a:gd name="T18" fmla="*/ 23 w 256"/>
                <a:gd name="T19" fmla="*/ 95 h 288"/>
                <a:gd name="T20" fmla="*/ 20 w 256"/>
                <a:gd name="T21" fmla="*/ 126 h 288"/>
                <a:gd name="T22" fmla="*/ 8 w 256"/>
                <a:gd name="T23" fmla="*/ 139 h 288"/>
                <a:gd name="T24" fmla="*/ 0 w 256"/>
                <a:gd name="T25" fmla="*/ 142 h 288"/>
                <a:gd name="T26" fmla="*/ 5 w 256"/>
                <a:gd name="T27" fmla="*/ 149 h 288"/>
                <a:gd name="T28" fmla="*/ 22 w 256"/>
                <a:gd name="T29" fmla="*/ 194 h 288"/>
                <a:gd name="T30" fmla="*/ 51 w 256"/>
                <a:gd name="T31" fmla="*/ 230 h 288"/>
                <a:gd name="T32" fmla="*/ 101 w 256"/>
                <a:gd name="T33" fmla="*/ 276 h 288"/>
                <a:gd name="T34" fmla="*/ 107 w 256"/>
                <a:gd name="T35" fmla="*/ 288 h 288"/>
                <a:gd name="T36" fmla="*/ 113 w 256"/>
                <a:gd name="T37" fmla="*/ 270 h 288"/>
                <a:gd name="T38" fmla="*/ 132 w 256"/>
                <a:gd name="T39" fmla="*/ 267 h 288"/>
                <a:gd name="T40" fmla="*/ 135 w 256"/>
                <a:gd name="T41" fmla="*/ 262 h 288"/>
                <a:gd name="T42" fmla="*/ 129 w 256"/>
                <a:gd name="T43" fmla="*/ 240 h 288"/>
                <a:gd name="T44" fmla="*/ 133 w 256"/>
                <a:gd name="T45" fmla="*/ 223 h 288"/>
                <a:gd name="T46" fmla="*/ 163 w 256"/>
                <a:gd name="T47" fmla="*/ 208 h 288"/>
                <a:gd name="T48" fmla="*/ 178 w 256"/>
                <a:gd name="T49" fmla="*/ 193 h 288"/>
                <a:gd name="T50" fmla="*/ 193 w 256"/>
                <a:gd name="T51" fmla="*/ 205 h 288"/>
                <a:gd name="T52" fmla="*/ 214 w 256"/>
                <a:gd name="T53" fmla="*/ 203 h 288"/>
                <a:gd name="T54" fmla="*/ 229 w 256"/>
                <a:gd name="T55" fmla="*/ 217 h 288"/>
                <a:gd name="T56" fmla="*/ 242 w 256"/>
                <a:gd name="T57" fmla="*/ 211 h 288"/>
                <a:gd name="T58" fmla="*/ 252 w 256"/>
                <a:gd name="T59" fmla="*/ 142 h 288"/>
                <a:gd name="T60" fmla="*/ 240 w 256"/>
                <a:gd name="T61" fmla="*/ 106 h 288"/>
                <a:gd name="T62" fmla="*/ 240 w 256"/>
                <a:gd name="T63" fmla="*/ 93 h 288"/>
                <a:gd name="T64" fmla="*/ 256 w 256"/>
                <a:gd name="T65" fmla="*/ 69 h 288"/>
                <a:gd name="T66" fmla="*/ 254 w 256"/>
                <a:gd name="T67" fmla="*/ 50 h 288"/>
                <a:gd name="T68" fmla="*/ 245 w 256"/>
                <a:gd name="T69" fmla="*/ 41 h 288"/>
                <a:gd name="T70" fmla="*/ 222 w 256"/>
                <a:gd name="T71" fmla="*/ 33 h 288"/>
                <a:gd name="T72" fmla="*/ 208 w 256"/>
                <a:gd name="T73" fmla="*/ 55 h 288"/>
                <a:gd name="T74" fmla="*/ 201 w 256"/>
                <a:gd name="T75" fmla="*/ 50 h 288"/>
                <a:gd name="T76" fmla="*/ 201 w 256"/>
                <a:gd name="T77" fmla="*/ 19 h 288"/>
                <a:gd name="T78" fmla="*/ 206 w 256"/>
                <a:gd name="T79" fmla="*/ 7 h 288"/>
                <a:gd name="T80" fmla="*/ 155 w 256"/>
                <a:gd name="T81" fmla="*/ 0 h 288"/>
                <a:gd name="T82" fmla="*/ 115 w 256"/>
                <a:gd name="T83" fmla="*/ 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88">
                  <a:moveTo>
                    <a:pt x="115" y="5"/>
                  </a:moveTo>
                  <a:lnTo>
                    <a:pt x="110" y="16"/>
                  </a:lnTo>
                  <a:lnTo>
                    <a:pt x="115" y="56"/>
                  </a:lnTo>
                  <a:lnTo>
                    <a:pt x="56" y="56"/>
                  </a:lnTo>
                  <a:lnTo>
                    <a:pt x="36" y="61"/>
                  </a:lnTo>
                  <a:lnTo>
                    <a:pt x="36" y="75"/>
                  </a:lnTo>
                  <a:lnTo>
                    <a:pt x="25" y="83"/>
                  </a:lnTo>
                  <a:lnTo>
                    <a:pt x="48" y="100"/>
                  </a:lnTo>
                  <a:lnTo>
                    <a:pt x="37" y="101"/>
                  </a:lnTo>
                  <a:lnTo>
                    <a:pt x="23" y="95"/>
                  </a:lnTo>
                  <a:lnTo>
                    <a:pt x="20" y="126"/>
                  </a:lnTo>
                  <a:lnTo>
                    <a:pt x="8" y="139"/>
                  </a:lnTo>
                  <a:lnTo>
                    <a:pt x="0" y="142"/>
                  </a:lnTo>
                  <a:lnTo>
                    <a:pt x="5" y="149"/>
                  </a:lnTo>
                  <a:lnTo>
                    <a:pt x="22" y="194"/>
                  </a:lnTo>
                  <a:lnTo>
                    <a:pt x="51" y="230"/>
                  </a:lnTo>
                  <a:lnTo>
                    <a:pt x="101" y="276"/>
                  </a:lnTo>
                  <a:lnTo>
                    <a:pt x="107" y="288"/>
                  </a:lnTo>
                  <a:lnTo>
                    <a:pt x="113" y="270"/>
                  </a:lnTo>
                  <a:lnTo>
                    <a:pt x="132" y="267"/>
                  </a:lnTo>
                  <a:lnTo>
                    <a:pt x="135" y="262"/>
                  </a:lnTo>
                  <a:lnTo>
                    <a:pt x="129" y="240"/>
                  </a:lnTo>
                  <a:lnTo>
                    <a:pt x="133" y="223"/>
                  </a:lnTo>
                  <a:lnTo>
                    <a:pt x="163" y="208"/>
                  </a:lnTo>
                  <a:lnTo>
                    <a:pt x="178" y="193"/>
                  </a:lnTo>
                  <a:lnTo>
                    <a:pt x="193" y="205"/>
                  </a:lnTo>
                  <a:lnTo>
                    <a:pt x="214" y="203"/>
                  </a:lnTo>
                  <a:lnTo>
                    <a:pt x="229" y="217"/>
                  </a:lnTo>
                  <a:lnTo>
                    <a:pt x="242" y="211"/>
                  </a:lnTo>
                  <a:lnTo>
                    <a:pt x="252" y="142"/>
                  </a:lnTo>
                  <a:lnTo>
                    <a:pt x="240" y="106"/>
                  </a:lnTo>
                  <a:lnTo>
                    <a:pt x="240" y="93"/>
                  </a:lnTo>
                  <a:lnTo>
                    <a:pt x="256" y="69"/>
                  </a:lnTo>
                  <a:lnTo>
                    <a:pt x="254" y="50"/>
                  </a:lnTo>
                  <a:lnTo>
                    <a:pt x="245" y="41"/>
                  </a:lnTo>
                  <a:lnTo>
                    <a:pt x="222" y="33"/>
                  </a:lnTo>
                  <a:lnTo>
                    <a:pt x="208" y="55"/>
                  </a:lnTo>
                  <a:lnTo>
                    <a:pt x="201" y="50"/>
                  </a:lnTo>
                  <a:lnTo>
                    <a:pt x="201" y="19"/>
                  </a:lnTo>
                  <a:lnTo>
                    <a:pt x="206" y="7"/>
                  </a:lnTo>
                  <a:lnTo>
                    <a:pt x="155" y="0"/>
                  </a:lnTo>
                  <a:lnTo>
                    <a:pt x="115" y="5"/>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08" name="Freeform 109">
              <a:extLst>
                <a:ext uri="{FF2B5EF4-FFF2-40B4-BE49-F238E27FC236}">
                  <a16:creationId xmlns:a16="http://schemas.microsoft.com/office/drawing/2014/main" id="{145A8B79-DFC3-2343-B6E3-FE7AF2827DA5}"/>
                </a:ext>
              </a:extLst>
            </p:cNvPr>
            <p:cNvSpPr>
              <a:spLocks noChangeAspect="1"/>
            </p:cNvSpPr>
            <p:nvPr/>
          </p:nvSpPr>
          <p:spPr bwMode="gray">
            <a:xfrm>
              <a:off x="4881846" y="4168582"/>
              <a:ext cx="172239" cy="236033"/>
            </a:xfrm>
            <a:custGeom>
              <a:avLst/>
              <a:gdLst>
                <a:gd name="T0" fmla="*/ 348 w 348"/>
                <a:gd name="T1" fmla="*/ 0 h 402"/>
                <a:gd name="T2" fmla="*/ 316 w 348"/>
                <a:gd name="T3" fmla="*/ 13 h 402"/>
                <a:gd name="T4" fmla="*/ 288 w 348"/>
                <a:gd name="T5" fmla="*/ 0 h 402"/>
                <a:gd name="T6" fmla="*/ 272 w 348"/>
                <a:gd name="T7" fmla="*/ 3 h 402"/>
                <a:gd name="T8" fmla="*/ 252 w 348"/>
                <a:gd name="T9" fmla="*/ 15 h 402"/>
                <a:gd name="T10" fmla="*/ 230 w 348"/>
                <a:gd name="T11" fmla="*/ 38 h 402"/>
                <a:gd name="T12" fmla="*/ 230 w 348"/>
                <a:gd name="T13" fmla="*/ 85 h 402"/>
                <a:gd name="T14" fmla="*/ 224 w 348"/>
                <a:gd name="T15" fmla="*/ 96 h 402"/>
                <a:gd name="T16" fmla="*/ 204 w 348"/>
                <a:gd name="T17" fmla="*/ 80 h 402"/>
                <a:gd name="T18" fmla="*/ 164 w 348"/>
                <a:gd name="T19" fmla="*/ 71 h 402"/>
                <a:gd name="T20" fmla="*/ 99 w 348"/>
                <a:gd name="T21" fmla="*/ 71 h 402"/>
                <a:gd name="T22" fmla="*/ 94 w 348"/>
                <a:gd name="T23" fmla="*/ 83 h 402"/>
                <a:gd name="T24" fmla="*/ 94 w 348"/>
                <a:gd name="T25" fmla="*/ 114 h 402"/>
                <a:gd name="T26" fmla="*/ 101 w 348"/>
                <a:gd name="T27" fmla="*/ 119 h 402"/>
                <a:gd name="T28" fmla="*/ 115 w 348"/>
                <a:gd name="T29" fmla="*/ 97 h 402"/>
                <a:gd name="T30" fmla="*/ 138 w 348"/>
                <a:gd name="T31" fmla="*/ 105 h 402"/>
                <a:gd name="T32" fmla="*/ 147 w 348"/>
                <a:gd name="T33" fmla="*/ 114 h 402"/>
                <a:gd name="T34" fmla="*/ 149 w 348"/>
                <a:gd name="T35" fmla="*/ 133 h 402"/>
                <a:gd name="T36" fmla="*/ 133 w 348"/>
                <a:gd name="T37" fmla="*/ 157 h 402"/>
                <a:gd name="T38" fmla="*/ 133 w 348"/>
                <a:gd name="T39" fmla="*/ 170 h 402"/>
                <a:gd name="T40" fmla="*/ 145 w 348"/>
                <a:gd name="T41" fmla="*/ 206 h 402"/>
                <a:gd name="T42" fmla="*/ 135 w 348"/>
                <a:gd name="T43" fmla="*/ 275 h 402"/>
                <a:gd name="T44" fmla="*/ 122 w 348"/>
                <a:gd name="T45" fmla="*/ 281 h 402"/>
                <a:gd name="T46" fmla="*/ 107 w 348"/>
                <a:gd name="T47" fmla="*/ 267 h 402"/>
                <a:gd name="T48" fmla="*/ 86 w 348"/>
                <a:gd name="T49" fmla="*/ 269 h 402"/>
                <a:gd name="T50" fmla="*/ 71 w 348"/>
                <a:gd name="T51" fmla="*/ 257 h 402"/>
                <a:gd name="T52" fmla="*/ 56 w 348"/>
                <a:gd name="T53" fmla="*/ 272 h 402"/>
                <a:gd name="T54" fmla="*/ 26 w 348"/>
                <a:gd name="T55" fmla="*/ 287 h 402"/>
                <a:gd name="T56" fmla="*/ 22 w 348"/>
                <a:gd name="T57" fmla="*/ 304 h 402"/>
                <a:gd name="T58" fmla="*/ 28 w 348"/>
                <a:gd name="T59" fmla="*/ 326 h 402"/>
                <a:gd name="T60" fmla="*/ 25 w 348"/>
                <a:gd name="T61" fmla="*/ 331 h 402"/>
                <a:gd name="T62" fmla="*/ 6 w 348"/>
                <a:gd name="T63" fmla="*/ 334 h 402"/>
                <a:gd name="T64" fmla="*/ 0 w 348"/>
                <a:gd name="T65" fmla="*/ 352 h 402"/>
                <a:gd name="T66" fmla="*/ 9 w 348"/>
                <a:gd name="T67" fmla="*/ 357 h 402"/>
                <a:gd name="T68" fmla="*/ 28 w 348"/>
                <a:gd name="T69" fmla="*/ 377 h 402"/>
                <a:gd name="T70" fmla="*/ 40 w 348"/>
                <a:gd name="T71" fmla="*/ 402 h 402"/>
                <a:gd name="T72" fmla="*/ 60 w 348"/>
                <a:gd name="T73" fmla="*/ 389 h 402"/>
                <a:gd name="T74" fmla="*/ 68 w 348"/>
                <a:gd name="T75" fmla="*/ 377 h 402"/>
                <a:gd name="T76" fmla="*/ 76 w 348"/>
                <a:gd name="T77" fmla="*/ 372 h 402"/>
                <a:gd name="T78" fmla="*/ 82 w 348"/>
                <a:gd name="T79" fmla="*/ 376 h 402"/>
                <a:gd name="T80" fmla="*/ 88 w 348"/>
                <a:gd name="T81" fmla="*/ 385 h 402"/>
                <a:gd name="T82" fmla="*/ 101 w 348"/>
                <a:gd name="T83" fmla="*/ 393 h 402"/>
                <a:gd name="T84" fmla="*/ 111 w 348"/>
                <a:gd name="T85" fmla="*/ 391 h 402"/>
                <a:gd name="T86" fmla="*/ 124 w 348"/>
                <a:gd name="T87" fmla="*/ 376 h 402"/>
                <a:gd name="T88" fmla="*/ 147 w 348"/>
                <a:gd name="T89" fmla="*/ 371 h 402"/>
                <a:gd name="T90" fmla="*/ 149 w 348"/>
                <a:gd name="T91" fmla="*/ 389 h 402"/>
                <a:gd name="T92" fmla="*/ 159 w 348"/>
                <a:gd name="T93" fmla="*/ 391 h 402"/>
                <a:gd name="T94" fmla="*/ 176 w 348"/>
                <a:gd name="T95" fmla="*/ 385 h 402"/>
                <a:gd name="T96" fmla="*/ 220 w 348"/>
                <a:gd name="T97" fmla="*/ 350 h 402"/>
                <a:gd name="T98" fmla="*/ 233 w 348"/>
                <a:gd name="T99" fmla="*/ 318 h 402"/>
                <a:gd name="T100" fmla="*/ 237 w 348"/>
                <a:gd name="T101" fmla="*/ 284 h 402"/>
                <a:gd name="T102" fmla="*/ 241 w 348"/>
                <a:gd name="T103" fmla="*/ 266 h 402"/>
                <a:gd name="T104" fmla="*/ 262 w 348"/>
                <a:gd name="T105" fmla="*/ 235 h 402"/>
                <a:gd name="T106" fmla="*/ 306 w 348"/>
                <a:gd name="T107" fmla="*/ 201 h 402"/>
                <a:gd name="T108" fmla="*/ 320 w 348"/>
                <a:gd name="T109" fmla="*/ 80 h 402"/>
                <a:gd name="T110" fmla="*/ 345 w 348"/>
                <a:gd name="T111" fmla="*/ 30 h 402"/>
                <a:gd name="T112" fmla="*/ 348 w 348"/>
                <a:gd name="T113"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8" h="402">
                  <a:moveTo>
                    <a:pt x="348" y="0"/>
                  </a:moveTo>
                  <a:lnTo>
                    <a:pt x="316" y="13"/>
                  </a:lnTo>
                  <a:lnTo>
                    <a:pt x="288" y="0"/>
                  </a:lnTo>
                  <a:lnTo>
                    <a:pt x="272" y="3"/>
                  </a:lnTo>
                  <a:lnTo>
                    <a:pt x="252" y="15"/>
                  </a:lnTo>
                  <a:lnTo>
                    <a:pt x="230" y="38"/>
                  </a:lnTo>
                  <a:lnTo>
                    <a:pt x="230" y="85"/>
                  </a:lnTo>
                  <a:lnTo>
                    <a:pt x="224" y="96"/>
                  </a:lnTo>
                  <a:lnTo>
                    <a:pt x="204" y="80"/>
                  </a:lnTo>
                  <a:lnTo>
                    <a:pt x="164" y="71"/>
                  </a:lnTo>
                  <a:lnTo>
                    <a:pt x="99" y="71"/>
                  </a:lnTo>
                  <a:lnTo>
                    <a:pt x="94" y="83"/>
                  </a:lnTo>
                  <a:lnTo>
                    <a:pt x="94" y="114"/>
                  </a:lnTo>
                  <a:lnTo>
                    <a:pt x="101" y="119"/>
                  </a:lnTo>
                  <a:lnTo>
                    <a:pt x="115" y="97"/>
                  </a:lnTo>
                  <a:lnTo>
                    <a:pt x="138" y="105"/>
                  </a:lnTo>
                  <a:lnTo>
                    <a:pt x="147" y="114"/>
                  </a:lnTo>
                  <a:lnTo>
                    <a:pt x="149" y="133"/>
                  </a:lnTo>
                  <a:lnTo>
                    <a:pt x="133" y="157"/>
                  </a:lnTo>
                  <a:lnTo>
                    <a:pt x="133" y="170"/>
                  </a:lnTo>
                  <a:lnTo>
                    <a:pt x="145" y="206"/>
                  </a:lnTo>
                  <a:lnTo>
                    <a:pt x="135" y="275"/>
                  </a:lnTo>
                  <a:lnTo>
                    <a:pt x="122" y="281"/>
                  </a:lnTo>
                  <a:lnTo>
                    <a:pt x="107" y="267"/>
                  </a:lnTo>
                  <a:lnTo>
                    <a:pt x="86" y="269"/>
                  </a:lnTo>
                  <a:lnTo>
                    <a:pt x="71" y="257"/>
                  </a:lnTo>
                  <a:lnTo>
                    <a:pt x="56" y="272"/>
                  </a:lnTo>
                  <a:lnTo>
                    <a:pt x="26" y="287"/>
                  </a:lnTo>
                  <a:lnTo>
                    <a:pt x="22" y="304"/>
                  </a:lnTo>
                  <a:lnTo>
                    <a:pt x="28" y="326"/>
                  </a:lnTo>
                  <a:lnTo>
                    <a:pt x="25" y="331"/>
                  </a:lnTo>
                  <a:lnTo>
                    <a:pt x="6" y="334"/>
                  </a:lnTo>
                  <a:lnTo>
                    <a:pt x="0" y="352"/>
                  </a:lnTo>
                  <a:lnTo>
                    <a:pt x="9" y="357"/>
                  </a:lnTo>
                  <a:lnTo>
                    <a:pt x="28" y="377"/>
                  </a:lnTo>
                  <a:lnTo>
                    <a:pt x="40" y="402"/>
                  </a:lnTo>
                  <a:lnTo>
                    <a:pt x="60" y="389"/>
                  </a:lnTo>
                  <a:lnTo>
                    <a:pt x="68" y="377"/>
                  </a:lnTo>
                  <a:lnTo>
                    <a:pt x="76" y="372"/>
                  </a:lnTo>
                  <a:lnTo>
                    <a:pt x="82" y="376"/>
                  </a:lnTo>
                  <a:lnTo>
                    <a:pt x="88" y="385"/>
                  </a:lnTo>
                  <a:lnTo>
                    <a:pt x="101" y="393"/>
                  </a:lnTo>
                  <a:lnTo>
                    <a:pt x="111" y="391"/>
                  </a:lnTo>
                  <a:lnTo>
                    <a:pt x="124" y="376"/>
                  </a:lnTo>
                  <a:lnTo>
                    <a:pt x="147" y="371"/>
                  </a:lnTo>
                  <a:lnTo>
                    <a:pt x="149" y="389"/>
                  </a:lnTo>
                  <a:lnTo>
                    <a:pt x="159" y="391"/>
                  </a:lnTo>
                  <a:lnTo>
                    <a:pt x="176" y="385"/>
                  </a:lnTo>
                  <a:lnTo>
                    <a:pt x="220" y="350"/>
                  </a:lnTo>
                  <a:lnTo>
                    <a:pt x="233" y="318"/>
                  </a:lnTo>
                  <a:lnTo>
                    <a:pt x="237" y="284"/>
                  </a:lnTo>
                  <a:lnTo>
                    <a:pt x="241" y="266"/>
                  </a:lnTo>
                  <a:lnTo>
                    <a:pt x="262" y="235"/>
                  </a:lnTo>
                  <a:lnTo>
                    <a:pt x="306" y="201"/>
                  </a:lnTo>
                  <a:lnTo>
                    <a:pt x="320" y="80"/>
                  </a:lnTo>
                  <a:lnTo>
                    <a:pt x="345" y="30"/>
                  </a:lnTo>
                  <a:lnTo>
                    <a:pt x="348" y="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09" name="Freeform 110">
              <a:extLst>
                <a:ext uri="{FF2B5EF4-FFF2-40B4-BE49-F238E27FC236}">
                  <a16:creationId xmlns:a16="http://schemas.microsoft.com/office/drawing/2014/main" id="{29179332-3385-4949-A710-6549EA99E2C4}"/>
                </a:ext>
              </a:extLst>
            </p:cNvPr>
            <p:cNvSpPr>
              <a:spLocks noChangeAspect="1"/>
            </p:cNvSpPr>
            <p:nvPr/>
          </p:nvSpPr>
          <p:spPr bwMode="gray">
            <a:xfrm>
              <a:off x="4841975" y="4206960"/>
              <a:ext cx="46248" cy="34540"/>
            </a:xfrm>
            <a:custGeom>
              <a:avLst/>
              <a:gdLst>
                <a:gd name="T0" fmla="*/ 90 w 90"/>
                <a:gd name="T1" fmla="*/ 0 h 56"/>
                <a:gd name="T2" fmla="*/ 17 w 90"/>
                <a:gd name="T3" fmla="*/ 2 h 56"/>
                <a:gd name="T4" fmla="*/ 11 w 90"/>
                <a:gd name="T5" fmla="*/ 31 h 56"/>
                <a:gd name="T6" fmla="*/ 0 w 90"/>
                <a:gd name="T7" fmla="*/ 45 h 56"/>
                <a:gd name="T8" fmla="*/ 12 w 90"/>
                <a:gd name="T9" fmla="*/ 53 h 56"/>
                <a:gd name="T10" fmla="*/ 11 w 90"/>
                <a:gd name="T11" fmla="*/ 56 h 56"/>
                <a:gd name="T12" fmla="*/ 31 w 90"/>
                <a:gd name="T13" fmla="*/ 51 h 56"/>
                <a:gd name="T14" fmla="*/ 90 w 90"/>
                <a:gd name="T15" fmla="*/ 51 h 56"/>
                <a:gd name="T16" fmla="*/ 85 w 90"/>
                <a:gd name="T17" fmla="*/ 11 h 56"/>
                <a:gd name="T18" fmla="*/ 90 w 90"/>
                <a:gd name="T1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56">
                  <a:moveTo>
                    <a:pt x="90" y="0"/>
                  </a:moveTo>
                  <a:lnTo>
                    <a:pt x="17" y="2"/>
                  </a:lnTo>
                  <a:lnTo>
                    <a:pt x="11" y="31"/>
                  </a:lnTo>
                  <a:lnTo>
                    <a:pt x="0" y="45"/>
                  </a:lnTo>
                  <a:lnTo>
                    <a:pt x="12" y="53"/>
                  </a:lnTo>
                  <a:lnTo>
                    <a:pt x="11" y="56"/>
                  </a:lnTo>
                  <a:lnTo>
                    <a:pt x="31" y="51"/>
                  </a:lnTo>
                  <a:lnTo>
                    <a:pt x="90" y="51"/>
                  </a:lnTo>
                  <a:lnTo>
                    <a:pt x="85" y="11"/>
                  </a:lnTo>
                  <a:lnTo>
                    <a:pt x="90" y="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10" name="Freeform 111">
              <a:extLst>
                <a:ext uri="{FF2B5EF4-FFF2-40B4-BE49-F238E27FC236}">
                  <a16:creationId xmlns:a16="http://schemas.microsoft.com/office/drawing/2014/main" id="{11C207A0-CB3C-464F-94CA-8A531E8A428E}"/>
                </a:ext>
              </a:extLst>
            </p:cNvPr>
            <p:cNvSpPr>
              <a:spLocks noChangeAspect="1"/>
            </p:cNvSpPr>
            <p:nvPr/>
          </p:nvSpPr>
          <p:spPr bwMode="gray">
            <a:xfrm>
              <a:off x="4822838" y="4164743"/>
              <a:ext cx="11163" cy="15352"/>
            </a:xfrm>
            <a:custGeom>
              <a:avLst/>
              <a:gdLst>
                <a:gd name="T0" fmla="*/ 21 w 21"/>
                <a:gd name="T1" fmla="*/ 6 h 23"/>
                <a:gd name="T2" fmla="*/ 14 w 21"/>
                <a:gd name="T3" fmla="*/ 23 h 23"/>
                <a:gd name="T4" fmla="*/ 0 w 21"/>
                <a:gd name="T5" fmla="*/ 23 h 23"/>
                <a:gd name="T6" fmla="*/ 7 w 21"/>
                <a:gd name="T7" fmla="*/ 0 h 23"/>
                <a:gd name="T8" fmla="*/ 21 w 21"/>
                <a:gd name="T9" fmla="*/ 6 h 23"/>
              </a:gdLst>
              <a:ahLst/>
              <a:cxnLst>
                <a:cxn ang="0">
                  <a:pos x="T0" y="T1"/>
                </a:cxn>
                <a:cxn ang="0">
                  <a:pos x="T2" y="T3"/>
                </a:cxn>
                <a:cxn ang="0">
                  <a:pos x="T4" y="T5"/>
                </a:cxn>
                <a:cxn ang="0">
                  <a:pos x="T6" y="T7"/>
                </a:cxn>
                <a:cxn ang="0">
                  <a:pos x="T8" y="T9"/>
                </a:cxn>
              </a:cxnLst>
              <a:rect l="0" t="0" r="r" b="b"/>
              <a:pathLst>
                <a:path w="21" h="23">
                  <a:moveTo>
                    <a:pt x="21" y="6"/>
                  </a:moveTo>
                  <a:lnTo>
                    <a:pt x="14" y="23"/>
                  </a:lnTo>
                  <a:lnTo>
                    <a:pt x="0" y="23"/>
                  </a:lnTo>
                  <a:lnTo>
                    <a:pt x="7" y="0"/>
                  </a:lnTo>
                  <a:lnTo>
                    <a:pt x="21" y="6"/>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11" name="Freeform 112">
              <a:extLst>
                <a:ext uri="{FF2B5EF4-FFF2-40B4-BE49-F238E27FC236}">
                  <a16:creationId xmlns:a16="http://schemas.microsoft.com/office/drawing/2014/main" id="{01B21AC5-D877-C14A-A7FD-39AC10C83E70}"/>
                </a:ext>
              </a:extLst>
            </p:cNvPr>
            <p:cNvSpPr>
              <a:spLocks noChangeAspect="1"/>
            </p:cNvSpPr>
            <p:nvPr/>
          </p:nvSpPr>
          <p:spPr bwMode="gray">
            <a:xfrm>
              <a:off x="4795727" y="4220395"/>
              <a:ext cx="3190" cy="5759"/>
            </a:xfrm>
            <a:custGeom>
              <a:avLst/>
              <a:gdLst>
                <a:gd name="T0" fmla="*/ 3 w 4"/>
                <a:gd name="T1" fmla="*/ 0 h 11"/>
                <a:gd name="T2" fmla="*/ 4 w 4"/>
                <a:gd name="T3" fmla="*/ 5 h 11"/>
                <a:gd name="T4" fmla="*/ 0 w 4"/>
                <a:gd name="T5" fmla="*/ 11 h 11"/>
                <a:gd name="T6" fmla="*/ 3 w 4"/>
                <a:gd name="T7" fmla="*/ 0 h 11"/>
              </a:gdLst>
              <a:ahLst/>
              <a:cxnLst>
                <a:cxn ang="0">
                  <a:pos x="T0" y="T1"/>
                </a:cxn>
                <a:cxn ang="0">
                  <a:pos x="T2" y="T3"/>
                </a:cxn>
                <a:cxn ang="0">
                  <a:pos x="T4" y="T5"/>
                </a:cxn>
                <a:cxn ang="0">
                  <a:pos x="T6" y="T7"/>
                </a:cxn>
              </a:cxnLst>
              <a:rect l="0" t="0" r="r" b="b"/>
              <a:pathLst>
                <a:path w="4" h="11">
                  <a:moveTo>
                    <a:pt x="3" y="0"/>
                  </a:moveTo>
                  <a:lnTo>
                    <a:pt x="4" y="5"/>
                  </a:lnTo>
                  <a:lnTo>
                    <a:pt x="0" y="11"/>
                  </a:lnTo>
                  <a:lnTo>
                    <a:pt x="3" y="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12" name="Freeform 113">
              <a:extLst>
                <a:ext uri="{FF2B5EF4-FFF2-40B4-BE49-F238E27FC236}">
                  <a16:creationId xmlns:a16="http://schemas.microsoft.com/office/drawing/2014/main" id="{6847D294-C5EB-8E4F-8A2E-FAFFE3C09A01}"/>
                </a:ext>
              </a:extLst>
            </p:cNvPr>
            <p:cNvSpPr>
              <a:spLocks noChangeAspect="1"/>
            </p:cNvSpPr>
            <p:nvPr/>
          </p:nvSpPr>
          <p:spPr bwMode="gray">
            <a:xfrm>
              <a:off x="5575587" y="3921037"/>
              <a:ext cx="33490" cy="51812"/>
            </a:xfrm>
            <a:custGeom>
              <a:avLst/>
              <a:gdLst>
                <a:gd name="T0" fmla="*/ 55 w 69"/>
                <a:gd name="T1" fmla="*/ 0 h 88"/>
                <a:gd name="T2" fmla="*/ 23 w 69"/>
                <a:gd name="T3" fmla="*/ 20 h 88"/>
                <a:gd name="T4" fmla="*/ 18 w 69"/>
                <a:gd name="T5" fmla="*/ 25 h 88"/>
                <a:gd name="T6" fmla="*/ 12 w 69"/>
                <a:gd name="T7" fmla="*/ 53 h 88"/>
                <a:gd name="T8" fmla="*/ 0 w 69"/>
                <a:gd name="T9" fmla="*/ 73 h 88"/>
                <a:gd name="T10" fmla="*/ 6 w 69"/>
                <a:gd name="T11" fmla="*/ 87 h 88"/>
                <a:gd name="T12" fmla="*/ 26 w 69"/>
                <a:gd name="T13" fmla="*/ 88 h 88"/>
                <a:gd name="T14" fmla="*/ 38 w 69"/>
                <a:gd name="T15" fmla="*/ 81 h 88"/>
                <a:gd name="T16" fmla="*/ 49 w 69"/>
                <a:gd name="T17" fmla="*/ 88 h 88"/>
                <a:gd name="T18" fmla="*/ 66 w 69"/>
                <a:gd name="T19" fmla="*/ 62 h 88"/>
                <a:gd name="T20" fmla="*/ 60 w 69"/>
                <a:gd name="T21" fmla="*/ 58 h 88"/>
                <a:gd name="T22" fmla="*/ 37 w 69"/>
                <a:gd name="T23" fmla="*/ 64 h 88"/>
                <a:gd name="T24" fmla="*/ 32 w 69"/>
                <a:gd name="T25" fmla="*/ 59 h 88"/>
                <a:gd name="T26" fmla="*/ 38 w 69"/>
                <a:gd name="T27" fmla="*/ 59 h 88"/>
                <a:gd name="T28" fmla="*/ 44 w 69"/>
                <a:gd name="T29" fmla="*/ 49 h 88"/>
                <a:gd name="T30" fmla="*/ 69 w 69"/>
                <a:gd name="T31" fmla="*/ 37 h 88"/>
                <a:gd name="T32" fmla="*/ 68 w 69"/>
                <a:gd name="T33" fmla="*/ 20 h 88"/>
                <a:gd name="T34" fmla="*/ 55 w 69"/>
                <a:gd name="T3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88">
                  <a:moveTo>
                    <a:pt x="55" y="0"/>
                  </a:moveTo>
                  <a:lnTo>
                    <a:pt x="23" y="20"/>
                  </a:lnTo>
                  <a:lnTo>
                    <a:pt x="18" y="25"/>
                  </a:lnTo>
                  <a:lnTo>
                    <a:pt x="12" y="53"/>
                  </a:lnTo>
                  <a:lnTo>
                    <a:pt x="0" y="73"/>
                  </a:lnTo>
                  <a:lnTo>
                    <a:pt x="6" y="87"/>
                  </a:lnTo>
                  <a:lnTo>
                    <a:pt x="26" y="88"/>
                  </a:lnTo>
                  <a:lnTo>
                    <a:pt x="38" y="81"/>
                  </a:lnTo>
                  <a:lnTo>
                    <a:pt x="49" y="88"/>
                  </a:lnTo>
                  <a:lnTo>
                    <a:pt x="66" y="62"/>
                  </a:lnTo>
                  <a:lnTo>
                    <a:pt x="60" y="58"/>
                  </a:lnTo>
                  <a:lnTo>
                    <a:pt x="37" y="64"/>
                  </a:lnTo>
                  <a:lnTo>
                    <a:pt x="32" y="59"/>
                  </a:lnTo>
                  <a:lnTo>
                    <a:pt x="38" y="59"/>
                  </a:lnTo>
                  <a:lnTo>
                    <a:pt x="44" y="49"/>
                  </a:lnTo>
                  <a:lnTo>
                    <a:pt x="69" y="37"/>
                  </a:lnTo>
                  <a:lnTo>
                    <a:pt x="68" y="20"/>
                  </a:lnTo>
                  <a:lnTo>
                    <a:pt x="55" y="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13" name="Freeform 114">
              <a:extLst>
                <a:ext uri="{FF2B5EF4-FFF2-40B4-BE49-F238E27FC236}">
                  <a16:creationId xmlns:a16="http://schemas.microsoft.com/office/drawing/2014/main" id="{43E6263A-B4A6-A44F-AD69-866A2BEE99AB}"/>
                </a:ext>
              </a:extLst>
            </p:cNvPr>
            <p:cNvSpPr>
              <a:spLocks noChangeAspect="1"/>
            </p:cNvSpPr>
            <p:nvPr/>
          </p:nvSpPr>
          <p:spPr bwMode="gray">
            <a:xfrm>
              <a:off x="5558045" y="3945984"/>
              <a:ext cx="229652" cy="364599"/>
            </a:xfrm>
            <a:custGeom>
              <a:avLst/>
              <a:gdLst>
                <a:gd name="T0" fmla="*/ 283 w 472"/>
                <a:gd name="T1" fmla="*/ 223 h 624"/>
                <a:gd name="T2" fmla="*/ 219 w 472"/>
                <a:gd name="T3" fmla="*/ 288 h 624"/>
                <a:gd name="T4" fmla="*/ 132 w 472"/>
                <a:gd name="T5" fmla="*/ 320 h 624"/>
                <a:gd name="T6" fmla="*/ 85 w 472"/>
                <a:gd name="T7" fmla="*/ 349 h 624"/>
                <a:gd name="T8" fmla="*/ 55 w 472"/>
                <a:gd name="T9" fmla="*/ 359 h 624"/>
                <a:gd name="T10" fmla="*/ 22 w 472"/>
                <a:gd name="T11" fmla="*/ 399 h 624"/>
                <a:gd name="T12" fmla="*/ 0 w 472"/>
                <a:gd name="T13" fmla="*/ 463 h 624"/>
                <a:gd name="T14" fmla="*/ 0 w 472"/>
                <a:gd name="T15" fmla="*/ 547 h 624"/>
                <a:gd name="T16" fmla="*/ 25 w 472"/>
                <a:gd name="T17" fmla="*/ 624 h 624"/>
                <a:gd name="T18" fmla="*/ 73 w 472"/>
                <a:gd name="T19" fmla="*/ 556 h 624"/>
                <a:gd name="T20" fmla="*/ 118 w 472"/>
                <a:gd name="T21" fmla="*/ 522 h 624"/>
                <a:gd name="T22" fmla="*/ 222 w 472"/>
                <a:gd name="T23" fmla="*/ 447 h 624"/>
                <a:gd name="T24" fmla="*/ 305 w 472"/>
                <a:gd name="T25" fmla="*/ 364 h 624"/>
                <a:gd name="T26" fmla="*/ 363 w 472"/>
                <a:gd name="T27" fmla="*/ 290 h 624"/>
                <a:gd name="T28" fmla="*/ 404 w 472"/>
                <a:gd name="T29" fmla="*/ 200 h 624"/>
                <a:gd name="T30" fmla="*/ 418 w 472"/>
                <a:gd name="T31" fmla="*/ 173 h 624"/>
                <a:gd name="T32" fmla="*/ 454 w 472"/>
                <a:gd name="T33" fmla="*/ 78 h 624"/>
                <a:gd name="T34" fmla="*/ 466 w 472"/>
                <a:gd name="T35" fmla="*/ 70 h 624"/>
                <a:gd name="T36" fmla="*/ 464 w 472"/>
                <a:gd name="T37" fmla="*/ 65 h 624"/>
                <a:gd name="T38" fmla="*/ 461 w 472"/>
                <a:gd name="T39" fmla="*/ 29 h 624"/>
                <a:gd name="T40" fmla="*/ 444 w 472"/>
                <a:gd name="T41" fmla="*/ 0 h 624"/>
                <a:gd name="T42" fmla="*/ 376 w 472"/>
                <a:gd name="T43" fmla="*/ 25 h 624"/>
                <a:gd name="T44" fmla="*/ 346 w 472"/>
                <a:gd name="T45" fmla="*/ 29 h 624"/>
                <a:gd name="T46" fmla="*/ 288 w 472"/>
                <a:gd name="T47" fmla="*/ 39 h 624"/>
                <a:gd name="T48" fmla="*/ 217 w 472"/>
                <a:gd name="T49" fmla="*/ 50 h 624"/>
                <a:gd name="T50" fmla="*/ 158 w 472"/>
                <a:gd name="T51" fmla="*/ 71 h 624"/>
                <a:gd name="T52" fmla="*/ 104 w 472"/>
                <a:gd name="T53" fmla="*/ 20 h 624"/>
                <a:gd name="T54" fmla="*/ 84 w 472"/>
                <a:gd name="T55" fmla="*/ 56 h 624"/>
                <a:gd name="T56" fmla="*/ 118 w 472"/>
                <a:gd name="T57" fmla="*/ 112 h 624"/>
                <a:gd name="T58" fmla="*/ 175 w 472"/>
                <a:gd name="T59" fmla="*/ 144 h 624"/>
                <a:gd name="T60" fmla="*/ 245 w 472"/>
                <a:gd name="T61" fmla="*/ 167 h 624"/>
                <a:gd name="T62" fmla="*/ 324 w 472"/>
                <a:gd name="T63" fmla="*/ 18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2" h="624">
                  <a:moveTo>
                    <a:pt x="316" y="192"/>
                  </a:moveTo>
                  <a:lnTo>
                    <a:pt x="283" y="223"/>
                  </a:lnTo>
                  <a:lnTo>
                    <a:pt x="251" y="256"/>
                  </a:lnTo>
                  <a:lnTo>
                    <a:pt x="219" y="288"/>
                  </a:lnTo>
                  <a:lnTo>
                    <a:pt x="186" y="320"/>
                  </a:lnTo>
                  <a:lnTo>
                    <a:pt x="132" y="320"/>
                  </a:lnTo>
                  <a:lnTo>
                    <a:pt x="107" y="333"/>
                  </a:lnTo>
                  <a:lnTo>
                    <a:pt x="85" y="349"/>
                  </a:lnTo>
                  <a:lnTo>
                    <a:pt x="58" y="357"/>
                  </a:lnTo>
                  <a:lnTo>
                    <a:pt x="55" y="359"/>
                  </a:lnTo>
                  <a:lnTo>
                    <a:pt x="41" y="370"/>
                  </a:lnTo>
                  <a:lnTo>
                    <a:pt x="22" y="399"/>
                  </a:lnTo>
                  <a:lnTo>
                    <a:pt x="0" y="420"/>
                  </a:lnTo>
                  <a:lnTo>
                    <a:pt x="0" y="463"/>
                  </a:lnTo>
                  <a:lnTo>
                    <a:pt x="0" y="505"/>
                  </a:lnTo>
                  <a:lnTo>
                    <a:pt x="0" y="547"/>
                  </a:lnTo>
                  <a:lnTo>
                    <a:pt x="0" y="590"/>
                  </a:lnTo>
                  <a:lnTo>
                    <a:pt x="25" y="624"/>
                  </a:lnTo>
                  <a:lnTo>
                    <a:pt x="68" y="574"/>
                  </a:lnTo>
                  <a:lnTo>
                    <a:pt x="73" y="556"/>
                  </a:lnTo>
                  <a:lnTo>
                    <a:pt x="87" y="556"/>
                  </a:lnTo>
                  <a:lnTo>
                    <a:pt x="118" y="522"/>
                  </a:lnTo>
                  <a:lnTo>
                    <a:pt x="181" y="466"/>
                  </a:lnTo>
                  <a:lnTo>
                    <a:pt x="222" y="447"/>
                  </a:lnTo>
                  <a:lnTo>
                    <a:pt x="249" y="415"/>
                  </a:lnTo>
                  <a:lnTo>
                    <a:pt x="305" y="364"/>
                  </a:lnTo>
                  <a:lnTo>
                    <a:pt x="333" y="319"/>
                  </a:lnTo>
                  <a:lnTo>
                    <a:pt x="363" y="290"/>
                  </a:lnTo>
                  <a:lnTo>
                    <a:pt x="376" y="249"/>
                  </a:lnTo>
                  <a:lnTo>
                    <a:pt x="404" y="200"/>
                  </a:lnTo>
                  <a:lnTo>
                    <a:pt x="407" y="184"/>
                  </a:lnTo>
                  <a:lnTo>
                    <a:pt x="418" y="173"/>
                  </a:lnTo>
                  <a:lnTo>
                    <a:pt x="446" y="132"/>
                  </a:lnTo>
                  <a:lnTo>
                    <a:pt x="454" y="78"/>
                  </a:lnTo>
                  <a:lnTo>
                    <a:pt x="472" y="76"/>
                  </a:lnTo>
                  <a:lnTo>
                    <a:pt x="466" y="70"/>
                  </a:lnTo>
                  <a:lnTo>
                    <a:pt x="460" y="71"/>
                  </a:lnTo>
                  <a:lnTo>
                    <a:pt x="464" y="65"/>
                  </a:lnTo>
                  <a:lnTo>
                    <a:pt x="466" y="41"/>
                  </a:lnTo>
                  <a:lnTo>
                    <a:pt x="461" y="29"/>
                  </a:lnTo>
                  <a:lnTo>
                    <a:pt x="469" y="7"/>
                  </a:lnTo>
                  <a:lnTo>
                    <a:pt x="444" y="0"/>
                  </a:lnTo>
                  <a:lnTo>
                    <a:pt x="417" y="17"/>
                  </a:lnTo>
                  <a:lnTo>
                    <a:pt x="376" y="25"/>
                  </a:lnTo>
                  <a:lnTo>
                    <a:pt x="363" y="31"/>
                  </a:lnTo>
                  <a:lnTo>
                    <a:pt x="346" y="29"/>
                  </a:lnTo>
                  <a:lnTo>
                    <a:pt x="330" y="37"/>
                  </a:lnTo>
                  <a:lnTo>
                    <a:pt x="288" y="39"/>
                  </a:lnTo>
                  <a:lnTo>
                    <a:pt x="254" y="58"/>
                  </a:lnTo>
                  <a:lnTo>
                    <a:pt x="217" y="50"/>
                  </a:lnTo>
                  <a:lnTo>
                    <a:pt x="181" y="71"/>
                  </a:lnTo>
                  <a:lnTo>
                    <a:pt x="158" y="71"/>
                  </a:lnTo>
                  <a:lnTo>
                    <a:pt x="141" y="63"/>
                  </a:lnTo>
                  <a:lnTo>
                    <a:pt x="104" y="20"/>
                  </a:lnTo>
                  <a:lnTo>
                    <a:pt x="87" y="46"/>
                  </a:lnTo>
                  <a:lnTo>
                    <a:pt x="84" y="56"/>
                  </a:lnTo>
                  <a:lnTo>
                    <a:pt x="87" y="74"/>
                  </a:lnTo>
                  <a:lnTo>
                    <a:pt x="118" y="112"/>
                  </a:lnTo>
                  <a:lnTo>
                    <a:pt x="140" y="130"/>
                  </a:lnTo>
                  <a:lnTo>
                    <a:pt x="175" y="144"/>
                  </a:lnTo>
                  <a:lnTo>
                    <a:pt x="211" y="156"/>
                  </a:lnTo>
                  <a:lnTo>
                    <a:pt x="245" y="167"/>
                  </a:lnTo>
                  <a:lnTo>
                    <a:pt x="280" y="180"/>
                  </a:lnTo>
                  <a:lnTo>
                    <a:pt x="324" y="180"/>
                  </a:lnTo>
                  <a:lnTo>
                    <a:pt x="316" y="192"/>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14" name="Freeform 115">
              <a:extLst>
                <a:ext uri="{FF2B5EF4-FFF2-40B4-BE49-F238E27FC236}">
                  <a16:creationId xmlns:a16="http://schemas.microsoft.com/office/drawing/2014/main" id="{81A5678C-942B-E244-9B50-B586D59AFD39}"/>
                </a:ext>
              </a:extLst>
            </p:cNvPr>
            <p:cNvSpPr>
              <a:spLocks noChangeAspect="1"/>
            </p:cNvSpPr>
            <p:nvPr/>
          </p:nvSpPr>
          <p:spPr bwMode="gray">
            <a:xfrm>
              <a:off x="5377832" y="3865388"/>
              <a:ext cx="338097" cy="307032"/>
            </a:xfrm>
            <a:custGeom>
              <a:avLst/>
              <a:gdLst>
                <a:gd name="T0" fmla="*/ 652 w 693"/>
                <a:gd name="T1" fmla="*/ 362 h 527"/>
                <a:gd name="T2" fmla="*/ 588 w 693"/>
                <a:gd name="T3" fmla="*/ 427 h 527"/>
                <a:gd name="T4" fmla="*/ 501 w 693"/>
                <a:gd name="T5" fmla="*/ 459 h 527"/>
                <a:gd name="T6" fmla="*/ 454 w 693"/>
                <a:gd name="T7" fmla="*/ 488 h 527"/>
                <a:gd name="T8" fmla="*/ 424 w 693"/>
                <a:gd name="T9" fmla="*/ 498 h 527"/>
                <a:gd name="T10" fmla="*/ 386 w 693"/>
                <a:gd name="T11" fmla="*/ 509 h 527"/>
                <a:gd name="T12" fmla="*/ 327 w 693"/>
                <a:gd name="T13" fmla="*/ 503 h 527"/>
                <a:gd name="T14" fmla="*/ 293 w 693"/>
                <a:gd name="T15" fmla="*/ 527 h 527"/>
                <a:gd name="T16" fmla="*/ 224 w 693"/>
                <a:gd name="T17" fmla="*/ 515 h 527"/>
                <a:gd name="T18" fmla="*/ 131 w 693"/>
                <a:gd name="T19" fmla="*/ 476 h 527"/>
                <a:gd name="T20" fmla="*/ 99 w 693"/>
                <a:gd name="T21" fmla="*/ 430 h 527"/>
                <a:gd name="T22" fmla="*/ 52 w 693"/>
                <a:gd name="T23" fmla="*/ 365 h 527"/>
                <a:gd name="T24" fmla="*/ 0 w 693"/>
                <a:gd name="T25" fmla="*/ 325 h 527"/>
                <a:gd name="T26" fmla="*/ 9 w 693"/>
                <a:gd name="T27" fmla="*/ 302 h 527"/>
                <a:gd name="T28" fmla="*/ 51 w 693"/>
                <a:gd name="T29" fmla="*/ 292 h 527"/>
                <a:gd name="T30" fmla="*/ 60 w 693"/>
                <a:gd name="T31" fmla="*/ 205 h 527"/>
                <a:gd name="T32" fmla="*/ 86 w 693"/>
                <a:gd name="T33" fmla="*/ 181 h 527"/>
                <a:gd name="T34" fmla="*/ 125 w 693"/>
                <a:gd name="T35" fmla="*/ 105 h 527"/>
                <a:gd name="T36" fmla="*/ 161 w 693"/>
                <a:gd name="T37" fmla="*/ 41 h 527"/>
                <a:gd name="T38" fmla="*/ 181 w 693"/>
                <a:gd name="T39" fmla="*/ 29 h 527"/>
                <a:gd name="T40" fmla="*/ 193 w 693"/>
                <a:gd name="T41" fmla="*/ 20 h 527"/>
                <a:gd name="T42" fmla="*/ 221 w 693"/>
                <a:gd name="T43" fmla="*/ 0 h 527"/>
                <a:gd name="T44" fmla="*/ 246 w 693"/>
                <a:gd name="T45" fmla="*/ 23 h 527"/>
                <a:gd name="T46" fmla="*/ 272 w 693"/>
                <a:gd name="T47" fmla="*/ 12 h 527"/>
                <a:gd name="T48" fmla="*/ 297 w 693"/>
                <a:gd name="T49" fmla="*/ 15 h 527"/>
                <a:gd name="T50" fmla="*/ 327 w 693"/>
                <a:gd name="T51" fmla="*/ 20 h 527"/>
                <a:gd name="T52" fmla="*/ 374 w 693"/>
                <a:gd name="T53" fmla="*/ 60 h 527"/>
                <a:gd name="T54" fmla="*/ 408 w 693"/>
                <a:gd name="T55" fmla="*/ 97 h 527"/>
                <a:gd name="T56" fmla="*/ 425 w 693"/>
                <a:gd name="T57" fmla="*/ 122 h 527"/>
                <a:gd name="T58" fmla="*/ 407 w 693"/>
                <a:gd name="T59" fmla="*/ 170 h 527"/>
                <a:gd name="T60" fmla="*/ 433 w 693"/>
                <a:gd name="T61" fmla="*/ 185 h 527"/>
                <a:gd name="T62" fmla="*/ 456 w 693"/>
                <a:gd name="T63" fmla="*/ 185 h 527"/>
                <a:gd name="T64" fmla="*/ 456 w 693"/>
                <a:gd name="T65" fmla="*/ 213 h 527"/>
                <a:gd name="T66" fmla="*/ 509 w 693"/>
                <a:gd name="T67" fmla="*/ 269 h 527"/>
                <a:gd name="T68" fmla="*/ 580 w 693"/>
                <a:gd name="T69" fmla="*/ 295 h 527"/>
                <a:gd name="T70" fmla="*/ 649 w 693"/>
                <a:gd name="T71" fmla="*/ 319 h 527"/>
                <a:gd name="T72" fmla="*/ 685 w 693"/>
                <a:gd name="T73" fmla="*/ 33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3" h="527">
                  <a:moveTo>
                    <a:pt x="685" y="331"/>
                  </a:moveTo>
                  <a:lnTo>
                    <a:pt x="652" y="362"/>
                  </a:lnTo>
                  <a:lnTo>
                    <a:pt x="620" y="395"/>
                  </a:lnTo>
                  <a:lnTo>
                    <a:pt x="588" y="427"/>
                  </a:lnTo>
                  <a:lnTo>
                    <a:pt x="555" y="459"/>
                  </a:lnTo>
                  <a:lnTo>
                    <a:pt x="501" y="459"/>
                  </a:lnTo>
                  <a:lnTo>
                    <a:pt x="476" y="472"/>
                  </a:lnTo>
                  <a:lnTo>
                    <a:pt x="454" y="488"/>
                  </a:lnTo>
                  <a:lnTo>
                    <a:pt x="427" y="496"/>
                  </a:lnTo>
                  <a:lnTo>
                    <a:pt x="424" y="498"/>
                  </a:lnTo>
                  <a:lnTo>
                    <a:pt x="410" y="509"/>
                  </a:lnTo>
                  <a:lnTo>
                    <a:pt x="386" y="509"/>
                  </a:lnTo>
                  <a:lnTo>
                    <a:pt x="359" y="495"/>
                  </a:lnTo>
                  <a:lnTo>
                    <a:pt x="327" y="503"/>
                  </a:lnTo>
                  <a:lnTo>
                    <a:pt x="314" y="517"/>
                  </a:lnTo>
                  <a:lnTo>
                    <a:pt x="293" y="527"/>
                  </a:lnTo>
                  <a:lnTo>
                    <a:pt x="273" y="527"/>
                  </a:lnTo>
                  <a:lnTo>
                    <a:pt x="224" y="515"/>
                  </a:lnTo>
                  <a:lnTo>
                    <a:pt x="168" y="480"/>
                  </a:lnTo>
                  <a:lnTo>
                    <a:pt x="131" y="476"/>
                  </a:lnTo>
                  <a:lnTo>
                    <a:pt x="133" y="444"/>
                  </a:lnTo>
                  <a:lnTo>
                    <a:pt x="99" y="430"/>
                  </a:lnTo>
                  <a:lnTo>
                    <a:pt x="78" y="382"/>
                  </a:lnTo>
                  <a:lnTo>
                    <a:pt x="52" y="365"/>
                  </a:lnTo>
                  <a:lnTo>
                    <a:pt x="40" y="340"/>
                  </a:lnTo>
                  <a:lnTo>
                    <a:pt x="0" y="325"/>
                  </a:lnTo>
                  <a:lnTo>
                    <a:pt x="9" y="315"/>
                  </a:lnTo>
                  <a:lnTo>
                    <a:pt x="9" y="302"/>
                  </a:lnTo>
                  <a:lnTo>
                    <a:pt x="35" y="300"/>
                  </a:lnTo>
                  <a:lnTo>
                    <a:pt x="51" y="292"/>
                  </a:lnTo>
                  <a:lnTo>
                    <a:pt x="57" y="204"/>
                  </a:lnTo>
                  <a:lnTo>
                    <a:pt x="60" y="205"/>
                  </a:lnTo>
                  <a:lnTo>
                    <a:pt x="68" y="190"/>
                  </a:lnTo>
                  <a:lnTo>
                    <a:pt x="86" y="181"/>
                  </a:lnTo>
                  <a:lnTo>
                    <a:pt x="95" y="148"/>
                  </a:lnTo>
                  <a:lnTo>
                    <a:pt x="125" y="105"/>
                  </a:lnTo>
                  <a:lnTo>
                    <a:pt x="145" y="90"/>
                  </a:lnTo>
                  <a:lnTo>
                    <a:pt x="161" y="41"/>
                  </a:lnTo>
                  <a:lnTo>
                    <a:pt x="161" y="28"/>
                  </a:lnTo>
                  <a:lnTo>
                    <a:pt x="181" y="29"/>
                  </a:lnTo>
                  <a:lnTo>
                    <a:pt x="187" y="20"/>
                  </a:lnTo>
                  <a:lnTo>
                    <a:pt x="193" y="20"/>
                  </a:lnTo>
                  <a:lnTo>
                    <a:pt x="205" y="37"/>
                  </a:lnTo>
                  <a:lnTo>
                    <a:pt x="221" y="0"/>
                  </a:lnTo>
                  <a:lnTo>
                    <a:pt x="238" y="11"/>
                  </a:lnTo>
                  <a:lnTo>
                    <a:pt x="246" y="23"/>
                  </a:lnTo>
                  <a:lnTo>
                    <a:pt x="267" y="19"/>
                  </a:lnTo>
                  <a:lnTo>
                    <a:pt x="272" y="12"/>
                  </a:lnTo>
                  <a:lnTo>
                    <a:pt x="283" y="20"/>
                  </a:lnTo>
                  <a:lnTo>
                    <a:pt x="297" y="15"/>
                  </a:lnTo>
                  <a:lnTo>
                    <a:pt x="314" y="23"/>
                  </a:lnTo>
                  <a:lnTo>
                    <a:pt x="327" y="20"/>
                  </a:lnTo>
                  <a:lnTo>
                    <a:pt x="352" y="34"/>
                  </a:lnTo>
                  <a:lnTo>
                    <a:pt x="374" y="60"/>
                  </a:lnTo>
                  <a:lnTo>
                    <a:pt x="399" y="79"/>
                  </a:lnTo>
                  <a:lnTo>
                    <a:pt x="408" y="97"/>
                  </a:lnTo>
                  <a:lnTo>
                    <a:pt x="430" y="117"/>
                  </a:lnTo>
                  <a:lnTo>
                    <a:pt x="425" y="122"/>
                  </a:lnTo>
                  <a:lnTo>
                    <a:pt x="419" y="150"/>
                  </a:lnTo>
                  <a:lnTo>
                    <a:pt x="407" y="170"/>
                  </a:lnTo>
                  <a:lnTo>
                    <a:pt x="413" y="184"/>
                  </a:lnTo>
                  <a:lnTo>
                    <a:pt x="433" y="185"/>
                  </a:lnTo>
                  <a:lnTo>
                    <a:pt x="445" y="178"/>
                  </a:lnTo>
                  <a:lnTo>
                    <a:pt x="456" y="185"/>
                  </a:lnTo>
                  <a:lnTo>
                    <a:pt x="453" y="195"/>
                  </a:lnTo>
                  <a:lnTo>
                    <a:pt x="456" y="213"/>
                  </a:lnTo>
                  <a:lnTo>
                    <a:pt x="487" y="251"/>
                  </a:lnTo>
                  <a:lnTo>
                    <a:pt x="509" y="269"/>
                  </a:lnTo>
                  <a:lnTo>
                    <a:pt x="544" y="283"/>
                  </a:lnTo>
                  <a:lnTo>
                    <a:pt x="580" y="295"/>
                  </a:lnTo>
                  <a:lnTo>
                    <a:pt x="614" y="306"/>
                  </a:lnTo>
                  <a:lnTo>
                    <a:pt x="649" y="319"/>
                  </a:lnTo>
                  <a:lnTo>
                    <a:pt x="693" y="319"/>
                  </a:lnTo>
                  <a:lnTo>
                    <a:pt x="685" y="331"/>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15" name="Freeform 116">
              <a:extLst>
                <a:ext uri="{FF2B5EF4-FFF2-40B4-BE49-F238E27FC236}">
                  <a16:creationId xmlns:a16="http://schemas.microsoft.com/office/drawing/2014/main" id="{38AB58F2-EDFD-5749-9C8E-0BB8381F5B23}"/>
                </a:ext>
              </a:extLst>
            </p:cNvPr>
            <p:cNvSpPr>
              <a:spLocks noChangeAspect="1" noEditPoints="1"/>
            </p:cNvSpPr>
            <p:nvPr/>
          </p:nvSpPr>
          <p:spPr bwMode="gray">
            <a:xfrm>
              <a:off x="5454382" y="3773278"/>
              <a:ext cx="148316" cy="159272"/>
            </a:xfrm>
            <a:custGeom>
              <a:avLst/>
              <a:gdLst>
                <a:gd name="T0" fmla="*/ 93 w 304"/>
                <a:gd name="T1" fmla="*/ 0 h 272"/>
                <a:gd name="T2" fmla="*/ 85 w 304"/>
                <a:gd name="T3" fmla="*/ 22 h 272"/>
                <a:gd name="T4" fmla="*/ 49 w 304"/>
                <a:gd name="T5" fmla="*/ 37 h 272"/>
                <a:gd name="T6" fmla="*/ 38 w 304"/>
                <a:gd name="T7" fmla="*/ 47 h 272"/>
                <a:gd name="T8" fmla="*/ 27 w 304"/>
                <a:gd name="T9" fmla="*/ 48 h 272"/>
                <a:gd name="T10" fmla="*/ 0 w 304"/>
                <a:gd name="T11" fmla="*/ 152 h 272"/>
                <a:gd name="T12" fmla="*/ 3 w 304"/>
                <a:gd name="T13" fmla="*/ 183 h 272"/>
                <a:gd name="T14" fmla="*/ 23 w 304"/>
                <a:gd name="T15" fmla="*/ 184 h 272"/>
                <a:gd name="T16" fmla="*/ 29 w 304"/>
                <a:gd name="T17" fmla="*/ 175 h 272"/>
                <a:gd name="T18" fmla="*/ 35 w 304"/>
                <a:gd name="T19" fmla="*/ 175 h 272"/>
                <a:gd name="T20" fmla="*/ 47 w 304"/>
                <a:gd name="T21" fmla="*/ 192 h 272"/>
                <a:gd name="T22" fmla="*/ 63 w 304"/>
                <a:gd name="T23" fmla="*/ 155 h 272"/>
                <a:gd name="T24" fmla="*/ 80 w 304"/>
                <a:gd name="T25" fmla="*/ 166 h 272"/>
                <a:gd name="T26" fmla="*/ 88 w 304"/>
                <a:gd name="T27" fmla="*/ 178 h 272"/>
                <a:gd name="T28" fmla="*/ 109 w 304"/>
                <a:gd name="T29" fmla="*/ 174 h 272"/>
                <a:gd name="T30" fmla="*/ 114 w 304"/>
                <a:gd name="T31" fmla="*/ 167 h 272"/>
                <a:gd name="T32" fmla="*/ 125 w 304"/>
                <a:gd name="T33" fmla="*/ 175 h 272"/>
                <a:gd name="T34" fmla="*/ 139 w 304"/>
                <a:gd name="T35" fmla="*/ 170 h 272"/>
                <a:gd name="T36" fmla="*/ 156 w 304"/>
                <a:gd name="T37" fmla="*/ 178 h 272"/>
                <a:gd name="T38" fmla="*/ 169 w 304"/>
                <a:gd name="T39" fmla="*/ 175 h 272"/>
                <a:gd name="T40" fmla="*/ 194 w 304"/>
                <a:gd name="T41" fmla="*/ 189 h 272"/>
                <a:gd name="T42" fmla="*/ 216 w 304"/>
                <a:gd name="T43" fmla="*/ 215 h 272"/>
                <a:gd name="T44" fmla="*/ 241 w 304"/>
                <a:gd name="T45" fmla="*/ 234 h 272"/>
                <a:gd name="T46" fmla="*/ 250 w 304"/>
                <a:gd name="T47" fmla="*/ 252 h 272"/>
                <a:gd name="T48" fmla="*/ 272 w 304"/>
                <a:gd name="T49" fmla="*/ 272 h 272"/>
                <a:gd name="T50" fmla="*/ 304 w 304"/>
                <a:gd name="T51" fmla="*/ 252 h 272"/>
                <a:gd name="T52" fmla="*/ 276 w 304"/>
                <a:gd name="T53" fmla="*/ 234 h 272"/>
                <a:gd name="T54" fmla="*/ 267 w 304"/>
                <a:gd name="T55" fmla="*/ 217 h 272"/>
                <a:gd name="T56" fmla="*/ 259 w 304"/>
                <a:gd name="T57" fmla="*/ 213 h 272"/>
                <a:gd name="T58" fmla="*/ 253 w 304"/>
                <a:gd name="T59" fmla="*/ 203 h 272"/>
                <a:gd name="T60" fmla="*/ 242 w 304"/>
                <a:gd name="T61" fmla="*/ 200 h 272"/>
                <a:gd name="T62" fmla="*/ 222 w 304"/>
                <a:gd name="T63" fmla="*/ 169 h 272"/>
                <a:gd name="T64" fmla="*/ 199 w 304"/>
                <a:gd name="T65" fmla="*/ 162 h 272"/>
                <a:gd name="T66" fmla="*/ 186 w 304"/>
                <a:gd name="T67" fmla="*/ 150 h 272"/>
                <a:gd name="T68" fmla="*/ 173 w 304"/>
                <a:gd name="T69" fmla="*/ 152 h 272"/>
                <a:gd name="T70" fmla="*/ 164 w 304"/>
                <a:gd name="T71" fmla="*/ 141 h 272"/>
                <a:gd name="T72" fmla="*/ 165 w 304"/>
                <a:gd name="T73" fmla="*/ 130 h 272"/>
                <a:gd name="T74" fmla="*/ 159 w 304"/>
                <a:gd name="T75" fmla="*/ 127 h 272"/>
                <a:gd name="T76" fmla="*/ 154 w 304"/>
                <a:gd name="T77" fmla="*/ 130 h 272"/>
                <a:gd name="T78" fmla="*/ 156 w 304"/>
                <a:gd name="T79" fmla="*/ 142 h 272"/>
                <a:gd name="T80" fmla="*/ 148 w 304"/>
                <a:gd name="T81" fmla="*/ 141 h 272"/>
                <a:gd name="T82" fmla="*/ 143 w 304"/>
                <a:gd name="T83" fmla="*/ 124 h 272"/>
                <a:gd name="T84" fmla="*/ 137 w 304"/>
                <a:gd name="T85" fmla="*/ 119 h 272"/>
                <a:gd name="T86" fmla="*/ 126 w 304"/>
                <a:gd name="T87" fmla="*/ 101 h 272"/>
                <a:gd name="T88" fmla="*/ 109 w 304"/>
                <a:gd name="T89" fmla="*/ 27 h 272"/>
                <a:gd name="T90" fmla="*/ 93 w 304"/>
                <a:gd name="T91" fmla="*/ 0 h 272"/>
                <a:gd name="T92" fmla="*/ 173 w 304"/>
                <a:gd name="T93" fmla="*/ 115 h 272"/>
                <a:gd name="T94" fmla="*/ 164 w 304"/>
                <a:gd name="T95" fmla="*/ 108 h 272"/>
                <a:gd name="T96" fmla="*/ 157 w 304"/>
                <a:gd name="T97" fmla="*/ 111 h 272"/>
                <a:gd name="T98" fmla="*/ 162 w 304"/>
                <a:gd name="T99" fmla="*/ 113 h 272"/>
                <a:gd name="T100" fmla="*/ 164 w 304"/>
                <a:gd name="T101" fmla="*/ 116 h 272"/>
                <a:gd name="T102" fmla="*/ 159 w 304"/>
                <a:gd name="T103" fmla="*/ 116 h 272"/>
                <a:gd name="T104" fmla="*/ 162 w 304"/>
                <a:gd name="T105" fmla="*/ 119 h 272"/>
                <a:gd name="T106" fmla="*/ 179 w 304"/>
                <a:gd name="T107" fmla="*/ 121 h 272"/>
                <a:gd name="T108" fmla="*/ 173 w 304"/>
                <a:gd name="T109" fmla="*/ 115 h 272"/>
                <a:gd name="T110" fmla="*/ 164 w 304"/>
                <a:gd name="T111" fmla="*/ 96 h 272"/>
                <a:gd name="T112" fmla="*/ 160 w 304"/>
                <a:gd name="T113" fmla="*/ 99 h 272"/>
                <a:gd name="T114" fmla="*/ 165 w 304"/>
                <a:gd name="T115" fmla="*/ 102 h 272"/>
                <a:gd name="T116" fmla="*/ 164 w 304"/>
                <a:gd name="T117" fmla="*/ 96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4" h="272">
                  <a:moveTo>
                    <a:pt x="93" y="0"/>
                  </a:moveTo>
                  <a:lnTo>
                    <a:pt x="85" y="22"/>
                  </a:lnTo>
                  <a:lnTo>
                    <a:pt x="49" y="37"/>
                  </a:lnTo>
                  <a:lnTo>
                    <a:pt x="38" y="47"/>
                  </a:lnTo>
                  <a:lnTo>
                    <a:pt x="27" y="48"/>
                  </a:lnTo>
                  <a:lnTo>
                    <a:pt x="0" y="152"/>
                  </a:lnTo>
                  <a:lnTo>
                    <a:pt x="3" y="183"/>
                  </a:lnTo>
                  <a:lnTo>
                    <a:pt x="23" y="184"/>
                  </a:lnTo>
                  <a:lnTo>
                    <a:pt x="29" y="175"/>
                  </a:lnTo>
                  <a:lnTo>
                    <a:pt x="35" y="175"/>
                  </a:lnTo>
                  <a:lnTo>
                    <a:pt x="47" y="192"/>
                  </a:lnTo>
                  <a:lnTo>
                    <a:pt x="63" y="155"/>
                  </a:lnTo>
                  <a:lnTo>
                    <a:pt x="80" y="166"/>
                  </a:lnTo>
                  <a:lnTo>
                    <a:pt x="88" y="178"/>
                  </a:lnTo>
                  <a:lnTo>
                    <a:pt x="109" y="174"/>
                  </a:lnTo>
                  <a:lnTo>
                    <a:pt x="114" y="167"/>
                  </a:lnTo>
                  <a:lnTo>
                    <a:pt x="125" y="175"/>
                  </a:lnTo>
                  <a:lnTo>
                    <a:pt x="139" y="170"/>
                  </a:lnTo>
                  <a:lnTo>
                    <a:pt x="156" y="178"/>
                  </a:lnTo>
                  <a:lnTo>
                    <a:pt x="169" y="175"/>
                  </a:lnTo>
                  <a:lnTo>
                    <a:pt x="194" y="189"/>
                  </a:lnTo>
                  <a:lnTo>
                    <a:pt x="216" y="215"/>
                  </a:lnTo>
                  <a:lnTo>
                    <a:pt x="241" y="234"/>
                  </a:lnTo>
                  <a:lnTo>
                    <a:pt x="250" y="252"/>
                  </a:lnTo>
                  <a:lnTo>
                    <a:pt x="272" y="272"/>
                  </a:lnTo>
                  <a:lnTo>
                    <a:pt x="304" y="252"/>
                  </a:lnTo>
                  <a:lnTo>
                    <a:pt x="276" y="234"/>
                  </a:lnTo>
                  <a:lnTo>
                    <a:pt x="267" y="217"/>
                  </a:lnTo>
                  <a:lnTo>
                    <a:pt x="259" y="213"/>
                  </a:lnTo>
                  <a:lnTo>
                    <a:pt x="253" y="203"/>
                  </a:lnTo>
                  <a:lnTo>
                    <a:pt x="242" y="200"/>
                  </a:lnTo>
                  <a:lnTo>
                    <a:pt x="222" y="169"/>
                  </a:lnTo>
                  <a:lnTo>
                    <a:pt x="199" y="162"/>
                  </a:lnTo>
                  <a:lnTo>
                    <a:pt x="186" y="150"/>
                  </a:lnTo>
                  <a:lnTo>
                    <a:pt x="173" y="152"/>
                  </a:lnTo>
                  <a:lnTo>
                    <a:pt x="164" y="141"/>
                  </a:lnTo>
                  <a:lnTo>
                    <a:pt x="165" y="130"/>
                  </a:lnTo>
                  <a:lnTo>
                    <a:pt x="159" y="127"/>
                  </a:lnTo>
                  <a:lnTo>
                    <a:pt x="154" y="130"/>
                  </a:lnTo>
                  <a:lnTo>
                    <a:pt x="156" y="142"/>
                  </a:lnTo>
                  <a:lnTo>
                    <a:pt x="148" y="141"/>
                  </a:lnTo>
                  <a:lnTo>
                    <a:pt x="143" y="124"/>
                  </a:lnTo>
                  <a:lnTo>
                    <a:pt x="137" y="119"/>
                  </a:lnTo>
                  <a:lnTo>
                    <a:pt x="126" y="101"/>
                  </a:lnTo>
                  <a:lnTo>
                    <a:pt x="109" y="27"/>
                  </a:lnTo>
                  <a:lnTo>
                    <a:pt x="93" y="0"/>
                  </a:lnTo>
                  <a:close/>
                  <a:moveTo>
                    <a:pt x="173" y="115"/>
                  </a:moveTo>
                  <a:lnTo>
                    <a:pt x="164" y="108"/>
                  </a:lnTo>
                  <a:lnTo>
                    <a:pt x="157" y="111"/>
                  </a:lnTo>
                  <a:lnTo>
                    <a:pt x="162" y="113"/>
                  </a:lnTo>
                  <a:lnTo>
                    <a:pt x="164" y="116"/>
                  </a:lnTo>
                  <a:lnTo>
                    <a:pt x="159" y="116"/>
                  </a:lnTo>
                  <a:lnTo>
                    <a:pt x="162" y="119"/>
                  </a:lnTo>
                  <a:lnTo>
                    <a:pt x="179" y="121"/>
                  </a:lnTo>
                  <a:lnTo>
                    <a:pt x="173" y="115"/>
                  </a:lnTo>
                  <a:close/>
                  <a:moveTo>
                    <a:pt x="164" y="96"/>
                  </a:moveTo>
                  <a:lnTo>
                    <a:pt x="160" y="99"/>
                  </a:lnTo>
                  <a:lnTo>
                    <a:pt x="165" y="102"/>
                  </a:lnTo>
                  <a:lnTo>
                    <a:pt x="164" y="96"/>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16" name="Freeform 117">
              <a:extLst>
                <a:ext uri="{FF2B5EF4-FFF2-40B4-BE49-F238E27FC236}">
                  <a16:creationId xmlns:a16="http://schemas.microsoft.com/office/drawing/2014/main" id="{E12ADA25-0880-E540-9AFB-F84056D6994B}"/>
                </a:ext>
              </a:extLst>
            </p:cNvPr>
            <p:cNvSpPr>
              <a:spLocks noChangeAspect="1" noEditPoints="1"/>
            </p:cNvSpPr>
            <p:nvPr/>
          </p:nvSpPr>
          <p:spPr bwMode="gray">
            <a:xfrm>
              <a:off x="4065305" y="3798225"/>
              <a:ext cx="59008" cy="69082"/>
            </a:xfrm>
            <a:custGeom>
              <a:avLst/>
              <a:gdLst>
                <a:gd name="T0" fmla="*/ 13 w 122"/>
                <a:gd name="T1" fmla="*/ 0 h 114"/>
                <a:gd name="T2" fmla="*/ 0 w 122"/>
                <a:gd name="T3" fmla="*/ 2 h 114"/>
                <a:gd name="T4" fmla="*/ 1 w 122"/>
                <a:gd name="T5" fmla="*/ 12 h 114"/>
                <a:gd name="T6" fmla="*/ 15 w 122"/>
                <a:gd name="T7" fmla="*/ 6 h 114"/>
                <a:gd name="T8" fmla="*/ 13 w 122"/>
                <a:gd name="T9" fmla="*/ 0 h 114"/>
                <a:gd name="T10" fmla="*/ 43 w 122"/>
                <a:gd name="T11" fmla="*/ 107 h 114"/>
                <a:gd name="T12" fmla="*/ 38 w 122"/>
                <a:gd name="T13" fmla="*/ 107 h 114"/>
                <a:gd name="T14" fmla="*/ 38 w 122"/>
                <a:gd name="T15" fmla="*/ 114 h 114"/>
                <a:gd name="T16" fmla="*/ 46 w 122"/>
                <a:gd name="T17" fmla="*/ 110 h 114"/>
                <a:gd name="T18" fmla="*/ 43 w 122"/>
                <a:gd name="T19" fmla="*/ 107 h 114"/>
                <a:gd name="T20" fmla="*/ 72 w 122"/>
                <a:gd name="T21" fmla="*/ 91 h 114"/>
                <a:gd name="T22" fmla="*/ 72 w 122"/>
                <a:gd name="T23" fmla="*/ 108 h 114"/>
                <a:gd name="T24" fmla="*/ 85 w 122"/>
                <a:gd name="T25" fmla="*/ 107 h 114"/>
                <a:gd name="T26" fmla="*/ 85 w 122"/>
                <a:gd name="T27" fmla="*/ 100 h 114"/>
                <a:gd name="T28" fmla="*/ 72 w 122"/>
                <a:gd name="T29" fmla="*/ 91 h 114"/>
                <a:gd name="T30" fmla="*/ 111 w 122"/>
                <a:gd name="T31" fmla="*/ 49 h 114"/>
                <a:gd name="T32" fmla="*/ 120 w 122"/>
                <a:gd name="T33" fmla="*/ 51 h 114"/>
                <a:gd name="T34" fmla="*/ 122 w 122"/>
                <a:gd name="T35" fmla="*/ 56 h 114"/>
                <a:gd name="T36" fmla="*/ 113 w 122"/>
                <a:gd name="T37" fmla="*/ 60 h 114"/>
                <a:gd name="T38" fmla="*/ 111 w 122"/>
                <a:gd name="T39" fmla="*/ 49 h 114"/>
                <a:gd name="T40" fmla="*/ 110 w 122"/>
                <a:gd name="T41" fmla="*/ 14 h 114"/>
                <a:gd name="T42" fmla="*/ 108 w 122"/>
                <a:gd name="T43" fmla="*/ 26 h 114"/>
                <a:gd name="T44" fmla="*/ 111 w 122"/>
                <a:gd name="T45" fmla="*/ 26 h 114"/>
                <a:gd name="T46" fmla="*/ 110 w 122"/>
                <a:gd name="T47" fmla="*/ 14 h 114"/>
                <a:gd name="T48" fmla="*/ 63 w 122"/>
                <a:gd name="T49" fmla="*/ 29 h 114"/>
                <a:gd name="T50" fmla="*/ 43 w 122"/>
                <a:gd name="T51" fmla="*/ 26 h 114"/>
                <a:gd name="T52" fmla="*/ 43 w 122"/>
                <a:gd name="T53" fmla="*/ 31 h 114"/>
                <a:gd name="T54" fmla="*/ 63 w 122"/>
                <a:gd name="T55" fmla="*/ 2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2" h="114">
                  <a:moveTo>
                    <a:pt x="13" y="0"/>
                  </a:moveTo>
                  <a:lnTo>
                    <a:pt x="0" y="2"/>
                  </a:lnTo>
                  <a:lnTo>
                    <a:pt x="1" y="12"/>
                  </a:lnTo>
                  <a:lnTo>
                    <a:pt x="15" y="6"/>
                  </a:lnTo>
                  <a:lnTo>
                    <a:pt x="13" y="0"/>
                  </a:lnTo>
                  <a:close/>
                  <a:moveTo>
                    <a:pt x="43" y="107"/>
                  </a:moveTo>
                  <a:lnTo>
                    <a:pt x="38" y="107"/>
                  </a:lnTo>
                  <a:lnTo>
                    <a:pt x="38" y="114"/>
                  </a:lnTo>
                  <a:lnTo>
                    <a:pt x="46" y="110"/>
                  </a:lnTo>
                  <a:lnTo>
                    <a:pt x="43" y="107"/>
                  </a:lnTo>
                  <a:close/>
                  <a:moveTo>
                    <a:pt x="72" y="91"/>
                  </a:moveTo>
                  <a:lnTo>
                    <a:pt x="72" y="108"/>
                  </a:lnTo>
                  <a:lnTo>
                    <a:pt x="85" y="107"/>
                  </a:lnTo>
                  <a:lnTo>
                    <a:pt x="85" y="100"/>
                  </a:lnTo>
                  <a:lnTo>
                    <a:pt x="72" y="91"/>
                  </a:lnTo>
                  <a:close/>
                  <a:moveTo>
                    <a:pt x="111" y="49"/>
                  </a:moveTo>
                  <a:lnTo>
                    <a:pt x="120" y="51"/>
                  </a:lnTo>
                  <a:lnTo>
                    <a:pt x="122" y="56"/>
                  </a:lnTo>
                  <a:lnTo>
                    <a:pt x="113" y="60"/>
                  </a:lnTo>
                  <a:lnTo>
                    <a:pt x="111" y="49"/>
                  </a:lnTo>
                  <a:close/>
                  <a:moveTo>
                    <a:pt x="110" y="14"/>
                  </a:moveTo>
                  <a:lnTo>
                    <a:pt x="108" y="26"/>
                  </a:lnTo>
                  <a:lnTo>
                    <a:pt x="111" y="26"/>
                  </a:lnTo>
                  <a:lnTo>
                    <a:pt x="110" y="14"/>
                  </a:lnTo>
                  <a:close/>
                  <a:moveTo>
                    <a:pt x="63" y="29"/>
                  </a:moveTo>
                  <a:lnTo>
                    <a:pt x="43" y="26"/>
                  </a:lnTo>
                  <a:lnTo>
                    <a:pt x="43" y="31"/>
                  </a:lnTo>
                  <a:lnTo>
                    <a:pt x="63" y="29"/>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17" name="Freeform 118">
              <a:extLst>
                <a:ext uri="{FF2B5EF4-FFF2-40B4-BE49-F238E27FC236}">
                  <a16:creationId xmlns:a16="http://schemas.microsoft.com/office/drawing/2014/main" id="{4002D27C-FDC6-934D-B579-70A3CCBAEA99}"/>
                </a:ext>
              </a:extLst>
            </p:cNvPr>
            <p:cNvSpPr>
              <a:spLocks noChangeAspect="1" noEditPoints="1"/>
            </p:cNvSpPr>
            <p:nvPr/>
          </p:nvSpPr>
          <p:spPr bwMode="gray">
            <a:xfrm>
              <a:off x="4250302" y="3333840"/>
              <a:ext cx="82930" cy="157354"/>
            </a:xfrm>
            <a:custGeom>
              <a:avLst/>
              <a:gdLst>
                <a:gd name="T0" fmla="*/ 41 w 170"/>
                <a:gd name="T1" fmla="*/ 228 h 269"/>
                <a:gd name="T2" fmla="*/ 12 w 170"/>
                <a:gd name="T3" fmla="*/ 239 h 269"/>
                <a:gd name="T4" fmla="*/ 14 w 170"/>
                <a:gd name="T5" fmla="*/ 248 h 269"/>
                <a:gd name="T6" fmla="*/ 20 w 170"/>
                <a:gd name="T7" fmla="*/ 254 h 269"/>
                <a:gd name="T8" fmla="*/ 31 w 170"/>
                <a:gd name="T9" fmla="*/ 251 h 269"/>
                <a:gd name="T10" fmla="*/ 32 w 170"/>
                <a:gd name="T11" fmla="*/ 239 h 269"/>
                <a:gd name="T12" fmla="*/ 44 w 170"/>
                <a:gd name="T13" fmla="*/ 229 h 269"/>
                <a:gd name="T14" fmla="*/ 41 w 170"/>
                <a:gd name="T15" fmla="*/ 228 h 269"/>
                <a:gd name="T16" fmla="*/ 14 w 170"/>
                <a:gd name="T17" fmla="*/ 0 h 269"/>
                <a:gd name="T18" fmla="*/ 0 w 170"/>
                <a:gd name="T19" fmla="*/ 2 h 269"/>
                <a:gd name="T20" fmla="*/ 14 w 170"/>
                <a:gd name="T21" fmla="*/ 11 h 269"/>
                <a:gd name="T22" fmla="*/ 20 w 170"/>
                <a:gd name="T23" fmla="*/ 9 h 269"/>
                <a:gd name="T24" fmla="*/ 20 w 170"/>
                <a:gd name="T25" fmla="*/ 2 h 269"/>
                <a:gd name="T26" fmla="*/ 14 w 170"/>
                <a:gd name="T27" fmla="*/ 0 h 269"/>
                <a:gd name="T28" fmla="*/ 170 w 170"/>
                <a:gd name="T29" fmla="*/ 194 h 269"/>
                <a:gd name="T30" fmla="*/ 156 w 170"/>
                <a:gd name="T31" fmla="*/ 202 h 269"/>
                <a:gd name="T32" fmla="*/ 151 w 170"/>
                <a:gd name="T33" fmla="*/ 211 h 269"/>
                <a:gd name="T34" fmla="*/ 164 w 170"/>
                <a:gd name="T35" fmla="*/ 206 h 269"/>
                <a:gd name="T36" fmla="*/ 170 w 170"/>
                <a:gd name="T37" fmla="*/ 194 h 269"/>
                <a:gd name="T38" fmla="*/ 149 w 170"/>
                <a:gd name="T39" fmla="*/ 219 h 269"/>
                <a:gd name="T40" fmla="*/ 145 w 170"/>
                <a:gd name="T41" fmla="*/ 219 h 269"/>
                <a:gd name="T42" fmla="*/ 132 w 170"/>
                <a:gd name="T43" fmla="*/ 248 h 269"/>
                <a:gd name="T44" fmla="*/ 127 w 170"/>
                <a:gd name="T45" fmla="*/ 251 h 269"/>
                <a:gd name="T46" fmla="*/ 147 w 170"/>
                <a:gd name="T47" fmla="*/ 239 h 269"/>
                <a:gd name="T48" fmla="*/ 149 w 170"/>
                <a:gd name="T49" fmla="*/ 219 h 269"/>
                <a:gd name="T50" fmla="*/ 66 w 170"/>
                <a:gd name="T51" fmla="*/ 248 h 269"/>
                <a:gd name="T52" fmla="*/ 61 w 170"/>
                <a:gd name="T53" fmla="*/ 268 h 269"/>
                <a:gd name="T54" fmla="*/ 71 w 170"/>
                <a:gd name="T55" fmla="*/ 269 h 269"/>
                <a:gd name="T56" fmla="*/ 80 w 170"/>
                <a:gd name="T57" fmla="*/ 265 h 269"/>
                <a:gd name="T58" fmla="*/ 80 w 170"/>
                <a:gd name="T59" fmla="*/ 252 h 269"/>
                <a:gd name="T60" fmla="*/ 66 w 170"/>
                <a:gd name="T61" fmla="*/ 248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0" h="269">
                  <a:moveTo>
                    <a:pt x="41" y="228"/>
                  </a:moveTo>
                  <a:lnTo>
                    <a:pt x="12" y="239"/>
                  </a:lnTo>
                  <a:lnTo>
                    <a:pt x="14" y="248"/>
                  </a:lnTo>
                  <a:lnTo>
                    <a:pt x="20" y="254"/>
                  </a:lnTo>
                  <a:lnTo>
                    <a:pt x="31" y="251"/>
                  </a:lnTo>
                  <a:lnTo>
                    <a:pt x="32" y="239"/>
                  </a:lnTo>
                  <a:lnTo>
                    <a:pt x="44" y="229"/>
                  </a:lnTo>
                  <a:lnTo>
                    <a:pt x="41" y="228"/>
                  </a:lnTo>
                  <a:close/>
                  <a:moveTo>
                    <a:pt x="14" y="0"/>
                  </a:moveTo>
                  <a:lnTo>
                    <a:pt x="0" y="2"/>
                  </a:lnTo>
                  <a:lnTo>
                    <a:pt x="14" y="11"/>
                  </a:lnTo>
                  <a:lnTo>
                    <a:pt x="20" y="9"/>
                  </a:lnTo>
                  <a:lnTo>
                    <a:pt x="20" y="2"/>
                  </a:lnTo>
                  <a:lnTo>
                    <a:pt x="14" y="0"/>
                  </a:lnTo>
                  <a:close/>
                  <a:moveTo>
                    <a:pt x="170" y="194"/>
                  </a:moveTo>
                  <a:lnTo>
                    <a:pt x="156" y="202"/>
                  </a:lnTo>
                  <a:lnTo>
                    <a:pt x="151" y="211"/>
                  </a:lnTo>
                  <a:lnTo>
                    <a:pt x="164" y="206"/>
                  </a:lnTo>
                  <a:lnTo>
                    <a:pt x="170" y="194"/>
                  </a:lnTo>
                  <a:close/>
                  <a:moveTo>
                    <a:pt x="149" y="219"/>
                  </a:moveTo>
                  <a:lnTo>
                    <a:pt x="145" y="219"/>
                  </a:lnTo>
                  <a:lnTo>
                    <a:pt x="132" y="248"/>
                  </a:lnTo>
                  <a:lnTo>
                    <a:pt x="127" y="251"/>
                  </a:lnTo>
                  <a:lnTo>
                    <a:pt x="147" y="239"/>
                  </a:lnTo>
                  <a:lnTo>
                    <a:pt x="149" y="219"/>
                  </a:lnTo>
                  <a:close/>
                  <a:moveTo>
                    <a:pt x="66" y="248"/>
                  </a:moveTo>
                  <a:lnTo>
                    <a:pt x="61" y="268"/>
                  </a:lnTo>
                  <a:lnTo>
                    <a:pt x="71" y="269"/>
                  </a:lnTo>
                  <a:lnTo>
                    <a:pt x="80" y="265"/>
                  </a:lnTo>
                  <a:lnTo>
                    <a:pt x="80" y="252"/>
                  </a:lnTo>
                  <a:lnTo>
                    <a:pt x="66" y="248"/>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18" name="Freeform 119">
              <a:extLst>
                <a:ext uri="{FF2B5EF4-FFF2-40B4-BE49-F238E27FC236}">
                  <a16:creationId xmlns:a16="http://schemas.microsoft.com/office/drawing/2014/main" id="{3F1F4375-3A39-D54B-BEE3-D34A33284022}"/>
                </a:ext>
              </a:extLst>
            </p:cNvPr>
            <p:cNvSpPr>
              <a:spLocks noChangeAspect="1" noEditPoints="1"/>
            </p:cNvSpPr>
            <p:nvPr/>
          </p:nvSpPr>
          <p:spPr bwMode="gray">
            <a:xfrm>
              <a:off x="5605888" y="4573480"/>
              <a:ext cx="46248" cy="47973"/>
            </a:xfrm>
            <a:custGeom>
              <a:avLst/>
              <a:gdLst>
                <a:gd name="T0" fmla="*/ 5 w 93"/>
                <a:gd name="T1" fmla="*/ 0 h 80"/>
                <a:gd name="T2" fmla="*/ 8 w 93"/>
                <a:gd name="T3" fmla="*/ 27 h 80"/>
                <a:gd name="T4" fmla="*/ 0 w 93"/>
                <a:gd name="T5" fmla="*/ 17 h 80"/>
                <a:gd name="T6" fmla="*/ 0 w 93"/>
                <a:gd name="T7" fmla="*/ 4 h 80"/>
                <a:gd name="T8" fmla="*/ 5 w 93"/>
                <a:gd name="T9" fmla="*/ 0 h 80"/>
                <a:gd name="T10" fmla="*/ 93 w 93"/>
                <a:gd name="T11" fmla="*/ 69 h 80"/>
                <a:gd name="T12" fmla="*/ 92 w 93"/>
                <a:gd name="T13" fmla="*/ 80 h 80"/>
                <a:gd name="T14" fmla="*/ 87 w 93"/>
                <a:gd name="T15" fmla="*/ 78 h 80"/>
                <a:gd name="T16" fmla="*/ 84 w 93"/>
                <a:gd name="T17" fmla="*/ 66 h 80"/>
                <a:gd name="T18" fmla="*/ 93 w 93"/>
                <a:gd name="T19" fmla="*/ 69 h 80"/>
                <a:gd name="T20" fmla="*/ 58 w 93"/>
                <a:gd name="T21" fmla="*/ 38 h 80"/>
                <a:gd name="T22" fmla="*/ 58 w 93"/>
                <a:gd name="T23" fmla="*/ 51 h 80"/>
                <a:gd name="T24" fmla="*/ 47 w 93"/>
                <a:gd name="T25" fmla="*/ 41 h 80"/>
                <a:gd name="T26" fmla="*/ 58 w 93"/>
                <a:gd name="T27" fmla="*/ 38 h 80"/>
                <a:gd name="T28" fmla="*/ 30 w 93"/>
                <a:gd name="T29" fmla="*/ 49 h 80"/>
                <a:gd name="T30" fmla="*/ 19 w 93"/>
                <a:gd name="T31" fmla="*/ 44 h 80"/>
                <a:gd name="T32" fmla="*/ 30 w 93"/>
                <a:gd name="T33"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80">
                  <a:moveTo>
                    <a:pt x="5" y="0"/>
                  </a:moveTo>
                  <a:lnTo>
                    <a:pt x="8" y="27"/>
                  </a:lnTo>
                  <a:lnTo>
                    <a:pt x="0" y="17"/>
                  </a:lnTo>
                  <a:lnTo>
                    <a:pt x="0" y="4"/>
                  </a:lnTo>
                  <a:lnTo>
                    <a:pt x="5" y="0"/>
                  </a:lnTo>
                  <a:close/>
                  <a:moveTo>
                    <a:pt x="93" y="69"/>
                  </a:moveTo>
                  <a:lnTo>
                    <a:pt x="92" y="80"/>
                  </a:lnTo>
                  <a:lnTo>
                    <a:pt x="87" y="78"/>
                  </a:lnTo>
                  <a:lnTo>
                    <a:pt x="84" y="66"/>
                  </a:lnTo>
                  <a:lnTo>
                    <a:pt x="93" y="69"/>
                  </a:lnTo>
                  <a:close/>
                  <a:moveTo>
                    <a:pt x="58" y="38"/>
                  </a:moveTo>
                  <a:lnTo>
                    <a:pt x="58" y="51"/>
                  </a:lnTo>
                  <a:lnTo>
                    <a:pt x="47" y="41"/>
                  </a:lnTo>
                  <a:lnTo>
                    <a:pt x="58" y="38"/>
                  </a:lnTo>
                  <a:close/>
                  <a:moveTo>
                    <a:pt x="30" y="49"/>
                  </a:moveTo>
                  <a:lnTo>
                    <a:pt x="19" y="44"/>
                  </a:lnTo>
                  <a:lnTo>
                    <a:pt x="30" y="49"/>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19" name="Freeform 121">
              <a:extLst>
                <a:ext uri="{FF2B5EF4-FFF2-40B4-BE49-F238E27FC236}">
                  <a16:creationId xmlns:a16="http://schemas.microsoft.com/office/drawing/2014/main" id="{8DF3724B-72FA-6C4A-9456-8664E7E32ABA}"/>
                </a:ext>
              </a:extLst>
            </p:cNvPr>
            <p:cNvSpPr>
              <a:spLocks noChangeAspect="1" noEditPoints="1"/>
            </p:cNvSpPr>
            <p:nvPr/>
          </p:nvSpPr>
          <p:spPr bwMode="gray">
            <a:xfrm>
              <a:off x="4798916" y="3182244"/>
              <a:ext cx="89309" cy="228356"/>
            </a:xfrm>
            <a:custGeom>
              <a:avLst/>
              <a:gdLst>
                <a:gd name="T0" fmla="*/ 64 w 183"/>
                <a:gd name="T1" fmla="*/ 22 h 387"/>
                <a:gd name="T2" fmla="*/ 41 w 183"/>
                <a:gd name="T3" fmla="*/ 46 h 387"/>
                <a:gd name="T4" fmla="*/ 50 w 183"/>
                <a:gd name="T5" fmla="*/ 51 h 387"/>
                <a:gd name="T6" fmla="*/ 45 w 183"/>
                <a:gd name="T7" fmla="*/ 86 h 387"/>
                <a:gd name="T8" fmla="*/ 50 w 183"/>
                <a:gd name="T9" fmla="*/ 124 h 387"/>
                <a:gd name="T10" fmla="*/ 41 w 183"/>
                <a:gd name="T11" fmla="*/ 156 h 387"/>
                <a:gd name="T12" fmla="*/ 0 w 183"/>
                <a:gd name="T13" fmla="*/ 192 h 387"/>
                <a:gd name="T14" fmla="*/ 11 w 183"/>
                <a:gd name="T15" fmla="*/ 229 h 387"/>
                <a:gd name="T16" fmla="*/ 31 w 183"/>
                <a:gd name="T17" fmla="*/ 240 h 387"/>
                <a:gd name="T18" fmla="*/ 38 w 183"/>
                <a:gd name="T19" fmla="*/ 257 h 387"/>
                <a:gd name="T20" fmla="*/ 38 w 183"/>
                <a:gd name="T21" fmla="*/ 272 h 387"/>
                <a:gd name="T22" fmla="*/ 76 w 183"/>
                <a:gd name="T23" fmla="*/ 294 h 387"/>
                <a:gd name="T24" fmla="*/ 93 w 183"/>
                <a:gd name="T25" fmla="*/ 387 h 387"/>
                <a:gd name="T26" fmla="*/ 113 w 183"/>
                <a:gd name="T27" fmla="*/ 381 h 387"/>
                <a:gd name="T28" fmla="*/ 127 w 183"/>
                <a:gd name="T29" fmla="*/ 365 h 387"/>
                <a:gd name="T30" fmla="*/ 122 w 183"/>
                <a:gd name="T31" fmla="*/ 333 h 387"/>
                <a:gd name="T32" fmla="*/ 127 w 183"/>
                <a:gd name="T33" fmla="*/ 318 h 387"/>
                <a:gd name="T34" fmla="*/ 180 w 183"/>
                <a:gd name="T35" fmla="*/ 277 h 387"/>
                <a:gd name="T36" fmla="*/ 183 w 183"/>
                <a:gd name="T37" fmla="*/ 269 h 387"/>
                <a:gd name="T38" fmla="*/ 183 w 183"/>
                <a:gd name="T39" fmla="*/ 235 h 387"/>
                <a:gd name="T40" fmla="*/ 170 w 183"/>
                <a:gd name="T41" fmla="*/ 233 h 387"/>
                <a:gd name="T42" fmla="*/ 160 w 183"/>
                <a:gd name="T43" fmla="*/ 212 h 387"/>
                <a:gd name="T44" fmla="*/ 149 w 183"/>
                <a:gd name="T45" fmla="*/ 217 h 387"/>
                <a:gd name="T46" fmla="*/ 143 w 183"/>
                <a:gd name="T47" fmla="*/ 206 h 387"/>
                <a:gd name="T48" fmla="*/ 127 w 183"/>
                <a:gd name="T49" fmla="*/ 206 h 387"/>
                <a:gd name="T50" fmla="*/ 119 w 183"/>
                <a:gd name="T51" fmla="*/ 201 h 387"/>
                <a:gd name="T52" fmla="*/ 116 w 183"/>
                <a:gd name="T53" fmla="*/ 192 h 387"/>
                <a:gd name="T54" fmla="*/ 116 w 183"/>
                <a:gd name="T55" fmla="*/ 181 h 387"/>
                <a:gd name="T56" fmla="*/ 126 w 183"/>
                <a:gd name="T57" fmla="*/ 184 h 387"/>
                <a:gd name="T58" fmla="*/ 127 w 183"/>
                <a:gd name="T59" fmla="*/ 170 h 387"/>
                <a:gd name="T60" fmla="*/ 161 w 183"/>
                <a:gd name="T61" fmla="*/ 145 h 387"/>
                <a:gd name="T62" fmla="*/ 175 w 183"/>
                <a:gd name="T63" fmla="*/ 119 h 387"/>
                <a:gd name="T64" fmla="*/ 170 w 183"/>
                <a:gd name="T65" fmla="*/ 98 h 387"/>
                <a:gd name="T66" fmla="*/ 152 w 183"/>
                <a:gd name="T67" fmla="*/ 86 h 387"/>
                <a:gd name="T68" fmla="*/ 144 w 183"/>
                <a:gd name="T69" fmla="*/ 68 h 387"/>
                <a:gd name="T70" fmla="*/ 147 w 183"/>
                <a:gd name="T71" fmla="*/ 56 h 387"/>
                <a:gd name="T72" fmla="*/ 164 w 183"/>
                <a:gd name="T73" fmla="*/ 46 h 387"/>
                <a:gd name="T74" fmla="*/ 173 w 183"/>
                <a:gd name="T75" fmla="*/ 26 h 387"/>
                <a:gd name="T76" fmla="*/ 170 w 183"/>
                <a:gd name="T77" fmla="*/ 17 h 387"/>
                <a:gd name="T78" fmla="*/ 144 w 183"/>
                <a:gd name="T79" fmla="*/ 34 h 387"/>
                <a:gd name="T80" fmla="*/ 135 w 183"/>
                <a:gd name="T81" fmla="*/ 31 h 387"/>
                <a:gd name="T82" fmla="*/ 133 w 183"/>
                <a:gd name="T83" fmla="*/ 14 h 387"/>
                <a:gd name="T84" fmla="*/ 130 w 183"/>
                <a:gd name="T85" fmla="*/ 6 h 387"/>
                <a:gd name="T86" fmla="*/ 107 w 183"/>
                <a:gd name="T87" fmla="*/ 0 h 387"/>
                <a:gd name="T88" fmla="*/ 87 w 183"/>
                <a:gd name="T89" fmla="*/ 5 h 387"/>
                <a:gd name="T90" fmla="*/ 64 w 183"/>
                <a:gd name="T91" fmla="*/ 22 h 387"/>
                <a:gd name="T92" fmla="*/ 158 w 183"/>
                <a:gd name="T93" fmla="*/ 196 h 387"/>
                <a:gd name="T94" fmla="*/ 160 w 183"/>
                <a:gd name="T95" fmla="*/ 206 h 387"/>
                <a:gd name="T96" fmla="*/ 152 w 183"/>
                <a:gd name="T97" fmla="*/ 206 h 387"/>
                <a:gd name="T98" fmla="*/ 149 w 183"/>
                <a:gd name="T99" fmla="*/ 198 h 387"/>
                <a:gd name="T100" fmla="*/ 158 w 183"/>
                <a:gd name="T101" fmla="*/ 19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3" h="387">
                  <a:moveTo>
                    <a:pt x="64" y="22"/>
                  </a:moveTo>
                  <a:lnTo>
                    <a:pt x="41" y="46"/>
                  </a:lnTo>
                  <a:lnTo>
                    <a:pt x="50" y="51"/>
                  </a:lnTo>
                  <a:lnTo>
                    <a:pt x="45" y="86"/>
                  </a:lnTo>
                  <a:lnTo>
                    <a:pt x="50" y="124"/>
                  </a:lnTo>
                  <a:lnTo>
                    <a:pt x="41" y="156"/>
                  </a:lnTo>
                  <a:lnTo>
                    <a:pt x="0" y="192"/>
                  </a:lnTo>
                  <a:lnTo>
                    <a:pt x="11" y="229"/>
                  </a:lnTo>
                  <a:lnTo>
                    <a:pt x="31" y="240"/>
                  </a:lnTo>
                  <a:lnTo>
                    <a:pt x="38" y="257"/>
                  </a:lnTo>
                  <a:lnTo>
                    <a:pt x="38" y="272"/>
                  </a:lnTo>
                  <a:lnTo>
                    <a:pt x="76" y="294"/>
                  </a:lnTo>
                  <a:lnTo>
                    <a:pt x="93" y="387"/>
                  </a:lnTo>
                  <a:lnTo>
                    <a:pt x="113" y="381"/>
                  </a:lnTo>
                  <a:lnTo>
                    <a:pt x="127" y="365"/>
                  </a:lnTo>
                  <a:lnTo>
                    <a:pt x="122" y="333"/>
                  </a:lnTo>
                  <a:lnTo>
                    <a:pt x="127" y="318"/>
                  </a:lnTo>
                  <a:lnTo>
                    <a:pt x="180" y="277"/>
                  </a:lnTo>
                  <a:lnTo>
                    <a:pt x="183" y="269"/>
                  </a:lnTo>
                  <a:lnTo>
                    <a:pt x="183" y="235"/>
                  </a:lnTo>
                  <a:lnTo>
                    <a:pt x="170" y="233"/>
                  </a:lnTo>
                  <a:lnTo>
                    <a:pt x="160" y="212"/>
                  </a:lnTo>
                  <a:lnTo>
                    <a:pt x="149" y="217"/>
                  </a:lnTo>
                  <a:lnTo>
                    <a:pt x="143" y="206"/>
                  </a:lnTo>
                  <a:lnTo>
                    <a:pt x="127" y="206"/>
                  </a:lnTo>
                  <a:lnTo>
                    <a:pt x="119" y="201"/>
                  </a:lnTo>
                  <a:lnTo>
                    <a:pt x="116" y="192"/>
                  </a:lnTo>
                  <a:lnTo>
                    <a:pt x="116" y="181"/>
                  </a:lnTo>
                  <a:lnTo>
                    <a:pt x="126" y="184"/>
                  </a:lnTo>
                  <a:lnTo>
                    <a:pt x="127" y="170"/>
                  </a:lnTo>
                  <a:lnTo>
                    <a:pt x="161" y="145"/>
                  </a:lnTo>
                  <a:lnTo>
                    <a:pt x="175" y="119"/>
                  </a:lnTo>
                  <a:lnTo>
                    <a:pt x="170" y="98"/>
                  </a:lnTo>
                  <a:lnTo>
                    <a:pt x="152" y="86"/>
                  </a:lnTo>
                  <a:lnTo>
                    <a:pt x="144" y="68"/>
                  </a:lnTo>
                  <a:lnTo>
                    <a:pt x="147" y="56"/>
                  </a:lnTo>
                  <a:lnTo>
                    <a:pt x="164" y="46"/>
                  </a:lnTo>
                  <a:lnTo>
                    <a:pt x="173" y="26"/>
                  </a:lnTo>
                  <a:lnTo>
                    <a:pt x="170" y="17"/>
                  </a:lnTo>
                  <a:lnTo>
                    <a:pt x="144" y="34"/>
                  </a:lnTo>
                  <a:lnTo>
                    <a:pt x="135" y="31"/>
                  </a:lnTo>
                  <a:lnTo>
                    <a:pt x="133" y="14"/>
                  </a:lnTo>
                  <a:lnTo>
                    <a:pt x="130" y="6"/>
                  </a:lnTo>
                  <a:lnTo>
                    <a:pt x="107" y="0"/>
                  </a:lnTo>
                  <a:lnTo>
                    <a:pt x="87" y="5"/>
                  </a:lnTo>
                  <a:lnTo>
                    <a:pt x="64" y="22"/>
                  </a:lnTo>
                  <a:close/>
                  <a:moveTo>
                    <a:pt x="158" y="196"/>
                  </a:moveTo>
                  <a:lnTo>
                    <a:pt x="160" y="206"/>
                  </a:lnTo>
                  <a:lnTo>
                    <a:pt x="152" y="206"/>
                  </a:lnTo>
                  <a:lnTo>
                    <a:pt x="149" y="198"/>
                  </a:lnTo>
                  <a:lnTo>
                    <a:pt x="158" y="196"/>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20" name="Freeform 123">
              <a:extLst>
                <a:ext uri="{FF2B5EF4-FFF2-40B4-BE49-F238E27FC236}">
                  <a16:creationId xmlns:a16="http://schemas.microsoft.com/office/drawing/2014/main" id="{5ABF9F50-C2CC-8D40-828F-3924E7ACB630}"/>
                </a:ext>
              </a:extLst>
            </p:cNvPr>
            <p:cNvSpPr>
              <a:spLocks noChangeAspect="1"/>
            </p:cNvSpPr>
            <p:nvPr/>
          </p:nvSpPr>
          <p:spPr bwMode="gray">
            <a:xfrm>
              <a:off x="5097764" y="3002460"/>
              <a:ext cx="54046" cy="55625"/>
            </a:xfrm>
            <a:custGeom>
              <a:avLst/>
              <a:gdLst>
                <a:gd name="T0" fmla="*/ 9 w 112"/>
                <a:gd name="T1" fmla="*/ 16 h 90"/>
                <a:gd name="T2" fmla="*/ 13 w 112"/>
                <a:gd name="T3" fmla="*/ 6 h 90"/>
                <a:gd name="T4" fmla="*/ 26 w 112"/>
                <a:gd name="T5" fmla="*/ 3 h 90"/>
                <a:gd name="T6" fmla="*/ 34 w 112"/>
                <a:gd name="T7" fmla="*/ 8 h 90"/>
                <a:gd name="T8" fmla="*/ 43 w 112"/>
                <a:gd name="T9" fmla="*/ 0 h 90"/>
                <a:gd name="T10" fmla="*/ 87 w 112"/>
                <a:gd name="T11" fmla="*/ 3 h 90"/>
                <a:gd name="T12" fmla="*/ 105 w 112"/>
                <a:gd name="T13" fmla="*/ 19 h 90"/>
                <a:gd name="T14" fmla="*/ 112 w 112"/>
                <a:gd name="T15" fmla="*/ 59 h 90"/>
                <a:gd name="T16" fmla="*/ 93 w 112"/>
                <a:gd name="T17" fmla="*/ 72 h 90"/>
                <a:gd name="T18" fmla="*/ 76 w 112"/>
                <a:gd name="T19" fmla="*/ 72 h 90"/>
                <a:gd name="T20" fmla="*/ 51 w 112"/>
                <a:gd name="T21" fmla="*/ 85 h 90"/>
                <a:gd name="T22" fmla="*/ 22 w 112"/>
                <a:gd name="T23" fmla="*/ 90 h 90"/>
                <a:gd name="T24" fmla="*/ 8 w 112"/>
                <a:gd name="T25" fmla="*/ 76 h 90"/>
                <a:gd name="T26" fmla="*/ 0 w 112"/>
                <a:gd name="T27" fmla="*/ 59 h 90"/>
                <a:gd name="T28" fmla="*/ 4 w 112"/>
                <a:gd name="T29" fmla="*/ 14 h 90"/>
                <a:gd name="T30" fmla="*/ 9 w 112"/>
                <a:gd name="T31" fmla="*/ 1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90">
                  <a:moveTo>
                    <a:pt x="9" y="16"/>
                  </a:moveTo>
                  <a:lnTo>
                    <a:pt x="13" y="6"/>
                  </a:lnTo>
                  <a:lnTo>
                    <a:pt x="26" y="3"/>
                  </a:lnTo>
                  <a:lnTo>
                    <a:pt x="34" y="8"/>
                  </a:lnTo>
                  <a:lnTo>
                    <a:pt x="43" y="0"/>
                  </a:lnTo>
                  <a:lnTo>
                    <a:pt x="87" y="3"/>
                  </a:lnTo>
                  <a:lnTo>
                    <a:pt x="105" y="19"/>
                  </a:lnTo>
                  <a:lnTo>
                    <a:pt x="112" y="59"/>
                  </a:lnTo>
                  <a:lnTo>
                    <a:pt x="93" y="72"/>
                  </a:lnTo>
                  <a:lnTo>
                    <a:pt x="76" y="72"/>
                  </a:lnTo>
                  <a:lnTo>
                    <a:pt x="51" y="85"/>
                  </a:lnTo>
                  <a:lnTo>
                    <a:pt x="22" y="90"/>
                  </a:lnTo>
                  <a:lnTo>
                    <a:pt x="8" y="76"/>
                  </a:lnTo>
                  <a:lnTo>
                    <a:pt x="0" y="59"/>
                  </a:lnTo>
                  <a:lnTo>
                    <a:pt x="4" y="14"/>
                  </a:lnTo>
                  <a:lnTo>
                    <a:pt x="9" y="16"/>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21" name="Freeform 124">
              <a:extLst>
                <a:ext uri="{FF2B5EF4-FFF2-40B4-BE49-F238E27FC236}">
                  <a16:creationId xmlns:a16="http://schemas.microsoft.com/office/drawing/2014/main" id="{E3B3F393-B278-1249-A6BE-B12A8224A49A}"/>
                </a:ext>
              </a:extLst>
            </p:cNvPr>
            <p:cNvSpPr>
              <a:spLocks noChangeAspect="1"/>
            </p:cNvSpPr>
            <p:nvPr/>
          </p:nvSpPr>
          <p:spPr bwMode="gray">
            <a:xfrm>
              <a:off x="5067561" y="2990953"/>
              <a:ext cx="41330" cy="109333"/>
            </a:xfrm>
            <a:custGeom>
              <a:avLst/>
              <a:gdLst>
                <a:gd name="T0" fmla="*/ 42 w 83"/>
                <a:gd name="T1" fmla="*/ 181 h 181"/>
                <a:gd name="T2" fmla="*/ 83 w 83"/>
                <a:gd name="T3" fmla="*/ 131 h 181"/>
                <a:gd name="T4" fmla="*/ 81 w 83"/>
                <a:gd name="T5" fmla="*/ 110 h 181"/>
                <a:gd name="T6" fmla="*/ 67 w 83"/>
                <a:gd name="T7" fmla="*/ 96 h 181"/>
                <a:gd name="T8" fmla="*/ 59 w 83"/>
                <a:gd name="T9" fmla="*/ 79 h 181"/>
                <a:gd name="T10" fmla="*/ 63 w 83"/>
                <a:gd name="T11" fmla="*/ 34 h 181"/>
                <a:gd name="T12" fmla="*/ 39 w 83"/>
                <a:gd name="T13" fmla="*/ 8 h 181"/>
                <a:gd name="T14" fmla="*/ 21 w 83"/>
                <a:gd name="T15" fmla="*/ 0 h 181"/>
                <a:gd name="T16" fmla="*/ 8 w 83"/>
                <a:gd name="T17" fmla="*/ 14 h 181"/>
                <a:gd name="T18" fmla="*/ 2 w 83"/>
                <a:gd name="T19" fmla="*/ 48 h 181"/>
                <a:gd name="T20" fmla="*/ 14 w 83"/>
                <a:gd name="T21" fmla="*/ 54 h 181"/>
                <a:gd name="T22" fmla="*/ 7 w 83"/>
                <a:gd name="T23" fmla="*/ 80 h 181"/>
                <a:gd name="T24" fmla="*/ 10 w 83"/>
                <a:gd name="T25" fmla="*/ 88 h 181"/>
                <a:gd name="T26" fmla="*/ 4 w 83"/>
                <a:gd name="T27" fmla="*/ 118 h 181"/>
                <a:gd name="T28" fmla="*/ 7 w 83"/>
                <a:gd name="T29" fmla="*/ 136 h 181"/>
                <a:gd name="T30" fmla="*/ 0 w 83"/>
                <a:gd name="T31" fmla="*/ 135 h 181"/>
                <a:gd name="T32" fmla="*/ 13 w 83"/>
                <a:gd name="T33" fmla="*/ 155 h 181"/>
                <a:gd name="T34" fmla="*/ 27 w 83"/>
                <a:gd name="T35" fmla="*/ 160 h 181"/>
                <a:gd name="T36" fmla="*/ 34 w 83"/>
                <a:gd name="T37" fmla="*/ 178 h 181"/>
                <a:gd name="T38" fmla="*/ 42 w 83"/>
                <a:gd name="T39"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 h="181">
                  <a:moveTo>
                    <a:pt x="42" y="181"/>
                  </a:moveTo>
                  <a:lnTo>
                    <a:pt x="83" y="131"/>
                  </a:lnTo>
                  <a:lnTo>
                    <a:pt x="81" y="110"/>
                  </a:lnTo>
                  <a:lnTo>
                    <a:pt x="67" y="96"/>
                  </a:lnTo>
                  <a:lnTo>
                    <a:pt x="59" y="79"/>
                  </a:lnTo>
                  <a:lnTo>
                    <a:pt x="63" y="34"/>
                  </a:lnTo>
                  <a:lnTo>
                    <a:pt x="39" y="8"/>
                  </a:lnTo>
                  <a:lnTo>
                    <a:pt x="21" y="0"/>
                  </a:lnTo>
                  <a:lnTo>
                    <a:pt x="8" y="14"/>
                  </a:lnTo>
                  <a:lnTo>
                    <a:pt x="2" y="48"/>
                  </a:lnTo>
                  <a:lnTo>
                    <a:pt x="14" y="54"/>
                  </a:lnTo>
                  <a:lnTo>
                    <a:pt x="7" y="80"/>
                  </a:lnTo>
                  <a:lnTo>
                    <a:pt x="10" y="88"/>
                  </a:lnTo>
                  <a:lnTo>
                    <a:pt x="4" y="118"/>
                  </a:lnTo>
                  <a:lnTo>
                    <a:pt x="7" y="136"/>
                  </a:lnTo>
                  <a:lnTo>
                    <a:pt x="0" y="135"/>
                  </a:lnTo>
                  <a:lnTo>
                    <a:pt x="13" y="155"/>
                  </a:lnTo>
                  <a:lnTo>
                    <a:pt x="27" y="160"/>
                  </a:lnTo>
                  <a:lnTo>
                    <a:pt x="34" y="178"/>
                  </a:lnTo>
                  <a:lnTo>
                    <a:pt x="42" y="181"/>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122" name="Freeform 125">
              <a:extLst>
                <a:ext uri="{FF2B5EF4-FFF2-40B4-BE49-F238E27FC236}">
                  <a16:creationId xmlns:a16="http://schemas.microsoft.com/office/drawing/2014/main" id="{6CEF7B65-A3C9-424F-A651-07D6DC562B3B}"/>
                </a:ext>
              </a:extLst>
            </p:cNvPr>
            <p:cNvSpPr>
              <a:spLocks noChangeAspect="1"/>
            </p:cNvSpPr>
            <p:nvPr/>
          </p:nvSpPr>
          <p:spPr bwMode="gray">
            <a:xfrm>
              <a:off x="5048486" y="2856685"/>
              <a:ext cx="100145" cy="163036"/>
            </a:xfrm>
            <a:custGeom>
              <a:avLst/>
              <a:gdLst>
                <a:gd name="T0" fmla="*/ 184 w 204"/>
                <a:gd name="T1" fmla="*/ 230 h 276"/>
                <a:gd name="T2" fmla="*/ 184 w 204"/>
                <a:gd name="T3" fmla="*/ 174 h 276"/>
                <a:gd name="T4" fmla="*/ 184 w 204"/>
                <a:gd name="T5" fmla="*/ 140 h 276"/>
                <a:gd name="T6" fmla="*/ 190 w 204"/>
                <a:gd name="T7" fmla="*/ 132 h 276"/>
                <a:gd name="T8" fmla="*/ 192 w 204"/>
                <a:gd name="T9" fmla="*/ 109 h 276"/>
                <a:gd name="T10" fmla="*/ 177 w 204"/>
                <a:gd name="T11" fmla="*/ 107 h 276"/>
                <a:gd name="T12" fmla="*/ 136 w 204"/>
                <a:gd name="T13" fmla="*/ 67 h 276"/>
                <a:gd name="T14" fmla="*/ 105 w 204"/>
                <a:gd name="T15" fmla="*/ 24 h 276"/>
                <a:gd name="T16" fmla="*/ 76 w 204"/>
                <a:gd name="T17" fmla="*/ 0 h 276"/>
                <a:gd name="T18" fmla="*/ 12 w 204"/>
                <a:gd name="T19" fmla="*/ 19 h 276"/>
                <a:gd name="T20" fmla="*/ 18 w 204"/>
                <a:gd name="T21" fmla="*/ 39 h 276"/>
                <a:gd name="T22" fmla="*/ 23 w 204"/>
                <a:gd name="T23" fmla="*/ 50 h 276"/>
                <a:gd name="T24" fmla="*/ 34 w 204"/>
                <a:gd name="T25" fmla="*/ 61 h 276"/>
                <a:gd name="T26" fmla="*/ 42 w 204"/>
                <a:gd name="T27" fmla="*/ 80 h 276"/>
                <a:gd name="T28" fmla="*/ 31 w 204"/>
                <a:gd name="T29" fmla="*/ 115 h 276"/>
                <a:gd name="T30" fmla="*/ 55 w 204"/>
                <a:gd name="T31" fmla="*/ 135 h 276"/>
                <a:gd name="T32" fmla="*/ 40 w 204"/>
                <a:gd name="T33" fmla="*/ 139 h 276"/>
                <a:gd name="T34" fmla="*/ 52 w 204"/>
                <a:gd name="T35" fmla="*/ 154 h 276"/>
                <a:gd name="T36" fmla="*/ 29 w 204"/>
                <a:gd name="T37" fmla="*/ 169 h 276"/>
                <a:gd name="T38" fmla="*/ 29 w 204"/>
                <a:gd name="T39" fmla="*/ 182 h 276"/>
                <a:gd name="T40" fmla="*/ 26 w 204"/>
                <a:gd name="T41" fmla="*/ 186 h 276"/>
                <a:gd name="T42" fmla="*/ 18 w 204"/>
                <a:gd name="T43" fmla="*/ 180 h 276"/>
                <a:gd name="T44" fmla="*/ 8 w 204"/>
                <a:gd name="T45" fmla="*/ 200 h 276"/>
                <a:gd name="T46" fmla="*/ 0 w 204"/>
                <a:gd name="T47" fmla="*/ 211 h 276"/>
                <a:gd name="T48" fmla="*/ 4 w 204"/>
                <a:gd name="T49" fmla="*/ 223 h 276"/>
                <a:gd name="T50" fmla="*/ 1 w 204"/>
                <a:gd name="T51" fmla="*/ 237 h 276"/>
                <a:gd name="T52" fmla="*/ 25 w 204"/>
                <a:gd name="T53" fmla="*/ 256 h 276"/>
                <a:gd name="T54" fmla="*/ 37 w 204"/>
                <a:gd name="T55" fmla="*/ 273 h 276"/>
                <a:gd name="T56" fmla="*/ 46 w 204"/>
                <a:gd name="T57" fmla="*/ 242 h 276"/>
                <a:gd name="T58" fmla="*/ 77 w 204"/>
                <a:gd name="T59" fmla="*/ 236 h 276"/>
                <a:gd name="T60" fmla="*/ 106 w 204"/>
                <a:gd name="T61" fmla="*/ 264 h 276"/>
                <a:gd name="T62" fmla="*/ 123 w 204"/>
                <a:gd name="T63" fmla="*/ 251 h 276"/>
                <a:gd name="T64" fmla="*/ 140 w 204"/>
                <a:gd name="T65" fmla="*/ 248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4" h="276">
                  <a:moveTo>
                    <a:pt x="184" y="251"/>
                  </a:moveTo>
                  <a:lnTo>
                    <a:pt x="184" y="230"/>
                  </a:lnTo>
                  <a:lnTo>
                    <a:pt x="204" y="200"/>
                  </a:lnTo>
                  <a:lnTo>
                    <a:pt x="184" y="174"/>
                  </a:lnTo>
                  <a:lnTo>
                    <a:pt x="182" y="156"/>
                  </a:lnTo>
                  <a:lnTo>
                    <a:pt x="184" y="140"/>
                  </a:lnTo>
                  <a:lnTo>
                    <a:pt x="198" y="134"/>
                  </a:lnTo>
                  <a:lnTo>
                    <a:pt x="190" y="132"/>
                  </a:lnTo>
                  <a:lnTo>
                    <a:pt x="184" y="118"/>
                  </a:lnTo>
                  <a:lnTo>
                    <a:pt x="192" y="109"/>
                  </a:lnTo>
                  <a:lnTo>
                    <a:pt x="185" y="100"/>
                  </a:lnTo>
                  <a:lnTo>
                    <a:pt x="177" y="107"/>
                  </a:lnTo>
                  <a:lnTo>
                    <a:pt x="140" y="89"/>
                  </a:lnTo>
                  <a:lnTo>
                    <a:pt x="136" y="67"/>
                  </a:lnTo>
                  <a:lnTo>
                    <a:pt x="121" y="61"/>
                  </a:lnTo>
                  <a:lnTo>
                    <a:pt x="105" y="24"/>
                  </a:lnTo>
                  <a:lnTo>
                    <a:pt x="82" y="5"/>
                  </a:lnTo>
                  <a:lnTo>
                    <a:pt x="76" y="0"/>
                  </a:lnTo>
                  <a:lnTo>
                    <a:pt x="55" y="4"/>
                  </a:lnTo>
                  <a:lnTo>
                    <a:pt x="12" y="19"/>
                  </a:lnTo>
                  <a:lnTo>
                    <a:pt x="20" y="24"/>
                  </a:lnTo>
                  <a:lnTo>
                    <a:pt x="18" y="39"/>
                  </a:lnTo>
                  <a:lnTo>
                    <a:pt x="28" y="41"/>
                  </a:lnTo>
                  <a:lnTo>
                    <a:pt x="23" y="50"/>
                  </a:lnTo>
                  <a:lnTo>
                    <a:pt x="45" y="59"/>
                  </a:lnTo>
                  <a:lnTo>
                    <a:pt x="34" y="61"/>
                  </a:lnTo>
                  <a:lnTo>
                    <a:pt x="31" y="80"/>
                  </a:lnTo>
                  <a:lnTo>
                    <a:pt x="42" y="80"/>
                  </a:lnTo>
                  <a:lnTo>
                    <a:pt x="43" y="83"/>
                  </a:lnTo>
                  <a:lnTo>
                    <a:pt x="31" y="115"/>
                  </a:lnTo>
                  <a:lnTo>
                    <a:pt x="34" y="118"/>
                  </a:lnTo>
                  <a:lnTo>
                    <a:pt x="55" y="135"/>
                  </a:lnTo>
                  <a:lnTo>
                    <a:pt x="52" y="140"/>
                  </a:lnTo>
                  <a:lnTo>
                    <a:pt x="40" y="139"/>
                  </a:lnTo>
                  <a:lnTo>
                    <a:pt x="38" y="140"/>
                  </a:lnTo>
                  <a:lnTo>
                    <a:pt x="52" y="154"/>
                  </a:lnTo>
                  <a:lnTo>
                    <a:pt x="51" y="163"/>
                  </a:lnTo>
                  <a:lnTo>
                    <a:pt x="29" y="169"/>
                  </a:lnTo>
                  <a:lnTo>
                    <a:pt x="23" y="171"/>
                  </a:lnTo>
                  <a:lnTo>
                    <a:pt x="29" y="182"/>
                  </a:lnTo>
                  <a:lnTo>
                    <a:pt x="29" y="186"/>
                  </a:lnTo>
                  <a:lnTo>
                    <a:pt x="26" y="186"/>
                  </a:lnTo>
                  <a:lnTo>
                    <a:pt x="23" y="180"/>
                  </a:lnTo>
                  <a:lnTo>
                    <a:pt x="18" y="180"/>
                  </a:lnTo>
                  <a:lnTo>
                    <a:pt x="9" y="191"/>
                  </a:lnTo>
                  <a:lnTo>
                    <a:pt x="8" y="200"/>
                  </a:lnTo>
                  <a:lnTo>
                    <a:pt x="4" y="200"/>
                  </a:lnTo>
                  <a:lnTo>
                    <a:pt x="0" y="211"/>
                  </a:lnTo>
                  <a:lnTo>
                    <a:pt x="4" y="220"/>
                  </a:lnTo>
                  <a:lnTo>
                    <a:pt x="4" y="223"/>
                  </a:lnTo>
                  <a:lnTo>
                    <a:pt x="1" y="230"/>
                  </a:lnTo>
                  <a:lnTo>
                    <a:pt x="1" y="237"/>
                  </a:lnTo>
                  <a:lnTo>
                    <a:pt x="15" y="247"/>
                  </a:lnTo>
                  <a:lnTo>
                    <a:pt x="25" y="256"/>
                  </a:lnTo>
                  <a:lnTo>
                    <a:pt x="31" y="261"/>
                  </a:lnTo>
                  <a:lnTo>
                    <a:pt x="37" y="273"/>
                  </a:lnTo>
                  <a:lnTo>
                    <a:pt x="40" y="276"/>
                  </a:lnTo>
                  <a:lnTo>
                    <a:pt x="46" y="242"/>
                  </a:lnTo>
                  <a:lnTo>
                    <a:pt x="59" y="228"/>
                  </a:lnTo>
                  <a:lnTo>
                    <a:pt x="77" y="236"/>
                  </a:lnTo>
                  <a:lnTo>
                    <a:pt x="101" y="262"/>
                  </a:lnTo>
                  <a:lnTo>
                    <a:pt x="106" y="264"/>
                  </a:lnTo>
                  <a:lnTo>
                    <a:pt x="110" y="254"/>
                  </a:lnTo>
                  <a:lnTo>
                    <a:pt x="123" y="251"/>
                  </a:lnTo>
                  <a:lnTo>
                    <a:pt x="131" y="256"/>
                  </a:lnTo>
                  <a:lnTo>
                    <a:pt x="140" y="248"/>
                  </a:lnTo>
                  <a:lnTo>
                    <a:pt x="184" y="251"/>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123" name="Freeform 126">
              <a:extLst>
                <a:ext uri="{FF2B5EF4-FFF2-40B4-BE49-F238E27FC236}">
                  <a16:creationId xmlns:a16="http://schemas.microsoft.com/office/drawing/2014/main" id="{722691AD-A30A-D147-B4E5-3124745A77B9}"/>
                </a:ext>
              </a:extLst>
            </p:cNvPr>
            <p:cNvSpPr>
              <a:spLocks noChangeAspect="1"/>
            </p:cNvSpPr>
            <p:nvPr/>
          </p:nvSpPr>
          <p:spPr bwMode="gray">
            <a:xfrm>
              <a:off x="5154987" y="2425117"/>
              <a:ext cx="216182" cy="222498"/>
            </a:xfrm>
            <a:custGeom>
              <a:avLst/>
              <a:gdLst>
                <a:gd name="T0" fmla="*/ 14 w 444"/>
                <a:gd name="T1" fmla="*/ 359 h 381"/>
                <a:gd name="T2" fmla="*/ 17 w 444"/>
                <a:gd name="T3" fmla="*/ 329 h 381"/>
                <a:gd name="T4" fmla="*/ 0 w 444"/>
                <a:gd name="T5" fmla="*/ 308 h 381"/>
                <a:gd name="T6" fmla="*/ 31 w 444"/>
                <a:gd name="T7" fmla="*/ 276 h 381"/>
                <a:gd name="T8" fmla="*/ 31 w 444"/>
                <a:gd name="T9" fmla="*/ 248 h 381"/>
                <a:gd name="T10" fmla="*/ 15 w 444"/>
                <a:gd name="T11" fmla="*/ 178 h 381"/>
                <a:gd name="T12" fmla="*/ 76 w 444"/>
                <a:gd name="T13" fmla="*/ 174 h 381"/>
                <a:gd name="T14" fmla="*/ 73 w 444"/>
                <a:gd name="T15" fmla="*/ 163 h 381"/>
                <a:gd name="T16" fmla="*/ 96 w 444"/>
                <a:gd name="T17" fmla="*/ 151 h 381"/>
                <a:gd name="T18" fmla="*/ 119 w 444"/>
                <a:gd name="T19" fmla="*/ 160 h 381"/>
                <a:gd name="T20" fmla="*/ 110 w 444"/>
                <a:gd name="T21" fmla="*/ 143 h 381"/>
                <a:gd name="T22" fmla="*/ 119 w 444"/>
                <a:gd name="T23" fmla="*/ 124 h 381"/>
                <a:gd name="T24" fmla="*/ 122 w 444"/>
                <a:gd name="T25" fmla="*/ 96 h 381"/>
                <a:gd name="T26" fmla="*/ 158 w 444"/>
                <a:gd name="T27" fmla="*/ 83 h 381"/>
                <a:gd name="T28" fmla="*/ 164 w 444"/>
                <a:gd name="T29" fmla="*/ 67 h 381"/>
                <a:gd name="T30" fmla="*/ 150 w 444"/>
                <a:gd name="T31" fmla="*/ 64 h 381"/>
                <a:gd name="T32" fmla="*/ 150 w 444"/>
                <a:gd name="T33" fmla="*/ 50 h 381"/>
                <a:gd name="T34" fmla="*/ 162 w 444"/>
                <a:gd name="T35" fmla="*/ 42 h 381"/>
                <a:gd name="T36" fmla="*/ 162 w 444"/>
                <a:gd name="T37" fmla="*/ 41 h 381"/>
                <a:gd name="T38" fmla="*/ 181 w 444"/>
                <a:gd name="T39" fmla="*/ 29 h 381"/>
                <a:gd name="T40" fmla="*/ 201 w 444"/>
                <a:gd name="T41" fmla="*/ 32 h 381"/>
                <a:gd name="T42" fmla="*/ 220 w 444"/>
                <a:gd name="T43" fmla="*/ 5 h 381"/>
                <a:gd name="T44" fmla="*/ 235 w 444"/>
                <a:gd name="T45" fmla="*/ 0 h 381"/>
                <a:gd name="T46" fmla="*/ 281 w 444"/>
                <a:gd name="T47" fmla="*/ 12 h 381"/>
                <a:gd name="T48" fmla="*/ 291 w 444"/>
                <a:gd name="T49" fmla="*/ 21 h 381"/>
                <a:gd name="T50" fmla="*/ 289 w 444"/>
                <a:gd name="T51" fmla="*/ 36 h 381"/>
                <a:gd name="T52" fmla="*/ 334 w 444"/>
                <a:gd name="T53" fmla="*/ 24 h 381"/>
                <a:gd name="T54" fmla="*/ 359 w 444"/>
                <a:gd name="T55" fmla="*/ 46 h 381"/>
                <a:gd name="T56" fmla="*/ 364 w 444"/>
                <a:gd name="T57" fmla="*/ 79 h 381"/>
                <a:gd name="T58" fmla="*/ 356 w 444"/>
                <a:gd name="T59" fmla="*/ 110 h 381"/>
                <a:gd name="T60" fmla="*/ 398 w 444"/>
                <a:gd name="T61" fmla="*/ 169 h 381"/>
                <a:gd name="T62" fmla="*/ 401 w 444"/>
                <a:gd name="T63" fmla="*/ 189 h 381"/>
                <a:gd name="T64" fmla="*/ 421 w 444"/>
                <a:gd name="T65" fmla="*/ 186 h 381"/>
                <a:gd name="T66" fmla="*/ 444 w 444"/>
                <a:gd name="T67" fmla="*/ 205 h 381"/>
                <a:gd name="T68" fmla="*/ 444 w 444"/>
                <a:gd name="T69" fmla="*/ 217 h 381"/>
                <a:gd name="T70" fmla="*/ 418 w 444"/>
                <a:gd name="T71" fmla="*/ 239 h 381"/>
                <a:gd name="T72" fmla="*/ 388 w 444"/>
                <a:gd name="T73" fmla="*/ 228 h 381"/>
                <a:gd name="T74" fmla="*/ 374 w 444"/>
                <a:gd name="T75" fmla="*/ 240 h 381"/>
                <a:gd name="T76" fmla="*/ 399 w 444"/>
                <a:gd name="T77" fmla="*/ 316 h 381"/>
                <a:gd name="T78" fmla="*/ 362 w 444"/>
                <a:gd name="T79" fmla="*/ 321 h 381"/>
                <a:gd name="T80" fmla="*/ 347 w 444"/>
                <a:gd name="T81" fmla="*/ 338 h 381"/>
                <a:gd name="T82" fmla="*/ 345 w 444"/>
                <a:gd name="T83" fmla="*/ 372 h 381"/>
                <a:gd name="T84" fmla="*/ 335 w 444"/>
                <a:gd name="T85" fmla="*/ 381 h 381"/>
                <a:gd name="T86" fmla="*/ 323 w 444"/>
                <a:gd name="T87" fmla="*/ 372 h 381"/>
                <a:gd name="T88" fmla="*/ 291 w 444"/>
                <a:gd name="T89" fmla="*/ 379 h 381"/>
                <a:gd name="T90" fmla="*/ 271 w 444"/>
                <a:gd name="T91" fmla="*/ 359 h 381"/>
                <a:gd name="T92" fmla="*/ 257 w 444"/>
                <a:gd name="T93" fmla="*/ 374 h 381"/>
                <a:gd name="T94" fmla="*/ 229 w 444"/>
                <a:gd name="T95" fmla="*/ 359 h 381"/>
                <a:gd name="T96" fmla="*/ 204 w 444"/>
                <a:gd name="T97" fmla="*/ 372 h 381"/>
                <a:gd name="T98" fmla="*/ 198 w 444"/>
                <a:gd name="T99" fmla="*/ 361 h 381"/>
                <a:gd name="T100" fmla="*/ 184 w 444"/>
                <a:gd name="T101" fmla="*/ 362 h 381"/>
                <a:gd name="T102" fmla="*/ 170 w 444"/>
                <a:gd name="T103" fmla="*/ 347 h 381"/>
                <a:gd name="T104" fmla="*/ 120 w 444"/>
                <a:gd name="T105" fmla="*/ 330 h 381"/>
                <a:gd name="T106" fmla="*/ 96 w 444"/>
                <a:gd name="T107" fmla="*/ 332 h 381"/>
                <a:gd name="T108" fmla="*/ 57 w 444"/>
                <a:gd name="T109" fmla="*/ 335 h 381"/>
                <a:gd name="T110" fmla="*/ 43 w 444"/>
                <a:gd name="T111" fmla="*/ 349 h 381"/>
                <a:gd name="T112" fmla="*/ 14 w 444"/>
                <a:gd name="T113" fmla="*/ 359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4" h="381">
                  <a:moveTo>
                    <a:pt x="14" y="359"/>
                  </a:moveTo>
                  <a:lnTo>
                    <a:pt x="17" y="329"/>
                  </a:lnTo>
                  <a:lnTo>
                    <a:pt x="0" y="308"/>
                  </a:lnTo>
                  <a:lnTo>
                    <a:pt x="31" y="276"/>
                  </a:lnTo>
                  <a:lnTo>
                    <a:pt x="31" y="248"/>
                  </a:lnTo>
                  <a:lnTo>
                    <a:pt x="15" y="178"/>
                  </a:lnTo>
                  <a:lnTo>
                    <a:pt x="76" y="174"/>
                  </a:lnTo>
                  <a:lnTo>
                    <a:pt x="73" y="163"/>
                  </a:lnTo>
                  <a:lnTo>
                    <a:pt x="96" y="151"/>
                  </a:lnTo>
                  <a:lnTo>
                    <a:pt x="119" y="160"/>
                  </a:lnTo>
                  <a:lnTo>
                    <a:pt x="110" y="143"/>
                  </a:lnTo>
                  <a:lnTo>
                    <a:pt x="119" y="124"/>
                  </a:lnTo>
                  <a:lnTo>
                    <a:pt x="122" y="96"/>
                  </a:lnTo>
                  <a:lnTo>
                    <a:pt x="158" y="83"/>
                  </a:lnTo>
                  <a:lnTo>
                    <a:pt x="164" y="67"/>
                  </a:lnTo>
                  <a:lnTo>
                    <a:pt x="150" y="64"/>
                  </a:lnTo>
                  <a:lnTo>
                    <a:pt x="150" y="50"/>
                  </a:lnTo>
                  <a:lnTo>
                    <a:pt x="162" y="42"/>
                  </a:lnTo>
                  <a:lnTo>
                    <a:pt x="162" y="41"/>
                  </a:lnTo>
                  <a:lnTo>
                    <a:pt x="181" y="29"/>
                  </a:lnTo>
                  <a:lnTo>
                    <a:pt x="201" y="32"/>
                  </a:lnTo>
                  <a:lnTo>
                    <a:pt x="220" y="5"/>
                  </a:lnTo>
                  <a:lnTo>
                    <a:pt x="235" y="0"/>
                  </a:lnTo>
                  <a:lnTo>
                    <a:pt x="281" y="12"/>
                  </a:lnTo>
                  <a:lnTo>
                    <a:pt x="291" y="21"/>
                  </a:lnTo>
                  <a:lnTo>
                    <a:pt x="289" y="36"/>
                  </a:lnTo>
                  <a:lnTo>
                    <a:pt x="334" y="24"/>
                  </a:lnTo>
                  <a:lnTo>
                    <a:pt x="359" y="46"/>
                  </a:lnTo>
                  <a:lnTo>
                    <a:pt x="364" y="79"/>
                  </a:lnTo>
                  <a:lnTo>
                    <a:pt x="356" y="110"/>
                  </a:lnTo>
                  <a:lnTo>
                    <a:pt x="398" y="169"/>
                  </a:lnTo>
                  <a:lnTo>
                    <a:pt x="401" y="189"/>
                  </a:lnTo>
                  <a:lnTo>
                    <a:pt x="421" y="186"/>
                  </a:lnTo>
                  <a:lnTo>
                    <a:pt x="444" y="205"/>
                  </a:lnTo>
                  <a:lnTo>
                    <a:pt x="444" y="217"/>
                  </a:lnTo>
                  <a:lnTo>
                    <a:pt x="418" y="239"/>
                  </a:lnTo>
                  <a:lnTo>
                    <a:pt x="388" y="228"/>
                  </a:lnTo>
                  <a:lnTo>
                    <a:pt x="374" y="240"/>
                  </a:lnTo>
                  <a:lnTo>
                    <a:pt x="399" y="316"/>
                  </a:lnTo>
                  <a:lnTo>
                    <a:pt x="362" y="321"/>
                  </a:lnTo>
                  <a:lnTo>
                    <a:pt x="347" y="338"/>
                  </a:lnTo>
                  <a:lnTo>
                    <a:pt x="345" y="372"/>
                  </a:lnTo>
                  <a:lnTo>
                    <a:pt x="335" y="381"/>
                  </a:lnTo>
                  <a:lnTo>
                    <a:pt x="323" y="372"/>
                  </a:lnTo>
                  <a:lnTo>
                    <a:pt x="291" y="379"/>
                  </a:lnTo>
                  <a:lnTo>
                    <a:pt x="271" y="359"/>
                  </a:lnTo>
                  <a:lnTo>
                    <a:pt x="257" y="374"/>
                  </a:lnTo>
                  <a:lnTo>
                    <a:pt x="229" y="359"/>
                  </a:lnTo>
                  <a:lnTo>
                    <a:pt x="204" y="372"/>
                  </a:lnTo>
                  <a:lnTo>
                    <a:pt x="198" y="361"/>
                  </a:lnTo>
                  <a:lnTo>
                    <a:pt x="184" y="362"/>
                  </a:lnTo>
                  <a:lnTo>
                    <a:pt x="170" y="347"/>
                  </a:lnTo>
                  <a:lnTo>
                    <a:pt x="120" y="330"/>
                  </a:lnTo>
                  <a:lnTo>
                    <a:pt x="96" y="332"/>
                  </a:lnTo>
                  <a:lnTo>
                    <a:pt x="57" y="335"/>
                  </a:lnTo>
                  <a:lnTo>
                    <a:pt x="43" y="349"/>
                  </a:lnTo>
                  <a:lnTo>
                    <a:pt x="14" y="359"/>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24" name="Freeform 127">
              <a:extLst>
                <a:ext uri="{FF2B5EF4-FFF2-40B4-BE49-F238E27FC236}">
                  <a16:creationId xmlns:a16="http://schemas.microsoft.com/office/drawing/2014/main" id="{EF98A4EB-C48A-C04B-970E-DEC2C6CAFDFA}"/>
                </a:ext>
              </a:extLst>
            </p:cNvPr>
            <p:cNvSpPr>
              <a:spLocks noChangeAspect="1"/>
            </p:cNvSpPr>
            <p:nvPr/>
          </p:nvSpPr>
          <p:spPr bwMode="gray">
            <a:xfrm>
              <a:off x="5129554" y="2601579"/>
              <a:ext cx="408522" cy="326074"/>
            </a:xfrm>
            <a:custGeom>
              <a:avLst/>
              <a:gdLst>
                <a:gd name="T0" fmla="*/ 22 w 835"/>
                <a:gd name="T1" fmla="*/ 305 h 556"/>
                <a:gd name="T2" fmla="*/ 132 w 835"/>
                <a:gd name="T3" fmla="*/ 331 h 556"/>
                <a:gd name="T4" fmla="*/ 246 w 835"/>
                <a:gd name="T5" fmla="*/ 282 h 556"/>
                <a:gd name="T6" fmla="*/ 326 w 835"/>
                <a:gd name="T7" fmla="*/ 319 h 556"/>
                <a:gd name="T8" fmla="*/ 345 w 835"/>
                <a:gd name="T9" fmla="*/ 384 h 556"/>
                <a:gd name="T10" fmla="*/ 320 w 835"/>
                <a:gd name="T11" fmla="*/ 421 h 556"/>
                <a:gd name="T12" fmla="*/ 292 w 835"/>
                <a:gd name="T13" fmla="*/ 478 h 556"/>
                <a:gd name="T14" fmla="*/ 289 w 835"/>
                <a:gd name="T15" fmla="*/ 488 h 556"/>
                <a:gd name="T16" fmla="*/ 351 w 835"/>
                <a:gd name="T17" fmla="*/ 494 h 556"/>
                <a:gd name="T18" fmla="*/ 357 w 835"/>
                <a:gd name="T19" fmla="*/ 477 h 556"/>
                <a:gd name="T20" fmla="*/ 386 w 835"/>
                <a:gd name="T21" fmla="*/ 449 h 556"/>
                <a:gd name="T22" fmla="*/ 402 w 835"/>
                <a:gd name="T23" fmla="*/ 418 h 556"/>
                <a:gd name="T24" fmla="*/ 449 w 835"/>
                <a:gd name="T25" fmla="*/ 409 h 556"/>
                <a:gd name="T26" fmla="*/ 444 w 835"/>
                <a:gd name="T27" fmla="*/ 421 h 556"/>
                <a:gd name="T28" fmla="*/ 487 w 835"/>
                <a:gd name="T29" fmla="*/ 449 h 556"/>
                <a:gd name="T30" fmla="*/ 543 w 835"/>
                <a:gd name="T31" fmla="*/ 456 h 556"/>
                <a:gd name="T32" fmla="*/ 529 w 835"/>
                <a:gd name="T33" fmla="*/ 508 h 556"/>
                <a:gd name="T34" fmla="*/ 554 w 835"/>
                <a:gd name="T35" fmla="*/ 556 h 556"/>
                <a:gd name="T36" fmla="*/ 601 w 835"/>
                <a:gd name="T37" fmla="*/ 532 h 556"/>
                <a:gd name="T38" fmla="*/ 667 w 835"/>
                <a:gd name="T39" fmla="*/ 514 h 556"/>
                <a:gd name="T40" fmla="*/ 631 w 835"/>
                <a:gd name="T41" fmla="*/ 500 h 556"/>
                <a:gd name="T42" fmla="*/ 603 w 835"/>
                <a:gd name="T43" fmla="*/ 498 h 556"/>
                <a:gd name="T44" fmla="*/ 586 w 835"/>
                <a:gd name="T45" fmla="*/ 468 h 556"/>
                <a:gd name="T46" fmla="*/ 564 w 835"/>
                <a:gd name="T47" fmla="*/ 452 h 556"/>
                <a:gd name="T48" fmla="*/ 541 w 835"/>
                <a:gd name="T49" fmla="*/ 438 h 556"/>
                <a:gd name="T50" fmla="*/ 564 w 835"/>
                <a:gd name="T51" fmla="*/ 443 h 556"/>
                <a:gd name="T52" fmla="*/ 586 w 835"/>
                <a:gd name="T53" fmla="*/ 443 h 556"/>
                <a:gd name="T54" fmla="*/ 594 w 835"/>
                <a:gd name="T55" fmla="*/ 443 h 556"/>
                <a:gd name="T56" fmla="*/ 637 w 835"/>
                <a:gd name="T57" fmla="*/ 412 h 556"/>
                <a:gd name="T58" fmla="*/ 684 w 835"/>
                <a:gd name="T59" fmla="*/ 405 h 556"/>
                <a:gd name="T60" fmla="*/ 747 w 835"/>
                <a:gd name="T61" fmla="*/ 373 h 556"/>
                <a:gd name="T62" fmla="*/ 815 w 835"/>
                <a:gd name="T63" fmla="*/ 325 h 556"/>
                <a:gd name="T64" fmla="*/ 812 w 835"/>
                <a:gd name="T65" fmla="*/ 265 h 556"/>
                <a:gd name="T66" fmla="*/ 835 w 835"/>
                <a:gd name="T67" fmla="*/ 226 h 556"/>
                <a:gd name="T68" fmla="*/ 752 w 835"/>
                <a:gd name="T69" fmla="*/ 169 h 556"/>
                <a:gd name="T70" fmla="*/ 673 w 835"/>
                <a:gd name="T71" fmla="*/ 152 h 556"/>
                <a:gd name="T72" fmla="*/ 563 w 835"/>
                <a:gd name="T73" fmla="*/ 75 h 556"/>
                <a:gd name="T74" fmla="*/ 540 w 835"/>
                <a:gd name="T75" fmla="*/ 0 h 556"/>
                <a:gd name="T76" fmla="*/ 398 w 835"/>
                <a:gd name="T77" fmla="*/ 39 h 556"/>
                <a:gd name="T78" fmla="*/ 374 w 835"/>
                <a:gd name="T79" fmla="*/ 73 h 556"/>
                <a:gd name="T80" fmla="*/ 308 w 835"/>
                <a:gd name="T81" fmla="*/ 75 h 556"/>
                <a:gd name="T82" fmla="*/ 249 w 835"/>
                <a:gd name="T83" fmla="*/ 62 h 556"/>
                <a:gd name="T84" fmla="*/ 171 w 835"/>
                <a:gd name="T85" fmla="*/ 31 h 556"/>
                <a:gd name="T86" fmla="*/ 94 w 835"/>
                <a:gd name="T87" fmla="*/ 50 h 556"/>
                <a:gd name="T88" fmla="*/ 86 w 835"/>
                <a:gd name="T89" fmla="*/ 112 h 556"/>
                <a:gd name="T90" fmla="*/ 42 w 835"/>
                <a:gd name="T91" fmla="*/ 186 h 556"/>
                <a:gd name="T92" fmla="*/ 15 w 835"/>
                <a:gd name="T93" fmla="*/ 241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35" h="556">
                  <a:moveTo>
                    <a:pt x="15" y="241"/>
                  </a:moveTo>
                  <a:lnTo>
                    <a:pt x="0" y="290"/>
                  </a:lnTo>
                  <a:lnTo>
                    <a:pt x="22" y="305"/>
                  </a:lnTo>
                  <a:lnTo>
                    <a:pt x="34" y="321"/>
                  </a:lnTo>
                  <a:lnTo>
                    <a:pt x="116" y="319"/>
                  </a:lnTo>
                  <a:lnTo>
                    <a:pt x="132" y="331"/>
                  </a:lnTo>
                  <a:lnTo>
                    <a:pt x="207" y="304"/>
                  </a:lnTo>
                  <a:lnTo>
                    <a:pt x="218" y="285"/>
                  </a:lnTo>
                  <a:lnTo>
                    <a:pt x="246" y="282"/>
                  </a:lnTo>
                  <a:lnTo>
                    <a:pt x="281" y="304"/>
                  </a:lnTo>
                  <a:lnTo>
                    <a:pt x="323" y="313"/>
                  </a:lnTo>
                  <a:lnTo>
                    <a:pt x="326" y="319"/>
                  </a:lnTo>
                  <a:lnTo>
                    <a:pt x="323" y="346"/>
                  </a:lnTo>
                  <a:lnTo>
                    <a:pt x="340" y="358"/>
                  </a:lnTo>
                  <a:lnTo>
                    <a:pt x="345" y="384"/>
                  </a:lnTo>
                  <a:lnTo>
                    <a:pt x="362" y="395"/>
                  </a:lnTo>
                  <a:lnTo>
                    <a:pt x="360" y="421"/>
                  </a:lnTo>
                  <a:lnTo>
                    <a:pt x="320" y="421"/>
                  </a:lnTo>
                  <a:lnTo>
                    <a:pt x="315" y="447"/>
                  </a:lnTo>
                  <a:lnTo>
                    <a:pt x="297" y="466"/>
                  </a:lnTo>
                  <a:lnTo>
                    <a:pt x="292" y="478"/>
                  </a:lnTo>
                  <a:lnTo>
                    <a:pt x="281" y="480"/>
                  </a:lnTo>
                  <a:lnTo>
                    <a:pt x="283" y="492"/>
                  </a:lnTo>
                  <a:lnTo>
                    <a:pt x="289" y="488"/>
                  </a:lnTo>
                  <a:lnTo>
                    <a:pt x="300" y="502"/>
                  </a:lnTo>
                  <a:lnTo>
                    <a:pt x="339" y="489"/>
                  </a:lnTo>
                  <a:lnTo>
                    <a:pt x="351" y="494"/>
                  </a:lnTo>
                  <a:lnTo>
                    <a:pt x="351" y="495"/>
                  </a:lnTo>
                  <a:lnTo>
                    <a:pt x="351" y="463"/>
                  </a:lnTo>
                  <a:lnTo>
                    <a:pt x="357" y="477"/>
                  </a:lnTo>
                  <a:lnTo>
                    <a:pt x="359" y="469"/>
                  </a:lnTo>
                  <a:lnTo>
                    <a:pt x="377" y="463"/>
                  </a:lnTo>
                  <a:lnTo>
                    <a:pt x="386" y="449"/>
                  </a:lnTo>
                  <a:lnTo>
                    <a:pt x="376" y="429"/>
                  </a:lnTo>
                  <a:lnTo>
                    <a:pt x="391" y="441"/>
                  </a:lnTo>
                  <a:lnTo>
                    <a:pt x="402" y="418"/>
                  </a:lnTo>
                  <a:lnTo>
                    <a:pt x="442" y="404"/>
                  </a:lnTo>
                  <a:lnTo>
                    <a:pt x="441" y="412"/>
                  </a:lnTo>
                  <a:lnTo>
                    <a:pt x="449" y="409"/>
                  </a:lnTo>
                  <a:lnTo>
                    <a:pt x="458" y="400"/>
                  </a:lnTo>
                  <a:lnTo>
                    <a:pt x="472" y="421"/>
                  </a:lnTo>
                  <a:lnTo>
                    <a:pt x="444" y="421"/>
                  </a:lnTo>
                  <a:lnTo>
                    <a:pt x="464" y="427"/>
                  </a:lnTo>
                  <a:lnTo>
                    <a:pt x="453" y="439"/>
                  </a:lnTo>
                  <a:lnTo>
                    <a:pt x="487" y="449"/>
                  </a:lnTo>
                  <a:lnTo>
                    <a:pt x="520" y="441"/>
                  </a:lnTo>
                  <a:lnTo>
                    <a:pt x="538" y="447"/>
                  </a:lnTo>
                  <a:lnTo>
                    <a:pt x="543" y="456"/>
                  </a:lnTo>
                  <a:lnTo>
                    <a:pt x="516" y="466"/>
                  </a:lnTo>
                  <a:lnTo>
                    <a:pt x="486" y="492"/>
                  </a:lnTo>
                  <a:lnTo>
                    <a:pt x="529" y="508"/>
                  </a:lnTo>
                  <a:lnTo>
                    <a:pt x="533" y="525"/>
                  </a:lnTo>
                  <a:lnTo>
                    <a:pt x="529" y="546"/>
                  </a:lnTo>
                  <a:lnTo>
                    <a:pt x="554" y="556"/>
                  </a:lnTo>
                  <a:lnTo>
                    <a:pt x="569" y="549"/>
                  </a:lnTo>
                  <a:lnTo>
                    <a:pt x="583" y="536"/>
                  </a:lnTo>
                  <a:lnTo>
                    <a:pt x="601" y="532"/>
                  </a:lnTo>
                  <a:lnTo>
                    <a:pt x="623" y="511"/>
                  </a:lnTo>
                  <a:lnTo>
                    <a:pt x="648" y="517"/>
                  </a:lnTo>
                  <a:lnTo>
                    <a:pt x="667" y="514"/>
                  </a:lnTo>
                  <a:lnTo>
                    <a:pt x="674" y="488"/>
                  </a:lnTo>
                  <a:lnTo>
                    <a:pt x="640" y="489"/>
                  </a:lnTo>
                  <a:lnTo>
                    <a:pt x="631" y="500"/>
                  </a:lnTo>
                  <a:lnTo>
                    <a:pt x="622" y="494"/>
                  </a:lnTo>
                  <a:lnTo>
                    <a:pt x="622" y="498"/>
                  </a:lnTo>
                  <a:lnTo>
                    <a:pt x="603" y="498"/>
                  </a:lnTo>
                  <a:lnTo>
                    <a:pt x="594" y="472"/>
                  </a:lnTo>
                  <a:lnTo>
                    <a:pt x="584" y="475"/>
                  </a:lnTo>
                  <a:lnTo>
                    <a:pt x="586" y="468"/>
                  </a:lnTo>
                  <a:lnTo>
                    <a:pt x="575" y="466"/>
                  </a:lnTo>
                  <a:lnTo>
                    <a:pt x="581" y="456"/>
                  </a:lnTo>
                  <a:lnTo>
                    <a:pt x="564" y="452"/>
                  </a:lnTo>
                  <a:lnTo>
                    <a:pt x="560" y="460"/>
                  </a:lnTo>
                  <a:lnTo>
                    <a:pt x="555" y="446"/>
                  </a:lnTo>
                  <a:lnTo>
                    <a:pt x="541" y="438"/>
                  </a:lnTo>
                  <a:lnTo>
                    <a:pt x="557" y="443"/>
                  </a:lnTo>
                  <a:lnTo>
                    <a:pt x="560" y="430"/>
                  </a:lnTo>
                  <a:lnTo>
                    <a:pt x="564" y="443"/>
                  </a:lnTo>
                  <a:lnTo>
                    <a:pt x="575" y="443"/>
                  </a:lnTo>
                  <a:lnTo>
                    <a:pt x="577" y="452"/>
                  </a:lnTo>
                  <a:lnTo>
                    <a:pt x="586" y="443"/>
                  </a:lnTo>
                  <a:lnTo>
                    <a:pt x="592" y="463"/>
                  </a:lnTo>
                  <a:lnTo>
                    <a:pt x="596" y="463"/>
                  </a:lnTo>
                  <a:lnTo>
                    <a:pt x="594" y="443"/>
                  </a:lnTo>
                  <a:lnTo>
                    <a:pt x="606" y="422"/>
                  </a:lnTo>
                  <a:lnTo>
                    <a:pt x="614" y="434"/>
                  </a:lnTo>
                  <a:lnTo>
                    <a:pt x="637" y="412"/>
                  </a:lnTo>
                  <a:lnTo>
                    <a:pt x="654" y="412"/>
                  </a:lnTo>
                  <a:lnTo>
                    <a:pt x="674" y="398"/>
                  </a:lnTo>
                  <a:lnTo>
                    <a:pt x="684" y="405"/>
                  </a:lnTo>
                  <a:lnTo>
                    <a:pt x="687" y="395"/>
                  </a:lnTo>
                  <a:lnTo>
                    <a:pt x="718" y="381"/>
                  </a:lnTo>
                  <a:lnTo>
                    <a:pt x="747" y="373"/>
                  </a:lnTo>
                  <a:lnTo>
                    <a:pt x="745" y="353"/>
                  </a:lnTo>
                  <a:lnTo>
                    <a:pt x="778" y="321"/>
                  </a:lnTo>
                  <a:lnTo>
                    <a:pt x="815" y="325"/>
                  </a:lnTo>
                  <a:lnTo>
                    <a:pt x="823" y="294"/>
                  </a:lnTo>
                  <a:lnTo>
                    <a:pt x="820" y="279"/>
                  </a:lnTo>
                  <a:lnTo>
                    <a:pt x="812" y="265"/>
                  </a:lnTo>
                  <a:lnTo>
                    <a:pt x="829" y="254"/>
                  </a:lnTo>
                  <a:lnTo>
                    <a:pt x="815" y="243"/>
                  </a:lnTo>
                  <a:lnTo>
                    <a:pt x="835" y="226"/>
                  </a:lnTo>
                  <a:lnTo>
                    <a:pt x="828" y="207"/>
                  </a:lnTo>
                  <a:lnTo>
                    <a:pt x="835" y="204"/>
                  </a:lnTo>
                  <a:lnTo>
                    <a:pt x="752" y="169"/>
                  </a:lnTo>
                  <a:lnTo>
                    <a:pt x="735" y="175"/>
                  </a:lnTo>
                  <a:lnTo>
                    <a:pt x="707" y="138"/>
                  </a:lnTo>
                  <a:lnTo>
                    <a:pt x="673" y="152"/>
                  </a:lnTo>
                  <a:lnTo>
                    <a:pt x="625" y="139"/>
                  </a:lnTo>
                  <a:lnTo>
                    <a:pt x="601" y="84"/>
                  </a:lnTo>
                  <a:lnTo>
                    <a:pt x="563" y="75"/>
                  </a:lnTo>
                  <a:lnTo>
                    <a:pt x="555" y="50"/>
                  </a:lnTo>
                  <a:lnTo>
                    <a:pt x="569" y="38"/>
                  </a:lnTo>
                  <a:lnTo>
                    <a:pt x="540" y="0"/>
                  </a:lnTo>
                  <a:lnTo>
                    <a:pt x="450" y="17"/>
                  </a:lnTo>
                  <a:lnTo>
                    <a:pt x="413" y="22"/>
                  </a:lnTo>
                  <a:lnTo>
                    <a:pt x="398" y="39"/>
                  </a:lnTo>
                  <a:lnTo>
                    <a:pt x="396" y="73"/>
                  </a:lnTo>
                  <a:lnTo>
                    <a:pt x="386" y="82"/>
                  </a:lnTo>
                  <a:lnTo>
                    <a:pt x="374" y="73"/>
                  </a:lnTo>
                  <a:lnTo>
                    <a:pt x="342" y="80"/>
                  </a:lnTo>
                  <a:lnTo>
                    <a:pt x="322" y="60"/>
                  </a:lnTo>
                  <a:lnTo>
                    <a:pt x="308" y="75"/>
                  </a:lnTo>
                  <a:lnTo>
                    <a:pt x="280" y="60"/>
                  </a:lnTo>
                  <a:lnTo>
                    <a:pt x="255" y="73"/>
                  </a:lnTo>
                  <a:lnTo>
                    <a:pt x="249" y="62"/>
                  </a:lnTo>
                  <a:lnTo>
                    <a:pt x="235" y="63"/>
                  </a:lnTo>
                  <a:lnTo>
                    <a:pt x="221" y="48"/>
                  </a:lnTo>
                  <a:lnTo>
                    <a:pt x="171" y="31"/>
                  </a:lnTo>
                  <a:lnTo>
                    <a:pt x="147" y="33"/>
                  </a:lnTo>
                  <a:lnTo>
                    <a:pt x="108" y="36"/>
                  </a:lnTo>
                  <a:lnTo>
                    <a:pt x="94" y="50"/>
                  </a:lnTo>
                  <a:lnTo>
                    <a:pt x="65" y="60"/>
                  </a:lnTo>
                  <a:lnTo>
                    <a:pt x="76" y="99"/>
                  </a:lnTo>
                  <a:lnTo>
                    <a:pt x="86" y="112"/>
                  </a:lnTo>
                  <a:lnTo>
                    <a:pt x="91" y="135"/>
                  </a:lnTo>
                  <a:lnTo>
                    <a:pt x="86" y="146"/>
                  </a:lnTo>
                  <a:lnTo>
                    <a:pt x="42" y="186"/>
                  </a:lnTo>
                  <a:lnTo>
                    <a:pt x="27" y="217"/>
                  </a:lnTo>
                  <a:lnTo>
                    <a:pt x="29" y="241"/>
                  </a:lnTo>
                  <a:lnTo>
                    <a:pt x="15" y="241"/>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25" name="Freeform 128">
              <a:extLst>
                <a:ext uri="{FF2B5EF4-FFF2-40B4-BE49-F238E27FC236}">
                  <a16:creationId xmlns:a16="http://schemas.microsoft.com/office/drawing/2014/main" id="{E3F27968-3FB9-854A-BB66-A7933934BCF4}"/>
                </a:ext>
              </a:extLst>
            </p:cNvPr>
            <p:cNvSpPr>
              <a:spLocks noChangeAspect="1"/>
            </p:cNvSpPr>
            <p:nvPr/>
          </p:nvSpPr>
          <p:spPr bwMode="gray">
            <a:xfrm>
              <a:off x="4988081" y="2891210"/>
              <a:ext cx="87426" cy="101659"/>
            </a:xfrm>
            <a:custGeom>
              <a:avLst/>
              <a:gdLst>
                <a:gd name="T0" fmla="*/ 157 w 181"/>
                <a:gd name="T1" fmla="*/ 24 h 174"/>
                <a:gd name="T2" fmla="*/ 168 w 181"/>
                <a:gd name="T3" fmla="*/ 24 h 174"/>
                <a:gd name="T4" fmla="*/ 169 w 181"/>
                <a:gd name="T5" fmla="*/ 27 h 174"/>
                <a:gd name="T6" fmla="*/ 157 w 181"/>
                <a:gd name="T7" fmla="*/ 59 h 174"/>
                <a:gd name="T8" fmla="*/ 160 w 181"/>
                <a:gd name="T9" fmla="*/ 62 h 174"/>
                <a:gd name="T10" fmla="*/ 181 w 181"/>
                <a:gd name="T11" fmla="*/ 79 h 174"/>
                <a:gd name="T12" fmla="*/ 178 w 181"/>
                <a:gd name="T13" fmla="*/ 84 h 174"/>
                <a:gd name="T14" fmla="*/ 166 w 181"/>
                <a:gd name="T15" fmla="*/ 83 h 174"/>
                <a:gd name="T16" fmla="*/ 164 w 181"/>
                <a:gd name="T17" fmla="*/ 84 h 174"/>
                <a:gd name="T18" fmla="*/ 178 w 181"/>
                <a:gd name="T19" fmla="*/ 98 h 174"/>
                <a:gd name="T20" fmla="*/ 177 w 181"/>
                <a:gd name="T21" fmla="*/ 107 h 174"/>
                <a:gd name="T22" fmla="*/ 155 w 181"/>
                <a:gd name="T23" fmla="*/ 113 h 174"/>
                <a:gd name="T24" fmla="*/ 149 w 181"/>
                <a:gd name="T25" fmla="*/ 115 h 174"/>
                <a:gd name="T26" fmla="*/ 155 w 181"/>
                <a:gd name="T27" fmla="*/ 126 h 174"/>
                <a:gd name="T28" fmla="*/ 155 w 181"/>
                <a:gd name="T29" fmla="*/ 130 h 174"/>
                <a:gd name="T30" fmla="*/ 152 w 181"/>
                <a:gd name="T31" fmla="*/ 130 h 174"/>
                <a:gd name="T32" fmla="*/ 149 w 181"/>
                <a:gd name="T33" fmla="*/ 124 h 174"/>
                <a:gd name="T34" fmla="*/ 144 w 181"/>
                <a:gd name="T35" fmla="*/ 124 h 174"/>
                <a:gd name="T36" fmla="*/ 135 w 181"/>
                <a:gd name="T37" fmla="*/ 135 h 174"/>
                <a:gd name="T38" fmla="*/ 134 w 181"/>
                <a:gd name="T39" fmla="*/ 144 h 174"/>
                <a:gd name="T40" fmla="*/ 130 w 181"/>
                <a:gd name="T41" fmla="*/ 144 h 174"/>
                <a:gd name="T42" fmla="*/ 126 w 181"/>
                <a:gd name="T43" fmla="*/ 155 h 174"/>
                <a:gd name="T44" fmla="*/ 130 w 181"/>
                <a:gd name="T45" fmla="*/ 164 h 174"/>
                <a:gd name="T46" fmla="*/ 130 w 181"/>
                <a:gd name="T47" fmla="*/ 167 h 174"/>
                <a:gd name="T48" fmla="*/ 127 w 181"/>
                <a:gd name="T49" fmla="*/ 174 h 174"/>
                <a:gd name="T50" fmla="*/ 124 w 181"/>
                <a:gd name="T51" fmla="*/ 174 h 174"/>
                <a:gd name="T52" fmla="*/ 124 w 181"/>
                <a:gd name="T53" fmla="*/ 171 h 174"/>
                <a:gd name="T54" fmla="*/ 117 w 181"/>
                <a:gd name="T55" fmla="*/ 169 h 174"/>
                <a:gd name="T56" fmla="*/ 109 w 181"/>
                <a:gd name="T57" fmla="*/ 163 h 174"/>
                <a:gd name="T58" fmla="*/ 103 w 181"/>
                <a:gd name="T59" fmla="*/ 161 h 174"/>
                <a:gd name="T60" fmla="*/ 96 w 181"/>
                <a:gd name="T61" fmla="*/ 155 h 174"/>
                <a:gd name="T62" fmla="*/ 96 w 181"/>
                <a:gd name="T63" fmla="*/ 152 h 174"/>
                <a:gd name="T64" fmla="*/ 92 w 181"/>
                <a:gd name="T65" fmla="*/ 150 h 174"/>
                <a:gd name="T66" fmla="*/ 84 w 181"/>
                <a:gd name="T67" fmla="*/ 154 h 174"/>
                <a:gd name="T68" fmla="*/ 84 w 181"/>
                <a:gd name="T69" fmla="*/ 150 h 174"/>
                <a:gd name="T70" fmla="*/ 83 w 181"/>
                <a:gd name="T71" fmla="*/ 150 h 174"/>
                <a:gd name="T72" fmla="*/ 90 w 181"/>
                <a:gd name="T73" fmla="*/ 147 h 174"/>
                <a:gd name="T74" fmla="*/ 71 w 181"/>
                <a:gd name="T75" fmla="*/ 127 h 174"/>
                <a:gd name="T76" fmla="*/ 70 w 181"/>
                <a:gd name="T77" fmla="*/ 117 h 174"/>
                <a:gd name="T78" fmla="*/ 20 w 181"/>
                <a:gd name="T79" fmla="*/ 70 h 174"/>
                <a:gd name="T80" fmla="*/ 19 w 181"/>
                <a:gd name="T81" fmla="*/ 51 h 174"/>
                <a:gd name="T82" fmla="*/ 10 w 181"/>
                <a:gd name="T83" fmla="*/ 36 h 174"/>
                <a:gd name="T84" fmla="*/ 0 w 181"/>
                <a:gd name="T85" fmla="*/ 30 h 174"/>
                <a:gd name="T86" fmla="*/ 3 w 181"/>
                <a:gd name="T87" fmla="*/ 7 h 174"/>
                <a:gd name="T88" fmla="*/ 16 w 181"/>
                <a:gd name="T89" fmla="*/ 3 h 174"/>
                <a:gd name="T90" fmla="*/ 28 w 181"/>
                <a:gd name="T91" fmla="*/ 17 h 174"/>
                <a:gd name="T92" fmla="*/ 37 w 181"/>
                <a:gd name="T93" fmla="*/ 3 h 174"/>
                <a:gd name="T94" fmla="*/ 45 w 181"/>
                <a:gd name="T95" fmla="*/ 3 h 174"/>
                <a:gd name="T96" fmla="*/ 58 w 181"/>
                <a:gd name="T97" fmla="*/ 0 h 174"/>
                <a:gd name="T98" fmla="*/ 98 w 181"/>
                <a:gd name="T99" fmla="*/ 16 h 174"/>
                <a:gd name="T100" fmla="*/ 107 w 181"/>
                <a:gd name="T101" fmla="*/ 8 h 174"/>
                <a:gd name="T102" fmla="*/ 137 w 181"/>
                <a:gd name="T103" fmla="*/ 13 h 174"/>
                <a:gd name="T104" fmla="*/ 146 w 181"/>
                <a:gd name="T105" fmla="*/ 28 h 174"/>
                <a:gd name="T106" fmla="*/ 157 w 181"/>
                <a:gd name="T107" fmla="*/ 2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1" h="174">
                  <a:moveTo>
                    <a:pt x="157" y="24"/>
                  </a:moveTo>
                  <a:lnTo>
                    <a:pt x="168" y="24"/>
                  </a:lnTo>
                  <a:lnTo>
                    <a:pt x="169" y="27"/>
                  </a:lnTo>
                  <a:lnTo>
                    <a:pt x="157" y="59"/>
                  </a:lnTo>
                  <a:lnTo>
                    <a:pt x="160" y="62"/>
                  </a:lnTo>
                  <a:lnTo>
                    <a:pt x="181" y="79"/>
                  </a:lnTo>
                  <a:lnTo>
                    <a:pt x="178" y="84"/>
                  </a:lnTo>
                  <a:lnTo>
                    <a:pt x="166" y="83"/>
                  </a:lnTo>
                  <a:lnTo>
                    <a:pt x="164" y="84"/>
                  </a:lnTo>
                  <a:lnTo>
                    <a:pt x="178" y="98"/>
                  </a:lnTo>
                  <a:lnTo>
                    <a:pt x="177" y="107"/>
                  </a:lnTo>
                  <a:lnTo>
                    <a:pt x="155" y="113"/>
                  </a:lnTo>
                  <a:lnTo>
                    <a:pt x="149" y="115"/>
                  </a:lnTo>
                  <a:lnTo>
                    <a:pt x="155" y="126"/>
                  </a:lnTo>
                  <a:lnTo>
                    <a:pt x="155" y="130"/>
                  </a:lnTo>
                  <a:lnTo>
                    <a:pt x="152" y="130"/>
                  </a:lnTo>
                  <a:lnTo>
                    <a:pt x="149" y="124"/>
                  </a:lnTo>
                  <a:lnTo>
                    <a:pt x="144" y="124"/>
                  </a:lnTo>
                  <a:lnTo>
                    <a:pt x="135" y="135"/>
                  </a:lnTo>
                  <a:lnTo>
                    <a:pt x="134" y="144"/>
                  </a:lnTo>
                  <a:lnTo>
                    <a:pt x="130" y="144"/>
                  </a:lnTo>
                  <a:lnTo>
                    <a:pt x="126" y="155"/>
                  </a:lnTo>
                  <a:lnTo>
                    <a:pt x="130" y="164"/>
                  </a:lnTo>
                  <a:lnTo>
                    <a:pt x="130" y="167"/>
                  </a:lnTo>
                  <a:lnTo>
                    <a:pt x="127" y="174"/>
                  </a:lnTo>
                  <a:lnTo>
                    <a:pt x="124" y="174"/>
                  </a:lnTo>
                  <a:lnTo>
                    <a:pt x="124" y="171"/>
                  </a:lnTo>
                  <a:lnTo>
                    <a:pt x="117" y="169"/>
                  </a:lnTo>
                  <a:lnTo>
                    <a:pt x="109" y="163"/>
                  </a:lnTo>
                  <a:lnTo>
                    <a:pt x="103" y="161"/>
                  </a:lnTo>
                  <a:lnTo>
                    <a:pt x="96" y="155"/>
                  </a:lnTo>
                  <a:lnTo>
                    <a:pt x="96" y="152"/>
                  </a:lnTo>
                  <a:lnTo>
                    <a:pt x="92" y="150"/>
                  </a:lnTo>
                  <a:lnTo>
                    <a:pt x="84" y="154"/>
                  </a:lnTo>
                  <a:lnTo>
                    <a:pt x="84" y="150"/>
                  </a:lnTo>
                  <a:lnTo>
                    <a:pt x="83" y="150"/>
                  </a:lnTo>
                  <a:lnTo>
                    <a:pt x="90" y="147"/>
                  </a:lnTo>
                  <a:lnTo>
                    <a:pt x="71" y="127"/>
                  </a:lnTo>
                  <a:lnTo>
                    <a:pt x="70" y="117"/>
                  </a:lnTo>
                  <a:lnTo>
                    <a:pt x="20" y="70"/>
                  </a:lnTo>
                  <a:lnTo>
                    <a:pt x="19" y="51"/>
                  </a:lnTo>
                  <a:lnTo>
                    <a:pt x="10" y="36"/>
                  </a:lnTo>
                  <a:lnTo>
                    <a:pt x="0" y="30"/>
                  </a:lnTo>
                  <a:lnTo>
                    <a:pt x="3" y="7"/>
                  </a:lnTo>
                  <a:lnTo>
                    <a:pt x="16" y="3"/>
                  </a:lnTo>
                  <a:lnTo>
                    <a:pt x="28" y="17"/>
                  </a:lnTo>
                  <a:lnTo>
                    <a:pt x="37" y="3"/>
                  </a:lnTo>
                  <a:lnTo>
                    <a:pt x="45" y="3"/>
                  </a:lnTo>
                  <a:lnTo>
                    <a:pt x="58" y="0"/>
                  </a:lnTo>
                  <a:lnTo>
                    <a:pt x="98" y="16"/>
                  </a:lnTo>
                  <a:lnTo>
                    <a:pt x="107" y="8"/>
                  </a:lnTo>
                  <a:lnTo>
                    <a:pt x="137" y="13"/>
                  </a:lnTo>
                  <a:lnTo>
                    <a:pt x="146" y="28"/>
                  </a:lnTo>
                  <a:lnTo>
                    <a:pt x="157" y="24"/>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26" name="Freeform 129">
              <a:extLst>
                <a:ext uri="{FF2B5EF4-FFF2-40B4-BE49-F238E27FC236}">
                  <a16:creationId xmlns:a16="http://schemas.microsoft.com/office/drawing/2014/main" id="{AAC0ABB0-1206-6B4B-B256-6693FFE37B9A}"/>
                </a:ext>
              </a:extLst>
            </p:cNvPr>
            <p:cNvSpPr>
              <a:spLocks noChangeAspect="1"/>
            </p:cNvSpPr>
            <p:nvPr/>
          </p:nvSpPr>
          <p:spPr bwMode="gray">
            <a:xfrm>
              <a:off x="5137502" y="2937246"/>
              <a:ext cx="141472" cy="103577"/>
            </a:xfrm>
            <a:custGeom>
              <a:avLst/>
              <a:gdLst>
                <a:gd name="T0" fmla="*/ 27 w 290"/>
                <a:gd name="T1" fmla="*/ 173 h 179"/>
                <a:gd name="T2" fmla="*/ 20 w 290"/>
                <a:gd name="T3" fmla="*/ 133 h 179"/>
                <a:gd name="T4" fmla="*/ 2 w 290"/>
                <a:gd name="T5" fmla="*/ 117 h 179"/>
                <a:gd name="T6" fmla="*/ 2 w 290"/>
                <a:gd name="T7" fmla="*/ 96 h 179"/>
                <a:gd name="T8" fmla="*/ 22 w 290"/>
                <a:gd name="T9" fmla="*/ 66 h 179"/>
                <a:gd name="T10" fmla="*/ 2 w 290"/>
                <a:gd name="T11" fmla="*/ 40 h 179"/>
                <a:gd name="T12" fmla="*/ 0 w 290"/>
                <a:gd name="T13" fmla="*/ 22 h 179"/>
                <a:gd name="T14" fmla="*/ 2 w 290"/>
                <a:gd name="T15" fmla="*/ 6 h 179"/>
                <a:gd name="T16" fmla="*/ 16 w 290"/>
                <a:gd name="T17" fmla="*/ 0 h 179"/>
                <a:gd name="T18" fmla="*/ 27 w 290"/>
                <a:gd name="T19" fmla="*/ 3 h 179"/>
                <a:gd name="T20" fmla="*/ 22 w 290"/>
                <a:gd name="T21" fmla="*/ 14 h 179"/>
                <a:gd name="T22" fmla="*/ 31 w 290"/>
                <a:gd name="T23" fmla="*/ 22 h 179"/>
                <a:gd name="T24" fmla="*/ 143 w 290"/>
                <a:gd name="T25" fmla="*/ 31 h 179"/>
                <a:gd name="T26" fmla="*/ 212 w 290"/>
                <a:gd name="T27" fmla="*/ 3 h 179"/>
                <a:gd name="T28" fmla="*/ 229 w 290"/>
                <a:gd name="T29" fmla="*/ 3 h 179"/>
                <a:gd name="T30" fmla="*/ 257 w 290"/>
                <a:gd name="T31" fmla="*/ 14 h 179"/>
                <a:gd name="T32" fmla="*/ 276 w 290"/>
                <a:gd name="T33" fmla="*/ 25 h 179"/>
                <a:gd name="T34" fmla="*/ 290 w 290"/>
                <a:gd name="T35" fmla="*/ 23 h 179"/>
                <a:gd name="T36" fmla="*/ 283 w 290"/>
                <a:gd name="T37" fmla="*/ 46 h 179"/>
                <a:gd name="T38" fmla="*/ 268 w 290"/>
                <a:gd name="T39" fmla="*/ 51 h 179"/>
                <a:gd name="T40" fmla="*/ 257 w 290"/>
                <a:gd name="T41" fmla="*/ 63 h 179"/>
                <a:gd name="T42" fmla="*/ 257 w 290"/>
                <a:gd name="T43" fmla="*/ 88 h 179"/>
                <a:gd name="T44" fmla="*/ 237 w 290"/>
                <a:gd name="T45" fmla="*/ 103 h 179"/>
                <a:gd name="T46" fmla="*/ 260 w 290"/>
                <a:gd name="T47" fmla="*/ 140 h 179"/>
                <a:gd name="T48" fmla="*/ 235 w 290"/>
                <a:gd name="T49" fmla="*/ 142 h 179"/>
                <a:gd name="T50" fmla="*/ 220 w 290"/>
                <a:gd name="T51" fmla="*/ 133 h 179"/>
                <a:gd name="T52" fmla="*/ 183 w 290"/>
                <a:gd name="T53" fmla="*/ 147 h 179"/>
                <a:gd name="T54" fmla="*/ 175 w 290"/>
                <a:gd name="T55" fmla="*/ 148 h 179"/>
                <a:gd name="T56" fmla="*/ 173 w 290"/>
                <a:gd name="T57" fmla="*/ 165 h 179"/>
                <a:gd name="T58" fmla="*/ 161 w 290"/>
                <a:gd name="T59" fmla="*/ 176 h 179"/>
                <a:gd name="T60" fmla="*/ 144 w 290"/>
                <a:gd name="T61" fmla="*/ 179 h 179"/>
                <a:gd name="T62" fmla="*/ 96 w 290"/>
                <a:gd name="T63" fmla="*/ 161 h 179"/>
                <a:gd name="T64" fmla="*/ 27 w 290"/>
                <a:gd name="T65" fmla="*/ 17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0" h="179">
                  <a:moveTo>
                    <a:pt x="27" y="173"/>
                  </a:moveTo>
                  <a:lnTo>
                    <a:pt x="20" y="133"/>
                  </a:lnTo>
                  <a:lnTo>
                    <a:pt x="2" y="117"/>
                  </a:lnTo>
                  <a:lnTo>
                    <a:pt x="2" y="96"/>
                  </a:lnTo>
                  <a:lnTo>
                    <a:pt x="22" y="66"/>
                  </a:lnTo>
                  <a:lnTo>
                    <a:pt x="2" y="40"/>
                  </a:lnTo>
                  <a:lnTo>
                    <a:pt x="0" y="22"/>
                  </a:lnTo>
                  <a:lnTo>
                    <a:pt x="2" y="6"/>
                  </a:lnTo>
                  <a:lnTo>
                    <a:pt x="16" y="0"/>
                  </a:lnTo>
                  <a:lnTo>
                    <a:pt x="27" y="3"/>
                  </a:lnTo>
                  <a:lnTo>
                    <a:pt x="22" y="14"/>
                  </a:lnTo>
                  <a:lnTo>
                    <a:pt x="31" y="22"/>
                  </a:lnTo>
                  <a:lnTo>
                    <a:pt x="143" y="31"/>
                  </a:lnTo>
                  <a:lnTo>
                    <a:pt x="212" y="3"/>
                  </a:lnTo>
                  <a:lnTo>
                    <a:pt x="229" y="3"/>
                  </a:lnTo>
                  <a:lnTo>
                    <a:pt x="257" y="14"/>
                  </a:lnTo>
                  <a:lnTo>
                    <a:pt x="276" y="25"/>
                  </a:lnTo>
                  <a:lnTo>
                    <a:pt x="290" y="23"/>
                  </a:lnTo>
                  <a:lnTo>
                    <a:pt x="283" y="46"/>
                  </a:lnTo>
                  <a:lnTo>
                    <a:pt x="268" y="51"/>
                  </a:lnTo>
                  <a:lnTo>
                    <a:pt x="257" y="63"/>
                  </a:lnTo>
                  <a:lnTo>
                    <a:pt x="257" y="88"/>
                  </a:lnTo>
                  <a:lnTo>
                    <a:pt x="237" y="103"/>
                  </a:lnTo>
                  <a:lnTo>
                    <a:pt x="260" y="140"/>
                  </a:lnTo>
                  <a:lnTo>
                    <a:pt x="235" y="142"/>
                  </a:lnTo>
                  <a:lnTo>
                    <a:pt x="220" y="133"/>
                  </a:lnTo>
                  <a:lnTo>
                    <a:pt x="183" y="147"/>
                  </a:lnTo>
                  <a:lnTo>
                    <a:pt x="175" y="148"/>
                  </a:lnTo>
                  <a:lnTo>
                    <a:pt x="173" y="165"/>
                  </a:lnTo>
                  <a:lnTo>
                    <a:pt x="161" y="176"/>
                  </a:lnTo>
                  <a:lnTo>
                    <a:pt x="144" y="179"/>
                  </a:lnTo>
                  <a:lnTo>
                    <a:pt x="96" y="161"/>
                  </a:lnTo>
                  <a:lnTo>
                    <a:pt x="27" y="173"/>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127" name="Freeform 130">
              <a:extLst>
                <a:ext uri="{FF2B5EF4-FFF2-40B4-BE49-F238E27FC236}">
                  <a16:creationId xmlns:a16="http://schemas.microsoft.com/office/drawing/2014/main" id="{E14F7778-4558-D649-8328-59AE686FFD08}"/>
                </a:ext>
              </a:extLst>
            </p:cNvPr>
            <p:cNvSpPr>
              <a:spLocks noChangeAspect="1"/>
            </p:cNvSpPr>
            <p:nvPr/>
          </p:nvSpPr>
          <p:spPr bwMode="gray">
            <a:xfrm>
              <a:off x="4996029" y="2766537"/>
              <a:ext cx="149419" cy="109333"/>
            </a:xfrm>
            <a:custGeom>
              <a:avLst/>
              <a:gdLst>
                <a:gd name="T0" fmla="*/ 310 w 310"/>
                <a:gd name="T1" fmla="*/ 39 h 186"/>
                <a:gd name="T2" fmla="*/ 298 w 310"/>
                <a:gd name="T3" fmla="*/ 23 h 186"/>
                <a:gd name="T4" fmla="*/ 276 w 310"/>
                <a:gd name="T5" fmla="*/ 8 h 186"/>
                <a:gd name="T6" fmla="*/ 215 w 310"/>
                <a:gd name="T7" fmla="*/ 0 h 186"/>
                <a:gd name="T8" fmla="*/ 200 w 310"/>
                <a:gd name="T9" fmla="*/ 8 h 186"/>
                <a:gd name="T10" fmla="*/ 197 w 310"/>
                <a:gd name="T11" fmla="*/ 17 h 186"/>
                <a:gd name="T12" fmla="*/ 176 w 310"/>
                <a:gd name="T13" fmla="*/ 25 h 186"/>
                <a:gd name="T14" fmla="*/ 163 w 310"/>
                <a:gd name="T15" fmla="*/ 20 h 186"/>
                <a:gd name="T16" fmla="*/ 124 w 310"/>
                <a:gd name="T17" fmla="*/ 35 h 186"/>
                <a:gd name="T18" fmla="*/ 107 w 310"/>
                <a:gd name="T19" fmla="*/ 52 h 186"/>
                <a:gd name="T20" fmla="*/ 79 w 310"/>
                <a:gd name="T21" fmla="*/ 54 h 186"/>
                <a:gd name="T22" fmla="*/ 47 w 310"/>
                <a:gd name="T23" fmla="*/ 32 h 186"/>
                <a:gd name="T24" fmla="*/ 44 w 310"/>
                <a:gd name="T25" fmla="*/ 56 h 186"/>
                <a:gd name="T26" fmla="*/ 22 w 310"/>
                <a:gd name="T27" fmla="*/ 56 h 186"/>
                <a:gd name="T28" fmla="*/ 19 w 310"/>
                <a:gd name="T29" fmla="*/ 62 h 186"/>
                <a:gd name="T30" fmla="*/ 24 w 310"/>
                <a:gd name="T31" fmla="*/ 69 h 186"/>
                <a:gd name="T32" fmla="*/ 17 w 310"/>
                <a:gd name="T33" fmla="*/ 85 h 186"/>
                <a:gd name="T34" fmla="*/ 17 w 310"/>
                <a:gd name="T35" fmla="*/ 102 h 186"/>
                <a:gd name="T36" fmla="*/ 0 w 310"/>
                <a:gd name="T37" fmla="*/ 113 h 186"/>
                <a:gd name="T38" fmla="*/ 11 w 310"/>
                <a:gd name="T39" fmla="*/ 116 h 186"/>
                <a:gd name="T40" fmla="*/ 24 w 310"/>
                <a:gd name="T41" fmla="*/ 139 h 186"/>
                <a:gd name="T42" fmla="*/ 62 w 310"/>
                <a:gd name="T43" fmla="*/ 174 h 186"/>
                <a:gd name="T44" fmla="*/ 84 w 310"/>
                <a:gd name="T45" fmla="*/ 186 h 186"/>
                <a:gd name="T46" fmla="*/ 121 w 310"/>
                <a:gd name="T47" fmla="*/ 176 h 186"/>
                <a:gd name="T48" fmla="*/ 164 w 310"/>
                <a:gd name="T49" fmla="*/ 161 h 186"/>
                <a:gd name="T50" fmla="*/ 185 w 310"/>
                <a:gd name="T51" fmla="*/ 157 h 186"/>
                <a:gd name="T52" fmla="*/ 191 w 310"/>
                <a:gd name="T53" fmla="*/ 162 h 186"/>
                <a:gd name="T54" fmla="*/ 232 w 310"/>
                <a:gd name="T55" fmla="*/ 148 h 186"/>
                <a:gd name="T56" fmla="*/ 265 w 310"/>
                <a:gd name="T57" fmla="*/ 89 h 186"/>
                <a:gd name="T58" fmla="*/ 273 w 310"/>
                <a:gd name="T59" fmla="*/ 66 h 186"/>
                <a:gd name="T60" fmla="*/ 310 w 310"/>
                <a:gd name="T61" fmla="*/ 3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0" h="186">
                  <a:moveTo>
                    <a:pt x="310" y="39"/>
                  </a:moveTo>
                  <a:lnTo>
                    <a:pt x="298" y="23"/>
                  </a:lnTo>
                  <a:lnTo>
                    <a:pt x="276" y="8"/>
                  </a:lnTo>
                  <a:lnTo>
                    <a:pt x="215" y="0"/>
                  </a:lnTo>
                  <a:lnTo>
                    <a:pt x="200" y="8"/>
                  </a:lnTo>
                  <a:lnTo>
                    <a:pt x="197" y="17"/>
                  </a:lnTo>
                  <a:lnTo>
                    <a:pt x="176" y="25"/>
                  </a:lnTo>
                  <a:lnTo>
                    <a:pt x="163" y="20"/>
                  </a:lnTo>
                  <a:lnTo>
                    <a:pt x="124" y="35"/>
                  </a:lnTo>
                  <a:lnTo>
                    <a:pt x="107" y="52"/>
                  </a:lnTo>
                  <a:lnTo>
                    <a:pt x="79" y="54"/>
                  </a:lnTo>
                  <a:lnTo>
                    <a:pt x="47" y="32"/>
                  </a:lnTo>
                  <a:lnTo>
                    <a:pt x="44" y="56"/>
                  </a:lnTo>
                  <a:lnTo>
                    <a:pt x="22" y="56"/>
                  </a:lnTo>
                  <a:lnTo>
                    <a:pt x="19" y="62"/>
                  </a:lnTo>
                  <a:lnTo>
                    <a:pt x="24" y="69"/>
                  </a:lnTo>
                  <a:lnTo>
                    <a:pt x="17" y="85"/>
                  </a:lnTo>
                  <a:lnTo>
                    <a:pt x="17" y="102"/>
                  </a:lnTo>
                  <a:lnTo>
                    <a:pt x="0" y="113"/>
                  </a:lnTo>
                  <a:lnTo>
                    <a:pt x="11" y="116"/>
                  </a:lnTo>
                  <a:lnTo>
                    <a:pt x="24" y="139"/>
                  </a:lnTo>
                  <a:lnTo>
                    <a:pt x="62" y="174"/>
                  </a:lnTo>
                  <a:lnTo>
                    <a:pt x="84" y="186"/>
                  </a:lnTo>
                  <a:lnTo>
                    <a:pt x="121" y="176"/>
                  </a:lnTo>
                  <a:lnTo>
                    <a:pt x="164" y="161"/>
                  </a:lnTo>
                  <a:lnTo>
                    <a:pt x="185" y="157"/>
                  </a:lnTo>
                  <a:lnTo>
                    <a:pt x="191" y="162"/>
                  </a:lnTo>
                  <a:lnTo>
                    <a:pt x="232" y="148"/>
                  </a:lnTo>
                  <a:lnTo>
                    <a:pt x="265" y="89"/>
                  </a:lnTo>
                  <a:lnTo>
                    <a:pt x="273" y="66"/>
                  </a:lnTo>
                  <a:lnTo>
                    <a:pt x="310" y="39"/>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28" name="Freeform 131">
              <a:extLst>
                <a:ext uri="{FF2B5EF4-FFF2-40B4-BE49-F238E27FC236}">
                  <a16:creationId xmlns:a16="http://schemas.microsoft.com/office/drawing/2014/main" id="{6B4266AB-E81D-8E43-A9B1-2AE0E3A797D8}"/>
                </a:ext>
              </a:extLst>
            </p:cNvPr>
            <p:cNvSpPr>
              <a:spLocks noChangeAspect="1"/>
            </p:cNvSpPr>
            <p:nvPr/>
          </p:nvSpPr>
          <p:spPr bwMode="gray">
            <a:xfrm>
              <a:off x="4935627" y="2831750"/>
              <a:ext cx="71531" cy="61379"/>
            </a:xfrm>
            <a:custGeom>
              <a:avLst/>
              <a:gdLst>
                <a:gd name="T0" fmla="*/ 4 w 147"/>
                <a:gd name="T1" fmla="*/ 93 h 103"/>
                <a:gd name="T2" fmla="*/ 43 w 147"/>
                <a:gd name="T3" fmla="*/ 97 h 103"/>
                <a:gd name="T4" fmla="*/ 54 w 147"/>
                <a:gd name="T5" fmla="*/ 83 h 103"/>
                <a:gd name="T6" fmla="*/ 62 w 147"/>
                <a:gd name="T7" fmla="*/ 100 h 103"/>
                <a:gd name="T8" fmla="*/ 69 w 147"/>
                <a:gd name="T9" fmla="*/ 97 h 103"/>
                <a:gd name="T10" fmla="*/ 80 w 147"/>
                <a:gd name="T11" fmla="*/ 103 h 103"/>
                <a:gd name="T12" fmla="*/ 83 w 147"/>
                <a:gd name="T13" fmla="*/ 100 h 103"/>
                <a:gd name="T14" fmla="*/ 83 w 147"/>
                <a:gd name="T15" fmla="*/ 82 h 103"/>
                <a:gd name="T16" fmla="*/ 105 w 147"/>
                <a:gd name="T17" fmla="*/ 66 h 103"/>
                <a:gd name="T18" fmla="*/ 105 w 147"/>
                <a:gd name="T19" fmla="*/ 57 h 103"/>
                <a:gd name="T20" fmla="*/ 99 w 147"/>
                <a:gd name="T21" fmla="*/ 52 h 103"/>
                <a:gd name="T22" fmla="*/ 100 w 147"/>
                <a:gd name="T23" fmla="*/ 44 h 103"/>
                <a:gd name="T24" fmla="*/ 130 w 147"/>
                <a:gd name="T25" fmla="*/ 34 h 103"/>
                <a:gd name="T26" fmla="*/ 131 w 147"/>
                <a:gd name="T27" fmla="*/ 20 h 103"/>
                <a:gd name="T28" fmla="*/ 143 w 147"/>
                <a:gd name="T29" fmla="*/ 26 h 103"/>
                <a:gd name="T30" fmla="*/ 147 w 147"/>
                <a:gd name="T31" fmla="*/ 26 h 103"/>
                <a:gd name="T32" fmla="*/ 134 w 147"/>
                <a:gd name="T33" fmla="*/ 3 h 103"/>
                <a:gd name="T34" fmla="*/ 123 w 147"/>
                <a:gd name="T35" fmla="*/ 0 h 103"/>
                <a:gd name="T36" fmla="*/ 113 w 147"/>
                <a:gd name="T37" fmla="*/ 10 h 103"/>
                <a:gd name="T38" fmla="*/ 63 w 147"/>
                <a:gd name="T39" fmla="*/ 15 h 103"/>
                <a:gd name="T40" fmla="*/ 51 w 147"/>
                <a:gd name="T41" fmla="*/ 29 h 103"/>
                <a:gd name="T42" fmla="*/ 11 w 147"/>
                <a:gd name="T43" fmla="*/ 26 h 103"/>
                <a:gd name="T44" fmla="*/ 0 w 147"/>
                <a:gd name="T45" fmla="*/ 44 h 103"/>
                <a:gd name="T46" fmla="*/ 6 w 147"/>
                <a:gd name="T47" fmla="*/ 44 h 103"/>
                <a:gd name="T48" fmla="*/ 4 w 147"/>
                <a:gd name="T49" fmla="*/ 57 h 103"/>
                <a:gd name="T50" fmla="*/ 8 w 147"/>
                <a:gd name="T51" fmla="*/ 69 h 103"/>
                <a:gd name="T52" fmla="*/ 23 w 147"/>
                <a:gd name="T53" fmla="*/ 83 h 103"/>
                <a:gd name="T54" fmla="*/ 11 w 147"/>
                <a:gd name="T55" fmla="*/ 90 h 103"/>
                <a:gd name="T56" fmla="*/ 4 w 147"/>
                <a:gd name="T57" fmla="*/ 9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7" h="103">
                  <a:moveTo>
                    <a:pt x="4" y="93"/>
                  </a:moveTo>
                  <a:lnTo>
                    <a:pt x="43" y="97"/>
                  </a:lnTo>
                  <a:lnTo>
                    <a:pt x="54" y="83"/>
                  </a:lnTo>
                  <a:lnTo>
                    <a:pt x="62" y="100"/>
                  </a:lnTo>
                  <a:lnTo>
                    <a:pt x="69" y="97"/>
                  </a:lnTo>
                  <a:lnTo>
                    <a:pt x="80" y="103"/>
                  </a:lnTo>
                  <a:lnTo>
                    <a:pt x="83" y="100"/>
                  </a:lnTo>
                  <a:lnTo>
                    <a:pt x="83" y="82"/>
                  </a:lnTo>
                  <a:lnTo>
                    <a:pt x="105" y="66"/>
                  </a:lnTo>
                  <a:lnTo>
                    <a:pt x="105" y="57"/>
                  </a:lnTo>
                  <a:lnTo>
                    <a:pt x="99" y="52"/>
                  </a:lnTo>
                  <a:lnTo>
                    <a:pt x="100" y="44"/>
                  </a:lnTo>
                  <a:lnTo>
                    <a:pt x="130" y="34"/>
                  </a:lnTo>
                  <a:lnTo>
                    <a:pt x="131" y="20"/>
                  </a:lnTo>
                  <a:lnTo>
                    <a:pt x="143" y="26"/>
                  </a:lnTo>
                  <a:lnTo>
                    <a:pt x="147" y="26"/>
                  </a:lnTo>
                  <a:lnTo>
                    <a:pt x="134" y="3"/>
                  </a:lnTo>
                  <a:lnTo>
                    <a:pt x="123" y="0"/>
                  </a:lnTo>
                  <a:lnTo>
                    <a:pt x="113" y="10"/>
                  </a:lnTo>
                  <a:lnTo>
                    <a:pt x="63" y="15"/>
                  </a:lnTo>
                  <a:lnTo>
                    <a:pt x="51" y="29"/>
                  </a:lnTo>
                  <a:lnTo>
                    <a:pt x="11" y="26"/>
                  </a:lnTo>
                  <a:lnTo>
                    <a:pt x="0" y="44"/>
                  </a:lnTo>
                  <a:lnTo>
                    <a:pt x="6" y="44"/>
                  </a:lnTo>
                  <a:lnTo>
                    <a:pt x="4" y="57"/>
                  </a:lnTo>
                  <a:lnTo>
                    <a:pt x="8" y="69"/>
                  </a:lnTo>
                  <a:lnTo>
                    <a:pt x="23" y="83"/>
                  </a:lnTo>
                  <a:lnTo>
                    <a:pt x="11" y="90"/>
                  </a:lnTo>
                  <a:lnTo>
                    <a:pt x="4" y="93"/>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29" name="Freeform 132">
              <a:extLst>
                <a:ext uri="{FF2B5EF4-FFF2-40B4-BE49-F238E27FC236}">
                  <a16:creationId xmlns:a16="http://schemas.microsoft.com/office/drawing/2014/main" id="{ABBE94F1-30AC-204A-B5B9-9D605E2BB0E6}"/>
                </a:ext>
              </a:extLst>
            </p:cNvPr>
            <p:cNvSpPr>
              <a:spLocks noChangeAspect="1"/>
            </p:cNvSpPr>
            <p:nvPr/>
          </p:nvSpPr>
          <p:spPr bwMode="gray">
            <a:xfrm>
              <a:off x="5013514" y="2724338"/>
              <a:ext cx="123988" cy="72888"/>
            </a:xfrm>
            <a:custGeom>
              <a:avLst/>
              <a:gdLst>
                <a:gd name="T0" fmla="*/ 240 w 255"/>
                <a:gd name="T1" fmla="*/ 79 h 125"/>
                <a:gd name="T2" fmla="*/ 179 w 255"/>
                <a:gd name="T3" fmla="*/ 71 h 125"/>
                <a:gd name="T4" fmla="*/ 164 w 255"/>
                <a:gd name="T5" fmla="*/ 79 h 125"/>
                <a:gd name="T6" fmla="*/ 161 w 255"/>
                <a:gd name="T7" fmla="*/ 88 h 125"/>
                <a:gd name="T8" fmla="*/ 140 w 255"/>
                <a:gd name="T9" fmla="*/ 96 h 125"/>
                <a:gd name="T10" fmla="*/ 127 w 255"/>
                <a:gd name="T11" fmla="*/ 91 h 125"/>
                <a:gd name="T12" fmla="*/ 88 w 255"/>
                <a:gd name="T13" fmla="*/ 106 h 125"/>
                <a:gd name="T14" fmla="*/ 71 w 255"/>
                <a:gd name="T15" fmla="*/ 123 h 125"/>
                <a:gd name="T16" fmla="*/ 43 w 255"/>
                <a:gd name="T17" fmla="*/ 125 h 125"/>
                <a:gd name="T18" fmla="*/ 11 w 255"/>
                <a:gd name="T19" fmla="*/ 103 h 125"/>
                <a:gd name="T20" fmla="*/ 0 w 255"/>
                <a:gd name="T21" fmla="*/ 72 h 125"/>
                <a:gd name="T22" fmla="*/ 9 w 255"/>
                <a:gd name="T23" fmla="*/ 55 h 125"/>
                <a:gd name="T24" fmla="*/ 33 w 255"/>
                <a:gd name="T25" fmla="*/ 57 h 125"/>
                <a:gd name="T26" fmla="*/ 45 w 255"/>
                <a:gd name="T27" fmla="*/ 49 h 125"/>
                <a:gd name="T28" fmla="*/ 57 w 255"/>
                <a:gd name="T29" fmla="*/ 34 h 125"/>
                <a:gd name="T30" fmla="*/ 59 w 255"/>
                <a:gd name="T31" fmla="*/ 20 h 125"/>
                <a:gd name="T32" fmla="*/ 91 w 255"/>
                <a:gd name="T33" fmla="*/ 1 h 125"/>
                <a:gd name="T34" fmla="*/ 99 w 255"/>
                <a:gd name="T35" fmla="*/ 4 h 125"/>
                <a:gd name="T36" fmla="*/ 118 w 255"/>
                <a:gd name="T37" fmla="*/ 0 h 125"/>
                <a:gd name="T38" fmla="*/ 138 w 255"/>
                <a:gd name="T39" fmla="*/ 20 h 125"/>
                <a:gd name="T40" fmla="*/ 161 w 255"/>
                <a:gd name="T41" fmla="*/ 9 h 125"/>
                <a:gd name="T42" fmla="*/ 186 w 255"/>
                <a:gd name="T43" fmla="*/ 17 h 125"/>
                <a:gd name="T44" fmla="*/ 211 w 255"/>
                <a:gd name="T45" fmla="*/ 6 h 125"/>
                <a:gd name="T46" fmla="*/ 255 w 255"/>
                <a:gd name="T47" fmla="*/ 30 h 125"/>
                <a:gd name="T48" fmla="*/ 240 w 255"/>
                <a:gd name="T49" fmla="*/ 7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5" h="125">
                  <a:moveTo>
                    <a:pt x="240" y="79"/>
                  </a:moveTo>
                  <a:lnTo>
                    <a:pt x="179" y="71"/>
                  </a:lnTo>
                  <a:lnTo>
                    <a:pt x="164" y="79"/>
                  </a:lnTo>
                  <a:lnTo>
                    <a:pt x="161" y="88"/>
                  </a:lnTo>
                  <a:lnTo>
                    <a:pt x="140" y="96"/>
                  </a:lnTo>
                  <a:lnTo>
                    <a:pt x="127" y="91"/>
                  </a:lnTo>
                  <a:lnTo>
                    <a:pt x="88" y="106"/>
                  </a:lnTo>
                  <a:lnTo>
                    <a:pt x="71" y="123"/>
                  </a:lnTo>
                  <a:lnTo>
                    <a:pt x="43" y="125"/>
                  </a:lnTo>
                  <a:lnTo>
                    <a:pt x="11" y="103"/>
                  </a:lnTo>
                  <a:lnTo>
                    <a:pt x="0" y="72"/>
                  </a:lnTo>
                  <a:lnTo>
                    <a:pt x="9" y="55"/>
                  </a:lnTo>
                  <a:lnTo>
                    <a:pt x="33" y="57"/>
                  </a:lnTo>
                  <a:lnTo>
                    <a:pt x="45" y="49"/>
                  </a:lnTo>
                  <a:lnTo>
                    <a:pt x="57" y="34"/>
                  </a:lnTo>
                  <a:lnTo>
                    <a:pt x="59" y="20"/>
                  </a:lnTo>
                  <a:lnTo>
                    <a:pt x="91" y="1"/>
                  </a:lnTo>
                  <a:lnTo>
                    <a:pt x="99" y="4"/>
                  </a:lnTo>
                  <a:lnTo>
                    <a:pt x="118" y="0"/>
                  </a:lnTo>
                  <a:lnTo>
                    <a:pt x="138" y="20"/>
                  </a:lnTo>
                  <a:lnTo>
                    <a:pt x="161" y="9"/>
                  </a:lnTo>
                  <a:lnTo>
                    <a:pt x="186" y="17"/>
                  </a:lnTo>
                  <a:lnTo>
                    <a:pt x="211" y="6"/>
                  </a:lnTo>
                  <a:lnTo>
                    <a:pt x="255" y="30"/>
                  </a:lnTo>
                  <a:lnTo>
                    <a:pt x="240" y="79"/>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30" name="Freeform 133">
              <a:extLst>
                <a:ext uri="{FF2B5EF4-FFF2-40B4-BE49-F238E27FC236}">
                  <a16:creationId xmlns:a16="http://schemas.microsoft.com/office/drawing/2014/main" id="{3DA62D8B-EAE4-6848-95F5-0AFB14485183}"/>
                </a:ext>
              </a:extLst>
            </p:cNvPr>
            <p:cNvSpPr>
              <a:spLocks noChangeAspect="1"/>
            </p:cNvSpPr>
            <p:nvPr/>
          </p:nvSpPr>
          <p:spPr bwMode="gray">
            <a:xfrm>
              <a:off x="4902245" y="2657206"/>
              <a:ext cx="155778" cy="109333"/>
            </a:xfrm>
            <a:custGeom>
              <a:avLst/>
              <a:gdLst>
                <a:gd name="T0" fmla="*/ 318 w 318"/>
                <a:gd name="T1" fmla="*/ 115 h 186"/>
                <a:gd name="T2" fmla="*/ 301 w 318"/>
                <a:gd name="T3" fmla="*/ 109 h 186"/>
                <a:gd name="T4" fmla="*/ 286 w 318"/>
                <a:gd name="T5" fmla="*/ 83 h 186"/>
                <a:gd name="T6" fmla="*/ 266 w 318"/>
                <a:gd name="T7" fmla="*/ 75 h 186"/>
                <a:gd name="T8" fmla="*/ 266 w 318"/>
                <a:gd name="T9" fmla="*/ 63 h 186"/>
                <a:gd name="T10" fmla="*/ 228 w 318"/>
                <a:gd name="T11" fmla="*/ 53 h 186"/>
                <a:gd name="T12" fmla="*/ 230 w 318"/>
                <a:gd name="T13" fmla="*/ 63 h 186"/>
                <a:gd name="T14" fmla="*/ 219 w 318"/>
                <a:gd name="T15" fmla="*/ 69 h 186"/>
                <a:gd name="T16" fmla="*/ 198 w 318"/>
                <a:gd name="T17" fmla="*/ 50 h 186"/>
                <a:gd name="T18" fmla="*/ 201 w 318"/>
                <a:gd name="T19" fmla="*/ 38 h 186"/>
                <a:gd name="T20" fmla="*/ 184 w 318"/>
                <a:gd name="T21" fmla="*/ 27 h 186"/>
                <a:gd name="T22" fmla="*/ 159 w 318"/>
                <a:gd name="T23" fmla="*/ 24 h 186"/>
                <a:gd name="T24" fmla="*/ 145 w 318"/>
                <a:gd name="T25" fmla="*/ 10 h 186"/>
                <a:gd name="T26" fmla="*/ 133 w 318"/>
                <a:gd name="T27" fmla="*/ 24 h 186"/>
                <a:gd name="T28" fmla="*/ 128 w 318"/>
                <a:gd name="T29" fmla="*/ 21 h 186"/>
                <a:gd name="T30" fmla="*/ 103 w 318"/>
                <a:gd name="T31" fmla="*/ 0 h 186"/>
                <a:gd name="T32" fmla="*/ 99 w 318"/>
                <a:gd name="T33" fmla="*/ 19 h 186"/>
                <a:gd name="T34" fmla="*/ 20 w 318"/>
                <a:gd name="T35" fmla="*/ 58 h 186"/>
                <a:gd name="T36" fmla="*/ 17 w 318"/>
                <a:gd name="T37" fmla="*/ 69 h 186"/>
                <a:gd name="T38" fmla="*/ 1 w 318"/>
                <a:gd name="T39" fmla="*/ 58 h 186"/>
                <a:gd name="T40" fmla="*/ 0 w 318"/>
                <a:gd name="T41" fmla="*/ 69 h 186"/>
                <a:gd name="T42" fmla="*/ 17 w 318"/>
                <a:gd name="T43" fmla="*/ 83 h 186"/>
                <a:gd name="T44" fmla="*/ 18 w 318"/>
                <a:gd name="T45" fmla="*/ 109 h 186"/>
                <a:gd name="T46" fmla="*/ 26 w 318"/>
                <a:gd name="T47" fmla="*/ 118 h 186"/>
                <a:gd name="T48" fmla="*/ 85 w 318"/>
                <a:gd name="T49" fmla="*/ 169 h 186"/>
                <a:gd name="T50" fmla="*/ 102 w 318"/>
                <a:gd name="T51" fmla="*/ 180 h 186"/>
                <a:gd name="T52" fmla="*/ 120 w 318"/>
                <a:gd name="T53" fmla="*/ 180 h 186"/>
                <a:gd name="T54" fmla="*/ 136 w 318"/>
                <a:gd name="T55" fmla="*/ 169 h 186"/>
                <a:gd name="T56" fmla="*/ 143 w 318"/>
                <a:gd name="T57" fmla="*/ 154 h 186"/>
                <a:gd name="T58" fmla="*/ 173 w 318"/>
                <a:gd name="T59" fmla="*/ 154 h 186"/>
                <a:gd name="T60" fmla="*/ 191 w 318"/>
                <a:gd name="T61" fmla="*/ 169 h 186"/>
                <a:gd name="T62" fmla="*/ 221 w 318"/>
                <a:gd name="T63" fmla="*/ 166 h 186"/>
                <a:gd name="T64" fmla="*/ 227 w 318"/>
                <a:gd name="T65" fmla="*/ 186 h 186"/>
                <a:gd name="T66" fmla="*/ 236 w 318"/>
                <a:gd name="T67" fmla="*/ 169 h 186"/>
                <a:gd name="T68" fmla="*/ 260 w 318"/>
                <a:gd name="T69" fmla="*/ 171 h 186"/>
                <a:gd name="T70" fmla="*/ 272 w 318"/>
                <a:gd name="T71" fmla="*/ 163 h 186"/>
                <a:gd name="T72" fmla="*/ 284 w 318"/>
                <a:gd name="T73" fmla="*/ 148 h 186"/>
                <a:gd name="T74" fmla="*/ 286 w 318"/>
                <a:gd name="T75" fmla="*/ 134 h 186"/>
                <a:gd name="T76" fmla="*/ 318 w 318"/>
                <a:gd name="T77" fmla="*/ 11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8" h="186">
                  <a:moveTo>
                    <a:pt x="318" y="115"/>
                  </a:moveTo>
                  <a:lnTo>
                    <a:pt x="301" y="109"/>
                  </a:lnTo>
                  <a:lnTo>
                    <a:pt x="286" y="83"/>
                  </a:lnTo>
                  <a:lnTo>
                    <a:pt x="266" y="75"/>
                  </a:lnTo>
                  <a:lnTo>
                    <a:pt x="266" y="63"/>
                  </a:lnTo>
                  <a:lnTo>
                    <a:pt x="228" y="53"/>
                  </a:lnTo>
                  <a:lnTo>
                    <a:pt x="230" y="63"/>
                  </a:lnTo>
                  <a:lnTo>
                    <a:pt x="219" y="69"/>
                  </a:lnTo>
                  <a:lnTo>
                    <a:pt x="198" y="50"/>
                  </a:lnTo>
                  <a:lnTo>
                    <a:pt x="201" y="38"/>
                  </a:lnTo>
                  <a:lnTo>
                    <a:pt x="184" y="27"/>
                  </a:lnTo>
                  <a:lnTo>
                    <a:pt x="159" y="24"/>
                  </a:lnTo>
                  <a:lnTo>
                    <a:pt x="145" y="10"/>
                  </a:lnTo>
                  <a:lnTo>
                    <a:pt x="133" y="24"/>
                  </a:lnTo>
                  <a:lnTo>
                    <a:pt x="128" y="21"/>
                  </a:lnTo>
                  <a:lnTo>
                    <a:pt x="103" y="0"/>
                  </a:lnTo>
                  <a:lnTo>
                    <a:pt x="99" y="19"/>
                  </a:lnTo>
                  <a:lnTo>
                    <a:pt x="20" y="58"/>
                  </a:lnTo>
                  <a:lnTo>
                    <a:pt x="17" y="69"/>
                  </a:lnTo>
                  <a:lnTo>
                    <a:pt x="1" y="58"/>
                  </a:lnTo>
                  <a:lnTo>
                    <a:pt x="0" y="69"/>
                  </a:lnTo>
                  <a:lnTo>
                    <a:pt x="17" y="83"/>
                  </a:lnTo>
                  <a:lnTo>
                    <a:pt x="18" y="109"/>
                  </a:lnTo>
                  <a:lnTo>
                    <a:pt x="26" y="118"/>
                  </a:lnTo>
                  <a:lnTo>
                    <a:pt x="85" y="169"/>
                  </a:lnTo>
                  <a:lnTo>
                    <a:pt x="102" y="180"/>
                  </a:lnTo>
                  <a:lnTo>
                    <a:pt x="120" y="180"/>
                  </a:lnTo>
                  <a:lnTo>
                    <a:pt x="136" y="169"/>
                  </a:lnTo>
                  <a:lnTo>
                    <a:pt x="143" y="154"/>
                  </a:lnTo>
                  <a:lnTo>
                    <a:pt x="173" y="154"/>
                  </a:lnTo>
                  <a:lnTo>
                    <a:pt x="191" y="169"/>
                  </a:lnTo>
                  <a:lnTo>
                    <a:pt x="221" y="166"/>
                  </a:lnTo>
                  <a:lnTo>
                    <a:pt x="227" y="186"/>
                  </a:lnTo>
                  <a:lnTo>
                    <a:pt x="236" y="169"/>
                  </a:lnTo>
                  <a:lnTo>
                    <a:pt x="260" y="171"/>
                  </a:lnTo>
                  <a:lnTo>
                    <a:pt x="272" y="163"/>
                  </a:lnTo>
                  <a:lnTo>
                    <a:pt x="284" y="148"/>
                  </a:lnTo>
                  <a:lnTo>
                    <a:pt x="286" y="134"/>
                  </a:lnTo>
                  <a:lnTo>
                    <a:pt x="318" y="115"/>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31" name="Freeform 134">
              <a:extLst>
                <a:ext uri="{FF2B5EF4-FFF2-40B4-BE49-F238E27FC236}">
                  <a16:creationId xmlns:a16="http://schemas.microsoft.com/office/drawing/2014/main" id="{07DB0961-4DEE-284B-9E26-EE5CACDC1DB4}"/>
                </a:ext>
              </a:extLst>
            </p:cNvPr>
            <p:cNvSpPr>
              <a:spLocks noChangeAspect="1"/>
            </p:cNvSpPr>
            <p:nvPr/>
          </p:nvSpPr>
          <p:spPr bwMode="gray">
            <a:xfrm>
              <a:off x="4848200" y="2747354"/>
              <a:ext cx="171676" cy="101659"/>
            </a:xfrm>
            <a:custGeom>
              <a:avLst/>
              <a:gdLst>
                <a:gd name="T0" fmla="*/ 193 w 352"/>
                <a:gd name="T1" fmla="*/ 170 h 173"/>
                <a:gd name="T2" fmla="*/ 137 w 352"/>
                <a:gd name="T3" fmla="*/ 156 h 173"/>
                <a:gd name="T4" fmla="*/ 127 w 352"/>
                <a:gd name="T5" fmla="*/ 149 h 173"/>
                <a:gd name="T6" fmla="*/ 120 w 352"/>
                <a:gd name="T7" fmla="*/ 130 h 173"/>
                <a:gd name="T8" fmla="*/ 58 w 352"/>
                <a:gd name="T9" fmla="*/ 149 h 173"/>
                <a:gd name="T10" fmla="*/ 42 w 352"/>
                <a:gd name="T11" fmla="*/ 145 h 173"/>
                <a:gd name="T12" fmla="*/ 8 w 352"/>
                <a:gd name="T13" fmla="*/ 136 h 173"/>
                <a:gd name="T14" fmla="*/ 2 w 352"/>
                <a:gd name="T15" fmla="*/ 125 h 173"/>
                <a:gd name="T16" fmla="*/ 5 w 352"/>
                <a:gd name="T17" fmla="*/ 110 h 173"/>
                <a:gd name="T18" fmla="*/ 0 w 352"/>
                <a:gd name="T19" fmla="*/ 103 h 173"/>
                <a:gd name="T20" fmla="*/ 16 w 352"/>
                <a:gd name="T21" fmla="*/ 99 h 173"/>
                <a:gd name="T22" fmla="*/ 36 w 352"/>
                <a:gd name="T23" fmla="*/ 111 h 173"/>
                <a:gd name="T24" fmla="*/ 49 w 352"/>
                <a:gd name="T25" fmla="*/ 99 h 173"/>
                <a:gd name="T26" fmla="*/ 81 w 352"/>
                <a:gd name="T27" fmla="*/ 107 h 173"/>
                <a:gd name="T28" fmla="*/ 129 w 352"/>
                <a:gd name="T29" fmla="*/ 88 h 173"/>
                <a:gd name="T30" fmla="*/ 151 w 352"/>
                <a:gd name="T31" fmla="*/ 91 h 173"/>
                <a:gd name="T32" fmla="*/ 154 w 352"/>
                <a:gd name="T33" fmla="*/ 99 h 173"/>
                <a:gd name="T34" fmla="*/ 161 w 352"/>
                <a:gd name="T35" fmla="*/ 95 h 173"/>
                <a:gd name="T36" fmla="*/ 154 w 352"/>
                <a:gd name="T37" fmla="*/ 62 h 173"/>
                <a:gd name="T38" fmla="*/ 157 w 352"/>
                <a:gd name="T39" fmla="*/ 51 h 173"/>
                <a:gd name="T40" fmla="*/ 176 w 352"/>
                <a:gd name="T41" fmla="*/ 45 h 173"/>
                <a:gd name="T42" fmla="*/ 183 w 352"/>
                <a:gd name="T43" fmla="*/ 29 h 173"/>
                <a:gd name="T44" fmla="*/ 197 w 352"/>
                <a:gd name="T45" fmla="*/ 22 h 173"/>
                <a:gd name="T46" fmla="*/ 199 w 352"/>
                <a:gd name="T47" fmla="*/ 15 h 173"/>
                <a:gd name="T48" fmla="*/ 216 w 352"/>
                <a:gd name="T49" fmla="*/ 26 h 173"/>
                <a:gd name="T50" fmla="*/ 234 w 352"/>
                <a:gd name="T51" fmla="*/ 26 h 173"/>
                <a:gd name="T52" fmla="*/ 250 w 352"/>
                <a:gd name="T53" fmla="*/ 15 h 173"/>
                <a:gd name="T54" fmla="*/ 257 w 352"/>
                <a:gd name="T55" fmla="*/ 0 h 173"/>
                <a:gd name="T56" fmla="*/ 287 w 352"/>
                <a:gd name="T57" fmla="*/ 0 h 173"/>
                <a:gd name="T58" fmla="*/ 305 w 352"/>
                <a:gd name="T59" fmla="*/ 15 h 173"/>
                <a:gd name="T60" fmla="*/ 335 w 352"/>
                <a:gd name="T61" fmla="*/ 12 h 173"/>
                <a:gd name="T62" fmla="*/ 341 w 352"/>
                <a:gd name="T63" fmla="*/ 32 h 173"/>
                <a:gd name="T64" fmla="*/ 352 w 352"/>
                <a:gd name="T65" fmla="*/ 63 h 173"/>
                <a:gd name="T66" fmla="*/ 349 w 352"/>
                <a:gd name="T67" fmla="*/ 87 h 173"/>
                <a:gd name="T68" fmla="*/ 327 w 352"/>
                <a:gd name="T69" fmla="*/ 87 h 173"/>
                <a:gd name="T70" fmla="*/ 324 w 352"/>
                <a:gd name="T71" fmla="*/ 93 h 173"/>
                <a:gd name="T72" fmla="*/ 329 w 352"/>
                <a:gd name="T73" fmla="*/ 100 h 173"/>
                <a:gd name="T74" fmla="*/ 322 w 352"/>
                <a:gd name="T75" fmla="*/ 116 h 173"/>
                <a:gd name="T76" fmla="*/ 322 w 352"/>
                <a:gd name="T77" fmla="*/ 133 h 173"/>
                <a:gd name="T78" fmla="*/ 305 w 352"/>
                <a:gd name="T79" fmla="*/ 144 h 173"/>
                <a:gd name="T80" fmla="*/ 295 w 352"/>
                <a:gd name="T81" fmla="*/ 154 h 173"/>
                <a:gd name="T82" fmla="*/ 245 w 352"/>
                <a:gd name="T83" fmla="*/ 159 h 173"/>
                <a:gd name="T84" fmla="*/ 233 w 352"/>
                <a:gd name="T85" fmla="*/ 173 h 173"/>
                <a:gd name="T86" fmla="*/ 193 w 352"/>
                <a:gd name="T87" fmla="*/ 17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2" h="173">
                  <a:moveTo>
                    <a:pt x="193" y="170"/>
                  </a:moveTo>
                  <a:lnTo>
                    <a:pt x="137" y="156"/>
                  </a:lnTo>
                  <a:lnTo>
                    <a:pt x="127" y="149"/>
                  </a:lnTo>
                  <a:lnTo>
                    <a:pt x="120" y="130"/>
                  </a:lnTo>
                  <a:lnTo>
                    <a:pt x="58" y="149"/>
                  </a:lnTo>
                  <a:lnTo>
                    <a:pt x="42" y="145"/>
                  </a:lnTo>
                  <a:lnTo>
                    <a:pt x="8" y="136"/>
                  </a:lnTo>
                  <a:lnTo>
                    <a:pt x="2" y="125"/>
                  </a:lnTo>
                  <a:lnTo>
                    <a:pt x="5" y="110"/>
                  </a:lnTo>
                  <a:lnTo>
                    <a:pt x="0" y="103"/>
                  </a:lnTo>
                  <a:lnTo>
                    <a:pt x="16" y="99"/>
                  </a:lnTo>
                  <a:lnTo>
                    <a:pt x="36" y="111"/>
                  </a:lnTo>
                  <a:lnTo>
                    <a:pt x="49" y="99"/>
                  </a:lnTo>
                  <a:lnTo>
                    <a:pt x="81" y="107"/>
                  </a:lnTo>
                  <a:lnTo>
                    <a:pt x="129" y="88"/>
                  </a:lnTo>
                  <a:lnTo>
                    <a:pt x="151" y="91"/>
                  </a:lnTo>
                  <a:lnTo>
                    <a:pt x="154" y="99"/>
                  </a:lnTo>
                  <a:lnTo>
                    <a:pt x="161" y="95"/>
                  </a:lnTo>
                  <a:lnTo>
                    <a:pt x="154" y="62"/>
                  </a:lnTo>
                  <a:lnTo>
                    <a:pt x="157" y="51"/>
                  </a:lnTo>
                  <a:lnTo>
                    <a:pt x="176" y="45"/>
                  </a:lnTo>
                  <a:lnTo>
                    <a:pt x="183" y="29"/>
                  </a:lnTo>
                  <a:lnTo>
                    <a:pt x="197" y="22"/>
                  </a:lnTo>
                  <a:lnTo>
                    <a:pt x="199" y="15"/>
                  </a:lnTo>
                  <a:lnTo>
                    <a:pt x="216" y="26"/>
                  </a:lnTo>
                  <a:lnTo>
                    <a:pt x="234" y="26"/>
                  </a:lnTo>
                  <a:lnTo>
                    <a:pt x="250" y="15"/>
                  </a:lnTo>
                  <a:lnTo>
                    <a:pt x="257" y="0"/>
                  </a:lnTo>
                  <a:lnTo>
                    <a:pt x="287" y="0"/>
                  </a:lnTo>
                  <a:lnTo>
                    <a:pt x="305" y="15"/>
                  </a:lnTo>
                  <a:lnTo>
                    <a:pt x="335" y="12"/>
                  </a:lnTo>
                  <a:lnTo>
                    <a:pt x="341" y="32"/>
                  </a:lnTo>
                  <a:lnTo>
                    <a:pt x="352" y="63"/>
                  </a:lnTo>
                  <a:lnTo>
                    <a:pt x="349" y="87"/>
                  </a:lnTo>
                  <a:lnTo>
                    <a:pt x="327" y="87"/>
                  </a:lnTo>
                  <a:lnTo>
                    <a:pt x="324" y="93"/>
                  </a:lnTo>
                  <a:lnTo>
                    <a:pt x="329" y="100"/>
                  </a:lnTo>
                  <a:lnTo>
                    <a:pt x="322" y="116"/>
                  </a:lnTo>
                  <a:lnTo>
                    <a:pt x="322" y="133"/>
                  </a:lnTo>
                  <a:lnTo>
                    <a:pt x="305" y="144"/>
                  </a:lnTo>
                  <a:lnTo>
                    <a:pt x="295" y="154"/>
                  </a:lnTo>
                  <a:lnTo>
                    <a:pt x="245" y="159"/>
                  </a:lnTo>
                  <a:lnTo>
                    <a:pt x="233" y="173"/>
                  </a:lnTo>
                  <a:lnTo>
                    <a:pt x="193" y="17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32" name="Freeform 135">
              <a:extLst>
                <a:ext uri="{FF2B5EF4-FFF2-40B4-BE49-F238E27FC236}">
                  <a16:creationId xmlns:a16="http://schemas.microsoft.com/office/drawing/2014/main" id="{E4AC2102-2FBA-3A46-A197-24C32EC70F78}"/>
                </a:ext>
              </a:extLst>
            </p:cNvPr>
            <p:cNvSpPr>
              <a:spLocks noChangeAspect="1"/>
            </p:cNvSpPr>
            <p:nvPr/>
          </p:nvSpPr>
          <p:spPr bwMode="gray">
            <a:xfrm>
              <a:off x="4848200" y="2812572"/>
              <a:ext cx="6359" cy="13427"/>
            </a:xfrm>
            <a:custGeom>
              <a:avLst/>
              <a:gdLst>
                <a:gd name="T0" fmla="*/ 6 w 11"/>
                <a:gd name="T1" fmla="*/ 26 h 26"/>
                <a:gd name="T2" fmla="*/ 11 w 11"/>
                <a:gd name="T3" fmla="*/ 10 h 26"/>
                <a:gd name="T4" fmla="*/ 3 w 11"/>
                <a:gd name="T5" fmla="*/ 0 h 26"/>
                <a:gd name="T6" fmla="*/ 0 w 11"/>
                <a:gd name="T7" fmla="*/ 15 h 26"/>
                <a:gd name="T8" fmla="*/ 6 w 11"/>
                <a:gd name="T9" fmla="*/ 26 h 26"/>
              </a:gdLst>
              <a:ahLst/>
              <a:cxnLst>
                <a:cxn ang="0">
                  <a:pos x="T0" y="T1"/>
                </a:cxn>
                <a:cxn ang="0">
                  <a:pos x="T2" y="T3"/>
                </a:cxn>
                <a:cxn ang="0">
                  <a:pos x="T4" y="T5"/>
                </a:cxn>
                <a:cxn ang="0">
                  <a:pos x="T6" y="T7"/>
                </a:cxn>
                <a:cxn ang="0">
                  <a:pos x="T8" y="T9"/>
                </a:cxn>
              </a:cxnLst>
              <a:rect l="0" t="0" r="r" b="b"/>
              <a:pathLst>
                <a:path w="11" h="26">
                  <a:moveTo>
                    <a:pt x="6" y="26"/>
                  </a:moveTo>
                  <a:lnTo>
                    <a:pt x="11" y="10"/>
                  </a:lnTo>
                  <a:lnTo>
                    <a:pt x="3" y="0"/>
                  </a:lnTo>
                  <a:lnTo>
                    <a:pt x="0" y="15"/>
                  </a:lnTo>
                  <a:lnTo>
                    <a:pt x="6" y="26"/>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33" name="Freeform 136">
              <a:extLst>
                <a:ext uri="{FF2B5EF4-FFF2-40B4-BE49-F238E27FC236}">
                  <a16:creationId xmlns:a16="http://schemas.microsoft.com/office/drawing/2014/main" id="{477FFA93-5F45-D941-8A9E-43B1BEC7BBF5}"/>
                </a:ext>
              </a:extLst>
            </p:cNvPr>
            <p:cNvSpPr>
              <a:spLocks noChangeAspect="1"/>
            </p:cNvSpPr>
            <p:nvPr/>
          </p:nvSpPr>
          <p:spPr bwMode="gray">
            <a:xfrm>
              <a:off x="4951521" y="2490332"/>
              <a:ext cx="224128" cy="251271"/>
            </a:xfrm>
            <a:custGeom>
              <a:avLst/>
              <a:gdLst>
                <a:gd name="T0" fmla="*/ 3 w 459"/>
                <a:gd name="T1" fmla="*/ 86 h 428"/>
                <a:gd name="T2" fmla="*/ 11 w 459"/>
                <a:gd name="T3" fmla="*/ 108 h 428"/>
                <a:gd name="T4" fmla="*/ 11 w 459"/>
                <a:gd name="T5" fmla="*/ 122 h 428"/>
                <a:gd name="T6" fmla="*/ 0 w 459"/>
                <a:gd name="T7" fmla="*/ 159 h 428"/>
                <a:gd name="T8" fmla="*/ 14 w 459"/>
                <a:gd name="T9" fmla="*/ 167 h 428"/>
                <a:gd name="T10" fmla="*/ 20 w 459"/>
                <a:gd name="T11" fmla="*/ 217 h 428"/>
                <a:gd name="T12" fmla="*/ 23 w 459"/>
                <a:gd name="T13" fmla="*/ 247 h 428"/>
                <a:gd name="T14" fmla="*/ 37 w 459"/>
                <a:gd name="T15" fmla="*/ 266 h 428"/>
                <a:gd name="T16" fmla="*/ 29 w 459"/>
                <a:gd name="T17" fmla="*/ 305 h 428"/>
                <a:gd name="T18" fmla="*/ 34 w 459"/>
                <a:gd name="T19" fmla="*/ 308 h 428"/>
                <a:gd name="T20" fmla="*/ 46 w 459"/>
                <a:gd name="T21" fmla="*/ 294 h 428"/>
                <a:gd name="T22" fmla="*/ 60 w 459"/>
                <a:gd name="T23" fmla="*/ 308 h 428"/>
                <a:gd name="T24" fmla="*/ 85 w 459"/>
                <a:gd name="T25" fmla="*/ 311 h 428"/>
                <a:gd name="T26" fmla="*/ 102 w 459"/>
                <a:gd name="T27" fmla="*/ 322 h 428"/>
                <a:gd name="T28" fmla="*/ 99 w 459"/>
                <a:gd name="T29" fmla="*/ 334 h 428"/>
                <a:gd name="T30" fmla="*/ 120 w 459"/>
                <a:gd name="T31" fmla="*/ 353 h 428"/>
                <a:gd name="T32" fmla="*/ 131 w 459"/>
                <a:gd name="T33" fmla="*/ 347 h 428"/>
                <a:gd name="T34" fmla="*/ 129 w 459"/>
                <a:gd name="T35" fmla="*/ 337 h 428"/>
                <a:gd name="T36" fmla="*/ 167 w 459"/>
                <a:gd name="T37" fmla="*/ 347 h 428"/>
                <a:gd name="T38" fmla="*/ 167 w 459"/>
                <a:gd name="T39" fmla="*/ 359 h 428"/>
                <a:gd name="T40" fmla="*/ 187 w 459"/>
                <a:gd name="T41" fmla="*/ 367 h 428"/>
                <a:gd name="T42" fmla="*/ 202 w 459"/>
                <a:gd name="T43" fmla="*/ 393 h 428"/>
                <a:gd name="T44" fmla="*/ 219 w 459"/>
                <a:gd name="T45" fmla="*/ 399 h 428"/>
                <a:gd name="T46" fmla="*/ 227 w 459"/>
                <a:gd name="T47" fmla="*/ 402 h 428"/>
                <a:gd name="T48" fmla="*/ 246 w 459"/>
                <a:gd name="T49" fmla="*/ 398 h 428"/>
                <a:gd name="T50" fmla="*/ 266 w 459"/>
                <a:gd name="T51" fmla="*/ 418 h 428"/>
                <a:gd name="T52" fmla="*/ 289 w 459"/>
                <a:gd name="T53" fmla="*/ 407 h 428"/>
                <a:gd name="T54" fmla="*/ 314 w 459"/>
                <a:gd name="T55" fmla="*/ 415 h 428"/>
                <a:gd name="T56" fmla="*/ 339 w 459"/>
                <a:gd name="T57" fmla="*/ 404 h 428"/>
                <a:gd name="T58" fmla="*/ 383 w 459"/>
                <a:gd name="T59" fmla="*/ 428 h 428"/>
                <a:gd name="T60" fmla="*/ 397 w 459"/>
                <a:gd name="T61" fmla="*/ 428 h 428"/>
                <a:gd name="T62" fmla="*/ 395 w 459"/>
                <a:gd name="T63" fmla="*/ 404 h 428"/>
                <a:gd name="T64" fmla="*/ 410 w 459"/>
                <a:gd name="T65" fmla="*/ 373 h 428"/>
                <a:gd name="T66" fmla="*/ 454 w 459"/>
                <a:gd name="T67" fmla="*/ 333 h 428"/>
                <a:gd name="T68" fmla="*/ 459 w 459"/>
                <a:gd name="T69" fmla="*/ 322 h 428"/>
                <a:gd name="T70" fmla="*/ 454 w 459"/>
                <a:gd name="T71" fmla="*/ 299 h 428"/>
                <a:gd name="T72" fmla="*/ 444 w 459"/>
                <a:gd name="T73" fmla="*/ 286 h 428"/>
                <a:gd name="T74" fmla="*/ 433 w 459"/>
                <a:gd name="T75" fmla="*/ 247 h 428"/>
                <a:gd name="T76" fmla="*/ 436 w 459"/>
                <a:gd name="T77" fmla="*/ 217 h 428"/>
                <a:gd name="T78" fmla="*/ 419 w 459"/>
                <a:gd name="T79" fmla="*/ 196 h 428"/>
                <a:gd name="T80" fmla="*/ 450 w 459"/>
                <a:gd name="T81" fmla="*/ 164 h 428"/>
                <a:gd name="T82" fmla="*/ 450 w 459"/>
                <a:gd name="T83" fmla="*/ 136 h 428"/>
                <a:gd name="T84" fmla="*/ 434 w 459"/>
                <a:gd name="T85" fmla="*/ 66 h 428"/>
                <a:gd name="T86" fmla="*/ 428 w 459"/>
                <a:gd name="T87" fmla="*/ 52 h 428"/>
                <a:gd name="T88" fmla="*/ 399 w 459"/>
                <a:gd name="T89" fmla="*/ 35 h 428"/>
                <a:gd name="T90" fmla="*/ 318 w 459"/>
                <a:gd name="T91" fmla="*/ 43 h 428"/>
                <a:gd name="T92" fmla="*/ 253 w 459"/>
                <a:gd name="T93" fmla="*/ 31 h 428"/>
                <a:gd name="T94" fmla="*/ 216 w 459"/>
                <a:gd name="T95" fmla="*/ 43 h 428"/>
                <a:gd name="T96" fmla="*/ 201 w 459"/>
                <a:gd name="T97" fmla="*/ 14 h 428"/>
                <a:gd name="T98" fmla="*/ 213 w 459"/>
                <a:gd name="T99" fmla="*/ 18 h 428"/>
                <a:gd name="T100" fmla="*/ 209 w 459"/>
                <a:gd name="T101" fmla="*/ 6 h 428"/>
                <a:gd name="T102" fmla="*/ 179 w 459"/>
                <a:gd name="T103" fmla="*/ 0 h 428"/>
                <a:gd name="T104" fmla="*/ 145 w 459"/>
                <a:gd name="T105" fmla="*/ 6 h 428"/>
                <a:gd name="T106" fmla="*/ 86 w 459"/>
                <a:gd name="T107" fmla="*/ 45 h 428"/>
                <a:gd name="T108" fmla="*/ 14 w 459"/>
                <a:gd name="T109" fmla="*/ 73 h 428"/>
                <a:gd name="T110" fmla="*/ 7 w 459"/>
                <a:gd name="T111" fmla="*/ 77 h 428"/>
                <a:gd name="T112" fmla="*/ 17 w 459"/>
                <a:gd name="T113" fmla="*/ 81 h 428"/>
                <a:gd name="T114" fmla="*/ 15 w 459"/>
                <a:gd name="T115" fmla="*/ 93 h 428"/>
                <a:gd name="T116" fmla="*/ 3 w 459"/>
                <a:gd name="T117" fmla="*/ 86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9" h="428">
                  <a:moveTo>
                    <a:pt x="3" y="86"/>
                  </a:moveTo>
                  <a:lnTo>
                    <a:pt x="11" y="108"/>
                  </a:lnTo>
                  <a:lnTo>
                    <a:pt x="11" y="122"/>
                  </a:lnTo>
                  <a:lnTo>
                    <a:pt x="0" y="159"/>
                  </a:lnTo>
                  <a:lnTo>
                    <a:pt x="14" y="167"/>
                  </a:lnTo>
                  <a:lnTo>
                    <a:pt x="20" y="217"/>
                  </a:lnTo>
                  <a:lnTo>
                    <a:pt x="23" y="247"/>
                  </a:lnTo>
                  <a:lnTo>
                    <a:pt x="37" y="266"/>
                  </a:lnTo>
                  <a:lnTo>
                    <a:pt x="29" y="305"/>
                  </a:lnTo>
                  <a:lnTo>
                    <a:pt x="34" y="308"/>
                  </a:lnTo>
                  <a:lnTo>
                    <a:pt x="46" y="294"/>
                  </a:lnTo>
                  <a:lnTo>
                    <a:pt x="60" y="308"/>
                  </a:lnTo>
                  <a:lnTo>
                    <a:pt x="85" y="311"/>
                  </a:lnTo>
                  <a:lnTo>
                    <a:pt x="102" y="322"/>
                  </a:lnTo>
                  <a:lnTo>
                    <a:pt x="99" y="334"/>
                  </a:lnTo>
                  <a:lnTo>
                    <a:pt x="120" y="353"/>
                  </a:lnTo>
                  <a:lnTo>
                    <a:pt x="131" y="347"/>
                  </a:lnTo>
                  <a:lnTo>
                    <a:pt x="129" y="337"/>
                  </a:lnTo>
                  <a:lnTo>
                    <a:pt x="167" y="347"/>
                  </a:lnTo>
                  <a:lnTo>
                    <a:pt x="167" y="359"/>
                  </a:lnTo>
                  <a:lnTo>
                    <a:pt x="187" y="367"/>
                  </a:lnTo>
                  <a:lnTo>
                    <a:pt x="202" y="393"/>
                  </a:lnTo>
                  <a:lnTo>
                    <a:pt x="219" y="399"/>
                  </a:lnTo>
                  <a:lnTo>
                    <a:pt x="227" y="402"/>
                  </a:lnTo>
                  <a:lnTo>
                    <a:pt x="246" y="398"/>
                  </a:lnTo>
                  <a:lnTo>
                    <a:pt x="266" y="418"/>
                  </a:lnTo>
                  <a:lnTo>
                    <a:pt x="289" y="407"/>
                  </a:lnTo>
                  <a:lnTo>
                    <a:pt x="314" y="415"/>
                  </a:lnTo>
                  <a:lnTo>
                    <a:pt x="339" y="404"/>
                  </a:lnTo>
                  <a:lnTo>
                    <a:pt x="383" y="428"/>
                  </a:lnTo>
                  <a:lnTo>
                    <a:pt x="397" y="428"/>
                  </a:lnTo>
                  <a:lnTo>
                    <a:pt x="395" y="404"/>
                  </a:lnTo>
                  <a:lnTo>
                    <a:pt x="410" y="373"/>
                  </a:lnTo>
                  <a:lnTo>
                    <a:pt x="454" y="333"/>
                  </a:lnTo>
                  <a:lnTo>
                    <a:pt x="459" y="322"/>
                  </a:lnTo>
                  <a:lnTo>
                    <a:pt x="454" y="299"/>
                  </a:lnTo>
                  <a:lnTo>
                    <a:pt x="444" y="286"/>
                  </a:lnTo>
                  <a:lnTo>
                    <a:pt x="433" y="247"/>
                  </a:lnTo>
                  <a:lnTo>
                    <a:pt x="436" y="217"/>
                  </a:lnTo>
                  <a:lnTo>
                    <a:pt x="419" y="196"/>
                  </a:lnTo>
                  <a:lnTo>
                    <a:pt x="450" y="164"/>
                  </a:lnTo>
                  <a:lnTo>
                    <a:pt x="450" y="136"/>
                  </a:lnTo>
                  <a:lnTo>
                    <a:pt x="434" y="66"/>
                  </a:lnTo>
                  <a:lnTo>
                    <a:pt x="428" y="52"/>
                  </a:lnTo>
                  <a:lnTo>
                    <a:pt x="399" y="35"/>
                  </a:lnTo>
                  <a:lnTo>
                    <a:pt x="318" y="43"/>
                  </a:lnTo>
                  <a:lnTo>
                    <a:pt x="253" y="31"/>
                  </a:lnTo>
                  <a:lnTo>
                    <a:pt x="216" y="43"/>
                  </a:lnTo>
                  <a:lnTo>
                    <a:pt x="201" y="14"/>
                  </a:lnTo>
                  <a:lnTo>
                    <a:pt x="213" y="18"/>
                  </a:lnTo>
                  <a:lnTo>
                    <a:pt x="209" y="6"/>
                  </a:lnTo>
                  <a:lnTo>
                    <a:pt x="179" y="0"/>
                  </a:lnTo>
                  <a:lnTo>
                    <a:pt x="145" y="6"/>
                  </a:lnTo>
                  <a:lnTo>
                    <a:pt x="86" y="45"/>
                  </a:lnTo>
                  <a:lnTo>
                    <a:pt x="14" y="73"/>
                  </a:lnTo>
                  <a:lnTo>
                    <a:pt x="7" y="77"/>
                  </a:lnTo>
                  <a:lnTo>
                    <a:pt x="17" y="81"/>
                  </a:lnTo>
                  <a:lnTo>
                    <a:pt x="15" y="93"/>
                  </a:lnTo>
                  <a:lnTo>
                    <a:pt x="3" y="86"/>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134" name="Freeform 137">
              <a:extLst>
                <a:ext uri="{FF2B5EF4-FFF2-40B4-BE49-F238E27FC236}">
                  <a16:creationId xmlns:a16="http://schemas.microsoft.com/office/drawing/2014/main" id="{1F25EB9C-8445-9040-8A1D-029A6B08E98D}"/>
                </a:ext>
              </a:extLst>
            </p:cNvPr>
            <p:cNvSpPr>
              <a:spLocks noChangeAspect="1"/>
            </p:cNvSpPr>
            <p:nvPr/>
          </p:nvSpPr>
          <p:spPr bwMode="gray">
            <a:xfrm>
              <a:off x="5105709" y="2331130"/>
              <a:ext cx="165317" cy="117003"/>
            </a:xfrm>
            <a:custGeom>
              <a:avLst/>
              <a:gdLst>
                <a:gd name="T0" fmla="*/ 266 w 339"/>
                <a:gd name="T1" fmla="*/ 200 h 200"/>
                <a:gd name="T2" fmla="*/ 285 w 339"/>
                <a:gd name="T3" fmla="*/ 188 h 200"/>
                <a:gd name="T4" fmla="*/ 305 w 339"/>
                <a:gd name="T5" fmla="*/ 191 h 200"/>
                <a:gd name="T6" fmla="*/ 324 w 339"/>
                <a:gd name="T7" fmla="*/ 164 h 200"/>
                <a:gd name="T8" fmla="*/ 339 w 339"/>
                <a:gd name="T9" fmla="*/ 159 h 200"/>
                <a:gd name="T10" fmla="*/ 336 w 339"/>
                <a:gd name="T11" fmla="*/ 125 h 200"/>
                <a:gd name="T12" fmla="*/ 312 w 339"/>
                <a:gd name="T13" fmla="*/ 95 h 200"/>
                <a:gd name="T14" fmla="*/ 317 w 339"/>
                <a:gd name="T15" fmla="*/ 62 h 200"/>
                <a:gd name="T16" fmla="*/ 300 w 339"/>
                <a:gd name="T17" fmla="*/ 40 h 200"/>
                <a:gd name="T18" fmla="*/ 260 w 339"/>
                <a:gd name="T19" fmla="*/ 40 h 200"/>
                <a:gd name="T20" fmla="*/ 237 w 339"/>
                <a:gd name="T21" fmla="*/ 17 h 200"/>
                <a:gd name="T22" fmla="*/ 200 w 339"/>
                <a:gd name="T23" fmla="*/ 0 h 200"/>
                <a:gd name="T24" fmla="*/ 158 w 339"/>
                <a:gd name="T25" fmla="*/ 15 h 200"/>
                <a:gd name="T26" fmla="*/ 156 w 339"/>
                <a:gd name="T27" fmla="*/ 20 h 200"/>
                <a:gd name="T28" fmla="*/ 156 w 339"/>
                <a:gd name="T29" fmla="*/ 74 h 200"/>
                <a:gd name="T30" fmla="*/ 146 w 339"/>
                <a:gd name="T31" fmla="*/ 98 h 200"/>
                <a:gd name="T32" fmla="*/ 143 w 339"/>
                <a:gd name="T33" fmla="*/ 88 h 200"/>
                <a:gd name="T34" fmla="*/ 124 w 339"/>
                <a:gd name="T35" fmla="*/ 95 h 200"/>
                <a:gd name="T36" fmla="*/ 110 w 339"/>
                <a:gd name="T37" fmla="*/ 87 h 200"/>
                <a:gd name="T38" fmla="*/ 102 w 339"/>
                <a:gd name="T39" fmla="*/ 65 h 200"/>
                <a:gd name="T40" fmla="*/ 101 w 339"/>
                <a:gd name="T41" fmla="*/ 74 h 200"/>
                <a:gd name="T42" fmla="*/ 73 w 339"/>
                <a:gd name="T43" fmla="*/ 31 h 200"/>
                <a:gd name="T44" fmla="*/ 36 w 339"/>
                <a:gd name="T45" fmla="*/ 45 h 200"/>
                <a:gd name="T46" fmla="*/ 5 w 339"/>
                <a:gd name="T47" fmla="*/ 115 h 200"/>
                <a:gd name="T48" fmla="*/ 0 w 339"/>
                <a:gd name="T49" fmla="*/ 158 h 200"/>
                <a:gd name="T50" fmla="*/ 2 w 339"/>
                <a:gd name="T51" fmla="*/ 164 h 200"/>
                <a:gd name="T52" fmla="*/ 11 w 339"/>
                <a:gd name="T53" fmla="*/ 166 h 200"/>
                <a:gd name="T54" fmla="*/ 22 w 339"/>
                <a:gd name="T55" fmla="*/ 150 h 200"/>
                <a:gd name="T56" fmla="*/ 54 w 339"/>
                <a:gd name="T57" fmla="*/ 137 h 200"/>
                <a:gd name="T58" fmla="*/ 127 w 339"/>
                <a:gd name="T59" fmla="*/ 139 h 200"/>
                <a:gd name="T60" fmla="*/ 153 w 339"/>
                <a:gd name="T61" fmla="*/ 149 h 200"/>
                <a:gd name="T62" fmla="*/ 183 w 339"/>
                <a:gd name="T63" fmla="*/ 133 h 200"/>
                <a:gd name="T64" fmla="*/ 195 w 339"/>
                <a:gd name="T65" fmla="*/ 158 h 200"/>
                <a:gd name="T66" fmla="*/ 215 w 339"/>
                <a:gd name="T67" fmla="*/ 159 h 200"/>
                <a:gd name="T68" fmla="*/ 266 w 339"/>
                <a:gd name="T69"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9" h="200">
                  <a:moveTo>
                    <a:pt x="266" y="200"/>
                  </a:moveTo>
                  <a:lnTo>
                    <a:pt x="285" y="188"/>
                  </a:lnTo>
                  <a:lnTo>
                    <a:pt x="305" y="191"/>
                  </a:lnTo>
                  <a:lnTo>
                    <a:pt x="324" y="164"/>
                  </a:lnTo>
                  <a:lnTo>
                    <a:pt x="339" y="159"/>
                  </a:lnTo>
                  <a:lnTo>
                    <a:pt x="336" y="125"/>
                  </a:lnTo>
                  <a:lnTo>
                    <a:pt x="312" y="95"/>
                  </a:lnTo>
                  <a:lnTo>
                    <a:pt x="317" y="62"/>
                  </a:lnTo>
                  <a:lnTo>
                    <a:pt x="300" y="40"/>
                  </a:lnTo>
                  <a:lnTo>
                    <a:pt x="260" y="40"/>
                  </a:lnTo>
                  <a:lnTo>
                    <a:pt x="237" y="17"/>
                  </a:lnTo>
                  <a:lnTo>
                    <a:pt x="200" y="0"/>
                  </a:lnTo>
                  <a:lnTo>
                    <a:pt x="158" y="15"/>
                  </a:lnTo>
                  <a:lnTo>
                    <a:pt x="156" y="20"/>
                  </a:lnTo>
                  <a:lnTo>
                    <a:pt x="156" y="74"/>
                  </a:lnTo>
                  <a:lnTo>
                    <a:pt x="146" y="98"/>
                  </a:lnTo>
                  <a:lnTo>
                    <a:pt x="143" y="88"/>
                  </a:lnTo>
                  <a:lnTo>
                    <a:pt x="124" y="95"/>
                  </a:lnTo>
                  <a:lnTo>
                    <a:pt x="110" y="87"/>
                  </a:lnTo>
                  <a:lnTo>
                    <a:pt x="102" y="65"/>
                  </a:lnTo>
                  <a:lnTo>
                    <a:pt x="101" y="74"/>
                  </a:lnTo>
                  <a:lnTo>
                    <a:pt x="73" y="31"/>
                  </a:lnTo>
                  <a:lnTo>
                    <a:pt x="36" y="45"/>
                  </a:lnTo>
                  <a:lnTo>
                    <a:pt x="5" y="115"/>
                  </a:lnTo>
                  <a:lnTo>
                    <a:pt x="0" y="158"/>
                  </a:lnTo>
                  <a:lnTo>
                    <a:pt x="2" y="164"/>
                  </a:lnTo>
                  <a:lnTo>
                    <a:pt x="11" y="166"/>
                  </a:lnTo>
                  <a:lnTo>
                    <a:pt x="22" y="150"/>
                  </a:lnTo>
                  <a:lnTo>
                    <a:pt x="54" y="137"/>
                  </a:lnTo>
                  <a:lnTo>
                    <a:pt x="127" y="139"/>
                  </a:lnTo>
                  <a:lnTo>
                    <a:pt x="153" y="149"/>
                  </a:lnTo>
                  <a:lnTo>
                    <a:pt x="183" y="133"/>
                  </a:lnTo>
                  <a:lnTo>
                    <a:pt x="195" y="158"/>
                  </a:lnTo>
                  <a:lnTo>
                    <a:pt x="215" y="159"/>
                  </a:lnTo>
                  <a:lnTo>
                    <a:pt x="266" y="20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35" name="Freeform 138">
              <a:extLst>
                <a:ext uri="{FF2B5EF4-FFF2-40B4-BE49-F238E27FC236}">
                  <a16:creationId xmlns:a16="http://schemas.microsoft.com/office/drawing/2014/main" id="{7804BDE6-580B-D344-8B6E-8BC03F4977A3}"/>
                </a:ext>
              </a:extLst>
            </p:cNvPr>
            <p:cNvSpPr>
              <a:spLocks noChangeAspect="1"/>
            </p:cNvSpPr>
            <p:nvPr/>
          </p:nvSpPr>
          <p:spPr bwMode="gray">
            <a:xfrm>
              <a:off x="5105709" y="2407853"/>
              <a:ext cx="130347" cy="120841"/>
            </a:xfrm>
            <a:custGeom>
              <a:avLst/>
              <a:gdLst>
                <a:gd name="T0" fmla="*/ 178 w 266"/>
                <a:gd name="T1" fmla="*/ 200 h 204"/>
                <a:gd name="T2" fmla="*/ 175 w 266"/>
                <a:gd name="T3" fmla="*/ 189 h 204"/>
                <a:gd name="T4" fmla="*/ 198 w 266"/>
                <a:gd name="T5" fmla="*/ 177 h 204"/>
                <a:gd name="T6" fmla="*/ 221 w 266"/>
                <a:gd name="T7" fmla="*/ 186 h 204"/>
                <a:gd name="T8" fmla="*/ 212 w 266"/>
                <a:gd name="T9" fmla="*/ 169 h 204"/>
                <a:gd name="T10" fmla="*/ 221 w 266"/>
                <a:gd name="T11" fmla="*/ 150 h 204"/>
                <a:gd name="T12" fmla="*/ 224 w 266"/>
                <a:gd name="T13" fmla="*/ 122 h 204"/>
                <a:gd name="T14" fmla="*/ 260 w 266"/>
                <a:gd name="T15" fmla="*/ 109 h 204"/>
                <a:gd name="T16" fmla="*/ 266 w 266"/>
                <a:gd name="T17" fmla="*/ 93 h 204"/>
                <a:gd name="T18" fmla="*/ 252 w 266"/>
                <a:gd name="T19" fmla="*/ 90 h 204"/>
                <a:gd name="T20" fmla="*/ 252 w 266"/>
                <a:gd name="T21" fmla="*/ 76 h 204"/>
                <a:gd name="T22" fmla="*/ 264 w 266"/>
                <a:gd name="T23" fmla="*/ 68 h 204"/>
                <a:gd name="T24" fmla="*/ 264 w 266"/>
                <a:gd name="T25" fmla="*/ 67 h 204"/>
                <a:gd name="T26" fmla="*/ 213 w 266"/>
                <a:gd name="T27" fmla="*/ 26 h 204"/>
                <a:gd name="T28" fmla="*/ 193 w 266"/>
                <a:gd name="T29" fmla="*/ 25 h 204"/>
                <a:gd name="T30" fmla="*/ 181 w 266"/>
                <a:gd name="T31" fmla="*/ 0 h 204"/>
                <a:gd name="T32" fmla="*/ 151 w 266"/>
                <a:gd name="T33" fmla="*/ 16 h 204"/>
                <a:gd name="T34" fmla="*/ 125 w 266"/>
                <a:gd name="T35" fmla="*/ 6 h 204"/>
                <a:gd name="T36" fmla="*/ 52 w 266"/>
                <a:gd name="T37" fmla="*/ 4 h 204"/>
                <a:gd name="T38" fmla="*/ 20 w 266"/>
                <a:gd name="T39" fmla="*/ 17 h 204"/>
                <a:gd name="T40" fmla="*/ 9 w 266"/>
                <a:gd name="T41" fmla="*/ 33 h 204"/>
                <a:gd name="T42" fmla="*/ 0 w 266"/>
                <a:gd name="T43" fmla="*/ 31 h 204"/>
                <a:gd name="T44" fmla="*/ 14 w 266"/>
                <a:gd name="T45" fmla="*/ 101 h 204"/>
                <a:gd name="T46" fmla="*/ 76 w 266"/>
                <a:gd name="T47" fmla="*/ 116 h 204"/>
                <a:gd name="T48" fmla="*/ 85 w 266"/>
                <a:gd name="T49" fmla="*/ 135 h 204"/>
                <a:gd name="T50" fmla="*/ 80 w 266"/>
                <a:gd name="T51" fmla="*/ 147 h 204"/>
                <a:gd name="T52" fmla="*/ 82 w 266"/>
                <a:gd name="T53" fmla="*/ 173 h 204"/>
                <a:gd name="T54" fmla="*/ 111 w 266"/>
                <a:gd name="T55" fmla="*/ 190 h 204"/>
                <a:gd name="T56" fmla="*/ 117 w 266"/>
                <a:gd name="T57" fmla="*/ 204 h 204"/>
                <a:gd name="T58" fmla="*/ 178 w 266"/>
                <a:gd name="T59" fmla="*/ 20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6" h="204">
                  <a:moveTo>
                    <a:pt x="178" y="200"/>
                  </a:moveTo>
                  <a:lnTo>
                    <a:pt x="175" y="189"/>
                  </a:lnTo>
                  <a:lnTo>
                    <a:pt x="198" y="177"/>
                  </a:lnTo>
                  <a:lnTo>
                    <a:pt x="221" y="186"/>
                  </a:lnTo>
                  <a:lnTo>
                    <a:pt x="212" y="169"/>
                  </a:lnTo>
                  <a:lnTo>
                    <a:pt x="221" y="150"/>
                  </a:lnTo>
                  <a:lnTo>
                    <a:pt x="224" y="122"/>
                  </a:lnTo>
                  <a:lnTo>
                    <a:pt x="260" y="109"/>
                  </a:lnTo>
                  <a:lnTo>
                    <a:pt x="266" y="93"/>
                  </a:lnTo>
                  <a:lnTo>
                    <a:pt x="252" y="90"/>
                  </a:lnTo>
                  <a:lnTo>
                    <a:pt x="252" y="76"/>
                  </a:lnTo>
                  <a:lnTo>
                    <a:pt x="264" y="68"/>
                  </a:lnTo>
                  <a:lnTo>
                    <a:pt x="264" y="67"/>
                  </a:lnTo>
                  <a:lnTo>
                    <a:pt x="213" y="26"/>
                  </a:lnTo>
                  <a:lnTo>
                    <a:pt x="193" y="25"/>
                  </a:lnTo>
                  <a:lnTo>
                    <a:pt x="181" y="0"/>
                  </a:lnTo>
                  <a:lnTo>
                    <a:pt x="151" y="16"/>
                  </a:lnTo>
                  <a:lnTo>
                    <a:pt x="125" y="6"/>
                  </a:lnTo>
                  <a:lnTo>
                    <a:pt x="52" y="4"/>
                  </a:lnTo>
                  <a:lnTo>
                    <a:pt x="20" y="17"/>
                  </a:lnTo>
                  <a:lnTo>
                    <a:pt x="9" y="33"/>
                  </a:lnTo>
                  <a:lnTo>
                    <a:pt x="0" y="31"/>
                  </a:lnTo>
                  <a:lnTo>
                    <a:pt x="14" y="101"/>
                  </a:lnTo>
                  <a:lnTo>
                    <a:pt x="76" y="116"/>
                  </a:lnTo>
                  <a:lnTo>
                    <a:pt x="85" y="135"/>
                  </a:lnTo>
                  <a:lnTo>
                    <a:pt x="80" y="147"/>
                  </a:lnTo>
                  <a:lnTo>
                    <a:pt x="82" y="173"/>
                  </a:lnTo>
                  <a:lnTo>
                    <a:pt x="111" y="190"/>
                  </a:lnTo>
                  <a:lnTo>
                    <a:pt x="117" y="204"/>
                  </a:lnTo>
                  <a:lnTo>
                    <a:pt x="178" y="20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36" name="Freeform 139">
              <a:extLst>
                <a:ext uri="{FF2B5EF4-FFF2-40B4-BE49-F238E27FC236}">
                  <a16:creationId xmlns:a16="http://schemas.microsoft.com/office/drawing/2014/main" id="{A8723487-796C-B049-ACF0-EDF67ACC5DD9}"/>
                </a:ext>
              </a:extLst>
            </p:cNvPr>
            <p:cNvSpPr>
              <a:spLocks noChangeAspect="1"/>
            </p:cNvSpPr>
            <p:nvPr/>
          </p:nvSpPr>
          <p:spPr bwMode="gray">
            <a:xfrm>
              <a:off x="5073920" y="2448134"/>
              <a:ext cx="71531" cy="69051"/>
            </a:xfrm>
            <a:custGeom>
              <a:avLst/>
              <a:gdLst>
                <a:gd name="T0" fmla="*/ 0 w 149"/>
                <a:gd name="T1" fmla="*/ 101 h 113"/>
                <a:gd name="T2" fmla="*/ 65 w 149"/>
                <a:gd name="T3" fmla="*/ 113 h 113"/>
                <a:gd name="T4" fmla="*/ 146 w 149"/>
                <a:gd name="T5" fmla="*/ 105 h 113"/>
                <a:gd name="T6" fmla="*/ 144 w 149"/>
                <a:gd name="T7" fmla="*/ 79 h 113"/>
                <a:gd name="T8" fmla="*/ 149 w 149"/>
                <a:gd name="T9" fmla="*/ 67 h 113"/>
                <a:gd name="T10" fmla="*/ 140 w 149"/>
                <a:gd name="T11" fmla="*/ 48 h 113"/>
                <a:gd name="T12" fmla="*/ 78 w 149"/>
                <a:gd name="T13" fmla="*/ 33 h 113"/>
                <a:gd name="T14" fmla="*/ 73 w 149"/>
                <a:gd name="T15" fmla="*/ 62 h 113"/>
                <a:gd name="T16" fmla="*/ 47 w 149"/>
                <a:gd name="T17" fmla="*/ 54 h 113"/>
                <a:gd name="T18" fmla="*/ 65 w 149"/>
                <a:gd name="T19" fmla="*/ 24 h 113"/>
                <a:gd name="T20" fmla="*/ 71 w 149"/>
                <a:gd name="T21" fmla="*/ 0 h 113"/>
                <a:gd name="T22" fmla="*/ 54 w 149"/>
                <a:gd name="T23" fmla="*/ 37 h 113"/>
                <a:gd name="T24" fmla="*/ 39 w 149"/>
                <a:gd name="T25" fmla="*/ 59 h 113"/>
                <a:gd name="T26" fmla="*/ 20 w 149"/>
                <a:gd name="T27" fmla="*/ 59 h 113"/>
                <a:gd name="T28" fmla="*/ 11 w 149"/>
                <a:gd name="T29" fmla="*/ 87 h 113"/>
                <a:gd name="T30" fmla="*/ 0 w 149"/>
                <a:gd name="T31" fmla="*/ 10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9" h="113">
                  <a:moveTo>
                    <a:pt x="0" y="101"/>
                  </a:moveTo>
                  <a:lnTo>
                    <a:pt x="65" y="113"/>
                  </a:lnTo>
                  <a:lnTo>
                    <a:pt x="146" y="105"/>
                  </a:lnTo>
                  <a:lnTo>
                    <a:pt x="144" y="79"/>
                  </a:lnTo>
                  <a:lnTo>
                    <a:pt x="149" y="67"/>
                  </a:lnTo>
                  <a:lnTo>
                    <a:pt x="140" y="48"/>
                  </a:lnTo>
                  <a:lnTo>
                    <a:pt x="78" y="33"/>
                  </a:lnTo>
                  <a:lnTo>
                    <a:pt x="73" y="62"/>
                  </a:lnTo>
                  <a:lnTo>
                    <a:pt x="47" y="54"/>
                  </a:lnTo>
                  <a:lnTo>
                    <a:pt x="65" y="24"/>
                  </a:lnTo>
                  <a:lnTo>
                    <a:pt x="71" y="0"/>
                  </a:lnTo>
                  <a:lnTo>
                    <a:pt x="54" y="37"/>
                  </a:lnTo>
                  <a:lnTo>
                    <a:pt x="39" y="59"/>
                  </a:lnTo>
                  <a:lnTo>
                    <a:pt x="20" y="59"/>
                  </a:lnTo>
                  <a:lnTo>
                    <a:pt x="11" y="87"/>
                  </a:lnTo>
                  <a:lnTo>
                    <a:pt x="0" y="101"/>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37" name="Freeform 140">
              <a:extLst>
                <a:ext uri="{FF2B5EF4-FFF2-40B4-BE49-F238E27FC236}">
                  <a16:creationId xmlns:a16="http://schemas.microsoft.com/office/drawing/2014/main" id="{4D0935FF-5A7E-3049-8064-3D7CECDFDDCF}"/>
                </a:ext>
              </a:extLst>
            </p:cNvPr>
            <p:cNvSpPr>
              <a:spLocks noChangeAspect="1"/>
            </p:cNvSpPr>
            <p:nvPr/>
          </p:nvSpPr>
          <p:spPr bwMode="gray">
            <a:xfrm>
              <a:off x="4762362" y="2699404"/>
              <a:ext cx="14308" cy="24935"/>
            </a:xfrm>
            <a:custGeom>
              <a:avLst/>
              <a:gdLst>
                <a:gd name="T0" fmla="*/ 27 w 30"/>
                <a:gd name="T1" fmla="*/ 42 h 42"/>
                <a:gd name="T2" fmla="*/ 30 w 30"/>
                <a:gd name="T3" fmla="*/ 26 h 42"/>
                <a:gd name="T4" fmla="*/ 24 w 30"/>
                <a:gd name="T5" fmla="*/ 14 h 42"/>
                <a:gd name="T6" fmla="*/ 25 w 30"/>
                <a:gd name="T7" fmla="*/ 3 h 42"/>
                <a:gd name="T8" fmla="*/ 19 w 30"/>
                <a:gd name="T9" fmla="*/ 0 h 42"/>
                <a:gd name="T10" fmla="*/ 5 w 30"/>
                <a:gd name="T11" fmla="*/ 4 h 42"/>
                <a:gd name="T12" fmla="*/ 0 w 30"/>
                <a:gd name="T13" fmla="*/ 17 h 42"/>
                <a:gd name="T14" fmla="*/ 3 w 30"/>
                <a:gd name="T15" fmla="*/ 40 h 42"/>
                <a:gd name="T16" fmla="*/ 27 w 30"/>
                <a:gd name="T17"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42">
                  <a:moveTo>
                    <a:pt x="27" y="42"/>
                  </a:moveTo>
                  <a:lnTo>
                    <a:pt x="30" y="26"/>
                  </a:lnTo>
                  <a:lnTo>
                    <a:pt x="24" y="14"/>
                  </a:lnTo>
                  <a:lnTo>
                    <a:pt x="25" y="3"/>
                  </a:lnTo>
                  <a:lnTo>
                    <a:pt x="19" y="0"/>
                  </a:lnTo>
                  <a:lnTo>
                    <a:pt x="5" y="4"/>
                  </a:lnTo>
                  <a:lnTo>
                    <a:pt x="0" y="17"/>
                  </a:lnTo>
                  <a:lnTo>
                    <a:pt x="3" y="40"/>
                  </a:lnTo>
                  <a:lnTo>
                    <a:pt x="27" y="42"/>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38" name="Freeform 141">
              <a:extLst>
                <a:ext uri="{FF2B5EF4-FFF2-40B4-BE49-F238E27FC236}">
                  <a16:creationId xmlns:a16="http://schemas.microsoft.com/office/drawing/2014/main" id="{20ACB6EB-C0A6-AA49-BB44-5ECCAC9322F3}"/>
                </a:ext>
              </a:extLst>
            </p:cNvPr>
            <p:cNvSpPr>
              <a:spLocks noChangeAspect="1"/>
            </p:cNvSpPr>
            <p:nvPr/>
          </p:nvSpPr>
          <p:spPr bwMode="gray">
            <a:xfrm>
              <a:off x="4770311" y="2801062"/>
              <a:ext cx="96964" cy="70970"/>
            </a:xfrm>
            <a:custGeom>
              <a:avLst/>
              <a:gdLst>
                <a:gd name="T0" fmla="*/ 201 w 201"/>
                <a:gd name="T1" fmla="*/ 54 h 121"/>
                <a:gd name="T2" fmla="*/ 167 w 201"/>
                <a:gd name="T3" fmla="*/ 45 h 121"/>
                <a:gd name="T4" fmla="*/ 161 w 201"/>
                <a:gd name="T5" fmla="*/ 34 h 121"/>
                <a:gd name="T6" fmla="*/ 164 w 201"/>
                <a:gd name="T7" fmla="*/ 19 h 121"/>
                <a:gd name="T8" fmla="*/ 159 w 201"/>
                <a:gd name="T9" fmla="*/ 12 h 121"/>
                <a:gd name="T10" fmla="*/ 127 w 201"/>
                <a:gd name="T11" fmla="*/ 0 h 121"/>
                <a:gd name="T12" fmla="*/ 76 w 201"/>
                <a:gd name="T13" fmla="*/ 9 h 121"/>
                <a:gd name="T14" fmla="*/ 70 w 201"/>
                <a:gd name="T15" fmla="*/ 4 h 121"/>
                <a:gd name="T16" fmla="*/ 44 w 201"/>
                <a:gd name="T17" fmla="*/ 11 h 121"/>
                <a:gd name="T18" fmla="*/ 41 w 201"/>
                <a:gd name="T19" fmla="*/ 16 h 121"/>
                <a:gd name="T20" fmla="*/ 44 w 201"/>
                <a:gd name="T21" fmla="*/ 20 h 121"/>
                <a:gd name="T22" fmla="*/ 24 w 201"/>
                <a:gd name="T23" fmla="*/ 42 h 121"/>
                <a:gd name="T24" fmla="*/ 0 w 201"/>
                <a:gd name="T25" fmla="*/ 82 h 121"/>
                <a:gd name="T26" fmla="*/ 2 w 201"/>
                <a:gd name="T27" fmla="*/ 102 h 121"/>
                <a:gd name="T28" fmla="*/ 17 w 201"/>
                <a:gd name="T29" fmla="*/ 85 h 121"/>
                <a:gd name="T30" fmla="*/ 34 w 201"/>
                <a:gd name="T31" fmla="*/ 87 h 121"/>
                <a:gd name="T32" fmla="*/ 36 w 201"/>
                <a:gd name="T33" fmla="*/ 109 h 121"/>
                <a:gd name="T34" fmla="*/ 42 w 201"/>
                <a:gd name="T35" fmla="*/ 110 h 121"/>
                <a:gd name="T36" fmla="*/ 44 w 201"/>
                <a:gd name="T37" fmla="*/ 121 h 121"/>
                <a:gd name="T38" fmla="*/ 83 w 201"/>
                <a:gd name="T39" fmla="*/ 116 h 121"/>
                <a:gd name="T40" fmla="*/ 110 w 201"/>
                <a:gd name="T41" fmla="*/ 84 h 121"/>
                <a:gd name="T42" fmla="*/ 115 w 201"/>
                <a:gd name="T43" fmla="*/ 101 h 121"/>
                <a:gd name="T44" fmla="*/ 135 w 201"/>
                <a:gd name="T45" fmla="*/ 118 h 121"/>
                <a:gd name="T46" fmla="*/ 150 w 201"/>
                <a:gd name="T47" fmla="*/ 80 h 121"/>
                <a:gd name="T48" fmla="*/ 188 w 201"/>
                <a:gd name="T49" fmla="*/ 92 h 121"/>
                <a:gd name="T50" fmla="*/ 188 w 201"/>
                <a:gd name="T51" fmla="*/ 71 h 121"/>
                <a:gd name="T52" fmla="*/ 200 w 201"/>
                <a:gd name="T53" fmla="*/ 68 h 121"/>
                <a:gd name="T54" fmla="*/ 201 w 201"/>
                <a:gd name="T55" fmla="*/ 5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1" h="121">
                  <a:moveTo>
                    <a:pt x="201" y="54"/>
                  </a:moveTo>
                  <a:lnTo>
                    <a:pt x="167" y="45"/>
                  </a:lnTo>
                  <a:lnTo>
                    <a:pt x="161" y="34"/>
                  </a:lnTo>
                  <a:lnTo>
                    <a:pt x="164" y="19"/>
                  </a:lnTo>
                  <a:lnTo>
                    <a:pt x="159" y="12"/>
                  </a:lnTo>
                  <a:lnTo>
                    <a:pt x="127" y="0"/>
                  </a:lnTo>
                  <a:lnTo>
                    <a:pt x="76" y="9"/>
                  </a:lnTo>
                  <a:lnTo>
                    <a:pt x="70" y="4"/>
                  </a:lnTo>
                  <a:lnTo>
                    <a:pt x="44" y="11"/>
                  </a:lnTo>
                  <a:lnTo>
                    <a:pt x="41" y="16"/>
                  </a:lnTo>
                  <a:lnTo>
                    <a:pt x="44" y="20"/>
                  </a:lnTo>
                  <a:lnTo>
                    <a:pt x="24" y="42"/>
                  </a:lnTo>
                  <a:lnTo>
                    <a:pt x="0" y="82"/>
                  </a:lnTo>
                  <a:lnTo>
                    <a:pt x="2" y="102"/>
                  </a:lnTo>
                  <a:lnTo>
                    <a:pt x="17" y="85"/>
                  </a:lnTo>
                  <a:lnTo>
                    <a:pt x="34" y="87"/>
                  </a:lnTo>
                  <a:lnTo>
                    <a:pt x="36" y="109"/>
                  </a:lnTo>
                  <a:lnTo>
                    <a:pt x="42" y="110"/>
                  </a:lnTo>
                  <a:lnTo>
                    <a:pt x="44" y="121"/>
                  </a:lnTo>
                  <a:lnTo>
                    <a:pt x="83" y="116"/>
                  </a:lnTo>
                  <a:lnTo>
                    <a:pt x="110" y="84"/>
                  </a:lnTo>
                  <a:lnTo>
                    <a:pt x="115" y="101"/>
                  </a:lnTo>
                  <a:lnTo>
                    <a:pt x="135" y="118"/>
                  </a:lnTo>
                  <a:lnTo>
                    <a:pt x="150" y="80"/>
                  </a:lnTo>
                  <a:lnTo>
                    <a:pt x="188" y="92"/>
                  </a:lnTo>
                  <a:lnTo>
                    <a:pt x="188" y="71"/>
                  </a:lnTo>
                  <a:lnTo>
                    <a:pt x="200" y="68"/>
                  </a:lnTo>
                  <a:lnTo>
                    <a:pt x="201" y="54"/>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39" name="Freeform 142">
              <a:extLst>
                <a:ext uri="{FF2B5EF4-FFF2-40B4-BE49-F238E27FC236}">
                  <a16:creationId xmlns:a16="http://schemas.microsoft.com/office/drawing/2014/main" id="{9C4CC18D-0D3B-E34E-A8D0-02EBD588601C}"/>
                </a:ext>
              </a:extLst>
            </p:cNvPr>
            <p:cNvSpPr>
              <a:spLocks noChangeAspect="1"/>
            </p:cNvSpPr>
            <p:nvPr/>
          </p:nvSpPr>
          <p:spPr bwMode="gray">
            <a:xfrm>
              <a:off x="4698780" y="2643777"/>
              <a:ext cx="77891" cy="80560"/>
            </a:xfrm>
            <a:custGeom>
              <a:avLst/>
              <a:gdLst>
                <a:gd name="T0" fmla="*/ 102 w 158"/>
                <a:gd name="T1" fmla="*/ 122 h 134"/>
                <a:gd name="T2" fmla="*/ 99 w 158"/>
                <a:gd name="T3" fmla="*/ 95 h 134"/>
                <a:gd name="T4" fmla="*/ 85 w 158"/>
                <a:gd name="T5" fmla="*/ 106 h 134"/>
                <a:gd name="T6" fmla="*/ 68 w 158"/>
                <a:gd name="T7" fmla="*/ 105 h 134"/>
                <a:gd name="T8" fmla="*/ 60 w 158"/>
                <a:gd name="T9" fmla="*/ 80 h 134"/>
                <a:gd name="T10" fmla="*/ 29 w 158"/>
                <a:gd name="T11" fmla="*/ 66 h 134"/>
                <a:gd name="T12" fmla="*/ 21 w 158"/>
                <a:gd name="T13" fmla="*/ 51 h 134"/>
                <a:gd name="T14" fmla="*/ 3 w 158"/>
                <a:gd name="T15" fmla="*/ 47 h 134"/>
                <a:gd name="T16" fmla="*/ 0 w 158"/>
                <a:gd name="T17" fmla="*/ 26 h 134"/>
                <a:gd name="T18" fmla="*/ 34 w 158"/>
                <a:gd name="T19" fmla="*/ 7 h 134"/>
                <a:gd name="T20" fmla="*/ 48 w 158"/>
                <a:gd name="T21" fmla="*/ 15 h 134"/>
                <a:gd name="T22" fmla="*/ 87 w 158"/>
                <a:gd name="T23" fmla="*/ 0 h 134"/>
                <a:gd name="T24" fmla="*/ 107 w 158"/>
                <a:gd name="T25" fmla="*/ 5 h 134"/>
                <a:gd name="T26" fmla="*/ 131 w 158"/>
                <a:gd name="T27" fmla="*/ 18 h 134"/>
                <a:gd name="T28" fmla="*/ 131 w 158"/>
                <a:gd name="T29" fmla="*/ 46 h 134"/>
                <a:gd name="T30" fmla="*/ 148 w 158"/>
                <a:gd name="T31" fmla="*/ 51 h 134"/>
                <a:gd name="T32" fmla="*/ 158 w 158"/>
                <a:gd name="T33" fmla="*/ 72 h 134"/>
                <a:gd name="T34" fmla="*/ 150 w 158"/>
                <a:gd name="T35" fmla="*/ 94 h 134"/>
                <a:gd name="T36" fmla="*/ 136 w 158"/>
                <a:gd name="T37" fmla="*/ 98 h 134"/>
                <a:gd name="T38" fmla="*/ 131 w 158"/>
                <a:gd name="T39" fmla="*/ 111 h 134"/>
                <a:gd name="T40" fmla="*/ 134 w 158"/>
                <a:gd name="T41" fmla="*/ 134 h 134"/>
                <a:gd name="T42" fmla="*/ 117 w 158"/>
                <a:gd name="T43" fmla="*/ 132 h 134"/>
                <a:gd name="T44" fmla="*/ 102 w 158"/>
                <a:gd name="T45" fmla="*/ 12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8" h="134">
                  <a:moveTo>
                    <a:pt x="102" y="122"/>
                  </a:moveTo>
                  <a:lnTo>
                    <a:pt x="99" y="95"/>
                  </a:lnTo>
                  <a:lnTo>
                    <a:pt x="85" y="106"/>
                  </a:lnTo>
                  <a:lnTo>
                    <a:pt x="68" y="105"/>
                  </a:lnTo>
                  <a:lnTo>
                    <a:pt x="60" y="80"/>
                  </a:lnTo>
                  <a:lnTo>
                    <a:pt x="29" y="66"/>
                  </a:lnTo>
                  <a:lnTo>
                    <a:pt x="21" y="51"/>
                  </a:lnTo>
                  <a:lnTo>
                    <a:pt x="3" y="47"/>
                  </a:lnTo>
                  <a:lnTo>
                    <a:pt x="0" y="26"/>
                  </a:lnTo>
                  <a:lnTo>
                    <a:pt x="34" y="7"/>
                  </a:lnTo>
                  <a:lnTo>
                    <a:pt x="48" y="15"/>
                  </a:lnTo>
                  <a:lnTo>
                    <a:pt x="87" y="0"/>
                  </a:lnTo>
                  <a:lnTo>
                    <a:pt x="107" y="5"/>
                  </a:lnTo>
                  <a:lnTo>
                    <a:pt x="131" y="18"/>
                  </a:lnTo>
                  <a:lnTo>
                    <a:pt x="131" y="46"/>
                  </a:lnTo>
                  <a:lnTo>
                    <a:pt x="148" y="51"/>
                  </a:lnTo>
                  <a:lnTo>
                    <a:pt x="158" y="72"/>
                  </a:lnTo>
                  <a:lnTo>
                    <a:pt x="150" y="94"/>
                  </a:lnTo>
                  <a:lnTo>
                    <a:pt x="136" y="98"/>
                  </a:lnTo>
                  <a:lnTo>
                    <a:pt x="131" y="111"/>
                  </a:lnTo>
                  <a:lnTo>
                    <a:pt x="134" y="134"/>
                  </a:lnTo>
                  <a:lnTo>
                    <a:pt x="117" y="132"/>
                  </a:lnTo>
                  <a:lnTo>
                    <a:pt x="102" y="122"/>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40" name="Freeform 143">
              <a:extLst>
                <a:ext uri="{FF2B5EF4-FFF2-40B4-BE49-F238E27FC236}">
                  <a16:creationId xmlns:a16="http://schemas.microsoft.com/office/drawing/2014/main" id="{5962FFBD-60D4-2E42-8395-971D0860473A}"/>
                </a:ext>
              </a:extLst>
            </p:cNvPr>
            <p:cNvSpPr>
              <a:spLocks noChangeAspect="1"/>
            </p:cNvSpPr>
            <p:nvPr/>
          </p:nvSpPr>
          <p:spPr bwMode="gray">
            <a:xfrm>
              <a:off x="5231287" y="2766537"/>
              <a:ext cx="76300" cy="115086"/>
            </a:xfrm>
            <a:custGeom>
              <a:avLst/>
              <a:gdLst>
                <a:gd name="T0" fmla="*/ 73 w 155"/>
                <a:gd name="T1" fmla="*/ 172 h 198"/>
                <a:gd name="T2" fmla="*/ 74 w 155"/>
                <a:gd name="T3" fmla="*/ 198 h 198"/>
                <a:gd name="T4" fmla="*/ 85 w 155"/>
                <a:gd name="T5" fmla="*/ 196 h 198"/>
                <a:gd name="T6" fmla="*/ 90 w 155"/>
                <a:gd name="T7" fmla="*/ 184 h 198"/>
                <a:gd name="T8" fmla="*/ 108 w 155"/>
                <a:gd name="T9" fmla="*/ 165 h 198"/>
                <a:gd name="T10" fmla="*/ 113 w 155"/>
                <a:gd name="T11" fmla="*/ 139 h 198"/>
                <a:gd name="T12" fmla="*/ 153 w 155"/>
                <a:gd name="T13" fmla="*/ 139 h 198"/>
                <a:gd name="T14" fmla="*/ 155 w 155"/>
                <a:gd name="T15" fmla="*/ 113 h 198"/>
                <a:gd name="T16" fmla="*/ 138 w 155"/>
                <a:gd name="T17" fmla="*/ 102 h 198"/>
                <a:gd name="T18" fmla="*/ 133 w 155"/>
                <a:gd name="T19" fmla="*/ 76 h 198"/>
                <a:gd name="T20" fmla="*/ 116 w 155"/>
                <a:gd name="T21" fmla="*/ 64 h 198"/>
                <a:gd name="T22" fmla="*/ 119 w 155"/>
                <a:gd name="T23" fmla="*/ 37 h 198"/>
                <a:gd name="T24" fmla="*/ 116 w 155"/>
                <a:gd name="T25" fmla="*/ 31 h 198"/>
                <a:gd name="T26" fmla="*/ 74 w 155"/>
                <a:gd name="T27" fmla="*/ 22 h 198"/>
                <a:gd name="T28" fmla="*/ 39 w 155"/>
                <a:gd name="T29" fmla="*/ 0 h 198"/>
                <a:gd name="T30" fmla="*/ 11 w 155"/>
                <a:gd name="T31" fmla="*/ 3 h 198"/>
                <a:gd name="T32" fmla="*/ 0 w 155"/>
                <a:gd name="T33" fmla="*/ 22 h 198"/>
                <a:gd name="T34" fmla="*/ 8 w 155"/>
                <a:gd name="T35" fmla="*/ 18 h 198"/>
                <a:gd name="T36" fmla="*/ 37 w 155"/>
                <a:gd name="T37" fmla="*/ 51 h 198"/>
                <a:gd name="T38" fmla="*/ 40 w 155"/>
                <a:gd name="T39" fmla="*/ 64 h 198"/>
                <a:gd name="T40" fmla="*/ 71 w 155"/>
                <a:gd name="T41" fmla="*/ 116 h 198"/>
                <a:gd name="T42" fmla="*/ 73 w 155"/>
                <a:gd name="T43" fmla="*/ 17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5" h="198">
                  <a:moveTo>
                    <a:pt x="73" y="172"/>
                  </a:moveTo>
                  <a:lnTo>
                    <a:pt x="74" y="198"/>
                  </a:lnTo>
                  <a:lnTo>
                    <a:pt x="85" y="196"/>
                  </a:lnTo>
                  <a:lnTo>
                    <a:pt x="90" y="184"/>
                  </a:lnTo>
                  <a:lnTo>
                    <a:pt x="108" y="165"/>
                  </a:lnTo>
                  <a:lnTo>
                    <a:pt x="113" y="139"/>
                  </a:lnTo>
                  <a:lnTo>
                    <a:pt x="153" y="139"/>
                  </a:lnTo>
                  <a:lnTo>
                    <a:pt x="155" y="113"/>
                  </a:lnTo>
                  <a:lnTo>
                    <a:pt x="138" y="102"/>
                  </a:lnTo>
                  <a:lnTo>
                    <a:pt x="133" y="76"/>
                  </a:lnTo>
                  <a:lnTo>
                    <a:pt x="116" y="64"/>
                  </a:lnTo>
                  <a:lnTo>
                    <a:pt x="119" y="37"/>
                  </a:lnTo>
                  <a:lnTo>
                    <a:pt x="116" y="31"/>
                  </a:lnTo>
                  <a:lnTo>
                    <a:pt x="74" y="22"/>
                  </a:lnTo>
                  <a:lnTo>
                    <a:pt x="39" y="0"/>
                  </a:lnTo>
                  <a:lnTo>
                    <a:pt x="11" y="3"/>
                  </a:lnTo>
                  <a:lnTo>
                    <a:pt x="0" y="22"/>
                  </a:lnTo>
                  <a:lnTo>
                    <a:pt x="8" y="18"/>
                  </a:lnTo>
                  <a:lnTo>
                    <a:pt x="37" y="51"/>
                  </a:lnTo>
                  <a:lnTo>
                    <a:pt x="40" y="64"/>
                  </a:lnTo>
                  <a:lnTo>
                    <a:pt x="71" y="116"/>
                  </a:lnTo>
                  <a:lnTo>
                    <a:pt x="73" y="172"/>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141" name="Freeform 144">
              <a:extLst>
                <a:ext uri="{FF2B5EF4-FFF2-40B4-BE49-F238E27FC236}">
                  <a16:creationId xmlns:a16="http://schemas.microsoft.com/office/drawing/2014/main" id="{E0CBF1E7-59B0-D046-ADA7-70B8B78114E7}"/>
                </a:ext>
              </a:extLst>
            </p:cNvPr>
            <p:cNvSpPr>
              <a:spLocks noChangeAspect="1"/>
            </p:cNvSpPr>
            <p:nvPr/>
          </p:nvSpPr>
          <p:spPr bwMode="gray">
            <a:xfrm>
              <a:off x="5089815" y="2776127"/>
              <a:ext cx="211415" cy="178383"/>
            </a:xfrm>
            <a:custGeom>
              <a:avLst/>
              <a:gdLst>
                <a:gd name="T0" fmla="*/ 363 w 437"/>
                <a:gd name="T1" fmla="*/ 98 h 304"/>
                <a:gd name="T2" fmla="*/ 332 w 437"/>
                <a:gd name="T3" fmla="*/ 46 h 304"/>
                <a:gd name="T4" fmla="*/ 329 w 437"/>
                <a:gd name="T5" fmla="*/ 33 h 304"/>
                <a:gd name="T6" fmla="*/ 300 w 437"/>
                <a:gd name="T7" fmla="*/ 0 h 304"/>
                <a:gd name="T8" fmla="*/ 292 w 437"/>
                <a:gd name="T9" fmla="*/ 4 h 304"/>
                <a:gd name="T10" fmla="*/ 217 w 437"/>
                <a:gd name="T11" fmla="*/ 31 h 304"/>
                <a:gd name="T12" fmla="*/ 201 w 437"/>
                <a:gd name="T13" fmla="*/ 19 h 304"/>
                <a:gd name="T14" fmla="*/ 119 w 437"/>
                <a:gd name="T15" fmla="*/ 21 h 304"/>
                <a:gd name="T16" fmla="*/ 82 w 437"/>
                <a:gd name="T17" fmla="*/ 48 h 304"/>
                <a:gd name="T18" fmla="*/ 74 w 437"/>
                <a:gd name="T19" fmla="*/ 71 h 304"/>
                <a:gd name="T20" fmla="*/ 41 w 437"/>
                <a:gd name="T21" fmla="*/ 130 h 304"/>
                <a:gd name="T22" fmla="*/ 0 w 437"/>
                <a:gd name="T23" fmla="*/ 144 h 304"/>
                <a:gd name="T24" fmla="*/ 23 w 437"/>
                <a:gd name="T25" fmla="*/ 163 h 304"/>
                <a:gd name="T26" fmla="*/ 39 w 437"/>
                <a:gd name="T27" fmla="*/ 200 h 304"/>
                <a:gd name="T28" fmla="*/ 54 w 437"/>
                <a:gd name="T29" fmla="*/ 206 h 304"/>
                <a:gd name="T30" fmla="*/ 58 w 437"/>
                <a:gd name="T31" fmla="*/ 228 h 304"/>
                <a:gd name="T32" fmla="*/ 95 w 437"/>
                <a:gd name="T33" fmla="*/ 246 h 304"/>
                <a:gd name="T34" fmla="*/ 103 w 437"/>
                <a:gd name="T35" fmla="*/ 239 h 304"/>
                <a:gd name="T36" fmla="*/ 110 w 437"/>
                <a:gd name="T37" fmla="*/ 248 h 304"/>
                <a:gd name="T38" fmla="*/ 102 w 437"/>
                <a:gd name="T39" fmla="*/ 257 h 304"/>
                <a:gd name="T40" fmla="*/ 108 w 437"/>
                <a:gd name="T41" fmla="*/ 271 h 304"/>
                <a:gd name="T42" fmla="*/ 116 w 437"/>
                <a:gd name="T43" fmla="*/ 273 h 304"/>
                <a:gd name="T44" fmla="*/ 127 w 437"/>
                <a:gd name="T45" fmla="*/ 276 h 304"/>
                <a:gd name="T46" fmla="*/ 122 w 437"/>
                <a:gd name="T47" fmla="*/ 287 h 304"/>
                <a:gd name="T48" fmla="*/ 131 w 437"/>
                <a:gd name="T49" fmla="*/ 295 h 304"/>
                <a:gd name="T50" fmla="*/ 243 w 437"/>
                <a:gd name="T51" fmla="*/ 304 h 304"/>
                <a:gd name="T52" fmla="*/ 312 w 437"/>
                <a:gd name="T53" fmla="*/ 276 h 304"/>
                <a:gd name="T54" fmla="*/ 329 w 437"/>
                <a:gd name="T55" fmla="*/ 276 h 304"/>
                <a:gd name="T56" fmla="*/ 357 w 437"/>
                <a:gd name="T57" fmla="*/ 287 h 304"/>
                <a:gd name="T58" fmla="*/ 376 w 437"/>
                <a:gd name="T59" fmla="*/ 298 h 304"/>
                <a:gd name="T60" fmla="*/ 390 w 437"/>
                <a:gd name="T61" fmla="*/ 296 h 304"/>
                <a:gd name="T62" fmla="*/ 390 w 437"/>
                <a:gd name="T63" fmla="*/ 266 h 304"/>
                <a:gd name="T64" fmla="*/ 402 w 437"/>
                <a:gd name="T65" fmla="*/ 220 h 304"/>
                <a:gd name="T66" fmla="*/ 408 w 437"/>
                <a:gd name="T67" fmla="*/ 220 h 304"/>
                <a:gd name="T68" fmla="*/ 408 w 437"/>
                <a:gd name="T69" fmla="*/ 232 h 304"/>
                <a:gd name="T70" fmla="*/ 396 w 437"/>
                <a:gd name="T71" fmla="*/ 249 h 304"/>
                <a:gd name="T72" fmla="*/ 399 w 437"/>
                <a:gd name="T73" fmla="*/ 254 h 304"/>
                <a:gd name="T74" fmla="*/ 428 w 437"/>
                <a:gd name="T75" fmla="*/ 232 h 304"/>
                <a:gd name="T76" fmla="*/ 434 w 437"/>
                <a:gd name="T77" fmla="*/ 228 h 304"/>
                <a:gd name="T78" fmla="*/ 437 w 437"/>
                <a:gd name="T79" fmla="*/ 214 h 304"/>
                <a:gd name="T80" fmla="*/ 436 w 437"/>
                <a:gd name="T81" fmla="*/ 194 h 304"/>
                <a:gd name="T82" fmla="*/ 424 w 437"/>
                <a:gd name="T83" fmla="*/ 189 h 304"/>
                <a:gd name="T84" fmla="*/ 385 w 437"/>
                <a:gd name="T85" fmla="*/ 202 h 304"/>
                <a:gd name="T86" fmla="*/ 374 w 437"/>
                <a:gd name="T87" fmla="*/ 188 h 304"/>
                <a:gd name="T88" fmla="*/ 368 w 437"/>
                <a:gd name="T89" fmla="*/ 192 h 304"/>
                <a:gd name="T90" fmla="*/ 366 w 437"/>
                <a:gd name="T91" fmla="*/ 180 h 304"/>
                <a:gd name="T92" fmla="*/ 365 w 437"/>
                <a:gd name="T93" fmla="*/ 154 h 304"/>
                <a:gd name="T94" fmla="*/ 363 w 437"/>
                <a:gd name="T95" fmla="*/ 9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7" h="304">
                  <a:moveTo>
                    <a:pt x="363" y="98"/>
                  </a:moveTo>
                  <a:lnTo>
                    <a:pt x="332" y="46"/>
                  </a:lnTo>
                  <a:lnTo>
                    <a:pt x="329" y="33"/>
                  </a:lnTo>
                  <a:lnTo>
                    <a:pt x="300" y="0"/>
                  </a:lnTo>
                  <a:lnTo>
                    <a:pt x="292" y="4"/>
                  </a:lnTo>
                  <a:lnTo>
                    <a:pt x="217" y="31"/>
                  </a:lnTo>
                  <a:lnTo>
                    <a:pt x="201" y="19"/>
                  </a:lnTo>
                  <a:lnTo>
                    <a:pt x="119" y="21"/>
                  </a:lnTo>
                  <a:lnTo>
                    <a:pt x="82" y="48"/>
                  </a:lnTo>
                  <a:lnTo>
                    <a:pt x="74" y="71"/>
                  </a:lnTo>
                  <a:lnTo>
                    <a:pt x="41" y="130"/>
                  </a:lnTo>
                  <a:lnTo>
                    <a:pt x="0" y="144"/>
                  </a:lnTo>
                  <a:lnTo>
                    <a:pt x="23" y="163"/>
                  </a:lnTo>
                  <a:lnTo>
                    <a:pt x="39" y="200"/>
                  </a:lnTo>
                  <a:lnTo>
                    <a:pt x="54" y="206"/>
                  </a:lnTo>
                  <a:lnTo>
                    <a:pt x="58" y="228"/>
                  </a:lnTo>
                  <a:lnTo>
                    <a:pt x="95" y="246"/>
                  </a:lnTo>
                  <a:lnTo>
                    <a:pt x="103" y="239"/>
                  </a:lnTo>
                  <a:lnTo>
                    <a:pt x="110" y="248"/>
                  </a:lnTo>
                  <a:lnTo>
                    <a:pt x="102" y="257"/>
                  </a:lnTo>
                  <a:lnTo>
                    <a:pt x="108" y="271"/>
                  </a:lnTo>
                  <a:lnTo>
                    <a:pt x="116" y="273"/>
                  </a:lnTo>
                  <a:lnTo>
                    <a:pt x="127" y="276"/>
                  </a:lnTo>
                  <a:lnTo>
                    <a:pt x="122" y="287"/>
                  </a:lnTo>
                  <a:lnTo>
                    <a:pt x="131" y="295"/>
                  </a:lnTo>
                  <a:lnTo>
                    <a:pt x="243" y="304"/>
                  </a:lnTo>
                  <a:lnTo>
                    <a:pt x="312" y="276"/>
                  </a:lnTo>
                  <a:lnTo>
                    <a:pt x="329" y="276"/>
                  </a:lnTo>
                  <a:lnTo>
                    <a:pt x="357" y="287"/>
                  </a:lnTo>
                  <a:lnTo>
                    <a:pt x="376" y="298"/>
                  </a:lnTo>
                  <a:lnTo>
                    <a:pt x="390" y="296"/>
                  </a:lnTo>
                  <a:lnTo>
                    <a:pt x="390" y="266"/>
                  </a:lnTo>
                  <a:lnTo>
                    <a:pt x="402" y="220"/>
                  </a:lnTo>
                  <a:lnTo>
                    <a:pt x="408" y="220"/>
                  </a:lnTo>
                  <a:lnTo>
                    <a:pt x="408" y="232"/>
                  </a:lnTo>
                  <a:lnTo>
                    <a:pt x="396" y="249"/>
                  </a:lnTo>
                  <a:lnTo>
                    <a:pt x="399" y="254"/>
                  </a:lnTo>
                  <a:lnTo>
                    <a:pt x="428" y="232"/>
                  </a:lnTo>
                  <a:lnTo>
                    <a:pt x="434" y="228"/>
                  </a:lnTo>
                  <a:lnTo>
                    <a:pt x="437" y="214"/>
                  </a:lnTo>
                  <a:lnTo>
                    <a:pt x="436" y="194"/>
                  </a:lnTo>
                  <a:lnTo>
                    <a:pt x="424" y="189"/>
                  </a:lnTo>
                  <a:lnTo>
                    <a:pt x="385" y="202"/>
                  </a:lnTo>
                  <a:lnTo>
                    <a:pt x="374" y="188"/>
                  </a:lnTo>
                  <a:lnTo>
                    <a:pt x="368" y="192"/>
                  </a:lnTo>
                  <a:lnTo>
                    <a:pt x="366" y="180"/>
                  </a:lnTo>
                  <a:lnTo>
                    <a:pt x="365" y="154"/>
                  </a:lnTo>
                  <a:lnTo>
                    <a:pt x="363" y="98"/>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42" name="Freeform 145">
              <a:extLst>
                <a:ext uri="{FF2B5EF4-FFF2-40B4-BE49-F238E27FC236}">
                  <a16:creationId xmlns:a16="http://schemas.microsoft.com/office/drawing/2014/main" id="{181C7286-7FA6-1441-BE84-E779A03E818E}"/>
                </a:ext>
              </a:extLst>
            </p:cNvPr>
            <p:cNvSpPr>
              <a:spLocks noChangeAspect="1"/>
            </p:cNvSpPr>
            <p:nvPr/>
          </p:nvSpPr>
          <p:spPr bwMode="gray">
            <a:xfrm>
              <a:off x="4666988" y="2992870"/>
              <a:ext cx="7948" cy="7672"/>
            </a:xfrm>
            <a:custGeom>
              <a:avLst/>
              <a:gdLst>
                <a:gd name="T0" fmla="*/ 10 w 16"/>
                <a:gd name="T1" fmla="*/ 0 h 13"/>
                <a:gd name="T2" fmla="*/ 16 w 16"/>
                <a:gd name="T3" fmla="*/ 8 h 13"/>
                <a:gd name="T4" fmla="*/ 8 w 16"/>
                <a:gd name="T5" fmla="*/ 13 h 13"/>
                <a:gd name="T6" fmla="*/ 0 w 16"/>
                <a:gd name="T7" fmla="*/ 3 h 13"/>
                <a:gd name="T8" fmla="*/ 10 w 16"/>
                <a:gd name="T9" fmla="*/ 0 h 13"/>
              </a:gdLst>
              <a:ahLst/>
              <a:cxnLst>
                <a:cxn ang="0">
                  <a:pos x="T0" y="T1"/>
                </a:cxn>
                <a:cxn ang="0">
                  <a:pos x="T2" y="T3"/>
                </a:cxn>
                <a:cxn ang="0">
                  <a:pos x="T4" y="T5"/>
                </a:cxn>
                <a:cxn ang="0">
                  <a:pos x="T6" y="T7"/>
                </a:cxn>
                <a:cxn ang="0">
                  <a:pos x="T8" y="T9"/>
                </a:cxn>
              </a:cxnLst>
              <a:rect l="0" t="0" r="r" b="b"/>
              <a:pathLst>
                <a:path w="16" h="13">
                  <a:moveTo>
                    <a:pt x="10" y="0"/>
                  </a:moveTo>
                  <a:lnTo>
                    <a:pt x="16" y="8"/>
                  </a:lnTo>
                  <a:lnTo>
                    <a:pt x="8" y="13"/>
                  </a:lnTo>
                  <a:lnTo>
                    <a:pt x="0" y="3"/>
                  </a:lnTo>
                  <a:lnTo>
                    <a:pt x="10" y="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43" name="Freeform 146">
              <a:extLst>
                <a:ext uri="{FF2B5EF4-FFF2-40B4-BE49-F238E27FC236}">
                  <a16:creationId xmlns:a16="http://schemas.microsoft.com/office/drawing/2014/main" id="{12BC82C8-C79A-DF4C-A0E3-FED44D61BCC9}"/>
                </a:ext>
              </a:extLst>
            </p:cNvPr>
            <p:cNvSpPr>
              <a:spLocks noChangeAspect="1" noEditPoints="1"/>
            </p:cNvSpPr>
            <p:nvPr/>
          </p:nvSpPr>
          <p:spPr bwMode="gray">
            <a:xfrm>
              <a:off x="3937373" y="3012052"/>
              <a:ext cx="562708" cy="176462"/>
            </a:xfrm>
            <a:custGeom>
              <a:avLst/>
              <a:gdLst>
                <a:gd name="T0" fmla="*/ 1038 w 1157"/>
                <a:gd name="T1" fmla="*/ 17 h 300"/>
                <a:gd name="T2" fmla="*/ 1044 w 1157"/>
                <a:gd name="T3" fmla="*/ 9 h 300"/>
                <a:gd name="T4" fmla="*/ 1070 w 1157"/>
                <a:gd name="T5" fmla="*/ 0 h 300"/>
                <a:gd name="T6" fmla="*/ 1070 w 1157"/>
                <a:gd name="T7" fmla="*/ 10 h 300"/>
                <a:gd name="T8" fmla="*/ 1077 w 1157"/>
                <a:gd name="T9" fmla="*/ 15 h 300"/>
                <a:gd name="T10" fmla="*/ 1146 w 1157"/>
                <a:gd name="T11" fmla="*/ 14 h 300"/>
                <a:gd name="T12" fmla="*/ 1157 w 1157"/>
                <a:gd name="T13" fmla="*/ 29 h 300"/>
                <a:gd name="T14" fmla="*/ 1151 w 1157"/>
                <a:gd name="T15" fmla="*/ 48 h 300"/>
                <a:gd name="T16" fmla="*/ 1132 w 1157"/>
                <a:gd name="T17" fmla="*/ 66 h 300"/>
                <a:gd name="T18" fmla="*/ 1124 w 1157"/>
                <a:gd name="T19" fmla="*/ 110 h 300"/>
                <a:gd name="T20" fmla="*/ 1129 w 1157"/>
                <a:gd name="T21" fmla="*/ 133 h 300"/>
                <a:gd name="T22" fmla="*/ 1106 w 1157"/>
                <a:gd name="T23" fmla="*/ 151 h 300"/>
                <a:gd name="T24" fmla="*/ 1120 w 1157"/>
                <a:gd name="T25" fmla="*/ 183 h 300"/>
                <a:gd name="T26" fmla="*/ 1111 w 1157"/>
                <a:gd name="T27" fmla="*/ 213 h 300"/>
                <a:gd name="T28" fmla="*/ 1123 w 1157"/>
                <a:gd name="T29" fmla="*/ 242 h 300"/>
                <a:gd name="T30" fmla="*/ 1098 w 1157"/>
                <a:gd name="T31" fmla="*/ 267 h 300"/>
                <a:gd name="T32" fmla="*/ 1103 w 1157"/>
                <a:gd name="T33" fmla="*/ 291 h 300"/>
                <a:gd name="T34" fmla="*/ 1081 w 1157"/>
                <a:gd name="T35" fmla="*/ 300 h 300"/>
                <a:gd name="T36" fmla="*/ 1035 w 1157"/>
                <a:gd name="T37" fmla="*/ 300 h 300"/>
                <a:gd name="T38" fmla="*/ 1043 w 1157"/>
                <a:gd name="T39" fmla="*/ 213 h 300"/>
                <a:gd name="T40" fmla="*/ 1024 w 1157"/>
                <a:gd name="T41" fmla="*/ 218 h 300"/>
                <a:gd name="T42" fmla="*/ 1018 w 1157"/>
                <a:gd name="T43" fmla="*/ 205 h 300"/>
                <a:gd name="T44" fmla="*/ 1009 w 1157"/>
                <a:gd name="T45" fmla="*/ 200 h 300"/>
                <a:gd name="T46" fmla="*/ 1013 w 1157"/>
                <a:gd name="T47" fmla="*/ 171 h 300"/>
                <a:gd name="T48" fmla="*/ 1033 w 1157"/>
                <a:gd name="T49" fmla="*/ 131 h 300"/>
                <a:gd name="T50" fmla="*/ 1044 w 1157"/>
                <a:gd name="T51" fmla="*/ 69 h 300"/>
                <a:gd name="T52" fmla="*/ 1038 w 1157"/>
                <a:gd name="T53" fmla="*/ 17 h 300"/>
                <a:gd name="T54" fmla="*/ 281 w 1157"/>
                <a:gd name="T55" fmla="*/ 254 h 300"/>
                <a:gd name="T56" fmla="*/ 250 w 1157"/>
                <a:gd name="T57" fmla="*/ 254 h 300"/>
                <a:gd name="T58" fmla="*/ 269 w 1157"/>
                <a:gd name="T59" fmla="*/ 263 h 300"/>
                <a:gd name="T60" fmla="*/ 281 w 1157"/>
                <a:gd name="T61" fmla="*/ 254 h 300"/>
                <a:gd name="T62" fmla="*/ 5 w 1157"/>
                <a:gd name="T63" fmla="*/ 161 h 300"/>
                <a:gd name="T64" fmla="*/ 1 w 1157"/>
                <a:gd name="T65" fmla="*/ 156 h 300"/>
                <a:gd name="T66" fmla="*/ 0 w 1157"/>
                <a:gd name="T67" fmla="*/ 162 h 300"/>
                <a:gd name="T68" fmla="*/ 5 w 1157"/>
                <a:gd name="T69" fmla="*/ 161 h 300"/>
                <a:gd name="T70" fmla="*/ 189 w 1157"/>
                <a:gd name="T71" fmla="*/ 200 h 300"/>
                <a:gd name="T72" fmla="*/ 179 w 1157"/>
                <a:gd name="T73" fmla="*/ 205 h 300"/>
                <a:gd name="T74" fmla="*/ 187 w 1157"/>
                <a:gd name="T75" fmla="*/ 209 h 300"/>
                <a:gd name="T76" fmla="*/ 193 w 1157"/>
                <a:gd name="T77" fmla="*/ 205 h 300"/>
                <a:gd name="T78" fmla="*/ 189 w 1157"/>
                <a:gd name="T79" fmla="*/ 200 h 300"/>
                <a:gd name="T80" fmla="*/ 158 w 1157"/>
                <a:gd name="T81" fmla="*/ 212 h 300"/>
                <a:gd name="T82" fmla="*/ 141 w 1157"/>
                <a:gd name="T83" fmla="*/ 204 h 300"/>
                <a:gd name="T84" fmla="*/ 158 w 1157"/>
                <a:gd name="T85" fmla="*/ 212 h 300"/>
                <a:gd name="T86" fmla="*/ 144 w 1157"/>
                <a:gd name="T87" fmla="*/ 222 h 300"/>
                <a:gd name="T88" fmla="*/ 147 w 1157"/>
                <a:gd name="T89" fmla="*/ 221 h 300"/>
                <a:gd name="T90" fmla="*/ 142 w 1157"/>
                <a:gd name="T91" fmla="*/ 217 h 300"/>
                <a:gd name="T92" fmla="*/ 127 w 1157"/>
                <a:gd name="T93" fmla="*/ 215 h 300"/>
                <a:gd name="T94" fmla="*/ 144 w 1157"/>
                <a:gd name="T95" fmla="*/ 222 h 300"/>
                <a:gd name="T96" fmla="*/ 119 w 1157"/>
                <a:gd name="T97" fmla="*/ 210 h 300"/>
                <a:gd name="T98" fmla="*/ 116 w 1157"/>
                <a:gd name="T99" fmla="*/ 215 h 300"/>
                <a:gd name="T100" fmla="*/ 119 w 1157"/>
                <a:gd name="T101" fmla="*/ 21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57" h="300">
                  <a:moveTo>
                    <a:pt x="1038" y="17"/>
                  </a:moveTo>
                  <a:lnTo>
                    <a:pt x="1044" y="9"/>
                  </a:lnTo>
                  <a:lnTo>
                    <a:pt x="1070" y="0"/>
                  </a:lnTo>
                  <a:lnTo>
                    <a:pt x="1070" y="10"/>
                  </a:lnTo>
                  <a:lnTo>
                    <a:pt x="1077" y="15"/>
                  </a:lnTo>
                  <a:lnTo>
                    <a:pt x="1146" y="14"/>
                  </a:lnTo>
                  <a:lnTo>
                    <a:pt x="1157" y="29"/>
                  </a:lnTo>
                  <a:lnTo>
                    <a:pt x="1151" y="48"/>
                  </a:lnTo>
                  <a:lnTo>
                    <a:pt x="1132" y="66"/>
                  </a:lnTo>
                  <a:lnTo>
                    <a:pt x="1124" y="110"/>
                  </a:lnTo>
                  <a:lnTo>
                    <a:pt x="1129" y="133"/>
                  </a:lnTo>
                  <a:lnTo>
                    <a:pt x="1106" y="151"/>
                  </a:lnTo>
                  <a:lnTo>
                    <a:pt x="1120" y="183"/>
                  </a:lnTo>
                  <a:lnTo>
                    <a:pt x="1111" y="213"/>
                  </a:lnTo>
                  <a:lnTo>
                    <a:pt x="1123" y="242"/>
                  </a:lnTo>
                  <a:lnTo>
                    <a:pt x="1098" y="267"/>
                  </a:lnTo>
                  <a:lnTo>
                    <a:pt x="1103" y="291"/>
                  </a:lnTo>
                  <a:lnTo>
                    <a:pt x="1081" y="300"/>
                  </a:lnTo>
                  <a:lnTo>
                    <a:pt x="1035" y="300"/>
                  </a:lnTo>
                  <a:lnTo>
                    <a:pt x="1043" y="213"/>
                  </a:lnTo>
                  <a:lnTo>
                    <a:pt x="1024" y="218"/>
                  </a:lnTo>
                  <a:lnTo>
                    <a:pt x="1018" y="205"/>
                  </a:lnTo>
                  <a:lnTo>
                    <a:pt x="1009" y="200"/>
                  </a:lnTo>
                  <a:lnTo>
                    <a:pt x="1013" y="171"/>
                  </a:lnTo>
                  <a:lnTo>
                    <a:pt x="1033" y="131"/>
                  </a:lnTo>
                  <a:lnTo>
                    <a:pt x="1044" y="69"/>
                  </a:lnTo>
                  <a:lnTo>
                    <a:pt x="1038" y="17"/>
                  </a:lnTo>
                  <a:close/>
                  <a:moveTo>
                    <a:pt x="281" y="254"/>
                  </a:moveTo>
                  <a:lnTo>
                    <a:pt x="250" y="254"/>
                  </a:lnTo>
                  <a:lnTo>
                    <a:pt x="269" y="263"/>
                  </a:lnTo>
                  <a:lnTo>
                    <a:pt x="281" y="254"/>
                  </a:lnTo>
                  <a:close/>
                  <a:moveTo>
                    <a:pt x="5" y="161"/>
                  </a:moveTo>
                  <a:lnTo>
                    <a:pt x="1" y="156"/>
                  </a:lnTo>
                  <a:lnTo>
                    <a:pt x="0" y="162"/>
                  </a:lnTo>
                  <a:lnTo>
                    <a:pt x="5" y="161"/>
                  </a:lnTo>
                  <a:close/>
                  <a:moveTo>
                    <a:pt x="189" y="200"/>
                  </a:moveTo>
                  <a:lnTo>
                    <a:pt x="179" y="205"/>
                  </a:lnTo>
                  <a:lnTo>
                    <a:pt x="187" y="209"/>
                  </a:lnTo>
                  <a:lnTo>
                    <a:pt x="193" y="205"/>
                  </a:lnTo>
                  <a:lnTo>
                    <a:pt x="189" y="200"/>
                  </a:lnTo>
                  <a:close/>
                  <a:moveTo>
                    <a:pt x="158" y="212"/>
                  </a:moveTo>
                  <a:lnTo>
                    <a:pt x="141" y="204"/>
                  </a:lnTo>
                  <a:lnTo>
                    <a:pt x="158" y="212"/>
                  </a:lnTo>
                  <a:close/>
                  <a:moveTo>
                    <a:pt x="144" y="222"/>
                  </a:moveTo>
                  <a:lnTo>
                    <a:pt x="147" y="221"/>
                  </a:lnTo>
                  <a:lnTo>
                    <a:pt x="142" y="217"/>
                  </a:lnTo>
                  <a:lnTo>
                    <a:pt x="127" y="215"/>
                  </a:lnTo>
                  <a:lnTo>
                    <a:pt x="144" y="222"/>
                  </a:lnTo>
                  <a:close/>
                  <a:moveTo>
                    <a:pt x="119" y="210"/>
                  </a:moveTo>
                  <a:lnTo>
                    <a:pt x="116" y="215"/>
                  </a:lnTo>
                  <a:lnTo>
                    <a:pt x="119" y="21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44" name="Freeform 147">
              <a:extLst>
                <a:ext uri="{FF2B5EF4-FFF2-40B4-BE49-F238E27FC236}">
                  <a16:creationId xmlns:a16="http://schemas.microsoft.com/office/drawing/2014/main" id="{E312F957-3FDA-1947-B67E-AF1D35D2E22E}"/>
                </a:ext>
              </a:extLst>
            </p:cNvPr>
            <p:cNvSpPr>
              <a:spLocks noChangeAspect="1" noEditPoints="1"/>
            </p:cNvSpPr>
            <p:nvPr/>
          </p:nvSpPr>
          <p:spPr bwMode="gray">
            <a:xfrm>
              <a:off x="4748057" y="1494844"/>
              <a:ext cx="583375" cy="840124"/>
            </a:xfrm>
            <a:custGeom>
              <a:avLst/>
              <a:gdLst>
                <a:gd name="T0" fmla="*/ 14 w 1199"/>
                <a:gd name="T1" fmla="*/ 1190 h 1433"/>
                <a:gd name="T2" fmla="*/ 99 w 1199"/>
                <a:gd name="T3" fmla="*/ 1168 h 1433"/>
                <a:gd name="T4" fmla="*/ 102 w 1199"/>
                <a:gd name="T5" fmla="*/ 1137 h 1433"/>
                <a:gd name="T6" fmla="*/ 12 w 1199"/>
                <a:gd name="T7" fmla="*/ 1105 h 1433"/>
                <a:gd name="T8" fmla="*/ 22 w 1199"/>
                <a:gd name="T9" fmla="*/ 1052 h 1433"/>
                <a:gd name="T10" fmla="*/ 68 w 1199"/>
                <a:gd name="T11" fmla="*/ 1017 h 1433"/>
                <a:gd name="T12" fmla="*/ 99 w 1199"/>
                <a:gd name="T13" fmla="*/ 970 h 1433"/>
                <a:gd name="T14" fmla="*/ 166 w 1199"/>
                <a:gd name="T15" fmla="*/ 922 h 1433"/>
                <a:gd name="T16" fmla="*/ 238 w 1199"/>
                <a:gd name="T17" fmla="*/ 917 h 1433"/>
                <a:gd name="T18" fmla="*/ 230 w 1199"/>
                <a:gd name="T19" fmla="*/ 885 h 1433"/>
                <a:gd name="T20" fmla="*/ 291 w 1199"/>
                <a:gd name="T21" fmla="*/ 782 h 1433"/>
                <a:gd name="T22" fmla="*/ 353 w 1199"/>
                <a:gd name="T23" fmla="*/ 714 h 1433"/>
                <a:gd name="T24" fmla="*/ 388 w 1199"/>
                <a:gd name="T25" fmla="*/ 614 h 1433"/>
                <a:gd name="T26" fmla="*/ 399 w 1199"/>
                <a:gd name="T27" fmla="*/ 541 h 1433"/>
                <a:gd name="T28" fmla="*/ 496 w 1199"/>
                <a:gd name="T29" fmla="*/ 460 h 1433"/>
                <a:gd name="T30" fmla="*/ 501 w 1199"/>
                <a:gd name="T31" fmla="*/ 390 h 1433"/>
                <a:gd name="T32" fmla="*/ 532 w 1199"/>
                <a:gd name="T33" fmla="*/ 359 h 1433"/>
                <a:gd name="T34" fmla="*/ 585 w 1199"/>
                <a:gd name="T35" fmla="*/ 316 h 1433"/>
                <a:gd name="T36" fmla="*/ 611 w 1199"/>
                <a:gd name="T37" fmla="*/ 243 h 1433"/>
                <a:gd name="T38" fmla="*/ 645 w 1199"/>
                <a:gd name="T39" fmla="*/ 203 h 1433"/>
                <a:gd name="T40" fmla="*/ 720 w 1199"/>
                <a:gd name="T41" fmla="*/ 208 h 1433"/>
                <a:gd name="T42" fmla="*/ 784 w 1199"/>
                <a:gd name="T43" fmla="*/ 192 h 1433"/>
                <a:gd name="T44" fmla="*/ 801 w 1199"/>
                <a:gd name="T45" fmla="*/ 127 h 1433"/>
                <a:gd name="T46" fmla="*/ 903 w 1199"/>
                <a:gd name="T47" fmla="*/ 65 h 1433"/>
                <a:gd name="T48" fmla="*/ 928 w 1199"/>
                <a:gd name="T49" fmla="*/ 119 h 1433"/>
                <a:gd name="T50" fmla="*/ 995 w 1199"/>
                <a:gd name="T51" fmla="*/ 105 h 1433"/>
                <a:gd name="T52" fmla="*/ 1061 w 1199"/>
                <a:gd name="T53" fmla="*/ 60 h 1433"/>
                <a:gd name="T54" fmla="*/ 1150 w 1199"/>
                <a:gd name="T55" fmla="*/ 57 h 1433"/>
                <a:gd name="T56" fmla="*/ 1131 w 1199"/>
                <a:gd name="T57" fmla="*/ 200 h 1433"/>
                <a:gd name="T58" fmla="*/ 1101 w 1199"/>
                <a:gd name="T59" fmla="*/ 262 h 1433"/>
                <a:gd name="T60" fmla="*/ 903 w 1199"/>
                <a:gd name="T61" fmla="*/ 326 h 1433"/>
                <a:gd name="T62" fmla="*/ 718 w 1199"/>
                <a:gd name="T63" fmla="*/ 277 h 1433"/>
                <a:gd name="T64" fmla="*/ 605 w 1199"/>
                <a:gd name="T65" fmla="*/ 384 h 1433"/>
                <a:gd name="T66" fmla="*/ 481 w 1199"/>
                <a:gd name="T67" fmla="*/ 582 h 1433"/>
                <a:gd name="T68" fmla="*/ 410 w 1199"/>
                <a:gd name="T69" fmla="*/ 862 h 1433"/>
                <a:gd name="T70" fmla="*/ 353 w 1199"/>
                <a:gd name="T71" fmla="*/ 1111 h 1433"/>
                <a:gd name="T72" fmla="*/ 310 w 1199"/>
                <a:gd name="T73" fmla="*/ 1266 h 1433"/>
                <a:gd name="T74" fmla="*/ 283 w 1199"/>
                <a:gd name="T75" fmla="*/ 1339 h 1433"/>
                <a:gd name="T76" fmla="*/ 246 w 1199"/>
                <a:gd name="T77" fmla="*/ 1300 h 1433"/>
                <a:gd name="T78" fmla="*/ 142 w 1199"/>
                <a:gd name="T79" fmla="*/ 1420 h 1433"/>
                <a:gd name="T80" fmla="*/ 74 w 1199"/>
                <a:gd name="T81" fmla="*/ 1428 h 1433"/>
                <a:gd name="T82" fmla="*/ 54 w 1199"/>
                <a:gd name="T83" fmla="*/ 1325 h 1433"/>
                <a:gd name="T84" fmla="*/ 62 w 1199"/>
                <a:gd name="T85" fmla="*/ 1272 h 1433"/>
                <a:gd name="T86" fmla="*/ 70 w 1199"/>
                <a:gd name="T87" fmla="*/ 1199 h 1433"/>
                <a:gd name="T88" fmla="*/ 935 w 1199"/>
                <a:gd name="T89" fmla="*/ 15 h 1433"/>
                <a:gd name="T90" fmla="*/ 872 w 1199"/>
                <a:gd name="T91" fmla="*/ 82 h 1433"/>
                <a:gd name="T92" fmla="*/ 825 w 1199"/>
                <a:gd name="T93" fmla="*/ 56 h 1433"/>
                <a:gd name="T94" fmla="*/ 821 w 1199"/>
                <a:gd name="T95" fmla="*/ 110 h 1433"/>
                <a:gd name="T96" fmla="*/ 682 w 1199"/>
                <a:gd name="T97" fmla="*/ 132 h 1433"/>
                <a:gd name="T98" fmla="*/ 639 w 1199"/>
                <a:gd name="T99" fmla="*/ 167 h 1433"/>
                <a:gd name="T100" fmla="*/ 603 w 1199"/>
                <a:gd name="T101" fmla="*/ 211 h 1433"/>
                <a:gd name="T102" fmla="*/ 574 w 1199"/>
                <a:gd name="T103" fmla="*/ 211 h 1433"/>
                <a:gd name="T104" fmla="*/ 458 w 1199"/>
                <a:gd name="T105" fmla="*/ 435 h 1433"/>
                <a:gd name="T106" fmla="*/ 515 w 1199"/>
                <a:gd name="T107" fmla="*/ 250 h 1433"/>
                <a:gd name="T108" fmla="*/ 475 w 1199"/>
                <a:gd name="T109" fmla="*/ 308 h 1433"/>
                <a:gd name="T110" fmla="*/ 496 w 1199"/>
                <a:gd name="T111" fmla="*/ 292 h 1433"/>
                <a:gd name="T112" fmla="*/ 503 w 1199"/>
                <a:gd name="T113" fmla="*/ 350 h 1433"/>
                <a:gd name="T114" fmla="*/ 489 w 1199"/>
                <a:gd name="T115" fmla="*/ 294 h 1433"/>
                <a:gd name="T116" fmla="*/ 11 w 1199"/>
                <a:gd name="T117" fmla="*/ 1315 h 1433"/>
                <a:gd name="T118" fmla="*/ 40 w 1199"/>
                <a:gd name="T119" fmla="*/ 1044 h 1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99" h="1433">
                  <a:moveTo>
                    <a:pt x="32" y="1249"/>
                  </a:moveTo>
                  <a:lnTo>
                    <a:pt x="26" y="1230"/>
                  </a:lnTo>
                  <a:lnTo>
                    <a:pt x="14" y="1241"/>
                  </a:lnTo>
                  <a:lnTo>
                    <a:pt x="6" y="1225"/>
                  </a:lnTo>
                  <a:lnTo>
                    <a:pt x="32" y="1193"/>
                  </a:lnTo>
                  <a:lnTo>
                    <a:pt x="6" y="1201"/>
                  </a:lnTo>
                  <a:lnTo>
                    <a:pt x="0" y="1182"/>
                  </a:lnTo>
                  <a:lnTo>
                    <a:pt x="14" y="1190"/>
                  </a:lnTo>
                  <a:lnTo>
                    <a:pt x="14" y="1176"/>
                  </a:lnTo>
                  <a:lnTo>
                    <a:pt x="3" y="1178"/>
                  </a:lnTo>
                  <a:lnTo>
                    <a:pt x="3" y="1170"/>
                  </a:lnTo>
                  <a:lnTo>
                    <a:pt x="9" y="1159"/>
                  </a:lnTo>
                  <a:lnTo>
                    <a:pt x="76" y="1154"/>
                  </a:lnTo>
                  <a:lnTo>
                    <a:pt x="85" y="1161"/>
                  </a:lnTo>
                  <a:lnTo>
                    <a:pt x="87" y="1174"/>
                  </a:lnTo>
                  <a:lnTo>
                    <a:pt x="99" y="1168"/>
                  </a:lnTo>
                  <a:lnTo>
                    <a:pt x="93" y="1162"/>
                  </a:lnTo>
                  <a:lnTo>
                    <a:pt x="95" y="1154"/>
                  </a:lnTo>
                  <a:lnTo>
                    <a:pt x="117" y="1145"/>
                  </a:lnTo>
                  <a:lnTo>
                    <a:pt x="122" y="1139"/>
                  </a:lnTo>
                  <a:lnTo>
                    <a:pt x="107" y="1142"/>
                  </a:lnTo>
                  <a:lnTo>
                    <a:pt x="116" y="1111"/>
                  </a:lnTo>
                  <a:lnTo>
                    <a:pt x="105" y="1117"/>
                  </a:lnTo>
                  <a:lnTo>
                    <a:pt x="102" y="1137"/>
                  </a:lnTo>
                  <a:lnTo>
                    <a:pt x="93" y="1147"/>
                  </a:lnTo>
                  <a:lnTo>
                    <a:pt x="68" y="1144"/>
                  </a:lnTo>
                  <a:lnTo>
                    <a:pt x="70" y="1123"/>
                  </a:lnTo>
                  <a:lnTo>
                    <a:pt x="59" y="1147"/>
                  </a:lnTo>
                  <a:lnTo>
                    <a:pt x="5" y="1151"/>
                  </a:lnTo>
                  <a:lnTo>
                    <a:pt x="2" y="1127"/>
                  </a:lnTo>
                  <a:lnTo>
                    <a:pt x="12" y="1115"/>
                  </a:lnTo>
                  <a:lnTo>
                    <a:pt x="12" y="1105"/>
                  </a:lnTo>
                  <a:lnTo>
                    <a:pt x="2" y="1094"/>
                  </a:lnTo>
                  <a:lnTo>
                    <a:pt x="19" y="1082"/>
                  </a:lnTo>
                  <a:lnTo>
                    <a:pt x="45" y="1080"/>
                  </a:lnTo>
                  <a:lnTo>
                    <a:pt x="54" y="1069"/>
                  </a:lnTo>
                  <a:lnTo>
                    <a:pt x="11" y="1074"/>
                  </a:lnTo>
                  <a:lnTo>
                    <a:pt x="6" y="1056"/>
                  </a:lnTo>
                  <a:lnTo>
                    <a:pt x="23" y="1063"/>
                  </a:lnTo>
                  <a:lnTo>
                    <a:pt x="22" y="1052"/>
                  </a:lnTo>
                  <a:lnTo>
                    <a:pt x="40" y="1051"/>
                  </a:lnTo>
                  <a:lnTo>
                    <a:pt x="46" y="1052"/>
                  </a:lnTo>
                  <a:lnTo>
                    <a:pt x="62" y="1032"/>
                  </a:lnTo>
                  <a:lnTo>
                    <a:pt x="71" y="1049"/>
                  </a:lnTo>
                  <a:lnTo>
                    <a:pt x="68" y="1029"/>
                  </a:lnTo>
                  <a:lnTo>
                    <a:pt x="74" y="1020"/>
                  </a:lnTo>
                  <a:lnTo>
                    <a:pt x="63" y="1024"/>
                  </a:lnTo>
                  <a:lnTo>
                    <a:pt x="68" y="1017"/>
                  </a:lnTo>
                  <a:lnTo>
                    <a:pt x="62" y="1014"/>
                  </a:lnTo>
                  <a:lnTo>
                    <a:pt x="116" y="1012"/>
                  </a:lnTo>
                  <a:lnTo>
                    <a:pt x="113" y="1007"/>
                  </a:lnTo>
                  <a:lnTo>
                    <a:pt x="119" y="1000"/>
                  </a:lnTo>
                  <a:lnTo>
                    <a:pt x="93" y="993"/>
                  </a:lnTo>
                  <a:lnTo>
                    <a:pt x="99" y="989"/>
                  </a:lnTo>
                  <a:lnTo>
                    <a:pt x="90" y="981"/>
                  </a:lnTo>
                  <a:lnTo>
                    <a:pt x="99" y="970"/>
                  </a:lnTo>
                  <a:lnTo>
                    <a:pt x="113" y="975"/>
                  </a:lnTo>
                  <a:lnTo>
                    <a:pt x="117" y="966"/>
                  </a:lnTo>
                  <a:lnTo>
                    <a:pt x="119" y="955"/>
                  </a:lnTo>
                  <a:lnTo>
                    <a:pt x="139" y="949"/>
                  </a:lnTo>
                  <a:lnTo>
                    <a:pt x="141" y="939"/>
                  </a:lnTo>
                  <a:lnTo>
                    <a:pt x="155" y="944"/>
                  </a:lnTo>
                  <a:lnTo>
                    <a:pt x="155" y="936"/>
                  </a:lnTo>
                  <a:lnTo>
                    <a:pt x="166" y="922"/>
                  </a:lnTo>
                  <a:lnTo>
                    <a:pt x="188" y="913"/>
                  </a:lnTo>
                  <a:lnTo>
                    <a:pt x="193" y="930"/>
                  </a:lnTo>
                  <a:lnTo>
                    <a:pt x="203" y="925"/>
                  </a:lnTo>
                  <a:lnTo>
                    <a:pt x="198" y="912"/>
                  </a:lnTo>
                  <a:lnTo>
                    <a:pt x="217" y="900"/>
                  </a:lnTo>
                  <a:lnTo>
                    <a:pt x="227" y="925"/>
                  </a:lnTo>
                  <a:lnTo>
                    <a:pt x="235" y="927"/>
                  </a:lnTo>
                  <a:lnTo>
                    <a:pt x="238" y="917"/>
                  </a:lnTo>
                  <a:lnTo>
                    <a:pt x="263" y="910"/>
                  </a:lnTo>
                  <a:lnTo>
                    <a:pt x="260" y="902"/>
                  </a:lnTo>
                  <a:lnTo>
                    <a:pt x="291" y="882"/>
                  </a:lnTo>
                  <a:lnTo>
                    <a:pt x="295" y="876"/>
                  </a:lnTo>
                  <a:lnTo>
                    <a:pt x="291" y="873"/>
                  </a:lnTo>
                  <a:lnTo>
                    <a:pt x="237" y="910"/>
                  </a:lnTo>
                  <a:lnTo>
                    <a:pt x="227" y="899"/>
                  </a:lnTo>
                  <a:lnTo>
                    <a:pt x="230" y="885"/>
                  </a:lnTo>
                  <a:lnTo>
                    <a:pt x="220" y="888"/>
                  </a:lnTo>
                  <a:lnTo>
                    <a:pt x="217" y="876"/>
                  </a:lnTo>
                  <a:lnTo>
                    <a:pt x="235" y="866"/>
                  </a:lnTo>
                  <a:lnTo>
                    <a:pt x="235" y="849"/>
                  </a:lnTo>
                  <a:lnTo>
                    <a:pt x="272" y="798"/>
                  </a:lnTo>
                  <a:lnTo>
                    <a:pt x="295" y="806"/>
                  </a:lnTo>
                  <a:lnTo>
                    <a:pt x="297" y="783"/>
                  </a:lnTo>
                  <a:lnTo>
                    <a:pt x="291" y="782"/>
                  </a:lnTo>
                  <a:lnTo>
                    <a:pt x="295" y="765"/>
                  </a:lnTo>
                  <a:lnTo>
                    <a:pt x="315" y="741"/>
                  </a:lnTo>
                  <a:lnTo>
                    <a:pt x="340" y="736"/>
                  </a:lnTo>
                  <a:lnTo>
                    <a:pt x="339" y="715"/>
                  </a:lnTo>
                  <a:lnTo>
                    <a:pt x="325" y="724"/>
                  </a:lnTo>
                  <a:lnTo>
                    <a:pt x="337" y="709"/>
                  </a:lnTo>
                  <a:lnTo>
                    <a:pt x="336" y="693"/>
                  </a:lnTo>
                  <a:lnTo>
                    <a:pt x="353" y="714"/>
                  </a:lnTo>
                  <a:lnTo>
                    <a:pt x="344" y="685"/>
                  </a:lnTo>
                  <a:lnTo>
                    <a:pt x="356" y="682"/>
                  </a:lnTo>
                  <a:lnTo>
                    <a:pt x="357" y="653"/>
                  </a:lnTo>
                  <a:lnTo>
                    <a:pt x="374" y="659"/>
                  </a:lnTo>
                  <a:lnTo>
                    <a:pt x="370" y="639"/>
                  </a:lnTo>
                  <a:lnTo>
                    <a:pt x="345" y="651"/>
                  </a:lnTo>
                  <a:lnTo>
                    <a:pt x="370" y="617"/>
                  </a:lnTo>
                  <a:lnTo>
                    <a:pt x="388" y="614"/>
                  </a:lnTo>
                  <a:lnTo>
                    <a:pt x="390" y="607"/>
                  </a:lnTo>
                  <a:lnTo>
                    <a:pt x="381" y="608"/>
                  </a:lnTo>
                  <a:lnTo>
                    <a:pt x="376" y="588"/>
                  </a:lnTo>
                  <a:lnTo>
                    <a:pt x="391" y="582"/>
                  </a:lnTo>
                  <a:lnTo>
                    <a:pt x="379" y="580"/>
                  </a:lnTo>
                  <a:lnTo>
                    <a:pt x="382" y="565"/>
                  </a:lnTo>
                  <a:lnTo>
                    <a:pt x="405" y="549"/>
                  </a:lnTo>
                  <a:lnTo>
                    <a:pt x="399" y="541"/>
                  </a:lnTo>
                  <a:lnTo>
                    <a:pt x="407" y="532"/>
                  </a:lnTo>
                  <a:lnTo>
                    <a:pt x="424" y="529"/>
                  </a:lnTo>
                  <a:lnTo>
                    <a:pt x="435" y="508"/>
                  </a:lnTo>
                  <a:lnTo>
                    <a:pt x="432" y="492"/>
                  </a:lnTo>
                  <a:lnTo>
                    <a:pt x="444" y="472"/>
                  </a:lnTo>
                  <a:lnTo>
                    <a:pt x="459" y="463"/>
                  </a:lnTo>
                  <a:lnTo>
                    <a:pt x="479" y="475"/>
                  </a:lnTo>
                  <a:lnTo>
                    <a:pt x="496" y="460"/>
                  </a:lnTo>
                  <a:lnTo>
                    <a:pt x="470" y="460"/>
                  </a:lnTo>
                  <a:lnTo>
                    <a:pt x="487" y="444"/>
                  </a:lnTo>
                  <a:lnTo>
                    <a:pt x="483" y="441"/>
                  </a:lnTo>
                  <a:lnTo>
                    <a:pt x="489" y="438"/>
                  </a:lnTo>
                  <a:lnTo>
                    <a:pt x="481" y="423"/>
                  </a:lnTo>
                  <a:lnTo>
                    <a:pt x="496" y="409"/>
                  </a:lnTo>
                  <a:lnTo>
                    <a:pt x="489" y="402"/>
                  </a:lnTo>
                  <a:lnTo>
                    <a:pt x="501" y="390"/>
                  </a:lnTo>
                  <a:lnTo>
                    <a:pt x="509" y="389"/>
                  </a:lnTo>
                  <a:lnTo>
                    <a:pt x="513" y="421"/>
                  </a:lnTo>
                  <a:lnTo>
                    <a:pt x="525" y="413"/>
                  </a:lnTo>
                  <a:lnTo>
                    <a:pt x="520" y="393"/>
                  </a:lnTo>
                  <a:lnTo>
                    <a:pt x="525" y="385"/>
                  </a:lnTo>
                  <a:lnTo>
                    <a:pt x="517" y="372"/>
                  </a:lnTo>
                  <a:lnTo>
                    <a:pt x="521" y="365"/>
                  </a:lnTo>
                  <a:lnTo>
                    <a:pt x="532" y="359"/>
                  </a:lnTo>
                  <a:lnTo>
                    <a:pt x="566" y="372"/>
                  </a:lnTo>
                  <a:lnTo>
                    <a:pt x="572" y="355"/>
                  </a:lnTo>
                  <a:lnTo>
                    <a:pt x="530" y="347"/>
                  </a:lnTo>
                  <a:lnTo>
                    <a:pt x="540" y="331"/>
                  </a:lnTo>
                  <a:lnTo>
                    <a:pt x="572" y="326"/>
                  </a:lnTo>
                  <a:lnTo>
                    <a:pt x="576" y="323"/>
                  </a:lnTo>
                  <a:lnTo>
                    <a:pt x="571" y="314"/>
                  </a:lnTo>
                  <a:lnTo>
                    <a:pt x="585" y="316"/>
                  </a:lnTo>
                  <a:lnTo>
                    <a:pt x="583" y="303"/>
                  </a:lnTo>
                  <a:lnTo>
                    <a:pt x="579" y="299"/>
                  </a:lnTo>
                  <a:lnTo>
                    <a:pt x="577" y="283"/>
                  </a:lnTo>
                  <a:lnTo>
                    <a:pt x="605" y="262"/>
                  </a:lnTo>
                  <a:lnTo>
                    <a:pt x="600" y="249"/>
                  </a:lnTo>
                  <a:lnTo>
                    <a:pt x="608" y="223"/>
                  </a:lnTo>
                  <a:lnTo>
                    <a:pt x="613" y="228"/>
                  </a:lnTo>
                  <a:lnTo>
                    <a:pt x="611" y="243"/>
                  </a:lnTo>
                  <a:lnTo>
                    <a:pt x="630" y="252"/>
                  </a:lnTo>
                  <a:lnTo>
                    <a:pt x="639" y="243"/>
                  </a:lnTo>
                  <a:lnTo>
                    <a:pt x="622" y="218"/>
                  </a:lnTo>
                  <a:lnTo>
                    <a:pt x="631" y="217"/>
                  </a:lnTo>
                  <a:lnTo>
                    <a:pt x="667" y="257"/>
                  </a:lnTo>
                  <a:lnTo>
                    <a:pt x="662" y="238"/>
                  </a:lnTo>
                  <a:lnTo>
                    <a:pt x="647" y="223"/>
                  </a:lnTo>
                  <a:lnTo>
                    <a:pt x="645" y="203"/>
                  </a:lnTo>
                  <a:lnTo>
                    <a:pt x="654" y="187"/>
                  </a:lnTo>
                  <a:lnTo>
                    <a:pt x="674" y="184"/>
                  </a:lnTo>
                  <a:lnTo>
                    <a:pt x="676" y="228"/>
                  </a:lnTo>
                  <a:lnTo>
                    <a:pt x="682" y="191"/>
                  </a:lnTo>
                  <a:lnTo>
                    <a:pt x="704" y="166"/>
                  </a:lnTo>
                  <a:lnTo>
                    <a:pt x="704" y="217"/>
                  </a:lnTo>
                  <a:lnTo>
                    <a:pt x="695" y="243"/>
                  </a:lnTo>
                  <a:lnTo>
                    <a:pt x="720" y="208"/>
                  </a:lnTo>
                  <a:lnTo>
                    <a:pt x="716" y="189"/>
                  </a:lnTo>
                  <a:lnTo>
                    <a:pt x="725" y="175"/>
                  </a:lnTo>
                  <a:lnTo>
                    <a:pt x="736" y="166"/>
                  </a:lnTo>
                  <a:lnTo>
                    <a:pt x="733" y="174"/>
                  </a:lnTo>
                  <a:lnTo>
                    <a:pt x="738" y="183"/>
                  </a:lnTo>
                  <a:lnTo>
                    <a:pt x="752" y="169"/>
                  </a:lnTo>
                  <a:lnTo>
                    <a:pt x="749" y="152"/>
                  </a:lnTo>
                  <a:lnTo>
                    <a:pt x="784" y="192"/>
                  </a:lnTo>
                  <a:lnTo>
                    <a:pt x="783" y="145"/>
                  </a:lnTo>
                  <a:lnTo>
                    <a:pt x="762" y="136"/>
                  </a:lnTo>
                  <a:lnTo>
                    <a:pt x="762" y="115"/>
                  </a:lnTo>
                  <a:lnTo>
                    <a:pt x="774" y="135"/>
                  </a:lnTo>
                  <a:lnTo>
                    <a:pt x="779" y="116"/>
                  </a:lnTo>
                  <a:lnTo>
                    <a:pt x="800" y="138"/>
                  </a:lnTo>
                  <a:lnTo>
                    <a:pt x="804" y="136"/>
                  </a:lnTo>
                  <a:lnTo>
                    <a:pt x="801" y="127"/>
                  </a:lnTo>
                  <a:lnTo>
                    <a:pt x="826" y="130"/>
                  </a:lnTo>
                  <a:lnTo>
                    <a:pt x="823" y="141"/>
                  </a:lnTo>
                  <a:lnTo>
                    <a:pt x="840" y="159"/>
                  </a:lnTo>
                  <a:lnTo>
                    <a:pt x="842" y="125"/>
                  </a:lnTo>
                  <a:lnTo>
                    <a:pt x="868" y="93"/>
                  </a:lnTo>
                  <a:lnTo>
                    <a:pt x="889" y="93"/>
                  </a:lnTo>
                  <a:lnTo>
                    <a:pt x="886" y="81"/>
                  </a:lnTo>
                  <a:lnTo>
                    <a:pt x="903" y="65"/>
                  </a:lnTo>
                  <a:lnTo>
                    <a:pt x="891" y="42"/>
                  </a:lnTo>
                  <a:lnTo>
                    <a:pt x="903" y="47"/>
                  </a:lnTo>
                  <a:lnTo>
                    <a:pt x="903" y="26"/>
                  </a:lnTo>
                  <a:lnTo>
                    <a:pt x="920" y="22"/>
                  </a:lnTo>
                  <a:lnTo>
                    <a:pt x="931" y="47"/>
                  </a:lnTo>
                  <a:lnTo>
                    <a:pt x="959" y="40"/>
                  </a:lnTo>
                  <a:lnTo>
                    <a:pt x="928" y="93"/>
                  </a:lnTo>
                  <a:lnTo>
                    <a:pt x="928" y="119"/>
                  </a:lnTo>
                  <a:lnTo>
                    <a:pt x="918" y="138"/>
                  </a:lnTo>
                  <a:lnTo>
                    <a:pt x="918" y="149"/>
                  </a:lnTo>
                  <a:lnTo>
                    <a:pt x="927" y="145"/>
                  </a:lnTo>
                  <a:lnTo>
                    <a:pt x="995" y="26"/>
                  </a:lnTo>
                  <a:lnTo>
                    <a:pt x="999" y="56"/>
                  </a:lnTo>
                  <a:lnTo>
                    <a:pt x="990" y="64"/>
                  </a:lnTo>
                  <a:lnTo>
                    <a:pt x="999" y="76"/>
                  </a:lnTo>
                  <a:lnTo>
                    <a:pt x="995" y="105"/>
                  </a:lnTo>
                  <a:lnTo>
                    <a:pt x="1016" y="91"/>
                  </a:lnTo>
                  <a:lnTo>
                    <a:pt x="1016" y="79"/>
                  </a:lnTo>
                  <a:lnTo>
                    <a:pt x="1024" y="71"/>
                  </a:lnTo>
                  <a:lnTo>
                    <a:pt x="1041" y="5"/>
                  </a:lnTo>
                  <a:lnTo>
                    <a:pt x="1081" y="20"/>
                  </a:lnTo>
                  <a:lnTo>
                    <a:pt x="1074" y="45"/>
                  </a:lnTo>
                  <a:lnTo>
                    <a:pt x="1053" y="51"/>
                  </a:lnTo>
                  <a:lnTo>
                    <a:pt x="1061" y="60"/>
                  </a:lnTo>
                  <a:lnTo>
                    <a:pt x="1049" y="71"/>
                  </a:lnTo>
                  <a:lnTo>
                    <a:pt x="1074" y="69"/>
                  </a:lnTo>
                  <a:lnTo>
                    <a:pt x="1058" y="93"/>
                  </a:lnTo>
                  <a:lnTo>
                    <a:pt x="1087" y="91"/>
                  </a:lnTo>
                  <a:lnTo>
                    <a:pt x="1087" y="52"/>
                  </a:lnTo>
                  <a:lnTo>
                    <a:pt x="1114" y="37"/>
                  </a:lnTo>
                  <a:lnTo>
                    <a:pt x="1121" y="64"/>
                  </a:lnTo>
                  <a:lnTo>
                    <a:pt x="1150" y="57"/>
                  </a:lnTo>
                  <a:lnTo>
                    <a:pt x="1168" y="73"/>
                  </a:lnTo>
                  <a:lnTo>
                    <a:pt x="1160" y="77"/>
                  </a:lnTo>
                  <a:lnTo>
                    <a:pt x="1197" y="98"/>
                  </a:lnTo>
                  <a:lnTo>
                    <a:pt x="1199" y="110"/>
                  </a:lnTo>
                  <a:lnTo>
                    <a:pt x="1154" y="144"/>
                  </a:lnTo>
                  <a:lnTo>
                    <a:pt x="1091" y="136"/>
                  </a:lnTo>
                  <a:lnTo>
                    <a:pt x="1148" y="172"/>
                  </a:lnTo>
                  <a:lnTo>
                    <a:pt x="1131" y="200"/>
                  </a:lnTo>
                  <a:lnTo>
                    <a:pt x="1162" y="195"/>
                  </a:lnTo>
                  <a:lnTo>
                    <a:pt x="1194" y="186"/>
                  </a:lnTo>
                  <a:lnTo>
                    <a:pt x="1191" y="213"/>
                  </a:lnTo>
                  <a:lnTo>
                    <a:pt x="1162" y="204"/>
                  </a:lnTo>
                  <a:lnTo>
                    <a:pt x="1157" y="229"/>
                  </a:lnTo>
                  <a:lnTo>
                    <a:pt x="1123" y="252"/>
                  </a:lnTo>
                  <a:lnTo>
                    <a:pt x="1109" y="277"/>
                  </a:lnTo>
                  <a:lnTo>
                    <a:pt x="1101" y="262"/>
                  </a:lnTo>
                  <a:lnTo>
                    <a:pt x="1121" y="232"/>
                  </a:lnTo>
                  <a:lnTo>
                    <a:pt x="1114" y="195"/>
                  </a:lnTo>
                  <a:lnTo>
                    <a:pt x="1061" y="145"/>
                  </a:lnTo>
                  <a:lnTo>
                    <a:pt x="1015" y="164"/>
                  </a:lnTo>
                  <a:lnTo>
                    <a:pt x="969" y="183"/>
                  </a:lnTo>
                  <a:lnTo>
                    <a:pt x="959" y="209"/>
                  </a:lnTo>
                  <a:lnTo>
                    <a:pt x="956" y="286"/>
                  </a:lnTo>
                  <a:lnTo>
                    <a:pt x="903" y="326"/>
                  </a:lnTo>
                  <a:lnTo>
                    <a:pt x="877" y="300"/>
                  </a:lnTo>
                  <a:lnTo>
                    <a:pt x="849" y="325"/>
                  </a:lnTo>
                  <a:lnTo>
                    <a:pt x="804" y="316"/>
                  </a:lnTo>
                  <a:lnTo>
                    <a:pt x="770" y="257"/>
                  </a:lnTo>
                  <a:lnTo>
                    <a:pt x="749" y="241"/>
                  </a:lnTo>
                  <a:lnTo>
                    <a:pt x="738" y="246"/>
                  </a:lnTo>
                  <a:lnTo>
                    <a:pt x="742" y="269"/>
                  </a:lnTo>
                  <a:lnTo>
                    <a:pt x="718" y="277"/>
                  </a:lnTo>
                  <a:lnTo>
                    <a:pt x="695" y="279"/>
                  </a:lnTo>
                  <a:lnTo>
                    <a:pt x="699" y="299"/>
                  </a:lnTo>
                  <a:lnTo>
                    <a:pt x="686" y="333"/>
                  </a:lnTo>
                  <a:lnTo>
                    <a:pt x="696" y="350"/>
                  </a:lnTo>
                  <a:lnTo>
                    <a:pt x="691" y="357"/>
                  </a:lnTo>
                  <a:lnTo>
                    <a:pt x="613" y="345"/>
                  </a:lnTo>
                  <a:lnTo>
                    <a:pt x="605" y="357"/>
                  </a:lnTo>
                  <a:lnTo>
                    <a:pt x="605" y="384"/>
                  </a:lnTo>
                  <a:lnTo>
                    <a:pt x="593" y="416"/>
                  </a:lnTo>
                  <a:lnTo>
                    <a:pt x="571" y="398"/>
                  </a:lnTo>
                  <a:lnTo>
                    <a:pt x="537" y="426"/>
                  </a:lnTo>
                  <a:lnTo>
                    <a:pt x="532" y="452"/>
                  </a:lnTo>
                  <a:lnTo>
                    <a:pt x="513" y="486"/>
                  </a:lnTo>
                  <a:lnTo>
                    <a:pt x="523" y="504"/>
                  </a:lnTo>
                  <a:lnTo>
                    <a:pt x="523" y="523"/>
                  </a:lnTo>
                  <a:lnTo>
                    <a:pt x="481" y="582"/>
                  </a:lnTo>
                  <a:lnTo>
                    <a:pt x="470" y="622"/>
                  </a:lnTo>
                  <a:lnTo>
                    <a:pt x="441" y="638"/>
                  </a:lnTo>
                  <a:lnTo>
                    <a:pt x="441" y="692"/>
                  </a:lnTo>
                  <a:lnTo>
                    <a:pt x="432" y="736"/>
                  </a:lnTo>
                  <a:lnTo>
                    <a:pt x="402" y="794"/>
                  </a:lnTo>
                  <a:lnTo>
                    <a:pt x="421" y="823"/>
                  </a:lnTo>
                  <a:lnTo>
                    <a:pt x="418" y="849"/>
                  </a:lnTo>
                  <a:lnTo>
                    <a:pt x="410" y="862"/>
                  </a:lnTo>
                  <a:lnTo>
                    <a:pt x="366" y="862"/>
                  </a:lnTo>
                  <a:lnTo>
                    <a:pt x="331" y="896"/>
                  </a:lnTo>
                  <a:lnTo>
                    <a:pt x="322" y="925"/>
                  </a:lnTo>
                  <a:lnTo>
                    <a:pt x="334" y="958"/>
                  </a:lnTo>
                  <a:lnTo>
                    <a:pt x="322" y="1009"/>
                  </a:lnTo>
                  <a:lnTo>
                    <a:pt x="328" y="1034"/>
                  </a:lnTo>
                  <a:lnTo>
                    <a:pt x="328" y="1086"/>
                  </a:lnTo>
                  <a:lnTo>
                    <a:pt x="353" y="1111"/>
                  </a:lnTo>
                  <a:lnTo>
                    <a:pt x="356" y="1130"/>
                  </a:lnTo>
                  <a:lnTo>
                    <a:pt x="351" y="1145"/>
                  </a:lnTo>
                  <a:lnTo>
                    <a:pt x="327" y="1164"/>
                  </a:lnTo>
                  <a:lnTo>
                    <a:pt x="336" y="1176"/>
                  </a:lnTo>
                  <a:lnTo>
                    <a:pt x="342" y="1204"/>
                  </a:lnTo>
                  <a:lnTo>
                    <a:pt x="336" y="1229"/>
                  </a:lnTo>
                  <a:lnTo>
                    <a:pt x="339" y="1249"/>
                  </a:lnTo>
                  <a:lnTo>
                    <a:pt x="310" y="1266"/>
                  </a:lnTo>
                  <a:lnTo>
                    <a:pt x="310" y="1278"/>
                  </a:lnTo>
                  <a:lnTo>
                    <a:pt x="300" y="1297"/>
                  </a:lnTo>
                  <a:lnTo>
                    <a:pt x="305" y="1320"/>
                  </a:lnTo>
                  <a:lnTo>
                    <a:pt x="298" y="1352"/>
                  </a:lnTo>
                  <a:lnTo>
                    <a:pt x="291" y="1357"/>
                  </a:lnTo>
                  <a:lnTo>
                    <a:pt x="288" y="1349"/>
                  </a:lnTo>
                  <a:lnTo>
                    <a:pt x="285" y="1360"/>
                  </a:lnTo>
                  <a:lnTo>
                    <a:pt x="283" y="1339"/>
                  </a:lnTo>
                  <a:lnTo>
                    <a:pt x="277" y="1332"/>
                  </a:lnTo>
                  <a:lnTo>
                    <a:pt x="261" y="1326"/>
                  </a:lnTo>
                  <a:lnTo>
                    <a:pt x="254" y="1283"/>
                  </a:lnTo>
                  <a:lnTo>
                    <a:pt x="261" y="1269"/>
                  </a:lnTo>
                  <a:lnTo>
                    <a:pt x="255" y="1266"/>
                  </a:lnTo>
                  <a:lnTo>
                    <a:pt x="247" y="1271"/>
                  </a:lnTo>
                  <a:lnTo>
                    <a:pt x="251" y="1298"/>
                  </a:lnTo>
                  <a:lnTo>
                    <a:pt x="246" y="1300"/>
                  </a:lnTo>
                  <a:lnTo>
                    <a:pt x="238" y="1283"/>
                  </a:lnTo>
                  <a:lnTo>
                    <a:pt x="237" y="1298"/>
                  </a:lnTo>
                  <a:lnTo>
                    <a:pt x="247" y="1320"/>
                  </a:lnTo>
                  <a:lnTo>
                    <a:pt x="237" y="1342"/>
                  </a:lnTo>
                  <a:lnTo>
                    <a:pt x="209" y="1340"/>
                  </a:lnTo>
                  <a:lnTo>
                    <a:pt x="210" y="1348"/>
                  </a:lnTo>
                  <a:lnTo>
                    <a:pt x="187" y="1379"/>
                  </a:lnTo>
                  <a:lnTo>
                    <a:pt x="142" y="1420"/>
                  </a:lnTo>
                  <a:lnTo>
                    <a:pt x="136" y="1410"/>
                  </a:lnTo>
                  <a:lnTo>
                    <a:pt x="122" y="1430"/>
                  </a:lnTo>
                  <a:lnTo>
                    <a:pt x="112" y="1433"/>
                  </a:lnTo>
                  <a:lnTo>
                    <a:pt x="99" y="1428"/>
                  </a:lnTo>
                  <a:lnTo>
                    <a:pt x="105" y="1422"/>
                  </a:lnTo>
                  <a:lnTo>
                    <a:pt x="91" y="1422"/>
                  </a:lnTo>
                  <a:lnTo>
                    <a:pt x="88" y="1428"/>
                  </a:lnTo>
                  <a:lnTo>
                    <a:pt x="74" y="1428"/>
                  </a:lnTo>
                  <a:lnTo>
                    <a:pt x="78" y="1403"/>
                  </a:lnTo>
                  <a:lnTo>
                    <a:pt x="71" y="1413"/>
                  </a:lnTo>
                  <a:lnTo>
                    <a:pt x="62" y="1411"/>
                  </a:lnTo>
                  <a:lnTo>
                    <a:pt x="20" y="1374"/>
                  </a:lnTo>
                  <a:lnTo>
                    <a:pt x="28" y="1348"/>
                  </a:lnTo>
                  <a:lnTo>
                    <a:pt x="42" y="1352"/>
                  </a:lnTo>
                  <a:lnTo>
                    <a:pt x="40" y="1342"/>
                  </a:lnTo>
                  <a:lnTo>
                    <a:pt x="54" y="1325"/>
                  </a:lnTo>
                  <a:lnTo>
                    <a:pt x="54" y="1315"/>
                  </a:lnTo>
                  <a:lnTo>
                    <a:pt x="49" y="1317"/>
                  </a:lnTo>
                  <a:lnTo>
                    <a:pt x="59" y="1301"/>
                  </a:lnTo>
                  <a:lnTo>
                    <a:pt x="14" y="1318"/>
                  </a:lnTo>
                  <a:lnTo>
                    <a:pt x="11" y="1305"/>
                  </a:lnTo>
                  <a:lnTo>
                    <a:pt x="22" y="1288"/>
                  </a:lnTo>
                  <a:lnTo>
                    <a:pt x="39" y="1288"/>
                  </a:lnTo>
                  <a:lnTo>
                    <a:pt x="62" y="1272"/>
                  </a:lnTo>
                  <a:lnTo>
                    <a:pt x="32" y="1271"/>
                  </a:lnTo>
                  <a:lnTo>
                    <a:pt x="57" y="1244"/>
                  </a:lnTo>
                  <a:lnTo>
                    <a:pt x="53" y="1237"/>
                  </a:lnTo>
                  <a:lnTo>
                    <a:pt x="70" y="1215"/>
                  </a:lnTo>
                  <a:lnTo>
                    <a:pt x="74" y="1227"/>
                  </a:lnTo>
                  <a:lnTo>
                    <a:pt x="78" y="1212"/>
                  </a:lnTo>
                  <a:lnTo>
                    <a:pt x="91" y="1207"/>
                  </a:lnTo>
                  <a:lnTo>
                    <a:pt x="70" y="1199"/>
                  </a:lnTo>
                  <a:lnTo>
                    <a:pt x="62" y="1207"/>
                  </a:lnTo>
                  <a:lnTo>
                    <a:pt x="32" y="1249"/>
                  </a:lnTo>
                  <a:lnTo>
                    <a:pt x="22" y="1264"/>
                  </a:lnTo>
                  <a:lnTo>
                    <a:pt x="19" y="1255"/>
                  </a:lnTo>
                  <a:lnTo>
                    <a:pt x="32" y="1249"/>
                  </a:lnTo>
                  <a:close/>
                  <a:moveTo>
                    <a:pt x="961" y="6"/>
                  </a:moveTo>
                  <a:lnTo>
                    <a:pt x="969" y="23"/>
                  </a:lnTo>
                  <a:lnTo>
                    <a:pt x="935" y="15"/>
                  </a:lnTo>
                  <a:lnTo>
                    <a:pt x="952" y="0"/>
                  </a:lnTo>
                  <a:lnTo>
                    <a:pt x="961" y="6"/>
                  </a:lnTo>
                  <a:close/>
                  <a:moveTo>
                    <a:pt x="872" y="82"/>
                  </a:moveTo>
                  <a:lnTo>
                    <a:pt x="869" y="85"/>
                  </a:lnTo>
                  <a:lnTo>
                    <a:pt x="862" y="57"/>
                  </a:lnTo>
                  <a:lnTo>
                    <a:pt x="876" y="64"/>
                  </a:lnTo>
                  <a:lnTo>
                    <a:pt x="877" y="81"/>
                  </a:lnTo>
                  <a:lnTo>
                    <a:pt x="872" y="82"/>
                  </a:lnTo>
                  <a:close/>
                  <a:moveTo>
                    <a:pt x="846" y="110"/>
                  </a:moveTo>
                  <a:lnTo>
                    <a:pt x="834" y="113"/>
                  </a:lnTo>
                  <a:lnTo>
                    <a:pt x="826" y="93"/>
                  </a:lnTo>
                  <a:lnTo>
                    <a:pt x="849" y="77"/>
                  </a:lnTo>
                  <a:lnTo>
                    <a:pt x="857" y="93"/>
                  </a:lnTo>
                  <a:lnTo>
                    <a:pt x="846" y="110"/>
                  </a:lnTo>
                  <a:close/>
                  <a:moveTo>
                    <a:pt x="800" y="65"/>
                  </a:moveTo>
                  <a:lnTo>
                    <a:pt x="825" y="56"/>
                  </a:lnTo>
                  <a:lnTo>
                    <a:pt x="835" y="67"/>
                  </a:lnTo>
                  <a:lnTo>
                    <a:pt x="825" y="84"/>
                  </a:lnTo>
                  <a:lnTo>
                    <a:pt x="795" y="91"/>
                  </a:lnTo>
                  <a:lnTo>
                    <a:pt x="786" y="73"/>
                  </a:lnTo>
                  <a:lnTo>
                    <a:pt x="800" y="65"/>
                  </a:lnTo>
                  <a:close/>
                  <a:moveTo>
                    <a:pt x="818" y="124"/>
                  </a:moveTo>
                  <a:lnTo>
                    <a:pt x="804" y="110"/>
                  </a:lnTo>
                  <a:lnTo>
                    <a:pt x="821" y="110"/>
                  </a:lnTo>
                  <a:lnTo>
                    <a:pt x="826" y="121"/>
                  </a:lnTo>
                  <a:lnTo>
                    <a:pt x="818" y="124"/>
                  </a:lnTo>
                  <a:close/>
                  <a:moveTo>
                    <a:pt x="724" y="125"/>
                  </a:moveTo>
                  <a:lnTo>
                    <a:pt x="729" y="130"/>
                  </a:lnTo>
                  <a:lnTo>
                    <a:pt x="727" y="147"/>
                  </a:lnTo>
                  <a:lnTo>
                    <a:pt x="713" y="142"/>
                  </a:lnTo>
                  <a:lnTo>
                    <a:pt x="724" y="125"/>
                  </a:lnTo>
                  <a:close/>
                  <a:moveTo>
                    <a:pt x="682" y="132"/>
                  </a:moveTo>
                  <a:lnTo>
                    <a:pt x="695" y="144"/>
                  </a:lnTo>
                  <a:lnTo>
                    <a:pt x="679" y="145"/>
                  </a:lnTo>
                  <a:lnTo>
                    <a:pt x="671" y="121"/>
                  </a:lnTo>
                  <a:lnTo>
                    <a:pt x="682" y="132"/>
                  </a:lnTo>
                  <a:close/>
                  <a:moveTo>
                    <a:pt x="639" y="150"/>
                  </a:moveTo>
                  <a:lnTo>
                    <a:pt x="671" y="157"/>
                  </a:lnTo>
                  <a:lnTo>
                    <a:pt x="656" y="181"/>
                  </a:lnTo>
                  <a:lnTo>
                    <a:pt x="639" y="167"/>
                  </a:lnTo>
                  <a:lnTo>
                    <a:pt x="639" y="150"/>
                  </a:lnTo>
                  <a:close/>
                  <a:moveTo>
                    <a:pt x="610" y="195"/>
                  </a:moveTo>
                  <a:lnTo>
                    <a:pt x="630" y="189"/>
                  </a:lnTo>
                  <a:lnTo>
                    <a:pt x="634" y="172"/>
                  </a:lnTo>
                  <a:lnTo>
                    <a:pt x="645" y="184"/>
                  </a:lnTo>
                  <a:lnTo>
                    <a:pt x="637" y="206"/>
                  </a:lnTo>
                  <a:lnTo>
                    <a:pt x="617" y="215"/>
                  </a:lnTo>
                  <a:lnTo>
                    <a:pt x="603" y="211"/>
                  </a:lnTo>
                  <a:lnTo>
                    <a:pt x="610" y="195"/>
                  </a:lnTo>
                  <a:close/>
                  <a:moveTo>
                    <a:pt x="551" y="260"/>
                  </a:moveTo>
                  <a:lnTo>
                    <a:pt x="546" y="255"/>
                  </a:lnTo>
                  <a:lnTo>
                    <a:pt x="552" y="254"/>
                  </a:lnTo>
                  <a:lnTo>
                    <a:pt x="551" y="240"/>
                  </a:lnTo>
                  <a:lnTo>
                    <a:pt x="574" y="226"/>
                  </a:lnTo>
                  <a:lnTo>
                    <a:pt x="577" y="221"/>
                  </a:lnTo>
                  <a:lnTo>
                    <a:pt x="574" y="211"/>
                  </a:lnTo>
                  <a:lnTo>
                    <a:pt x="586" y="211"/>
                  </a:lnTo>
                  <a:lnTo>
                    <a:pt x="597" y="238"/>
                  </a:lnTo>
                  <a:lnTo>
                    <a:pt x="593" y="263"/>
                  </a:lnTo>
                  <a:lnTo>
                    <a:pt x="547" y="280"/>
                  </a:lnTo>
                  <a:lnTo>
                    <a:pt x="543" y="274"/>
                  </a:lnTo>
                  <a:lnTo>
                    <a:pt x="554" y="263"/>
                  </a:lnTo>
                  <a:lnTo>
                    <a:pt x="551" y="260"/>
                  </a:lnTo>
                  <a:close/>
                  <a:moveTo>
                    <a:pt x="458" y="435"/>
                  </a:moveTo>
                  <a:lnTo>
                    <a:pt x="452" y="426"/>
                  </a:lnTo>
                  <a:lnTo>
                    <a:pt x="476" y="427"/>
                  </a:lnTo>
                  <a:lnTo>
                    <a:pt x="456" y="450"/>
                  </a:lnTo>
                  <a:lnTo>
                    <a:pt x="447" y="447"/>
                  </a:lnTo>
                  <a:lnTo>
                    <a:pt x="458" y="435"/>
                  </a:lnTo>
                  <a:close/>
                  <a:moveTo>
                    <a:pt x="496" y="260"/>
                  </a:moveTo>
                  <a:lnTo>
                    <a:pt x="503" y="245"/>
                  </a:lnTo>
                  <a:lnTo>
                    <a:pt x="515" y="250"/>
                  </a:lnTo>
                  <a:lnTo>
                    <a:pt x="498" y="283"/>
                  </a:lnTo>
                  <a:lnTo>
                    <a:pt x="484" y="282"/>
                  </a:lnTo>
                  <a:lnTo>
                    <a:pt x="496" y="260"/>
                  </a:lnTo>
                  <a:close/>
                  <a:moveTo>
                    <a:pt x="435" y="326"/>
                  </a:moveTo>
                  <a:lnTo>
                    <a:pt x="452" y="300"/>
                  </a:lnTo>
                  <a:lnTo>
                    <a:pt x="464" y="308"/>
                  </a:lnTo>
                  <a:lnTo>
                    <a:pt x="464" y="291"/>
                  </a:lnTo>
                  <a:lnTo>
                    <a:pt x="475" y="308"/>
                  </a:lnTo>
                  <a:lnTo>
                    <a:pt x="476" y="331"/>
                  </a:lnTo>
                  <a:lnTo>
                    <a:pt x="458" y="339"/>
                  </a:lnTo>
                  <a:lnTo>
                    <a:pt x="455" y="331"/>
                  </a:lnTo>
                  <a:lnTo>
                    <a:pt x="462" y="319"/>
                  </a:lnTo>
                  <a:lnTo>
                    <a:pt x="438" y="336"/>
                  </a:lnTo>
                  <a:lnTo>
                    <a:pt x="435" y="326"/>
                  </a:lnTo>
                  <a:close/>
                  <a:moveTo>
                    <a:pt x="489" y="294"/>
                  </a:moveTo>
                  <a:lnTo>
                    <a:pt x="496" y="292"/>
                  </a:lnTo>
                  <a:lnTo>
                    <a:pt x="503" y="317"/>
                  </a:lnTo>
                  <a:lnTo>
                    <a:pt x="496" y="339"/>
                  </a:lnTo>
                  <a:lnTo>
                    <a:pt x="515" y="316"/>
                  </a:lnTo>
                  <a:lnTo>
                    <a:pt x="517" y="300"/>
                  </a:lnTo>
                  <a:lnTo>
                    <a:pt x="530" y="314"/>
                  </a:lnTo>
                  <a:lnTo>
                    <a:pt x="530" y="333"/>
                  </a:lnTo>
                  <a:lnTo>
                    <a:pt x="506" y="357"/>
                  </a:lnTo>
                  <a:lnTo>
                    <a:pt x="503" y="350"/>
                  </a:lnTo>
                  <a:lnTo>
                    <a:pt x="487" y="372"/>
                  </a:lnTo>
                  <a:lnTo>
                    <a:pt x="484" y="351"/>
                  </a:lnTo>
                  <a:lnTo>
                    <a:pt x="452" y="384"/>
                  </a:lnTo>
                  <a:lnTo>
                    <a:pt x="447" y="376"/>
                  </a:lnTo>
                  <a:lnTo>
                    <a:pt x="427" y="385"/>
                  </a:lnTo>
                  <a:lnTo>
                    <a:pt x="435" y="365"/>
                  </a:lnTo>
                  <a:lnTo>
                    <a:pt x="473" y="350"/>
                  </a:lnTo>
                  <a:lnTo>
                    <a:pt x="489" y="294"/>
                  </a:lnTo>
                  <a:close/>
                  <a:moveTo>
                    <a:pt x="159" y="908"/>
                  </a:moveTo>
                  <a:lnTo>
                    <a:pt x="181" y="895"/>
                  </a:lnTo>
                  <a:lnTo>
                    <a:pt x="190" y="895"/>
                  </a:lnTo>
                  <a:lnTo>
                    <a:pt x="193" y="907"/>
                  </a:lnTo>
                  <a:lnTo>
                    <a:pt x="166" y="919"/>
                  </a:lnTo>
                  <a:lnTo>
                    <a:pt x="159" y="908"/>
                  </a:lnTo>
                  <a:close/>
                  <a:moveTo>
                    <a:pt x="12" y="1334"/>
                  </a:moveTo>
                  <a:lnTo>
                    <a:pt x="11" y="1315"/>
                  </a:lnTo>
                  <a:lnTo>
                    <a:pt x="6" y="1332"/>
                  </a:lnTo>
                  <a:lnTo>
                    <a:pt x="12" y="1334"/>
                  </a:lnTo>
                  <a:close/>
                  <a:moveTo>
                    <a:pt x="20" y="1281"/>
                  </a:moveTo>
                  <a:lnTo>
                    <a:pt x="20" y="1266"/>
                  </a:lnTo>
                  <a:lnTo>
                    <a:pt x="14" y="1261"/>
                  </a:lnTo>
                  <a:lnTo>
                    <a:pt x="12" y="1276"/>
                  </a:lnTo>
                  <a:lnTo>
                    <a:pt x="20" y="1281"/>
                  </a:lnTo>
                  <a:close/>
                  <a:moveTo>
                    <a:pt x="40" y="1044"/>
                  </a:moveTo>
                  <a:lnTo>
                    <a:pt x="45" y="1029"/>
                  </a:lnTo>
                  <a:lnTo>
                    <a:pt x="37" y="1031"/>
                  </a:lnTo>
                  <a:lnTo>
                    <a:pt x="40" y="1044"/>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145" name="Freeform 148">
              <a:extLst>
                <a:ext uri="{FF2B5EF4-FFF2-40B4-BE49-F238E27FC236}">
                  <a16:creationId xmlns:a16="http://schemas.microsoft.com/office/drawing/2014/main" id="{305EC747-2D42-F446-B300-F5F7414D5E3A}"/>
                </a:ext>
              </a:extLst>
            </p:cNvPr>
            <p:cNvSpPr>
              <a:spLocks noChangeAspect="1" noEditPoints="1"/>
            </p:cNvSpPr>
            <p:nvPr/>
          </p:nvSpPr>
          <p:spPr bwMode="gray">
            <a:xfrm>
              <a:off x="4883170" y="1655963"/>
              <a:ext cx="292482" cy="809433"/>
            </a:xfrm>
            <a:custGeom>
              <a:avLst/>
              <a:gdLst>
                <a:gd name="T0" fmla="*/ 594 w 601"/>
                <a:gd name="T1" fmla="*/ 395 h 1374"/>
                <a:gd name="T2" fmla="*/ 556 w 601"/>
                <a:gd name="T3" fmla="*/ 396 h 1374"/>
                <a:gd name="T4" fmla="*/ 517 w 601"/>
                <a:gd name="T5" fmla="*/ 413 h 1374"/>
                <a:gd name="T6" fmla="*/ 477 w 601"/>
                <a:gd name="T7" fmla="*/ 442 h 1374"/>
                <a:gd name="T8" fmla="*/ 484 w 601"/>
                <a:gd name="T9" fmla="*/ 543 h 1374"/>
                <a:gd name="T10" fmla="*/ 472 w 601"/>
                <a:gd name="T11" fmla="*/ 546 h 1374"/>
                <a:gd name="T12" fmla="*/ 389 w 601"/>
                <a:gd name="T13" fmla="*/ 631 h 1374"/>
                <a:gd name="T14" fmla="*/ 345 w 601"/>
                <a:gd name="T15" fmla="*/ 678 h 1374"/>
                <a:gd name="T16" fmla="*/ 330 w 601"/>
                <a:gd name="T17" fmla="*/ 704 h 1374"/>
                <a:gd name="T18" fmla="*/ 310 w 601"/>
                <a:gd name="T19" fmla="*/ 730 h 1374"/>
                <a:gd name="T20" fmla="*/ 286 w 601"/>
                <a:gd name="T21" fmla="*/ 749 h 1374"/>
                <a:gd name="T22" fmla="*/ 290 w 601"/>
                <a:gd name="T23" fmla="*/ 821 h 1374"/>
                <a:gd name="T24" fmla="*/ 281 w 601"/>
                <a:gd name="T25" fmla="*/ 897 h 1374"/>
                <a:gd name="T26" fmla="*/ 282 w 601"/>
                <a:gd name="T27" fmla="*/ 933 h 1374"/>
                <a:gd name="T28" fmla="*/ 264 w 601"/>
                <a:gd name="T29" fmla="*/ 958 h 1374"/>
                <a:gd name="T30" fmla="*/ 301 w 601"/>
                <a:gd name="T31" fmla="*/ 928 h 1374"/>
                <a:gd name="T32" fmla="*/ 339 w 601"/>
                <a:gd name="T33" fmla="*/ 952 h 1374"/>
                <a:gd name="T34" fmla="*/ 339 w 601"/>
                <a:gd name="T35" fmla="*/ 1021 h 1374"/>
                <a:gd name="T36" fmla="*/ 279 w 601"/>
                <a:gd name="T37" fmla="*/ 1024 h 1374"/>
                <a:gd name="T38" fmla="*/ 243 w 601"/>
                <a:gd name="T39" fmla="*/ 1028 h 1374"/>
                <a:gd name="T40" fmla="*/ 342 w 601"/>
                <a:gd name="T41" fmla="*/ 1038 h 1374"/>
                <a:gd name="T42" fmla="*/ 330 w 601"/>
                <a:gd name="T43" fmla="*/ 1055 h 1374"/>
                <a:gd name="T44" fmla="*/ 301 w 601"/>
                <a:gd name="T45" fmla="*/ 1065 h 1374"/>
                <a:gd name="T46" fmla="*/ 268 w 601"/>
                <a:gd name="T47" fmla="*/ 1097 h 1374"/>
                <a:gd name="T48" fmla="*/ 259 w 601"/>
                <a:gd name="T49" fmla="*/ 1108 h 1374"/>
                <a:gd name="T50" fmla="*/ 242 w 601"/>
                <a:gd name="T51" fmla="*/ 1116 h 1374"/>
                <a:gd name="T52" fmla="*/ 245 w 601"/>
                <a:gd name="T53" fmla="*/ 1163 h 1374"/>
                <a:gd name="T54" fmla="*/ 252 w 601"/>
                <a:gd name="T55" fmla="*/ 1204 h 1374"/>
                <a:gd name="T56" fmla="*/ 220 w 601"/>
                <a:gd name="T57" fmla="*/ 1314 h 1374"/>
                <a:gd name="T58" fmla="*/ 151 w 601"/>
                <a:gd name="T59" fmla="*/ 1320 h 1374"/>
                <a:gd name="T60" fmla="*/ 137 w 601"/>
                <a:gd name="T61" fmla="*/ 1374 h 1374"/>
                <a:gd name="T62" fmla="*/ 62 w 601"/>
                <a:gd name="T63" fmla="*/ 1309 h 1374"/>
                <a:gd name="T64" fmla="*/ 83 w 601"/>
                <a:gd name="T65" fmla="*/ 1289 h 1374"/>
                <a:gd name="T66" fmla="*/ 42 w 601"/>
                <a:gd name="T67" fmla="*/ 1210 h 1374"/>
                <a:gd name="T68" fmla="*/ 27 w 601"/>
                <a:gd name="T69" fmla="*/ 1173 h 1374"/>
                <a:gd name="T70" fmla="*/ 24 w 601"/>
                <a:gd name="T71" fmla="*/ 1134 h 1374"/>
                <a:gd name="T72" fmla="*/ 11 w 601"/>
                <a:gd name="T73" fmla="*/ 1134 h 1374"/>
                <a:gd name="T74" fmla="*/ 0 w 601"/>
                <a:gd name="T75" fmla="*/ 1072 h 1374"/>
                <a:gd name="T76" fmla="*/ 10 w 601"/>
                <a:gd name="T77" fmla="*/ 1072 h 1374"/>
                <a:gd name="T78" fmla="*/ 27 w 601"/>
                <a:gd name="T79" fmla="*/ 1043 h 1374"/>
                <a:gd name="T80" fmla="*/ 32 w 601"/>
                <a:gd name="T81" fmla="*/ 989 h 1374"/>
                <a:gd name="T82" fmla="*/ 64 w 601"/>
                <a:gd name="T83" fmla="*/ 927 h 1374"/>
                <a:gd name="T84" fmla="*/ 73 w 601"/>
                <a:gd name="T85" fmla="*/ 868 h 1374"/>
                <a:gd name="T86" fmla="*/ 50 w 601"/>
                <a:gd name="T87" fmla="*/ 809 h 1374"/>
                <a:gd name="T88" fmla="*/ 56 w 601"/>
                <a:gd name="T89" fmla="*/ 681 h 1374"/>
                <a:gd name="T90" fmla="*/ 88 w 601"/>
                <a:gd name="T91" fmla="*/ 585 h 1374"/>
                <a:gd name="T92" fmla="*/ 143 w 601"/>
                <a:gd name="T93" fmla="*/ 546 h 1374"/>
                <a:gd name="T94" fmla="*/ 163 w 601"/>
                <a:gd name="T95" fmla="*/ 415 h 1374"/>
                <a:gd name="T96" fmla="*/ 203 w 601"/>
                <a:gd name="T97" fmla="*/ 305 h 1374"/>
                <a:gd name="T98" fmla="*/ 235 w 601"/>
                <a:gd name="T99" fmla="*/ 209 h 1374"/>
                <a:gd name="T100" fmla="*/ 293 w 601"/>
                <a:gd name="T101" fmla="*/ 121 h 1374"/>
                <a:gd name="T102" fmla="*/ 327 w 601"/>
                <a:gd name="T103" fmla="*/ 80 h 1374"/>
                <a:gd name="T104" fmla="*/ 418 w 601"/>
                <a:gd name="T105" fmla="*/ 73 h 1374"/>
                <a:gd name="T106" fmla="*/ 417 w 601"/>
                <a:gd name="T107" fmla="*/ 2 h 1374"/>
                <a:gd name="T108" fmla="*/ 548 w 601"/>
                <a:gd name="T109" fmla="*/ 90 h 1374"/>
                <a:gd name="T110" fmla="*/ 581 w 601"/>
                <a:gd name="T111" fmla="*/ 217 h 1374"/>
                <a:gd name="T112" fmla="*/ 594 w 601"/>
                <a:gd name="T113" fmla="*/ 305 h 1374"/>
                <a:gd name="T114" fmla="*/ 322 w 601"/>
                <a:gd name="T115" fmla="*/ 1246 h 1374"/>
                <a:gd name="T116" fmla="*/ 362 w 601"/>
                <a:gd name="T117" fmla="*/ 1165 h 1374"/>
                <a:gd name="T118" fmla="*/ 322 w 601"/>
                <a:gd name="T119" fmla="*/ 1224 h 1374"/>
                <a:gd name="T120" fmla="*/ 240 w 601"/>
                <a:gd name="T121" fmla="*/ 1303 h 1374"/>
                <a:gd name="T122" fmla="*/ 245 w 601"/>
                <a:gd name="T123" fmla="*/ 1272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1" h="1374">
                  <a:moveTo>
                    <a:pt x="599" y="376"/>
                  </a:moveTo>
                  <a:lnTo>
                    <a:pt x="601" y="387"/>
                  </a:lnTo>
                  <a:lnTo>
                    <a:pt x="594" y="395"/>
                  </a:lnTo>
                  <a:lnTo>
                    <a:pt x="581" y="384"/>
                  </a:lnTo>
                  <a:lnTo>
                    <a:pt x="559" y="387"/>
                  </a:lnTo>
                  <a:lnTo>
                    <a:pt x="556" y="396"/>
                  </a:lnTo>
                  <a:lnTo>
                    <a:pt x="523" y="381"/>
                  </a:lnTo>
                  <a:lnTo>
                    <a:pt x="517" y="399"/>
                  </a:lnTo>
                  <a:lnTo>
                    <a:pt x="517" y="413"/>
                  </a:lnTo>
                  <a:lnTo>
                    <a:pt x="500" y="399"/>
                  </a:lnTo>
                  <a:lnTo>
                    <a:pt x="508" y="420"/>
                  </a:lnTo>
                  <a:lnTo>
                    <a:pt x="477" y="442"/>
                  </a:lnTo>
                  <a:lnTo>
                    <a:pt x="484" y="464"/>
                  </a:lnTo>
                  <a:lnTo>
                    <a:pt x="464" y="500"/>
                  </a:lnTo>
                  <a:lnTo>
                    <a:pt x="484" y="543"/>
                  </a:lnTo>
                  <a:lnTo>
                    <a:pt x="475" y="555"/>
                  </a:lnTo>
                  <a:lnTo>
                    <a:pt x="475" y="542"/>
                  </a:lnTo>
                  <a:lnTo>
                    <a:pt x="472" y="546"/>
                  </a:lnTo>
                  <a:lnTo>
                    <a:pt x="434" y="610"/>
                  </a:lnTo>
                  <a:lnTo>
                    <a:pt x="396" y="636"/>
                  </a:lnTo>
                  <a:lnTo>
                    <a:pt x="389" y="631"/>
                  </a:lnTo>
                  <a:lnTo>
                    <a:pt x="366" y="659"/>
                  </a:lnTo>
                  <a:lnTo>
                    <a:pt x="350" y="657"/>
                  </a:lnTo>
                  <a:lnTo>
                    <a:pt x="345" y="678"/>
                  </a:lnTo>
                  <a:lnTo>
                    <a:pt x="332" y="690"/>
                  </a:lnTo>
                  <a:lnTo>
                    <a:pt x="335" y="695"/>
                  </a:lnTo>
                  <a:lnTo>
                    <a:pt x="330" y="704"/>
                  </a:lnTo>
                  <a:lnTo>
                    <a:pt x="316" y="712"/>
                  </a:lnTo>
                  <a:lnTo>
                    <a:pt x="308" y="698"/>
                  </a:lnTo>
                  <a:lnTo>
                    <a:pt x="310" y="730"/>
                  </a:lnTo>
                  <a:lnTo>
                    <a:pt x="299" y="743"/>
                  </a:lnTo>
                  <a:lnTo>
                    <a:pt x="286" y="737"/>
                  </a:lnTo>
                  <a:lnTo>
                    <a:pt x="286" y="749"/>
                  </a:lnTo>
                  <a:lnTo>
                    <a:pt x="294" y="763"/>
                  </a:lnTo>
                  <a:lnTo>
                    <a:pt x="286" y="796"/>
                  </a:lnTo>
                  <a:lnTo>
                    <a:pt x="290" y="821"/>
                  </a:lnTo>
                  <a:lnTo>
                    <a:pt x="276" y="814"/>
                  </a:lnTo>
                  <a:lnTo>
                    <a:pt x="274" y="833"/>
                  </a:lnTo>
                  <a:lnTo>
                    <a:pt x="281" y="897"/>
                  </a:lnTo>
                  <a:lnTo>
                    <a:pt x="277" y="913"/>
                  </a:lnTo>
                  <a:lnTo>
                    <a:pt x="285" y="914"/>
                  </a:lnTo>
                  <a:lnTo>
                    <a:pt x="282" y="933"/>
                  </a:lnTo>
                  <a:lnTo>
                    <a:pt x="240" y="958"/>
                  </a:lnTo>
                  <a:lnTo>
                    <a:pt x="235" y="964"/>
                  </a:lnTo>
                  <a:lnTo>
                    <a:pt x="264" y="958"/>
                  </a:lnTo>
                  <a:lnTo>
                    <a:pt x="279" y="947"/>
                  </a:lnTo>
                  <a:lnTo>
                    <a:pt x="294" y="919"/>
                  </a:lnTo>
                  <a:lnTo>
                    <a:pt x="301" y="928"/>
                  </a:lnTo>
                  <a:lnTo>
                    <a:pt x="315" y="927"/>
                  </a:lnTo>
                  <a:lnTo>
                    <a:pt x="319" y="943"/>
                  </a:lnTo>
                  <a:lnTo>
                    <a:pt x="339" y="952"/>
                  </a:lnTo>
                  <a:lnTo>
                    <a:pt x="332" y="955"/>
                  </a:lnTo>
                  <a:lnTo>
                    <a:pt x="356" y="987"/>
                  </a:lnTo>
                  <a:lnTo>
                    <a:pt x="339" y="1021"/>
                  </a:lnTo>
                  <a:lnTo>
                    <a:pt x="311" y="1035"/>
                  </a:lnTo>
                  <a:lnTo>
                    <a:pt x="299" y="1021"/>
                  </a:lnTo>
                  <a:lnTo>
                    <a:pt x="279" y="1024"/>
                  </a:lnTo>
                  <a:lnTo>
                    <a:pt x="271" y="1018"/>
                  </a:lnTo>
                  <a:lnTo>
                    <a:pt x="239" y="1024"/>
                  </a:lnTo>
                  <a:lnTo>
                    <a:pt x="243" y="1028"/>
                  </a:lnTo>
                  <a:lnTo>
                    <a:pt x="276" y="1035"/>
                  </a:lnTo>
                  <a:lnTo>
                    <a:pt x="282" y="1045"/>
                  </a:lnTo>
                  <a:lnTo>
                    <a:pt x="342" y="1038"/>
                  </a:lnTo>
                  <a:lnTo>
                    <a:pt x="336" y="1048"/>
                  </a:lnTo>
                  <a:lnTo>
                    <a:pt x="327" y="1043"/>
                  </a:lnTo>
                  <a:lnTo>
                    <a:pt x="330" y="1055"/>
                  </a:lnTo>
                  <a:lnTo>
                    <a:pt x="311" y="1075"/>
                  </a:lnTo>
                  <a:lnTo>
                    <a:pt x="301" y="1075"/>
                  </a:lnTo>
                  <a:lnTo>
                    <a:pt x="301" y="1065"/>
                  </a:lnTo>
                  <a:lnTo>
                    <a:pt x="294" y="1063"/>
                  </a:lnTo>
                  <a:lnTo>
                    <a:pt x="290" y="1080"/>
                  </a:lnTo>
                  <a:lnTo>
                    <a:pt x="268" y="1097"/>
                  </a:lnTo>
                  <a:lnTo>
                    <a:pt x="235" y="1099"/>
                  </a:lnTo>
                  <a:lnTo>
                    <a:pt x="231" y="1102"/>
                  </a:lnTo>
                  <a:lnTo>
                    <a:pt x="259" y="1108"/>
                  </a:lnTo>
                  <a:lnTo>
                    <a:pt x="262" y="1112"/>
                  </a:lnTo>
                  <a:lnTo>
                    <a:pt x="245" y="1114"/>
                  </a:lnTo>
                  <a:lnTo>
                    <a:pt x="242" y="1116"/>
                  </a:lnTo>
                  <a:lnTo>
                    <a:pt x="257" y="1129"/>
                  </a:lnTo>
                  <a:lnTo>
                    <a:pt x="256" y="1162"/>
                  </a:lnTo>
                  <a:lnTo>
                    <a:pt x="245" y="1163"/>
                  </a:lnTo>
                  <a:lnTo>
                    <a:pt x="252" y="1182"/>
                  </a:lnTo>
                  <a:lnTo>
                    <a:pt x="247" y="1190"/>
                  </a:lnTo>
                  <a:lnTo>
                    <a:pt x="252" y="1204"/>
                  </a:lnTo>
                  <a:lnTo>
                    <a:pt x="243" y="1224"/>
                  </a:lnTo>
                  <a:lnTo>
                    <a:pt x="240" y="1263"/>
                  </a:lnTo>
                  <a:lnTo>
                    <a:pt x="220" y="1314"/>
                  </a:lnTo>
                  <a:lnTo>
                    <a:pt x="171" y="1309"/>
                  </a:lnTo>
                  <a:lnTo>
                    <a:pt x="160" y="1324"/>
                  </a:lnTo>
                  <a:lnTo>
                    <a:pt x="151" y="1320"/>
                  </a:lnTo>
                  <a:lnTo>
                    <a:pt x="143" y="1343"/>
                  </a:lnTo>
                  <a:lnTo>
                    <a:pt x="146" y="1360"/>
                  </a:lnTo>
                  <a:lnTo>
                    <a:pt x="137" y="1374"/>
                  </a:lnTo>
                  <a:lnTo>
                    <a:pt x="78" y="1374"/>
                  </a:lnTo>
                  <a:lnTo>
                    <a:pt x="86" y="1354"/>
                  </a:lnTo>
                  <a:lnTo>
                    <a:pt x="62" y="1309"/>
                  </a:lnTo>
                  <a:lnTo>
                    <a:pt x="76" y="1307"/>
                  </a:lnTo>
                  <a:lnTo>
                    <a:pt x="70" y="1294"/>
                  </a:lnTo>
                  <a:lnTo>
                    <a:pt x="83" y="1289"/>
                  </a:lnTo>
                  <a:lnTo>
                    <a:pt x="83" y="1281"/>
                  </a:lnTo>
                  <a:lnTo>
                    <a:pt x="53" y="1247"/>
                  </a:lnTo>
                  <a:lnTo>
                    <a:pt x="42" y="1210"/>
                  </a:lnTo>
                  <a:lnTo>
                    <a:pt x="34" y="1210"/>
                  </a:lnTo>
                  <a:lnTo>
                    <a:pt x="37" y="1171"/>
                  </a:lnTo>
                  <a:lnTo>
                    <a:pt x="27" y="1173"/>
                  </a:lnTo>
                  <a:lnTo>
                    <a:pt x="27" y="1151"/>
                  </a:lnTo>
                  <a:lnTo>
                    <a:pt x="13" y="1146"/>
                  </a:lnTo>
                  <a:lnTo>
                    <a:pt x="24" y="1134"/>
                  </a:lnTo>
                  <a:lnTo>
                    <a:pt x="19" y="1133"/>
                  </a:lnTo>
                  <a:lnTo>
                    <a:pt x="22" y="1125"/>
                  </a:lnTo>
                  <a:lnTo>
                    <a:pt x="11" y="1134"/>
                  </a:lnTo>
                  <a:lnTo>
                    <a:pt x="11" y="1125"/>
                  </a:lnTo>
                  <a:lnTo>
                    <a:pt x="5" y="1114"/>
                  </a:lnTo>
                  <a:lnTo>
                    <a:pt x="0" y="1072"/>
                  </a:lnTo>
                  <a:lnTo>
                    <a:pt x="5" y="1062"/>
                  </a:lnTo>
                  <a:lnTo>
                    <a:pt x="7" y="1083"/>
                  </a:lnTo>
                  <a:lnTo>
                    <a:pt x="10" y="1072"/>
                  </a:lnTo>
                  <a:lnTo>
                    <a:pt x="13" y="1080"/>
                  </a:lnTo>
                  <a:lnTo>
                    <a:pt x="20" y="1075"/>
                  </a:lnTo>
                  <a:lnTo>
                    <a:pt x="27" y="1043"/>
                  </a:lnTo>
                  <a:lnTo>
                    <a:pt x="22" y="1020"/>
                  </a:lnTo>
                  <a:lnTo>
                    <a:pt x="32" y="1001"/>
                  </a:lnTo>
                  <a:lnTo>
                    <a:pt x="32" y="989"/>
                  </a:lnTo>
                  <a:lnTo>
                    <a:pt x="61" y="972"/>
                  </a:lnTo>
                  <a:lnTo>
                    <a:pt x="58" y="952"/>
                  </a:lnTo>
                  <a:lnTo>
                    <a:pt x="64" y="927"/>
                  </a:lnTo>
                  <a:lnTo>
                    <a:pt x="58" y="899"/>
                  </a:lnTo>
                  <a:lnTo>
                    <a:pt x="49" y="887"/>
                  </a:lnTo>
                  <a:lnTo>
                    <a:pt x="73" y="868"/>
                  </a:lnTo>
                  <a:lnTo>
                    <a:pt x="78" y="853"/>
                  </a:lnTo>
                  <a:lnTo>
                    <a:pt x="75" y="834"/>
                  </a:lnTo>
                  <a:lnTo>
                    <a:pt x="50" y="809"/>
                  </a:lnTo>
                  <a:lnTo>
                    <a:pt x="50" y="757"/>
                  </a:lnTo>
                  <a:lnTo>
                    <a:pt x="44" y="732"/>
                  </a:lnTo>
                  <a:lnTo>
                    <a:pt x="56" y="681"/>
                  </a:lnTo>
                  <a:lnTo>
                    <a:pt x="44" y="648"/>
                  </a:lnTo>
                  <a:lnTo>
                    <a:pt x="53" y="619"/>
                  </a:lnTo>
                  <a:lnTo>
                    <a:pt x="88" y="585"/>
                  </a:lnTo>
                  <a:lnTo>
                    <a:pt x="132" y="585"/>
                  </a:lnTo>
                  <a:lnTo>
                    <a:pt x="140" y="572"/>
                  </a:lnTo>
                  <a:lnTo>
                    <a:pt x="143" y="546"/>
                  </a:lnTo>
                  <a:lnTo>
                    <a:pt x="124" y="517"/>
                  </a:lnTo>
                  <a:lnTo>
                    <a:pt x="154" y="459"/>
                  </a:lnTo>
                  <a:lnTo>
                    <a:pt x="163" y="415"/>
                  </a:lnTo>
                  <a:lnTo>
                    <a:pt x="163" y="361"/>
                  </a:lnTo>
                  <a:lnTo>
                    <a:pt x="192" y="345"/>
                  </a:lnTo>
                  <a:lnTo>
                    <a:pt x="203" y="305"/>
                  </a:lnTo>
                  <a:lnTo>
                    <a:pt x="245" y="246"/>
                  </a:lnTo>
                  <a:lnTo>
                    <a:pt x="245" y="227"/>
                  </a:lnTo>
                  <a:lnTo>
                    <a:pt x="235" y="209"/>
                  </a:lnTo>
                  <a:lnTo>
                    <a:pt x="254" y="175"/>
                  </a:lnTo>
                  <a:lnTo>
                    <a:pt x="259" y="149"/>
                  </a:lnTo>
                  <a:lnTo>
                    <a:pt x="293" y="121"/>
                  </a:lnTo>
                  <a:lnTo>
                    <a:pt x="315" y="139"/>
                  </a:lnTo>
                  <a:lnTo>
                    <a:pt x="327" y="107"/>
                  </a:lnTo>
                  <a:lnTo>
                    <a:pt x="327" y="80"/>
                  </a:lnTo>
                  <a:lnTo>
                    <a:pt x="335" y="68"/>
                  </a:lnTo>
                  <a:lnTo>
                    <a:pt x="413" y="80"/>
                  </a:lnTo>
                  <a:lnTo>
                    <a:pt x="418" y="73"/>
                  </a:lnTo>
                  <a:lnTo>
                    <a:pt x="408" y="56"/>
                  </a:lnTo>
                  <a:lnTo>
                    <a:pt x="421" y="22"/>
                  </a:lnTo>
                  <a:lnTo>
                    <a:pt x="417" y="2"/>
                  </a:lnTo>
                  <a:lnTo>
                    <a:pt x="440" y="0"/>
                  </a:lnTo>
                  <a:lnTo>
                    <a:pt x="505" y="68"/>
                  </a:lnTo>
                  <a:lnTo>
                    <a:pt x="548" y="90"/>
                  </a:lnTo>
                  <a:lnTo>
                    <a:pt x="577" y="139"/>
                  </a:lnTo>
                  <a:lnTo>
                    <a:pt x="573" y="186"/>
                  </a:lnTo>
                  <a:lnTo>
                    <a:pt x="581" y="217"/>
                  </a:lnTo>
                  <a:lnTo>
                    <a:pt x="576" y="234"/>
                  </a:lnTo>
                  <a:lnTo>
                    <a:pt x="594" y="286"/>
                  </a:lnTo>
                  <a:lnTo>
                    <a:pt x="594" y="305"/>
                  </a:lnTo>
                  <a:lnTo>
                    <a:pt x="582" y="330"/>
                  </a:lnTo>
                  <a:lnTo>
                    <a:pt x="599" y="376"/>
                  </a:lnTo>
                  <a:close/>
                  <a:moveTo>
                    <a:pt x="322" y="1246"/>
                  </a:moveTo>
                  <a:lnTo>
                    <a:pt x="358" y="1207"/>
                  </a:lnTo>
                  <a:lnTo>
                    <a:pt x="353" y="1182"/>
                  </a:lnTo>
                  <a:lnTo>
                    <a:pt x="362" y="1165"/>
                  </a:lnTo>
                  <a:lnTo>
                    <a:pt x="345" y="1165"/>
                  </a:lnTo>
                  <a:lnTo>
                    <a:pt x="324" y="1193"/>
                  </a:lnTo>
                  <a:lnTo>
                    <a:pt x="322" y="1224"/>
                  </a:lnTo>
                  <a:lnTo>
                    <a:pt x="328" y="1235"/>
                  </a:lnTo>
                  <a:lnTo>
                    <a:pt x="322" y="1246"/>
                  </a:lnTo>
                  <a:close/>
                  <a:moveTo>
                    <a:pt x="240" y="1303"/>
                  </a:moveTo>
                  <a:lnTo>
                    <a:pt x="251" y="1287"/>
                  </a:lnTo>
                  <a:lnTo>
                    <a:pt x="273" y="1212"/>
                  </a:lnTo>
                  <a:lnTo>
                    <a:pt x="245" y="1272"/>
                  </a:lnTo>
                  <a:lnTo>
                    <a:pt x="240" y="1303"/>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146" name="Freeform 149">
              <a:extLst>
                <a:ext uri="{FF2B5EF4-FFF2-40B4-BE49-F238E27FC236}">
                  <a16:creationId xmlns:a16="http://schemas.microsoft.com/office/drawing/2014/main" id="{8C56781B-1DA6-BF4C-8170-FB2084B181B3}"/>
                </a:ext>
              </a:extLst>
            </p:cNvPr>
            <p:cNvSpPr>
              <a:spLocks noChangeAspect="1" noEditPoints="1"/>
            </p:cNvSpPr>
            <p:nvPr/>
          </p:nvSpPr>
          <p:spPr bwMode="gray">
            <a:xfrm>
              <a:off x="5075507" y="1579239"/>
              <a:ext cx="265458" cy="659820"/>
            </a:xfrm>
            <a:custGeom>
              <a:avLst/>
              <a:gdLst>
                <a:gd name="T0" fmla="*/ 110 w 545"/>
                <a:gd name="T1" fmla="*/ 200 h 1124"/>
                <a:gd name="T2" fmla="*/ 182 w 545"/>
                <a:gd name="T3" fmla="*/ 271 h 1124"/>
                <a:gd name="T4" fmla="*/ 186 w 545"/>
                <a:gd name="T5" fmla="*/ 349 h 1124"/>
                <a:gd name="T6" fmla="*/ 199 w 545"/>
                <a:gd name="T7" fmla="*/ 418 h 1124"/>
                <a:gd name="T8" fmla="*/ 187 w 545"/>
                <a:gd name="T9" fmla="*/ 462 h 1124"/>
                <a:gd name="T10" fmla="*/ 229 w 545"/>
                <a:gd name="T11" fmla="*/ 520 h 1124"/>
                <a:gd name="T12" fmla="*/ 260 w 545"/>
                <a:gd name="T13" fmla="*/ 564 h 1124"/>
                <a:gd name="T14" fmla="*/ 263 w 545"/>
                <a:gd name="T15" fmla="*/ 599 h 1124"/>
                <a:gd name="T16" fmla="*/ 266 w 545"/>
                <a:gd name="T17" fmla="*/ 615 h 1124"/>
                <a:gd name="T18" fmla="*/ 233 w 545"/>
                <a:gd name="T19" fmla="*/ 632 h 1124"/>
                <a:gd name="T20" fmla="*/ 178 w 545"/>
                <a:gd name="T21" fmla="*/ 718 h 1124"/>
                <a:gd name="T22" fmla="*/ 122 w 545"/>
                <a:gd name="T23" fmla="*/ 797 h 1124"/>
                <a:gd name="T24" fmla="*/ 91 w 545"/>
                <a:gd name="T25" fmla="*/ 808 h 1124"/>
                <a:gd name="T26" fmla="*/ 94 w 545"/>
                <a:gd name="T27" fmla="*/ 818 h 1124"/>
                <a:gd name="T28" fmla="*/ 62 w 545"/>
                <a:gd name="T29" fmla="*/ 855 h 1124"/>
                <a:gd name="T30" fmla="*/ 71 w 545"/>
                <a:gd name="T31" fmla="*/ 916 h 1124"/>
                <a:gd name="T32" fmla="*/ 80 w 545"/>
                <a:gd name="T33" fmla="*/ 969 h 1124"/>
                <a:gd name="T34" fmla="*/ 72 w 545"/>
                <a:gd name="T35" fmla="*/ 1017 h 1124"/>
                <a:gd name="T36" fmla="*/ 82 w 545"/>
                <a:gd name="T37" fmla="*/ 1039 h 1124"/>
                <a:gd name="T38" fmla="*/ 127 w 545"/>
                <a:gd name="T39" fmla="*/ 1070 h 1124"/>
                <a:gd name="T40" fmla="*/ 133 w 545"/>
                <a:gd name="T41" fmla="*/ 1085 h 1124"/>
                <a:gd name="T42" fmla="*/ 147 w 545"/>
                <a:gd name="T43" fmla="*/ 1092 h 1124"/>
                <a:gd name="T44" fmla="*/ 150 w 545"/>
                <a:gd name="T45" fmla="*/ 1124 h 1124"/>
                <a:gd name="T46" fmla="*/ 170 w 545"/>
                <a:gd name="T47" fmla="*/ 1104 h 1124"/>
                <a:gd name="T48" fmla="*/ 216 w 545"/>
                <a:gd name="T49" fmla="*/ 1105 h 1124"/>
                <a:gd name="T50" fmla="*/ 263 w 545"/>
                <a:gd name="T51" fmla="*/ 1084 h 1124"/>
                <a:gd name="T52" fmla="*/ 274 w 545"/>
                <a:gd name="T53" fmla="*/ 1080 h 1124"/>
                <a:gd name="T54" fmla="*/ 288 w 545"/>
                <a:gd name="T55" fmla="*/ 1067 h 1124"/>
                <a:gd name="T56" fmla="*/ 475 w 545"/>
                <a:gd name="T57" fmla="*/ 957 h 1124"/>
                <a:gd name="T58" fmla="*/ 545 w 545"/>
                <a:gd name="T59" fmla="*/ 818 h 1124"/>
                <a:gd name="T60" fmla="*/ 507 w 545"/>
                <a:gd name="T61" fmla="*/ 691 h 1124"/>
                <a:gd name="T62" fmla="*/ 482 w 545"/>
                <a:gd name="T63" fmla="*/ 633 h 1124"/>
                <a:gd name="T64" fmla="*/ 469 w 545"/>
                <a:gd name="T65" fmla="*/ 579 h 1124"/>
                <a:gd name="T66" fmla="*/ 444 w 545"/>
                <a:gd name="T67" fmla="*/ 393 h 1124"/>
                <a:gd name="T68" fmla="*/ 477 w 545"/>
                <a:gd name="T69" fmla="*/ 296 h 1124"/>
                <a:gd name="T70" fmla="*/ 419 w 545"/>
                <a:gd name="T71" fmla="*/ 239 h 1124"/>
                <a:gd name="T72" fmla="*/ 436 w 545"/>
                <a:gd name="T73" fmla="*/ 132 h 1124"/>
                <a:gd name="T74" fmla="*/ 448 w 545"/>
                <a:gd name="T75" fmla="*/ 87 h 1124"/>
                <a:gd name="T76" fmla="*/ 388 w 545"/>
                <a:gd name="T77" fmla="*/ 0 h 1124"/>
                <a:gd name="T78" fmla="*/ 296 w 545"/>
                <a:gd name="T79" fmla="*/ 38 h 1124"/>
                <a:gd name="T80" fmla="*/ 283 w 545"/>
                <a:gd name="T81" fmla="*/ 141 h 1124"/>
                <a:gd name="T82" fmla="*/ 204 w 545"/>
                <a:gd name="T83" fmla="*/ 155 h 1124"/>
                <a:gd name="T84" fmla="*/ 131 w 545"/>
                <a:gd name="T85" fmla="*/ 171 h 1124"/>
                <a:gd name="T86" fmla="*/ 76 w 545"/>
                <a:gd name="T87" fmla="*/ 96 h 1124"/>
                <a:gd name="T88" fmla="*/ 69 w 545"/>
                <a:gd name="T89" fmla="*/ 124 h 1124"/>
                <a:gd name="T90" fmla="*/ 136 w 545"/>
                <a:gd name="T91" fmla="*/ 1107 h 1124"/>
                <a:gd name="T92" fmla="*/ 128 w 545"/>
                <a:gd name="T93" fmla="*/ 1092 h 1124"/>
                <a:gd name="T94" fmla="*/ 136 w 545"/>
                <a:gd name="T95" fmla="*/ 1107 h 1124"/>
                <a:gd name="T96" fmla="*/ 91 w 545"/>
                <a:gd name="T97" fmla="*/ 1096 h 1124"/>
                <a:gd name="T98" fmla="*/ 99 w 545"/>
                <a:gd name="T99" fmla="*/ 1092 h 1124"/>
                <a:gd name="T100" fmla="*/ 3 w 545"/>
                <a:gd name="T101" fmla="*/ 1075 h 1124"/>
                <a:gd name="T102" fmla="*/ 0 w 545"/>
                <a:gd name="T103" fmla="*/ 1084 h 1124"/>
                <a:gd name="T104" fmla="*/ 18 w 545"/>
                <a:gd name="T105" fmla="*/ 1109 h 1124"/>
                <a:gd name="T106" fmla="*/ 13 w 545"/>
                <a:gd name="T107" fmla="*/ 1093 h 1124"/>
                <a:gd name="T108" fmla="*/ 17 w 545"/>
                <a:gd name="T109" fmla="*/ 1075 h 1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5" h="1124">
                  <a:moveTo>
                    <a:pt x="45" y="132"/>
                  </a:moveTo>
                  <a:lnTo>
                    <a:pt x="110" y="200"/>
                  </a:lnTo>
                  <a:lnTo>
                    <a:pt x="153" y="222"/>
                  </a:lnTo>
                  <a:lnTo>
                    <a:pt x="182" y="271"/>
                  </a:lnTo>
                  <a:lnTo>
                    <a:pt x="178" y="318"/>
                  </a:lnTo>
                  <a:lnTo>
                    <a:pt x="186" y="349"/>
                  </a:lnTo>
                  <a:lnTo>
                    <a:pt x="181" y="366"/>
                  </a:lnTo>
                  <a:lnTo>
                    <a:pt x="199" y="418"/>
                  </a:lnTo>
                  <a:lnTo>
                    <a:pt x="199" y="437"/>
                  </a:lnTo>
                  <a:lnTo>
                    <a:pt x="187" y="462"/>
                  </a:lnTo>
                  <a:lnTo>
                    <a:pt x="204" y="508"/>
                  </a:lnTo>
                  <a:lnTo>
                    <a:pt x="229" y="520"/>
                  </a:lnTo>
                  <a:lnTo>
                    <a:pt x="232" y="523"/>
                  </a:lnTo>
                  <a:lnTo>
                    <a:pt x="260" y="564"/>
                  </a:lnTo>
                  <a:lnTo>
                    <a:pt x="266" y="576"/>
                  </a:lnTo>
                  <a:lnTo>
                    <a:pt x="263" y="599"/>
                  </a:lnTo>
                  <a:lnTo>
                    <a:pt x="272" y="616"/>
                  </a:lnTo>
                  <a:lnTo>
                    <a:pt x="266" y="615"/>
                  </a:lnTo>
                  <a:lnTo>
                    <a:pt x="266" y="630"/>
                  </a:lnTo>
                  <a:lnTo>
                    <a:pt x="233" y="632"/>
                  </a:lnTo>
                  <a:lnTo>
                    <a:pt x="224" y="661"/>
                  </a:lnTo>
                  <a:lnTo>
                    <a:pt x="178" y="718"/>
                  </a:lnTo>
                  <a:lnTo>
                    <a:pt x="144" y="771"/>
                  </a:lnTo>
                  <a:lnTo>
                    <a:pt x="122" y="797"/>
                  </a:lnTo>
                  <a:lnTo>
                    <a:pt x="96" y="796"/>
                  </a:lnTo>
                  <a:lnTo>
                    <a:pt x="91" y="808"/>
                  </a:lnTo>
                  <a:lnTo>
                    <a:pt x="97" y="816"/>
                  </a:lnTo>
                  <a:lnTo>
                    <a:pt x="94" y="818"/>
                  </a:lnTo>
                  <a:lnTo>
                    <a:pt x="80" y="819"/>
                  </a:lnTo>
                  <a:lnTo>
                    <a:pt x="62" y="855"/>
                  </a:lnTo>
                  <a:lnTo>
                    <a:pt x="72" y="894"/>
                  </a:lnTo>
                  <a:lnTo>
                    <a:pt x="71" y="916"/>
                  </a:lnTo>
                  <a:lnTo>
                    <a:pt x="93" y="969"/>
                  </a:lnTo>
                  <a:lnTo>
                    <a:pt x="80" y="969"/>
                  </a:lnTo>
                  <a:lnTo>
                    <a:pt x="82" y="997"/>
                  </a:lnTo>
                  <a:lnTo>
                    <a:pt x="72" y="1017"/>
                  </a:lnTo>
                  <a:lnTo>
                    <a:pt x="76" y="1036"/>
                  </a:lnTo>
                  <a:lnTo>
                    <a:pt x="82" y="1039"/>
                  </a:lnTo>
                  <a:lnTo>
                    <a:pt x="77" y="1050"/>
                  </a:lnTo>
                  <a:lnTo>
                    <a:pt x="127" y="1070"/>
                  </a:lnTo>
                  <a:lnTo>
                    <a:pt x="127" y="1080"/>
                  </a:lnTo>
                  <a:lnTo>
                    <a:pt x="133" y="1085"/>
                  </a:lnTo>
                  <a:lnTo>
                    <a:pt x="147" y="1077"/>
                  </a:lnTo>
                  <a:lnTo>
                    <a:pt x="147" y="1092"/>
                  </a:lnTo>
                  <a:lnTo>
                    <a:pt x="161" y="1113"/>
                  </a:lnTo>
                  <a:lnTo>
                    <a:pt x="150" y="1124"/>
                  </a:lnTo>
                  <a:lnTo>
                    <a:pt x="162" y="1121"/>
                  </a:lnTo>
                  <a:lnTo>
                    <a:pt x="170" y="1104"/>
                  </a:lnTo>
                  <a:lnTo>
                    <a:pt x="178" y="1116"/>
                  </a:lnTo>
                  <a:lnTo>
                    <a:pt x="216" y="1105"/>
                  </a:lnTo>
                  <a:lnTo>
                    <a:pt x="232" y="1092"/>
                  </a:lnTo>
                  <a:lnTo>
                    <a:pt x="263" y="1084"/>
                  </a:lnTo>
                  <a:lnTo>
                    <a:pt x="271" y="1071"/>
                  </a:lnTo>
                  <a:lnTo>
                    <a:pt x="274" y="1080"/>
                  </a:lnTo>
                  <a:lnTo>
                    <a:pt x="289" y="1075"/>
                  </a:lnTo>
                  <a:lnTo>
                    <a:pt x="288" y="1067"/>
                  </a:lnTo>
                  <a:lnTo>
                    <a:pt x="370" y="1056"/>
                  </a:lnTo>
                  <a:lnTo>
                    <a:pt x="475" y="957"/>
                  </a:lnTo>
                  <a:lnTo>
                    <a:pt x="543" y="850"/>
                  </a:lnTo>
                  <a:lnTo>
                    <a:pt x="545" y="818"/>
                  </a:lnTo>
                  <a:lnTo>
                    <a:pt x="490" y="748"/>
                  </a:lnTo>
                  <a:lnTo>
                    <a:pt x="507" y="691"/>
                  </a:lnTo>
                  <a:lnTo>
                    <a:pt x="487" y="664"/>
                  </a:lnTo>
                  <a:lnTo>
                    <a:pt x="482" y="633"/>
                  </a:lnTo>
                  <a:lnTo>
                    <a:pt x="469" y="629"/>
                  </a:lnTo>
                  <a:lnTo>
                    <a:pt x="469" y="579"/>
                  </a:lnTo>
                  <a:lnTo>
                    <a:pt x="486" y="523"/>
                  </a:lnTo>
                  <a:lnTo>
                    <a:pt x="444" y="393"/>
                  </a:lnTo>
                  <a:lnTo>
                    <a:pt x="481" y="315"/>
                  </a:lnTo>
                  <a:lnTo>
                    <a:pt x="477" y="296"/>
                  </a:lnTo>
                  <a:lnTo>
                    <a:pt x="452" y="253"/>
                  </a:lnTo>
                  <a:lnTo>
                    <a:pt x="419" y="239"/>
                  </a:lnTo>
                  <a:lnTo>
                    <a:pt x="411" y="188"/>
                  </a:lnTo>
                  <a:lnTo>
                    <a:pt x="436" y="132"/>
                  </a:lnTo>
                  <a:lnTo>
                    <a:pt x="428" y="117"/>
                  </a:lnTo>
                  <a:lnTo>
                    <a:pt x="448" y="87"/>
                  </a:lnTo>
                  <a:lnTo>
                    <a:pt x="441" y="50"/>
                  </a:lnTo>
                  <a:lnTo>
                    <a:pt x="388" y="0"/>
                  </a:lnTo>
                  <a:lnTo>
                    <a:pt x="342" y="19"/>
                  </a:lnTo>
                  <a:lnTo>
                    <a:pt x="296" y="38"/>
                  </a:lnTo>
                  <a:lnTo>
                    <a:pt x="286" y="64"/>
                  </a:lnTo>
                  <a:lnTo>
                    <a:pt x="283" y="141"/>
                  </a:lnTo>
                  <a:lnTo>
                    <a:pt x="230" y="181"/>
                  </a:lnTo>
                  <a:lnTo>
                    <a:pt x="204" y="155"/>
                  </a:lnTo>
                  <a:lnTo>
                    <a:pt x="176" y="180"/>
                  </a:lnTo>
                  <a:lnTo>
                    <a:pt x="131" y="171"/>
                  </a:lnTo>
                  <a:lnTo>
                    <a:pt x="97" y="112"/>
                  </a:lnTo>
                  <a:lnTo>
                    <a:pt x="76" y="96"/>
                  </a:lnTo>
                  <a:lnTo>
                    <a:pt x="65" y="101"/>
                  </a:lnTo>
                  <a:lnTo>
                    <a:pt x="69" y="124"/>
                  </a:lnTo>
                  <a:lnTo>
                    <a:pt x="45" y="132"/>
                  </a:lnTo>
                  <a:close/>
                  <a:moveTo>
                    <a:pt x="136" y="1107"/>
                  </a:moveTo>
                  <a:lnTo>
                    <a:pt x="144" y="1084"/>
                  </a:lnTo>
                  <a:lnTo>
                    <a:pt x="128" y="1092"/>
                  </a:lnTo>
                  <a:lnTo>
                    <a:pt x="123" y="1105"/>
                  </a:lnTo>
                  <a:lnTo>
                    <a:pt x="136" y="1107"/>
                  </a:lnTo>
                  <a:close/>
                  <a:moveTo>
                    <a:pt x="99" y="1092"/>
                  </a:moveTo>
                  <a:lnTo>
                    <a:pt x="91" y="1096"/>
                  </a:lnTo>
                  <a:lnTo>
                    <a:pt x="99" y="1099"/>
                  </a:lnTo>
                  <a:lnTo>
                    <a:pt x="99" y="1092"/>
                  </a:lnTo>
                  <a:close/>
                  <a:moveTo>
                    <a:pt x="17" y="1075"/>
                  </a:moveTo>
                  <a:lnTo>
                    <a:pt x="3" y="1075"/>
                  </a:lnTo>
                  <a:lnTo>
                    <a:pt x="6" y="1085"/>
                  </a:lnTo>
                  <a:lnTo>
                    <a:pt x="0" y="1084"/>
                  </a:lnTo>
                  <a:lnTo>
                    <a:pt x="0" y="1099"/>
                  </a:lnTo>
                  <a:lnTo>
                    <a:pt x="18" y="1109"/>
                  </a:lnTo>
                  <a:lnTo>
                    <a:pt x="22" y="1104"/>
                  </a:lnTo>
                  <a:lnTo>
                    <a:pt x="13" y="1093"/>
                  </a:lnTo>
                  <a:lnTo>
                    <a:pt x="20" y="1085"/>
                  </a:lnTo>
                  <a:lnTo>
                    <a:pt x="17" y="1075"/>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147" name="Freeform 150">
              <a:extLst>
                <a:ext uri="{FF2B5EF4-FFF2-40B4-BE49-F238E27FC236}">
                  <a16:creationId xmlns:a16="http://schemas.microsoft.com/office/drawing/2014/main" id="{50D3C50B-628B-714D-90D8-7BE2ED3289EB}"/>
                </a:ext>
              </a:extLst>
            </p:cNvPr>
            <p:cNvSpPr>
              <a:spLocks noChangeAspect="1" noEditPoints="1"/>
            </p:cNvSpPr>
            <p:nvPr/>
          </p:nvSpPr>
          <p:spPr bwMode="gray">
            <a:xfrm>
              <a:off x="4814817" y="2350310"/>
              <a:ext cx="155778" cy="151528"/>
            </a:xfrm>
            <a:custGeom>
              <a:avLst/>
              <a:gdLst>
                <a:gd name="T0" fmla="*/ 176 w 320"/>
                <a:gd name="T1" fmla="*/ 147 h 259"/>
                <a:gd name="T2" fmla="*/ 175 w 320"/>
                <a:gd name="T3" fmla="*/ 171 h 259"/>
                <a:gd name="T4" fmla="*/ 186 w 320"/>
                <a:gd name="T5" fmla="*/ 161 h 259"/>
                <a:gd name="T6" fmla="*/ 186 w 320"/>
                <a:gd name="T7" fmla="*/ 171 h 259"/>
                <a:gd name="T8" fmla="*/ 181 w 320"/>
                <a:gd name="T9" fmla="*/ 144 h 259"/>
                <a:gd name="T10" fmla="*/ 212 w 320"/>
                <a:gd name="T11" fmla="*/ 149 h 259"/>
                <a:gd name="T12" fmla="*/ 197 w 320"/>
                <a:gd name="T13" fmla="*/ 184 h 259"/>
                <a:gd name="T14" fmla="*/ 193 w 320"/>
                <a:gd name="T15" fmla="*/ 208 h 259"/>
                <a:gd name="T16" fmla="*/ 173 w 320"/>
                <a:gd name="T17" fmla="*/ 221 h 259"/>
                <a:gd name="T18" fmla="*/ 175 w 320"/>
                <a:gd name="T19" fmla="*/ 211 h 259"/>
                <a:gd name="T20" fmla="*/ 144 w 320"/>
                <a:gd name="T21" fmla="*/ 198 h 259"/>
                <a:gd name="T22" fmla="*/ 135 w 320"/>
                <a:gd name="T23" fmla="*/ 167 h 259"/>
                <a:gd name="T24" fmla="*/ 156 w 320"/>
                <a:gd name="T25" fmla="*/ 146 h 259"/>
                <a:gd name="T26" fmla="*/ 135 w 320"/>
                <a:gd name="T27" fmla="*/ 211 h 259"/>
                <a:gd name="T28" fmla="*/ 125 w 320"/>
                <a:gd name="T29" fmla="*/ 249 h 259"/>
                <a:gd name="T30" fmla="*/ 132 w 320"/>
                <a:gd name="T31" fmla="*/ 220 h 259"/>
                <a:gd name="T32" fmla="*/ 159 w 320"/>
                <a:gd name="T33" fmla="*/ 237 h 259"/>
                <a:gd name="T34" fmla="*/ 176 w 320"/>
                <a:gd name="T35" fmla="*/ 252 h 259"/>
                <a:gd name="T36" fmla="*/ 141 w 320"/>
                <a:gd name="T37" fmla="*/ 243 h 259"/>
                <a:gd name="T38" fmla="*/ 141 w 320"/>
                <a:gd name="T39" fmla="*/ 232 h 259"/>
                <a:gd name="T40" fmla="*/ 176 w 320"/>
                <a:gd name="T41" fmla="*/ 228 h 259"/>
                <a:gd name="T42" fmla="*/ 184 w 320"/>
                <a:gd name="T43" fmla="*/ 259 h 259"/>
                <a:gd name="T44" fmla="*/ 176 w 320"/>
                <a:gd name="T45" fmla="*/ 228 h 259"/>
                <a:gd name="T46" fmla="*/ 319 w 320"/>
                <a:gd name="T47" fmla="*/ 211 h 259"/>
                <a:gd name="T48" fmla="*/ 303 w 320"/>
                <a:gd name="T49" fmla="*/ 218 h 259"/>
                <a:gd name="T50" fmla="*/ 28 w 320"/>
                <a:gd name="T51" fmla="*/ 234 h 259"/>
                <a:gd name="T52" fmla="*/ 74 w 320"/>
                <a:gd name="T53" fmla="*/ 234 h 259"/>
                <a:gd name="T54" fmla="*/ 71 w 320"/>
                <a:gd name="T55" fmla="*/ 208 h 259"/>
                <a:gd name="T56" fmla="*/ 76 w 320"/>
                <a:gd name="T57" fmla="*/ 175 h 259"/>
                <a:gd name="T58" fmla="*/ 87 w 320"/>
                <a:gd name="T59" fmla="*/ 167 h 259"/>
                <a:gd name="T60" fmla="*/ 102 w 320"/>
                <a:gd name="T61" fmla="*/ 147 h 259"/>
                <a:gd name="T62" fmla="*/ 110 w 320"/>
                <a:gd name="T63" fmla="*/ 135 h 259"/>
                <a:gd name="T64" fmla="*/ 127 w 320"/>
                <a:gd name="T65" fmla="*/ 105 h 259"/>
                <a:gd name="T66" fmla="*/ 95 w 320"/>
                <a:gd name="T67" fmla="*/ 98 h 259"/>
                <a:gd name="T68" fmla="*/ 91 w 320"/>
                <a:gd name="T69" fmla="*/ 91 h 259"/>
                <a:gd name="T70" fmla="*/ 102 w 320"/>
                <a:gd name="T71" fmla="*/ 56 h 259"/>
                <a:gd name="T72" fmla="*/ 107 w 320"/>
                <a:gd name="T73" fmla="*/ 17 h 259"/>
                <a:gd name="T74" fmla="*/ 85 w 320"/>
                <a:gd name="T75" fmla="*/ 13 h 259"/>
                <a:gd name="T76" fmla="*/ 24 w 320"/>
                <a:gd name="T77" fmla="*/ 53 h 259"/>
                <a:gd name="T78" fmla="*/ 0 w 320"/>
                <a:gd name="T79" fmla="*/ 113 h 259"/>
                <a:gd name="T80" fmla="*/ 19 w 320"/>
                <a:gd name="T81" fmla="*/ 184 h 259"/>
                <a:gd name="T82" fmla="*/ 28 w 320"/>
                <a:gd name="T83" fmla="*/ 234 h 259"/>
                <a:gd name="T84" fmla="*/ 115 w 320"/>
                <a:gd name="T85" fmla="*/ 183 h 259"/>
                <a:gd name="T86" fmla="*/ 132 w 320"/>
                <a:gd name="T87" fmla="*/ 203 h 259"/>
                <a:gd name="T88" fmla="*/ 96 w 320"/>
                <a:gd name="T89" fmla="*/ 220 h 259"/>
                <a:gd name="T90" fmla="*/ 87 w 320"/>
                <a:gd name="T91" fmla="*/ 208 h 259"/>
                <a:gd name="T92" fmla="*/ 93 w 320"/>
                <a:gd name="T93" fmla="*/ 18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 h="259">
                  <a:moveTo>
                    <a:pt x="156" y="146"/>
                  </a:moveTo>
                  <a:lnTo>
                    <a:pt x="176" y="147"/>
                  </a:lnTo>
                  <a:lnTo>
                    <a:pt x="171" y="161"/>
                  </a:lnTo>
                  <a:lnTo>
                    <a:pt x="175" y="171"/>
                  </a:lnTo>
                  <a:lnTo>
                    <a:pt x="183" y="150"/>
                  </a:lnTo>
                  <a:lnTo>
                    <a:pt x="186" y="161"/>
                  </a:lnTo>
                  <a:lnTo>
                    <a:pt x="183" y="169"/>
                  </a:lnTo>
                  <a:lnTo>
                    <a:pt x="186" y="171"/>
                  </a:lnTo>
                  <a:lnTo>
                    <a:pt x="188" y="150"/>
                  </a:lnTo>
                  <a:lnTo>
                    <a:pt x="181" y="144"/>
                  </a:lnTo>
                  <a:lnTo>
                    <a:pt x="201" y="133"/>
                  </a:lnTo>
                  <a:lnTo>
                    <a:pt x="212" y="149"/>
                  </a:lnTo>
                  <a:lnTo>
                    <a:pt x="217" y="171"/>
                  </a:lnTo>
                  <a:lnTo>
                    <a:pt x="197" y="184"/>
                  </a:lnTo>
                  <a:lnTo>
                    <a:pt x="205" y="204"/>
                  </a:lnTo>
                  <a:lnTo>
                    <a:pt x="193" y="208"/>
                  </a:lnTo>
                  <a:lnTo>
                    <a:pt x="192" y="225"/>
                  </a:lnTo>
                  <a:lnTo>
                    <a:pt x="173" y="221"/>
                  </a:lnTo>
                  <a:lnTo>
                    <a:pt x="169" y="218"/>
                  </a:lnTo>
                  <a:lnTo>
                    <a:pt x="175" y="211"/>
                  </a:lnTo>
                  <a:lnTo>
                    <a:pt x="152" y="209"/>
                  </a:lnTo>
                  <a:lnTo>
                    <a:pt x="144" y="198"/>
                  </a:lnTo>
                  <a:lnTo>
                    <a:pt x="147" y="178"/>
                  </a:lnTo>
                  <a:lnTo>
                    <a:pt x="135" y="167"/>
                  </a:lnTo>
                  <a:lnTo>
                    <a:pt x="163" y="155"/>
                  </a:lnTo>
                  <a:lnTo>
                    <a:pt x="156" y="146"/>
                  </a:lnTo>
                  <a:close/>
                  <a:moveTo>
                    <a:pt x="132" y="220"/>
                  </a:moveTo>
                  <a:lnTo>
                    <a:pt x="135" y="211"/>
                  </a:lnTo>
                  <a:lnTo>
                    <a:pt x="138" y="223"/>
                  </a:lnTo>
                  <a:lnTo>
                    <a:pt x="125" y="249"/>
                  </a:lnTo>
                  <a:lnTo>
                    <a:pt x="122" y="237"/>
                  </a:lnTo>
                  <a:lnTo>
                    <a:pt x="132" y="220"/>
                  </a:lnTo>
                  <a:close/>
                  <a:moveTo>
                    <a:pt x="150" y="228"/>
                  </a:moveTo>
                  <a:lnTo>
                    <a:pt x="159" y="237"/>
                  </a:lnTo>
                  <a:lnTo>
                    <a:pt x="169" y="234"/>
                  </a:lnTo>
                  <a:lnTo>
                    <a:pt x="176" y="252"/>
                  </a:lnTo>
                  <a:lnTo>
                    <a:pt x="158" y="255"/>
                  </a:lnTo>
                  <a:lnTo>
                    <a:pt x="141" y="243"/>
                  </a:lnTo>
                  <a:lnTo>
                    <a:pt x="144" y="237"/>
                  </a:lnTo>
                  <a:lnTo>
                    <a:pt x="141" y="232"/>
                  </a:lnTo>
                  <a:lnTo>
                    <a:pt x="150" y="228"/>
                  </a:lnTo>
                  <a:close/>
                  <a:moveTo>
                    <a:pt x="176" y="228"/>
                  </a:moveTo>
                  <a:lnTo>
                    <a:pt x="189" y="237"/>
                  </a:lnTo>
                  <a:lnTo>
                    <a:pt x="184" y="259"/>
                  </a:lnTo>
                  <a:lnTo>
                    <a:pt x="173" y="229"/>
                  </a:lnTo>
                  <a:lnTo>
                    <a:pt x="176" y="228"/>
                  </a:lnTo>
                  <a:close/>
                  <a:moveTo>
                    <a:pt x="320" y="225"/>
                  </a:moveTo>
                  <a:lnTo>
                    <a:pt x="319" y="211"/>
                  </a:lnTo>
                  <a:lnTo>
                    <a:pt x="305" y="203"/>
                  </a:lnTo>
                  <a:lnTo>
                    <a:pt x="303" y="218"/>
                  </a:lnTo>
                  <a:lnTo>
                    <a:pt x="320" y="225"/>
                  </a:lnTo>
                  <a:close/>
                  <a:moveTo>
                    <a:pt x="28" y="234"/>
                  </a:moveTo>
                  <a:lnTo>
                    <a:pt x="66" y="235"/>
                  </a:lnTo>
                  <a:lnTo>
                    <a:pt x="74" y="234"/>
                  </a:lnTo>
                  <a:lnTo>
                    <a:pt x="62" y="220"/>
                  </a:lnTo>
                  <a:lnTo>
                    <a:pt x="71" y="208"/>
                  </a:lnTo>
                  <a:lnTo>
                    <a:pt x="70" y="184"/>
                  </a:lnTo>
                  <a:lnTo>
                    <a:pt x="76" y="175"/>
                  </a:lnTo>
                  <a:lnTo>
                    <a:pt x="70" y="167"/>
                  </a:lnTo>
                  <a:lnTo>
                    <a:pt x="87" y="167"/>
                  </a:lnTo>
                  <a:lnTo>
                    <a:pt x="82" y="155"/>
                  </a:lnTo>
                  <a:lnTo>
                    <a:pt x="102" y="147"/>
                  </a:lnTo>
                  <a:lnTo>
                    <a:pt x="104" y="127"/>
                  </a:lnTo>
                  <a:lnTo>
                    <a:pt x="110" y="135"/>
                  </a:lnTo>
                  <a:lnTo>
                    <a:pt x="129" y="120"/>
                  </a:lnTo>
                  <a:lnTo>
                    <a:pt x="127" y="105"/>
                  </a:lnTo>
                  <a:lnTo>
                    <a:pt x="96" y="107"/>
                  </a:lnTo>
                  <a:lnTo>
                    <a:pt x="95" y="98"/>
                  </a:lnTo>
                  <a:lnTo>
                    <a:pt x="99" y="91"/>
                  </a:lnTo>
                  <a:lnTo>
                    <a:pt x="91" y="91"/>
                  </a:lnTo>
                  <a:lnTo>
                    <a:pt x="98" y="87"/>
                  </a:lnTo>
                  <a:lnTo>
                    <a:pt x="102" y="56"/>
                  </a:lnTo>
                  <a:lnTo>
                    <a:pt x="110" y="40"/>
                  </a:lnTo>
                  <a:lnTo>
                    <a:pt x="107" y="17"/>
                  </a:lnTo>
                  <a:lnTo>
                    <a:pt x="108" y="0"/>
                  </a:lnTo>
                  <a:lnTo>
                    <a:pt x="85" y="13"/>
                  </a:lnTo>
                  <a:lnTo>
                    <a:pt x="59" y="45"/>
                  </a:lnTo>
                  <a:lnTo>
                    <a:pt x="24" y="53"/>
                  </a:lnTo>
                  <a:lnTo>
                    <a:pt x="11" y="70"/>
                  </a:lnTo>
                  <a:lnTo>
                    <a:pt x="0" y="113"/>
                  </a:lnTo>
                  <a:lnTo>
                    <a:pt x="3" y="181"/>
                  </a:lnTo>
                  <a:lnTo>
                    <a:pt x="19" y="184"/>
                  </a:lnTo>
                  <a:lnTo>
                    <a:pt x="28" y="198"/>
                  </a:lnTo>
                  <a:lnTo>
                    <a:pt x="28" y="234"/>
                  </a:lnTo>
                  <a:close/>
                  <a:moveTo>
                    <a:pt x="93" y="183"/>
                  </a:moveTo>
                  <a:lnTo>
                    <a:pt x="115" y="183"/>
                  </a:lnTo>
                  <a:lnTo>
                    <a:pt x="118" y="174"/>
                  </a:lnTo>
                  <a:lnTo>
                    <a:pt x="132" y="203"/>
                  </a:lnTo>
                  <a:lnTo>
                    <a:pt x="129" y="218"/>
                  </a:lnTo>
                  <a:lnTo>
                    <a:pt x="96" y="220"/>
                  </a:lnTo>
                  <a:lnTo>
                    <a:pt x="99" y="213"/>
                  </a:lnTo>
                  <a:lnTo>
                    <a:pt x="87" y="208"/>
                  </a:lnTo>
                  <a:lnTo>
                    <a:pt x="79" y="186"/>
                  </a:lnTo>
                  <a:lnTo>
                    <a:pt x="93" y="183"/>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48" name="Freeform 151">
              <a:extLst>
                <a:ext uri="{FF2B5EF4-FFF2-40B4-BE49-F238E27FC236}">
                  <a16:creationId xmlns:a16="http://schemas.microsoft.com/office/drawing/2014/main" id="{EF86D734-EB58-0843-BDDF-716A6D30064C}"/>
                </a:ext>
              </a:extLst>
            </p:cNvPr>
            <p:cNvSpPr>
              <a:spLocks noChangeAspect="1" noEditPoints="1"/>
            </p:cNvSpPr>
            <p:nvPr/>
          </p:nvSpPr>
          <p:spPr bwMode="gray">
            <a:xfrm>
              <a:off x="4768720" y="2488413"/>
              <a:ext cx="200287" cy="324157"/>
            </a:xfrm>
            <a:custGeom>
              <a:avLst/>
              <a:gdLst>
                <a:gd name="T0" fmla="*/ 360 w 413"/>
                <a:gd name="T1" fmla="*/ 463 h 552"/>
                <a:gd name="T2" fmla="*/ 339 w 413"/>
                <a:gd name="T3" fmla="*/ 486 h 552"/>
                <a:gd name="T4" fmla="*/ 317 w 413"/>
                <a:gd name="T5" fmla="*/ 503 h 552"/>
                <a:gd name="T6" fmla="*/ 317 w 413"/>
                <a:gd name="T7" fmla="*/ 540 h 552"/>
                <a:gd name="T8" fmla="*/ 292 w 413"/>
                <a:gd name="T9" fmla="*/ 529 h 552"/>
                <a:gd name="T10" fmla="*/ 212 w 413"/>
                <a:gd name="T11" fmla="*/ 540 h 552"/>
                <a:gd name="T12" fmla="*/ 179 w 413"/>
                <a:gd name="T13" fmla="*/ 540 h 552"/>
                <a:gd name="T14" fmla="*/ 131 w 413"/>
                <a:gd name="T15" fmla="*/ 532 h 552"/>
                <a:gd name="T16" fmla="*/ 74 w 413"/>
                <a:gd name="T17" fmla="*/ 536 h 552"/>
                <a:gd name="T18" fmla="*/ 82 w 413"/>
                <a:gd name="T19" fmla="*/ 472 h 552"/>
                <a:gd name="T20" fmla="*/ 36 w 413"/>
                <a:gd name="T21" fmla="*/ 426 h 552"/>
                <a:gd name="T22" fmla="*/ 17 w 413"/>
                <a:gd name="T23" fmla="*/ 385 h 552"/>
                <a:gd name="T24" fmla="*/ 12 w 413"/>
                <a:gd name="T25" fmla="*/ 362 h 552"/>
                <a:gd name="T26" fmla="*/ 14 w 413"/>
                <a:gd name="T27" fmla="*/ 337 h 552"/>
                <a:gd name="T28" fmla="*/ 0 w 413"/>
                <a:gd name="T29" fmla="*/ 295 h 552"/>
                <a:gd name="T30" fmla="*/ 3 w 413"/>
                <a:gd name="T31" fmla="*/ 229 h 552"/>
                <a:gd name="T32" fmla="*/ 34 w 413"/>
                <a:gd name="T33" fmla="*/ 215 h 552"/>
                <a:gd name="T34" fmla="*/ 49 w 413"/>
                <a:gd name="T35" fmla="*/ 190 h 552"/>
                <a:gd name="T36" fmla="*/ 32 w 413"/>
                <a:gd name="T37" fmla="*/ 175 h 552"/>
                <a:gd name="T38" fmla="*/ 53 w 413"/>
                <a:gd name="T39" fmla="*/ 130 h 552"/>
                <a:gd name="T40" fmla="*/ 53 w 413"/>
                <a:gd name="T41" fmla="*/ 114 h 552"/>
                <a:gd name="T42" fmla="*/ 83 w 413"/>
                <a:gd name="T43" fmla="*/ 94 h 552"/>
                <a:gd name="T44" fmla="*/ 104 w 413"/>
                <a:gd name="T45" fmla="*/ 114 h 552"/>
                <a:gd name="T46" fmla="*/ 108 w 413"/>
                <a:gd name="T47" fmla="*/ 106 h 552"/>
                <a:gd name="T48" fmla="*/ 125 w 413"/>
                <a:gd name="T49" fmla="*/ 125 h 552"/>
                <a:gd name="T50" fmla="*/ 122 w 413"/>
                <a:gd name="T51" fmla="*/ 89 h 552"/>
                <a:gd name="T52" fmla="*/ 134 w 413"/>
                <a:gd name="T53" fmla="*/ 72 h 552"/>
                <a:gd name="T54" fmla="*/ 134 w 413"/>
                <a:gd name="T55" fmla="*/ 48 h 552"/>
                <a:gd name="T56" fmla="*/ 139 w 413"/>
                <a:gd name="T57" fmla="*/ 31 h 552"/>
                <a:gd name="T58" fmla="*/ 125 w 413"/>
                <a:gd name="T59" fmla="*/ 0 h 552"/>
                <a:gd name="T60" fmla="*/ 159 w 413"/>
                <a:gd name="T61" fmla="*/ 4 h 552"/>
                <a:gd name="T62" fmla="*/ 184 w 413"/>
                <a:gd name="T63" fmla="*/ 18 h 552"/>
                <a:gd name="T64" fmla="*/ 188 w 413"/>
                <a:gd name="T65" fmla="*/ 42 h 552"/>
                <a:gd name="T66" fmla="*/ 210 w 413"/>
                <a:gd name="T67" fmla="*/ 45 h 552"/>
                <a:gd name="T68" fmla="*/ 221 w 413"/>
                <a:gd name="T69" fmla="*/ 74 h 552"/>
                <a:gd name="T70" fmla="*/ 249 w 413"/>
                <a:gd name="T71" fmla="*/ 69 h 552"/>
                <a:gd name="T72" fmla="*/ 278 w 413"/>
                <a:gd name="T73" fmla="*/ 54 h 552"/>
                <a:gd name="T74" fmla="*/ 303 w 413"/>
                <a:gd name="T75" fmla="*/ 34 h 552"/>
                <a:gd name="T76" fmla="*/ 295 w 413"/>
                <a:gd name="T77" fmla="*/ 48 h 552"/>
                <a:gd name="T78" fmla="*/ 334 w 413"/>
                <a:gd name="T79" fmla="*/ 55 h 552"/>
                <a:gd name="T80" fmla="*/ 360 w 413"/>
                <a:gd name="T81" fmla="*/ 82 h 552"/>
                <a:gd name="T82" fmla="*/ 387 w 413"/>
                <a:gd name="T83" fmla="*/ 111 h 552"/>
                <a:gd name="T84" fmla="*/ 376 w 413"/>
                <a:gd name="T85" fmla="*/ 162 h 552"/>
                <a:gd name="T86" fmla="*/ 396 w 413"/>
                <a:gd name="T87" fmla="*/ 220 h 552"/>
                <a:gd name="T88" fmla="*/ 413 w 413"/>
                <a:gd name="T89" fmla="*/ 269 h 552"/>
                <a:gd name="T90" fmla="*/ 380 w 413"/>
                <a:gd name="T91" fmla="*/ 287 h 552"/>
                <a:gd name="T92" fmla="*/ 297 w 413"/>
                <a:gd name="T93" fmla="*/ 345 h 552"/>
                <a:gd name="T94" fmla="*/ 278 w 413"/>
                <a:gd name="T95" fmla="*/ 345 h 552"/>
                <a:gd name="T96" fmla="*/ 294 w 413"/>
                <a:gd name="T97" fmla="*/ 370 h 552"/>
                <a:gd name="T98" fmla="*/ 303 w 413"/>
                <a:gd name="T99" fmla="*/ 405 h 552"/>
                <a:gd name="T100" fmla="*/ 351 w 413"/>
                <a:gd name="T101" fmla="*/ 35 h 552"/>
                <a:gd name="T102" fmla="*/ 329 w 413"/>
                <a:gd name="T103" fmla="*/ 43 h 552"/>
                <a:gd name="T104" fmla="*/ 345 w 413"/>
                <a:gd name="T105" fmla="*/ 34 h 552"/>
                <a:gd name="T106" fmla="*/ 353 w 413"/>
                <a:gd name="T107" fmla="*/ 25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3" h="552">
                  <a:moveTo>
                    <a:pt x="362" y="456"/>
                  </a:moveTo>
                  <a:lnTo>
                    <a:pt x="360" y="463"/>
                  </a:lnTo>
                  <a:lnTo>
                    <a:pt x="346" y="470"/>
                  </a:lnTo>
                  <a:lnTo>
                    <a:pt x="339" y="486"/>
                  </a:lnTo>
                  <a:lnTo>
                    <a:pt x="320" y="492"/>
                  </a:lnTo>
                  <a:lnTo>
                    <a:pt x="317" y="503"/>
                  </a:lnTo>
                  <a:lnTo>
                    <a:pt x="324" y="536"/>
                  </a:lnTo>
                  <a:lnTo>
                    <a:pt x="317" y="540"/>
                  </a:lnTo>
                  <a:lnTo>
                    <a:pt x="314" y="532"/>
                  </a:lnTo>
                  <a:lnTo>
                    <a:pt x="292" y="529"/>
                  </a:lnTo>
                  <a:lnTo>
                    <a:pt x="244" y="548"/>
                  </a:lnTo>
                  <a:lnTo>
                    <a:pt x="212" y="540"/>
                  </a:lnTo>
                  <a:lnTo>
                    <a:pt x="199" y="552"/>
                  </a:lnTo>
                  <a:lnTo>
                    <a:pt x="179" y="540"/>
                  </a:lnTo>
                  <a:lnTo>
                    <a:pt x="163" y="544"/>
                  </a:lnTo>
                  <a:lnTo>
                    <a:pt x="131" y="532"/>
                  </a:lnTo>
                  <a:lnTo>
                    <a:pt x="80" y="541"/>
                  </a:lnTo>
                  <a:lnTo>
                    <a:pt x="74" y="536"/>
                  </a:lnTo>
                  <a:lnTo>
                    <a:pt x="71" y="503"/>
                  </a:lnTo>
                  <a:lnTo>
                    <a:pt x="82" y="472"/>
                  </a:lnTo>
                  <a:lnTo>
                    <a:pt x="97" y="441"/>
                  </a:lnTo>
                  <a:lnTo>
                    <a:pt x="36" y="426"/>
                  </a:lnTo>
                  <a:lnTo>
                    <a:pt x="14" y="401"/>
                  </a:lnTo>
                  <a:lnTo>
                    <a:pt x="17" y="385"/>
                  </a:lnTo>
                  <a:lnTo>
                    <a:pt x="11" y="373"/>
                  </a:lnTo>
                  <a:lnTo>
                    <a:pt x="12" y="362"/>
                  </a:lnTo>
                  <a:lnTo>
                    <a:pt x="6" y="359"/>
                  </a:lnTo>
                  <a:lnTo>
                    <a:pt x="14" y="337"/>
                  </a:lnTo>
                  <a:lnTo>
                    <a:pt x="4" y="316"/>
                  </a:lnTo>
                  <a:lnTo>
                    <a:pt x="0" y="295"/>
                  </a:lnTo>
                  <a:lnTo>
                    <a:pt x="6" y="283"/>
                  </a:lnTo>
                  <a:lnTo>
                    <a:pt x="3" y="229"/>
                  </a:lnTo>
                  <a:lnTo>
                    <a:pt x="29" y="233"/>
                  </a:lnTo>
                  <a:lnTo>
                    <a:pt x="34" y="215"/>
                  </a:lnTo>
                  <a:lnTo>
                    <a:pt x="48" y="201"/>
                  </a:lnTo>
                  <a:lnTo>
                    <a:pt x="49" y="190"/>
                  </a:lnTo>
                  <a:lnTo>
                    <a:pt x="34" y="184"/>
                  </a:lnTo>
                  <a:lnTo>
                    <a:pt x="32" y="175"/>
                  </a:lnTo>
                  <a:lnTo>
                    <a:pt x="45" y="167"/>
                  </a:lnTo>
                  <a:lnTo>
                    <a:pt x="53" y="130"/>
                  </a:lnTo>
                  <a:lnTo>
                    <a:pt x="66" y="127"/>
                  </a:lnTo>
                  <a:lnTo>
                    <a:pt x="53" y="114"/>
                  </a:lnTo>
                  <a:lnTo>
                    <a:pt x="62" y="99"/>
                  </a:lnTo>
                  <a:lnTo>
                    <a:pt x="83" y="94"/>
                  </a:lnTo>
                  <a:lnTo>
                    <a:pt x="97" y="96"/>
                  </a:lnTo>
                  <a:lnTo>
                    <a:pt x="104" y="114"/>
                  </a:lnTo>
                  <a:lnTo>
                    <a:pt x="108" y="114"/>
                  </a:lnTo>
                  <a:lnTo>
                    <a:pt x="108" y="106"/>
                  </a:lnTo>
                  <a:lnTo>
                    <a:pt x="116" y="108"/>
                  </a:lnTo>
                  <a:lnTo>
                    <a:pt x="125" y="125"/>
                  </a:lnTo>
                  <a:lnTo>
                    <a:pt x="119" y="108"/>
                  </a:lnTo>
                  <a:lnTo>
                    <a:pt x="122" y="89"/>
                  </a:lnTo>
                  <a:lnTo>
                    <a:pt x="146" y="80"/>
                  </a:lnTo>
                  <a:lnTo>
                    <a:pt x="134" y="72"/>
                  </a:lnTo>
                  <a:lnTo>
                    <a:pt x="139" y="62"/>
                  </a:lnTo>
                  <a:lnTo>
                    <a:pt x="134" y="48"/>
                  </a:lnTo>
                  <a:lnTo>
                    <a:pt x="125" y="45"/>
                  </a:lnTo>
                  <a:lnTo>
                    <a:pt x="139" y="31"/>
                  </a:lnTo>
                  <a:lnTo>
                    <a:pt x="125" y="8"/>
                  </a:lnTo>
                  <a:lnTo>
                    <a:pt x="125" y="0"/>
                  </a:lnTo>
                  <a:lnTo>
                    <a:pt x="163" y="1"/>
                  </a:lnTo>
                  <a:lnTo>
                    <a:pt x="159" y="4"/>
                  </a:lnTo>
                  <a:lnTo>
                    <a:pt x="178" y="9"/>
                  </a:lnTo>
                  <a:lnTo>
                    <a:pt x="184" y="18"/>
                  </a:lnTo>
                  <a:lnTo>
                    <a:pt x="178" y="31"/>
                  </a:lnTo>
                  <a:lnTo>
                    <a:pt x="188" y="42"/>
                  </a:lnTo>
                  <a:lnTo>
                    <a:pt x="196" y="37"/>
                  </a:lnTo>
                  <a:lnTo>
                    <a:pt x="210" y="45"/>
                  </a:lnTo>
                  <a:lnTo>
                    <a:pt x="232" y="43"/>
                  </a:lnTo>
                  <a:lnTo>
                    <a:pt x="221" y="74"/>
                  </a:lnTo>
                  <a:lnTo>
                    <a:pt x="253" y="74"/>
                  </a:lnTo>
                  <a:lnTo>
                    <a:pt x="249" y="69"/>
                  </a:lnTo>
                  <a:lnTo>
                    <a:pt x="263" y="59"/>
                  </a:lnTo>
                  <a:lnTo>
                    <a:pt x="278" y="54"/>
                  </a:lnTo>
                  <a:lnTo>
                    <a:pt x="278" y="60"/>
                  </a:lnTo>
                  <a:lnTo>
                    <a:pt x="303" y="34"/>
                  </a:lnTo>
                  <a:lnTo>
                    <a:pt x="311" y="35"/>
                  </a:lnTo>
                  <a:lnTo>
                    <a:pt x="295" y="48"/>
                  </a:lnTo>
                  <a:lnTo>
                    <a:pt x="320" y="40"/>
                  </a:lnTo>
                  <a:lnTo>
                    <a:pt x="334" y="55"/>
                  </a:lnTo>
                  <a:lnTo>
                    <a:pt x="349" y="60"/>
                  </a:lnTo>
                  <a:lnTo>
                    <a:pt x="360" y="82"/>
                  </a:lnTo>
                  <a:lnTo>
                    <a:pt x="379" y="89"/>
                  </a:lnTo>
                  <a:lnTo>
                    <a:pt x="387" y="111"/>
                  </a:lnTo>
                  <a:lnTo>
                    <a:pt x="387" y="125"/>
                  </a:lnTo>
                  <a:lnTo>
                    <a:pt x="376" y="162"/>
                  </a:lnTo>
                  <a:lnTo>
                    <a:pt x="390" y="170"/>
                  </a:lnTo>
                  <a:lnTo>
                    <a:pt x="396" y="220"/>
                  </a:lnTo>
                  <a:lnTo>
                    <a:pt x="399" y="250"/>
                  </a:lnTo>
                  <a:lnTo>
                    <a:pt x="413" y="269"/>
                  </a:lnTo>
                  <a:lnTo>
                    <a:pt x="405" y="308"/>
                  </a:lnTo>
                  <a:lnTo>
                    <a:pt x="380" y="287"/>
                  </a:lnTo>
                  <a:lnTo>
                    <a:pt x="376" y="306"/>
                  </a:lnTo>
                  <a:lnTo>
                    <a:pt x="297" y="345"/>
                  </a:lnTo>
                  <a:lnTo>
                    <a:pt x="294" y="356"/>
                  </a:lnTo>
                  <a:lnTo>
                    <a:pt x="278" y="345"/>
                  </a:lnTo>
                  <a:lnTo>
                    <a:pt x="277" y="356"/>
                  </a:lnTo>
                  <a:lnTo>
                    <a:pt x="294" y="370"/>
                  </a:lnTo>
                  <a:lnTo>
                    <a:pt x="295" y="396"/>
                  </a:lnTo>
                  <a:lnTo>
                    <a:pt x="303" y="405"/>
                  </a:lnTo>
                  <a:lnTo>
                    <a:pt x="362" y="456"/>
                  </a:lnTo>
                  <a:close/>
                  <a:moveTo>
                    <a:pt x="351" y="35"/>
                  </a:moveTo>
                  <a:lnTo>
                    <a:pt x="353" y="48"/>
                  </a:lnTo>
                  <a:lnTo>
                    <a:pt x="329" y="43"/>
                  </a:lnTo>
                  <a:lnTo>
                    <a:pt x="329" y="28"/>
                  </a:lnTo>
                  <a:lnTo>
                    <a:pt x="345" y="34"/>
                  </a:lnTo>
                  <a:lnTo>
                    <a:pt x="336" y="18"/>
                  </a:lnTo>
                  <a:lnTo>
                    <a:pt x="353" y="25"/>
                  </a:lnTo>
                  <a:lnTo>
                    <a:pt x="351" y="35"/>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49" name="Freeform 152">
              <a:extLst>
                <a:ext uri="{FF2B5EF4-FFF2-40B4-BE49-F238E27FC236}">
                  <a16:creationId xmlns:a16="http://schemas.microsoft.com/office/drawing/2014/main" id="{2BBDA152-1E57-E14B-93AA-4E374E1C2541}"/>
                </a:ext>
              </a:extLst>
            </p:cNvPr>
            <p:cNvSpPr>
              <a:spLocks noChangeAspect="1" noEditPoints="1"/>
            </p:cNvSpPr>
            <p:nvPr/>
          </p:nvSpPr>
          <p:spPr bwMode="gray">
            <a:xfrm>
              <a:off x="4474650" y="2104795"/>
              <a:ext cx="12717" cy="49869"/>
            </a:xfrm>
            <a:custGeom>
              <a:avLst/>
              <a:gdLst>
                <a:gd name="T0" fmla="*/ 21 w 28"/>
                <a:gd name="T1" fmla="*/ 32 h 84"/>
                <a:gd name="T2" fmla="*/ 11 w 28"/>
                <a:gd name="T3" fmla="*/ 7 h 84"/>
                <a:gd name="T4" fmla="*/ 3 w 28"/>
                <a:gd name="T5" fmla="*/ 0 h 84"/>
                <a:gd name="T6" fmla="*/ 0 w 28"/>
                <a:gd name="T7" fmla="*/ 9 h 84"/>
                <a:gd name="T8" fmla="*/ 21 w 28"/>
                <a:gd name="T9" fmla="*/ 32 h 84"/>
                <a:gd name="T10" fmla="*/ 17 w 28"/>
                <a:gd name="T11" fmla="*/ 64 h 84"/>
                <a:gd name="T12" fmla="*/ 14 w 28"/>
                <a:gd name="T13" fmla="*/ 80 h 84"/>
                <a:gd name="T14" fmla="*/ 23 w 28"/>
                <a:gd name="T15" fmla="*/ 84 h 84"/>
                <a:gd name="T16" fmla="*/ 17 w 28"/>
                <a:gd name="T17" fmla="*/ 64 h 84"/>
                <a:gd name="T18" fmla="*/ 28 w 28"/>
                <a:gd name="T19" fmla="*/ 50 h 84"/>
                <a:gd name="T20" fmla="*/ 28 w 28"/>
                <a:gd name="T21" fmla="*/ 41 h 84"/>
                <a:gd name="T22" fmla="*/ 20 w 28"/>
                <a:gd name="T23" fmla="*/ 41 h 84"/>
                <a:gd name="T24" fmla="*/ 28 w 28"/>
                <a:gd name="T25" fmla="*/ 5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84">
                  <a:moveTo>
                    <a:pt x="21" y="32"/>
                  </a:moveTo>
                  <a:lnTo>
                    <a:pt x="11" y="7"/>
                  </a:lnTo>
                  <a:lnTo>
                    <a:pt x="3" y="0"/>
                  </a:lnTo>
                  <a:lnTo>
                    <a:pt x="0" y="9"/>
                  </a:lnTo>
                  <a:lnTo>
                    <a:pt x="21" y="32"/>
                  </a:lnTo>
                  <a:close/>
                  <a:moveTo>
                    <a:pt x="17" y="64"/>
                  </a:moveTo>
                  <a:lnTo>
                    <a:pt x="14" y="80"/>
                  </a:lnTo>
                  <a:lnTo>
                    <a:pt x="23" y="84"/>
                  </a:lnTo>
                  <a:lnTo>
                    <a:pt x="17" y="64"/>
                  </a:lnTo>
                  <a:close/>
                  <a:moveTo>
                    <a:pt x="28" y="50"/>
                  </a:moveTo>
                  <a:lnTo>
                    <a:pt x="28" y="41"/>
                  </a:lnTo>
                  <a:lnTo>
                    <a:pt x="20" y="41"/>
                  </a:lnTo>
                  <a:lnTo>
                    <a:pt x="28" y="5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50" name="Freeform 153">
              <a:extLst>
                <a:ext uri="{FF2B5EF4-FFF2-40B4-BE49-F238E27FC236}">
                  <a16:creationId xmlns:a16="http://schemas.microsoft.com/office/drawing/2014/main" id="{45DF226B-06E6-0D44-8BA2-AF597D227726}"/>
                </a:ext>
              </a:extLst>
            </p:cNvPr>
            <p:cNvSpPr>
              <a:spLocks noChangeAspect="1"/>
            </p:cNvSpPr>
            <p:nvPr/>
          </p:nvSpPr>
          <p:spPr bwMode="gray">
            <a:xfrm>
              <a:off x="4406297" y="2469233"/>
              <a:ext cx="108090" cy="174544"/>
            </a:xfrm>
            <a:custGeom>
              <a:avLst/>
              <a:gdLst>
                <a:gd name="T0" fmla="*/ 126 w 223"/>
                <a:gd name="T1" fmla="*/ 7 h 296"/>
                <a:gd name="T2" fmla="*/ 74 w 223"/>
                <a:gd name="T3" fmla="*/ 51 h 296"/>
                <a:gd name="T4" fmla="*/ 97 w 223"/>
                <a:gd name="T5" fmla="*/ 68 h 296"/>
                <a:gd name="T6" fmla="*/ 82 w 223"/>
                <a:gd name="T7" fmla="*/ 87 h 296"/>
                <a:gd name="T8" fmla="*/ 21 w 223"/>
                <a:gd name="T9" fmla="*/ 95 h 296"/>
                <a:gd name="T10" fmla="*/ 11 w 223"/>
                <a:gd name="T11" fmla="*/ 109 h 296"/>
                <a:gd name="T12" fmla="*/ 15 w 223"/>
                <a:gd name="T13" fmla="*/ 141 h 296"/>
                <a:gd name="T14" fmla="*/ 65 w 223"/>
                <a:gd name="T15" fmla="*/ 169 h 296"/>
                <a:gd name="T16" fmla="*/ 40 w 223"/>
                <a:gd name="T17" fmla="*/ 203 h 296"/>
                <a:gd name="T18" fmla="*/ 54 w 223"/>
                <a:gd name="T19" fmla="*/ 212 h 296"/>
                <a:gd name="T20" fmla="*/ 69 w 223"/>
                <a:gd name="T21" fmla="*/ 206 h 296"/>
                <a:gd name="T22" fmla="*/ 35 w 223"/>
                <a:gd name="T23" fmla="*/ 219 h 296"/>
                <a:gd name="T24" fmla="*/ 1 w 223"/>
                <a:gd name="T25" fmla="*/ 245 h 296"/>
                <a:gd name="T26" fmla="*/ 21 w 223"/>
                <a:gd name="T27" fmla="*/ 254 h 296"/>
                <a:gd name="T28" fmla="*/ 32 w 223"/>
                <a:gd name="T29" fmla="*/ 270 h 296"/>
                <a:gd name="T30" fmla="*/ 38 w 223"/>
                <a:gd name="T31" fmla="*/ 279 h 296"/>
                <a:gd name="T32" fmla="*/ 28 w 223"/>
                <a:gd name="T33" fmla="*/ 291 h 296"/>
                <a:gd name="T34" fmla="*/ 51 w 223"/>
                <a:gd name="T35" fmla="*/ 294 h 296"/>
                <a:gd name="T36" fmla="*/ 92 w 223"/>
                <a:gd name="T37" fmla="*/ 278 h 296"/>
                <a:gd name="T38" fmla="*/ 100 w 223"/>
                <a:gd name="T39" fmla="*/ 274 h 296"/>
                <a:gd name="T40" fmla="*/ 128 w 223"/>
                <a:gd name="T41" fmla="*/ 251 h 296"/>
                <a:gd name="T42" fmla="*/ 181 w 223"/>
                <a:gd name="T43" fmla="*/ 232 h 296"/>
                <a:gd name="T44" fmla="*/ 190 w 223"/>
                <a:gd name="T45" fmla="*/ 156 h 296"/>
                <a:gd name="T46" fmla="*/ 184 w 223"/>
                <a:gd name="T47" fmla="*/ 115 h 296"/>
                <a:gd name="T48" fmla="*/ 204 w 223"/>
                <a:gd name="T49" fmla="*/ 98 h 296"/>
                <a:gd name="T50" fmla="*/ 216 w 223"/>
                <a:gd name="T51" fmla="*/ 87 h 296"/>
                <a:gd name="T52" fmla="*/ 215 w 223"/>
                <a:gd name="T53" fmla="*/ 64 h 296"/>
                <a:gd name="T54" fmla="*/ 223 w 223"/>
                <a:gd name="T55" fmla="*/ 67 h 296"/>
                <a:gd name="T56" fmla="*/ 202 w 223"/>
                <a:gd name="T57" fmla="*/ 56 h 296"/>
                <a:gd name="T58" fmla="*/ 207 w 223"/>
                <a:gd name="T59" fmla="*/ 33 h 296"/>
                <a:gd name="T60" fmla="*/ 179 w 223"/>
                <a:gd name="T61" fmla="*/ 8 h 296"/>
                <a:gd name="T62" fmla="*/ 147 w 223"/>
                <a:gd name="T63" fmla="*/ 19 h 296"/>
                <a:gd name="T64" fmla="*/ 147 w 223"/>
                <a:gd name="T65" fmla="*/ 0 h 296"/>
                <a:gd name="T66" fmla="*/ 133 w 223"/>
                <a:gd name="T67" fmla="*/ 10 h 296"/>
                <a:gd name="T68" fmla="*/ 130 w 223"/>
                <a:gd name="T69" fmla="*/ 2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3" h="296">
                  <a:moveTo>
                    <a:pt x="130" y="28"/>
                  </a:moveTo>
                  <a:lnTo>
                    <a:pt x="126" y="7"/>
                  </a:lnTo>
                  <a:lnTo>
                    <a:pt x="100" y="16"/>
                  </a:lnTo>
                  <a:lnTo>
                    <a:pt x="74" y="51"/>
                  </a:lnTo>
                  <a:lnTo>
                    <a:pt x="100" y="56"/>
                  </a:lnTo>
                  <a:lnTo>
                    <a:pt x="97" y="68"/>
                  </a:lnTo>
                  <a:lnTo>
                    <a:pt x="82" y="78"/>
                  </a:lnTo>
                  <a:lnTo>
                    <a:pt x="82" y="87"/>
                  </a:lnTo>
                  <a:lnTo>
                    <a:pt x="29" y="81"/>
                  </a:lnTo>
                  <a:lnTo>
                    <a:pt x="21" y="95"/>
                  </a:lnTo>
                  <a:lnTo>
                    <a:pt x="25" y="109"/>
                  </a:lnTo>
                  <a:lnTo>
                    <a:pt x="11" y="109"/>
                  </a:lnTo>
                  <a:lnTo>
                    <a:pt x="37" y="122"/>
                  </a:lnTo>
                  <a:lnTo>
                    <a:pt x="15" y="141"/>
                  </a:lnTo>
                  <a:lnTo>
                    <a:pt x="23" y="158"/>
                  </a:lnTo>
                  <a:lnTo>
                    <a:pt x="65" y="169"/>
                  </a:lnTo>
                  <a:lnTo>
                    <a:pt x="45" y="183"/>
                  </a:lnTo>
                  <a:lnTo>
                    <a:pt x="40" y="203"/>
                  </a:lnTo>
                  <a:lnTo>
                    <a:pt x="26" y="215"/>
                  </a:lnTo>
                  <a:lnTo>
                    <a:pt x="54" y="212"/>
                  </a:lnTo>
                  <a:lnTo>
                    <a:pt x="68" y="198"/>
                  </a:lnTo>
                  <a:lnTo>
                    <a:pt x="69" y="206"/>
                  </a:lnTo>
                  <a:lnTo>
                    <a:pt x="76" y="211"/>
                  </a:lnTo>
                  <a:lnTo>
                    <a:pt x="35" y="219"/>
                  </a:lnTo>
                  <a:lnTo>
                    <a:pt x="23" y="240"/>
                  </a:lnTo>
                  <a:lnTo>
                    <a:pt x="1" y="245"/>
                  </a:lnTo>
                  <a:lnTo>
                    <a:pt x="0" y="253"/>
                  </a:lnTo>
                  <a:lnTo>
                    <a:pt x="21" y="254"/>
                  </a:lnTo>
                  <a:lnTo>
                    <a:pt x="3" y="271"/>
                  </a:lnTo>
                  <a:lnTo>
                    <a:pt x="32" y="270"/>
                  </a:lnTo>
                  <a:lnTo>
                    <a:pt x="13" y="288"/>
                  </a:lnTo>
                  <a:lnTo>
                    <a:pt x="38" y="279"/>
                  </a:lnTo>
                  <a:lnTo>
                    <a:pt x="38" y="288"/>
                  </a:lnTo>
                  <a:lnTo>
                    <a:pt x="28" y="291"/>
                  </a:lnTo>
                  <a:lnTo>
                    <a:pt x="29" y="296"/>
                  </a:lnTo>
                  <a:lnTo>
                    <a:pt x="51" y="294"/>
                  </a:lnTo>
                  <a:lnTo>
                    <a:pt x="86" y="283"/>
                  </a:lnTo>
                  <a:lnTo>
                    <a:pt x="92" y="278"/>
                  </a:lnTo>
                  <a:lnTo>
                    <a:pt x="92" y="266"/>
                  </a:lnTo>
                  <a:lnTo>
                    <a:pt x="100" y="274"/>
                  </a:lnTo>
                  <a:lnTo>
                    <a:pt x="122" y="265"/>
                  </a:lnTo>
                  <a:lnTo>
                    <a:pt x="128" y="251"/>
                  </a:lnTo>
                  <a:lnTo>
                    <a:pt x="182" y="245"/>
                  </a:lnTo>
                  <a:lnTo>
                    <a:pt x="181" y="232"/>
                  </a:lnTo>
                  <a:lnTo>
                    <a:pt x="196" y="189"/>
                  </a:lnTo>
                  <a:lnTo>
                    <a:pt x="190" y="156"/>
                  </a:lnTo>
                  <a:lnTo>
                    <a:pt x="196" y="143"/>
                  </a:lnTo>
                  <a:lnTo>
                    <a:pt x="184" y="115"/>
                  </a:lnTo>
                  <a:lnTo>
                    <a:pt x="193" y="105"/>
                  </a:lnTo>
                  <a:lnTo>
                    <a:pt x="204" y="98"/>
                  </a:lnTo>
                  <a:lnTo>
                    <a:pt x="206" y="90"/>
                  </a:lnTo>
                  <a:lnTo>
                    <a:pt x="216" y="87"/>
                  </a:lnTo>
                  <a:lnTo>
                    <a:pt x="221" y="81"/>
                  </a:lnTo>
                  <a:lnTo>
                    <a:pt x="215" y="64"/>
                  </a:lnTo>
                  <a:lnTo>
                    <a:pt x="221" y="75"/>
                  </a:lnTo>
                  <a:lnTo>
                    <a:pt x="223" y="67"/>
                  </a:lnTo>
                  <a:lnTo>
                    <a:pt x="215" y="54"/>
                  </a:lnTo>
                  <a:lnTo>
                    <a:pt x="202" y="56"/>
                  </a:lnTo>
                  <a:lnTo>
                    <a:pt x="207" y="48"/>
                  </a:lnTo>
                  <a:lnTo>
                    <a:pt x="207" y="33"/>
                  </a:lnTo>
                  <a:lnTo>
                    <a:pt x="194" y="14"/>
                  </a:lnTo>
                  <a:lnTo>
                    <a:pt x="179" y="8"/>
                  </a:lnTo>
                  <a:lnTo>
                    <a:pt x="147" y="22"/>
                  </a:lnTo>
                  <a:lnTo>
                    <a:pt x="147" y="19"/>
                  </a:lnTo>
                  <a:lnTo>
                    <a:pt x="156" y="8"/>
                  </a:lnTo>
                  <a:lnTo>
                    <a:pt x="147" y="0"/>
                  </a:lnTo>
                  <a:lnTo>
                    <a:pt x="139" y="0"/>
                  </a:lnTo>
                  <a:lnTo>
                    <a:pt x="133" y="10"/>
                  </a:lnTo>
                  <a:lnTo>
                    <a:pt x="133" y="27"/>
                  </a:lnTo>
                  <a:lnTo>
                    <a:pt x="130" y="28"/>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151" name="Freeform 154">
              <a:extLst>
                <a:ext uri="{FF2B5EF4-FFF2-40B4-BE49-F238E27FC236}">
                  <a16:creationId xmlns:a16="http://schemas.microsoft.com/office/drawing/2014/main" id="{11E4BE38-BAEC-F943-84E9-D3FA19387B1C}"/>
                </a:ext>
              </a:extLst>
            </p:cNvPr>
            <p:cNvSpPr>
              <a:spLocks noChangeAspect="1" noEditPoints="1"/>
            </p:cNvSpPr>
            <p:nvPr/>
          </p:nvSpPr>
          <p:spPr bwMode="gray">
            <a:xfrm>
              <a:off x="4469881" y="2196864"/>
              <a:ext cx="206645" cy="510211"/>
            </a:xfrm>
            <a:custGeom>
              <a:avLst/>
              <a:gdLst>
                <a:gd name="T0" fmla="*/ 274 w 424"/>
                <a:gd name="T1" fmla="*/ 815 h 866"/>
                <a:gd name="T2" fmla="*/ 388 w 424"/>
                <a:gd name="T3" fmla="*/ 797 h 866"/>
                <a:gd name="T4" fmla="*/ 373 w 424"/>
                <a:gd name="T5" fmla="*/ 756 h 866"/>
                <a:gd name="T6" fmla="*/ 402 w 424"/>
                <a:gd name="T7" fmla="*/ 721 h 866"/>
                <a:gd name="T8" fmla="*/ 398 w 424"/>
                <a:gd name="T9" fmla="*/ 648 h 866"/>
                <a:gd name="T10" fmla="*/ 345 w 424"/>
                <a:gd name="T11" fmla="*/ 657 h 866"/>
                <a:gd name="T12" fmla="*/ 351 w 424"/>
                <a:gd name="T13" fmla="*/ 584 h 866"/>
                <a:gd name="T14" fmla="*/ 273 w 424"/>
                <a:gd name="T15" fmla="*/ 445 h 866"/>
                <a:gd name="T16" fmla="*/ 202 w 424"/>
                <a:gd name="T17" fmla="*/ 394 h 866"/>
                <a:gd name="T18" fmla="*/ 241 w 424"/>
                <a:gd name="T19" fmla="*/ 335 h 866"/>
                <a:gd name="T20" fmla="*/ 194 w 424"/>
                <a:gd name="T21" fmla="*/ 264 h 866"/>
                <a:gd name="T22" fmla="*/ 169 w 424"/>
                <a:gd name="T23" fmla="*/ 255 h 866"/>
                <a:gd name="T24" fmla="*/ 202 w 424"/>
                <a:gd name="T25" fmla="*/ 187 h 866"/>
                <a:gd name="T26" fmla="*/ 99 w 424"/>
                <a:gd name="T27" fmla="*/ 218 h 866"/>
                <a:gd name="T28" fmla="*/ 80 w 424"/>
                <a:gd name="T29" fmla="*/ 255 h 866"/>
                <a:gd name="T30" fmla="*/ 76 w 424"/>
                <a:gd name="T31" fmla="*/ 291 h 866"/>
                <a:gd name="T32" fmla="*/ 76 w 424"/>
                <a:gd name="T33" fmla="*/ 343 h 866"/>
                <a:gd name="T34" fmla="*/ 87 w 424"/>
                <a:gd name="T35" fmla="*/ 413 h 866"/>
                <a:gd name="T36" fmla="*/ 101 w 424"/>
                <a:gd name="T37" fmla="*/ 427 h 866"/>
                <a:gd name="T38" fmla="*/ 118 w 424"/>
                <a:gd name="T39" fmla="*/ 413 h 866"/>
                <a:gd name="T40" fmla="*/ 121 w 424"/>
                <a:gd name="T41" fmla="*/ 433 h 866"/>
                <a:gd name="T42" fmla="*/ 113 w 424"/>
                <a:gd name="T43" fmla="*/ 515 h 866"/>
                <a:gd name="T44" fmla="*/ 144 w 424"/>
                <a:gd name="T45" fmla="*/ 501 h 866"/>
                <a:gd name="T46" fmla="*/ 197 w 424"/>
                <a:gd name="T47" fmla="*/ 560 h 866"/>
                <a:gd name="T48" fmla="*/ 206 w 424"/>
                <a:gd name="T49" fmla="*/ 606 h 866"/>
                <a:gd name="T50" fmla="*/ 130 w 424"/>
                <a:gd name="T51" fmla="*/ 657 h 866"/>
                <a:gd name="T52" fmla="*/ 155 w 424"/>
                <a:gd name="T53" fmla="*/ 699 h 866"/>
                <a:gd name="T54" fmla="*/ 150 w 424"/>
                <a:gd name="T55" fmla="*/ 752 h 866"/>
                <a:gd name="T56" fmla="*/ 227 w 424"/>
                <a:gd name="T57" fmla="*/ 745 h 866"/>
                <a:gd name="T58" fmla="*/ 88 w 424"/>
                <a:gd name="T59" fmla="*/ 865 h 866"/>
                <a:gd name="T60" fmla="*/ 177 w 424"/>
                <a:gd name="T61" fmla="*/ 846 h 866"/>
                <a:gd name="T62" fmla="*/ 198 w 424"/>
                <a:gd name="T63" fmla="*/ 164 h 866"/>
                <a:gd name="T64" fmla="*/ 280 w 424"/>
                <a:gd name="T65" fmla="*/ 820 h 866"/>
                <a:gd name="T66" fmla="*/ 153 w 424"/>
                <a:gd name="T67" fmla="*/ 626 h 866"/>
                <a:gd name="T68" fmla="*/ 143 w 424"/>
                <a:gd name="T69" fmla="*/ 537 h 866"/>
                <a:gd name="T70" fmla="*/ 143 w 424"/>
                <a:gd name="T71" fmla="*/ 537 h 866"/>
                <a:gd name="T72" fmla="*/ 269 w 424"/>
                <a:gd name="T73" fmla="*/ 35 h 866"/>
                <a:gd name="T74" fmla="*/ 294 w 424"/>
                <a:gd name="T75" fmla="*/ 20 h 866"/>
                <a:gd name="T76" fmla="*/ 206 w 424"/>
                <a:gd name="T77" fmla="*/ 150 h 866"/>
                <a:gd name="T78" fmla="*/ 220 w 424"/>
                <a:gd name="T79" fmla="*/ 154 h 866"/>
                <a:gd name="T80" fmla="*/ 36 w 424"/>
                <a:gd name="T81" fmla="*/ 291 h 866"/>
                <a:gd name="T82" fmla="*/ 82 w 424"/>
                <a:gd name="T83" fmla="*/ 305 h 866"/>
                <a:gd name="T84" fmla="*/ 82 w 424"/>
                <a:gd name="T85" fmla="*/ 377 h 866"/>
                <a:gd name="T86" fmla="*/ 53 w 424"/>
                <a:gd name="T87" fmla="*/ 382 h 866"/>
                <a:gd name="T88" fmla="*/ 62 w 424"/>
                <a:gd name="T89" fmla="*/ 416 h 866"/>
                <a:gd name="T90" fmla="*/ 56 w 424"/>
                <a:gd name="T91" fmla="*/ 439 h 866"/>
                <a:gd name="T92" fmla="*/ 101 w 424"/>
                <a:gd name="T93" fmla="*/ 449 h 866"/>
                <a:gd name="T94" fmla="*/ 17 w 424"/>
                <a:gd name="T95" fmla="*/ 271 h 866"/>
                <a:gd name="T96" fmla="*/ 58 w 424"/>
                <a:gd name="T97" fmla="*/ 198 h 866"/>
                <a:gd name="T98" fmla="*/ 22 w 424"/>
                <a:gd name="T99" fmla="*/ 259 h 866"/>
                <a:gd name="T100" fmla="*/ 56 w 424"/>
                <a:gd name="T101" fmla="*/ 215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4" h="866">
                  <a:moveTo>
                    <a:pt x="231" y="828"/>
                  </a:moveTo>
                  <a:lnTo>
                    <a:pt x="256" y="821"/>
                  </a:lnTo>
                  <a:lnTo>
                    <a:pt x="252" y="815"/>
                  </a:lnTo>
                  <a:lnTo>
                    <a:pt x="274" y="815"/>
                  </a:lnTo>
                  <a:lnTo>
                    <a:pt x="283" y="811"/>
                  </a:lnTo>
                  <a:lnTo>
                    <a:pt x="283" y="803"/>
                  </a:lnTo>
                  <a:lnTo>
                    <a:pt x="308" y="812"/>
                  </a:lnTo>
                  <a:lnTo>
                    <a:pt x="388" y="797"/>
                  </a:lnTo>
                  <a:lnTo>
                    <a:pt x="409" y="782"/>
                  </a:lnTo>
                  <a:lnTo>
                    <a:pt x="410" y="773"/>
                  </a:lnTo>
                  <a:lnTo>
                    <a:pt x="376" y="769"/>
                  </a:lnTo>
                  <a:lnTo>
                    <a:pt x="373" y="756"/>
                  </a:lnTo>
                  <a:lnTo>
                    <a:pt x="387" y="743"/>
                  </a:lnTo>
                  <a:lnTo>
                    <a:pt x="379" y="740"/>
                  </a:lnTo>
                  <a:lnTo>
                    <a:pt x="402" y="735"/>
                  </a:lnTo>
                  <a:lnTo>
                    <a:pt x="402" y="721"/>
                  </a:lnTo>
                  <a:lnTo>
                    <a:pt x="419" y="711"/>
                  </a:lnTo>
                  <a:lnTo>
                    <a:pt x="424" y="681"/>
                  </a:lnTo>
                  <a:lnTo>
                    <a:pt x="421" y="667"/>
                  </a:lnTo>
                  <a:lnTo>
                    <a:pt x="398" y="648"/>
                  </a:lnTo>
                  <a:lnTo>
                    <a:pt x="370" y="651"/>
                  </a:lnTo>
                  <a:lnTo>
                    <a:pt x="361" y="662"/>
                  </a:lnTo>
                  <a:lnTo>
                    <a:pt x="350" y="659"/>
                  </a:lnTo>
                  <a:lnTo>
                    <a:pt x="345" y="657"/>
                  </a:lnTo>
                  <a:lnTo>
                    <a:pt x="361" y="623"/>
                  </a:lnTo>
                  <a:lnTo>
                    <a:pt x="331" y="589"/>
                  </a:lnTo>
                  <a:lnTo>
                    <a:pt x="353" y="597"/>
                  </a:lnTo>
                  <a:lnTo>
                    <a:pt x="351" y="584"/>
                  </a:lnTo>
                  <a:lnTo>
                    <a:pt x="317" y="526"/>
                  </a:lnTo>
                  <a:lnTo>
                    <a:pt x="294" y="518"/>
                  </a:lnTo>
                  <a:lnTo>
                    <a:pt x="277" y="476"/>
                  </a:lnTo>
                  <a:lnTo>
                    <a:pt x="273" y="445"/>
                  </a:lnTo>
                  <a:lnTo>
                    <a:pt x="251" y="420"/>
                  </a:lnTo>
                  <a:lnTo>
                    <a:pt x="226" y="407"/>
                  </a:lnTo>
                  <a:lnTo>
                    <a:pt x="195" y="407"/>
                  </a:lnTo>
                  <a:lnTo>
                    <a:pt x="202" y="394"/>
                  </a:lnTo>
                  <a:lnTo>
                    <a:pt x="226" y="388"/>
                  </a:lnTo>
                  <a:lnTo>
                    <a:pt x="211" y="369"/>
                  </a:lnTo>
                  <a:lnTo>
                    <a:pt x="224" y="366"/>
                  </a:lnTo>
                  <a:lnTo>
                    <a:pt x="241" y="335"/>
                  </a:lnTo>
                  <a:lnTo>
                    <a:pt x="249" y="305"/>
                  </a:lnTo>
                  <a:lnTo>
                    <a:pt x="261" y="291"/>
                  </a:lnTo>
                  <a:lnTo>
                    <a:pt x="258" y="267"/>
                  </a:lnTo>
                  <a:lnTo>
                    <a:pt x="194" y="264"/>
                  </a:lnTo>
                  <a:lnTo>
                    <a:pt x="153" y="276"/>
                  </a:lnTo>
                  <a:lnTo>
                    <a:pt x="155" y="267"/>
                  </a:lnTo>
                  <a:lnTo>
                    <a:pt x="147" y="266"/>
                  </a:lnTo>
                  <a:lnTo>
                    <a:pt x="169" y="255"/>
                  </a:lnTo>
                  <a:lnTo>
                    <a:pt x="155" y="254"/>
                  </a:lnTo>
                  <a:lnTo>
                    <a:pt x="155" y="247"/>
                  </a:lnTo>
                  <a:lnTo>
                    <a:pt x="198" y="208"/>
                  </a:lnTo>
                  <a:lnTo>
                    <a:pt x="202" y="187"/>
                  </a:lnTo>
                  <a:lnTo>
                    <a:pt x="192" y="182"/>
                  </a:lnTo>
                  <a:lnTo>
                    <a:pt x="119" y="190"/>
                  </a:lnTo>
                  <a:lnTo>
                    <a:pt x="109" y="216"/>
                  </a:lnTo>
                  <a:lnTo>
                    <a:pt x="99" y="218"/>
                  </a:lnTo>
                  <a:lnTo>
                    <a:pt x="101" y="230"/>
                  </a:lnTo>
                  <a:lnTo>
                    <a:pt x="95" y="232"/>
                  </a:lnTo>
                  <a:lnTo>
                    <a:pt x="104" y="244"/>
                  </a:lnTo>
                  <a:lnTo>
                    <a:pt x="80" y="255"/>
                  </a:lnTo>
                  <a:lnTo>
                    <a:pt x="82" y="274"/>
                  </a:lnTo>
                  <a:lnTo>
                    <a:pt x="87" y="278"/>
                  </a:lnTo>
                  <a:lnTo>
                    <a:pt x="76" y="280"/>
                  </a:lnTo>
                  <a:lnTo>
                    <a:pt x="76" y="291"/>
                  </a:lnTo>
                  <a:lnTo>
                    <a:pt x="93" y="291"/>
                  </a:lnTo>
                  <a:lnTo>
                    <a:pt x="87" y="297"/>
                  </a:lnTo>
                  <a:lnTo>
                    <a:pt x="92" y="298"/>
                  </a:lnTo>
                  <a:lnTo>
                    <a:pt x="76" y="343"/>
                  </a:lnTo>
                  <a:lnTo>
                    <a:pt x="63" y="349"/>
                  </a:lnTo>
                  <a:lnTo>
                    <a:pt x="84" y="369"/>
                  </a:lnTo>
                  <a:lnTo>
                    <a:pt x="102" y="356"/>
                  </a:lnTo>
                  <a:lnTo>
                    <a:pt x="87" y="413"/>
                  </a:lnTo>
                  <a:lnTo>
                    <a:pt x="92" y="428"/>
                  </a:lnTo>
                  <a:lnTo>
                    <a:pt x="80" y="462"/>
                  </a:lnTo>
                  <a:lnTo>
                    <a:pt x="88" y="459"/>
                  </a:lnTo>
                  <a:lnTo>
                    <a:pt x="101" y="427"/>
                  </a:lnTo>
                  <a:lnTo>
                    <a:pt x="97" y="407"/>
                  </a:lnTo>
                  <a:lnTo>
                    <a:pt x="109" y="391"/>
                  </a:lnTo>
                  <a:lnTo>
                    <a:pt x="104" y="420"/>
                  </a:lnTo>
                  <a:lnTo>
                    <a:pt x="118" y="413"/>
                  </a:lnTo>
                  <a:lnTo>
                    <a:pt x="118" y="402"/>
                  </a:lnTo>
                  <a:lnTo>
                    <a:pt x="130" y="411"/>
                  </a:lnTo>
                  <a:lnTo>
                    <a:pt x="124" y="416"/>
                  </a:lnTo>
                  <a:lnTo>
                    <a:pt x="121" y="433"/>
                  </a:lnTo>
                  <a:lnTo>
                    <a:pt x="130" y="450"/>
                  </a:lnTo>
                  <a:lnTo>
                    <a:pt x="113" y="495"/>
                  </a:lnTo>
                  <a:lnTo>
                    <a:pt x="107" y="495"/>
                  </a:lnTo>
                  <a:lnTo>
                    <a:pt x="113" y="515"/>
                  </a:lnTo>
                  <a:lnTo>
                    <a:pt x="119" y="516"/>
                  </a:lnTo>
                  <a:lnTo>
                    <a:pt x="122" y="501"/>
                  </a:lnTo>
                  <a:lnTo>
                    <a:pt x="141" y="513"/>
                  </a:lnTo>
                  <a:lnTo>
                    <a:pt x="144" y="501"/>
                  </a:lnTo>
                  <a:lnTo>
                    <a:pt x="204" y="493"/>
                  </a:lnTo>
                  <a:lnTo>
                    <a:pt x="190" y="501"/>
                  </a:lnTo>
                  <a:lnTo>
                    <a:pt x="178" y="530"/>
                  </a:lnTo>
                  <a:lnTo>
                    <a:pt x="197" y="560"/>
                  </a:lnTo>
                  <a:lnTo>
                    <a:pt x="219" y="550"/>
                  </a:lnTo>
                  <a:lnTo>
                    <a:pt x="207" y="584"/>
                  </a:lnTo>
                  <a:lnTo>
                    <a:pt x="215" y="588"/>
                  </a:lnTo>
                  <a:lnTo>
                    <a:pt x="206" y="606"/>
                  </a:lnTo>
                  <a:lnTo>
                    <a:pt x="212" y="613"/>
                  </a:lnTo>
                  <a:lnTo>
                    <a:pt x="206" y="622"/>
                  </a:lnTo>
                  <a:lnTo>
                    <a:pt x="172" y="622"/>
                  </a:lnTo>
                  <a:lnTo>
                    <a:pt x="130" y="657"/>
                  </a:lnTo>
                  <a:lnTo>
                    <a:pt x="156" y="650"/>
                  </a:lnTo>
                  <a:lnTo>
                    <a:pt x="158" y="674"/>
                  </a:lnTo>
                  <a:lnTo>
                    <a:pt x="164" y="681"/>
                  </a:lnTo>
                  <a:lnTo>
                    <a:pt x="155" y="699"/>
                  </a:lnTo>
                  <a:lnTo>
                    <a:pt x="104" y="730"/>
                  </a:lnTo>
                  <a:lnTo>
                    <a:pt x="113" y="748"/>
                  </a:lnTo>
                  <a:lnTo>
                    <a:pt x="141" y="736"/>
                  </a:lnTo>
                  <a:lnTo>
                    <a:pt x="150" y="752"/>
                  </a:lnTo>
                  <a:lnTo>
                    <a:pt x="169" y="747"/>
                  </a:lnTo>
                  <a:lnTo>
                    <a:pt x="189" y="765"/>
                  </a:lnTo>
                  <a:lnTo>
                    <a:pt x="227" y="740"/>
                  </a:lnTo>
                  <a:lnTo>
                    <a:pt x="227" y="745"/>
                  </a:lnTo>
                  <a:lnTo>
                    <a:pt x="206" y="777"/>
                  </a:lnTo>
                  <a:lnTo>
                    <a:pt x="156" y="782"/>
                  </a:lnTo>
                  <a:lnTo>
                    <a:pt x="90" y="855"/>
                  </a:lnTo>
                  <a:lnTo>
                    <a:pt x="88" y="865"/>
                  </a:lnTo>
                  <a:lnTo>
                    <a:pt x="93" y="858"/>
                  </a:lnTo>
                  <a:lnTo>
                    <a:pt x="109" y="866"/>
                  </a:lnTo>
                  <a:lnTo>
                    <a:pt x="129" y="841"/>
                  </a:lnTo>
                  <a:lnTo>
                    <a:pt x="177" y="846"/>
                  </a:lnTo>
                  <a:lnTo>
                    <a:pt x="189" y="820"/>
                  </a:lnTo>
                  <a:lnTo>
                    <a:pt x="217" y="812"/>
                  </a:lnTo>
                  <a:lnTo>
                    <a:pt x="231" y="828"/>
                  </a:lnTo>
                  <a:close/>
                  <a:moveTo>
                    <a:pt x="198" y="164"/>
                  </a:moveTo>
                  <a:lnTo>
                    <a:pt x="190" y="158"/>
                  </a:lnTo>
                  <a:lnTo>
                    <a:pt x="198" y="164"/>
                  </a:lnTo>
                  <a:close/>
                  <a:moveTo>
                    <a:pt x="291" y="814"/>
                  </a:moveTo>
                  <a:lnTo>
                    <a:pt x="280" y="820"/>
                  </a:lnTo>
                  <a:lnTo>
                    <a:pt x="294" y="823"/>
                  </a:lnTo>
                  <a:lnTo>
                    <a:pt x="297" y="818"/>
                  </a:lnTo>
                  <a:lnTo>
                    <a:pt x="291" y="814"/>
                  </a:lnTo>
                  <a:close/>
                  <a:moveTo>
                    <a:pt x="153" y="626"/>
                  </a:moveTo>
                  <a:lnTo>
                    <a:pt x="158" y="623"/>
                  </a:lnTo>
                  <a:lnTo>
                    <a:pt x="143" y="613"/>
                  </a:lnTo>
                  <a:lnTo>
                    <a:pt x="153" y="626"/>
                  </a:lnTo>
                  <a:close/>
                  <a:moveTo>
                    <a:pt x="143" y="537"/>
                  </a:moveTo>
                  <a:lnTo>
                    <a:pt x="126" y="562"/>
                  </a:lnTo>
                  <a:lnTo>
                    <a:pt x="143" y="557"/>
                  </a:lnTo>
                  <a:lnTo>
                    <a:pt x="146" y="546"/>
                  </a:lnTo>
                  <a:lnTo>
                    <a:pt x="143" y="537"/>
                  </a:lnTo>
                  <a:close/>
                  <a:moveTo>
                    <a:pt x="285" y="0"/>
                  </a:moveTo>
                  <a:lnTo>
                    <a:pt x="273" y="10"/>
                  </a:lnTo>
                  <a:lnTo>
                    <a:pt x="280" y="27"/>
                  </a:lnTo>
                  <a:lnTo>
                    <a:pt x="269" y="35"/>
                  </a:lnTo>
                  <a:lnTo>
                    <a:pt x="285" y="43"/>
                  </a:lnTo>
                  <a:lnTo>
                    <a:pt x="282" y="69"/>
                  </a:lnTo>
                  <a:lnTo>
                    <a:pt x="291" y="56"/>
                  </a:lnTo>
                  <a:lnTo>
                    <a:pt x="294" y="20"/>
                  </a:lnTo>
                  <a:lnTo>
                    <a:pt x="285" y="14"/>
                  </a:lnTo>
                  <a:lnTo>
                    <a:pt x="285" y="0"/>
                  </a:lnTo>
                  <a:close/>
                  <a:moveTo>
                    <a:pt x="220" y="154"/>
                  </a:moveTo>
                  <a:lnTo>
                    <a:pt x="206" y="150"/>
                  </a:lnTo>
                  <a:lnTo>
                    <a:pt x="198" y="136"/>
                  </a:lnTo>
                  <a:lnTo>
                    <a:pt x="194" y="144"/>
                  </a:lnTo>
                  <a:lnTo>
                    <a:pt x="197" y="153"/>
                  </a:lnTo>
                  <a:lnTo>
                    <a:pt x="220" y="154"/>
                  </a:lnTo>
                  <a:close/>
                  <a:moveTo>
                    <a:pt x="53" y="266"/>
                  </a:moveTo>
                  <a:lnTo>
                    <a:pt x="50" y="283"/>
                  </a:lnTo>
                  <a:lnTo>
                    <a:pt x="43" y="276"/>
                  </a:lnTo>
                  <a:lnTo>
                    <a:pt x="36" y="291"/>
                  </a:lnTo>
                  <a:lnTo>
                    <a:pt x="46" y="292"/>
                  </a:lnTo>
                  <a:lnTo>
                    <a:pt x="53" y="312"/>
                  </a:lnTo>
                  <a:lnTo>
                    <a:pt x="76" y="317"/>
                  </a:lnTo>
                  <a:lnTo>
                    <a:pt x="82" y="305"/>
                  </a:lnTo>
                  <a:lnTo>
                    <a:pt x="67" y="300"/>
                  </a:lnTo>
                  <a:lnTo>
                    <a:pt x="53" y="266"/>
                  </a:lnTo>
                  <a:close/>
                  <a:moveTo>
                    <a:pt x="53" y="382"/>
                  </a:moveTo>
                  <a:lnTo>
                    <a:pt x="82" y="377"/>
                  </a:lnTo>
                  <a:lnTo>
                    <a:pt x="65" y="357"/>
                  </a:lnTo>
                  <a:lnTo>
                    <a:pt x="56" y="360"/>
                  </a:lnTo>
                  <a:lnTo>
                    <a:pt x="65" y="377"/>
                  </a:lnTo>
                  <a:lnTo>
                    <a:pt x="53" y="382"/>
                  </a:lnTo>
                  <a:close/>
                  <a:moveTo>
                    <a:pt x="82" y="399"/>
                  </a:moveTo>
                  <a:lnTo>
                    <a:pt x="68" y="424"/>
                  </a:lnTo>
                  <a:lnTo>
                    <a:pt x="82" y="399"/>
                  </a:lnTo>
                  <a:close/>
                  <a:moveTo>
                    <a:pt x="62" y="416"/>
                  </a:moveTo>
                  <a:lnTo>
                    <a:pt x="50" y="422"/>
                  </a:lnTo>
                  <a:lnTo>
                    <a:pt x="48" y="433"/>
                  </a:lnTo>
                  <a:lnTo>
                    <a:pt x="53" y="427"/>
                  </a:lnTo>
                  <a:lnTo>
                    <a:pt x="56" y="439"/>
                  </a:lnTo>
                  <a:lnTo>
                    <a:pt x="65" y="435"/>
                  </a:lnTo>
                  <a:lnTo>
                    <a:pt x="62" y="416"/>
                  </a:lnTo>
                  <a:close/>
                  <a:moveTo>
                    <a:pt x="101" y="433"/>
                  </a:moveTo>
                  <a:lnTo>
                    <a:pt x="101" y="449"/>
                  </a:lnTo>
                  <a:lnTo>
                    <a:pt x="107" y="453"/>
                  </a:lnTo>
                  <a:lnTo>
                    <a:pt x="109" y="433"/>
                  </a:lnTo>
                  <a:lnTo>
                    <a:pt x="101" y="433"/>
                  </a:lnTo>
                  <a:close/>
                  <a:moveTo>
                    <a:pt x="17" y="271"/>
                  </a:moveTo>
                  <a:lnTo>
                    <a:pt x="0" y="272"/>
                  </a:lnTo>
                  <a:lnTo>
                    <a:pt x="16" y="280"/>
                  </a:lnTo>
                  <a:lnTo>
                    <a:pt x="17" y="271"/>
                  </a:lnTo>
                  <a:close/>
                  <a:moveTo>
                    <a:pt x="58" y="198"/>
                  </a:moveTo>
                  <a:lnTo>
                    <a:pt x="33" y="213"/>
                  </a:lnTo>
                  <a:lnTo>
                    <a:pt x="34" y="222"/>
                  </a:lnTo>
                  <a:lnTo>
                    <a:pt x="22" y="220"/>
                  </a:lnTo>
                  <a:lnTo>
                    <a:pt x="22" y="259"/>
                  </a:lnTo>
                  <a:lnTo>
                    <a:pt x="51" y="238"/>
                  </a:lnTo>
                  <a:lnTo>
                    <a:pt x="48" y="227"/>
                  </a:lnTo>
                  <a:lnTo>
                    <a:pt x="62" y="218"/>
                  </a:lnTo>
                  <a:lnTo>
                    <a:pt x="56" y="215"/>
                  </a:lnTo>
                  <a:lnTo>
                    <a:pt x="58" y="198"/>
                  </a:lnTo>
                  <a:close/>
                </a:path>
              </a:pathLst>
            </a:custGeom>
            <a:solidFill>
              <a:schemeClr val="accent1"/>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152" name="Freeform 155">
              <a:extLst>
                <a:ext uri="{FF2B5EF4-FFF2-40B4-BE49-F238E27FC236}">
                  <a16:creationId xmlns:a16="http://schemas.microsoft.com/office/drawing/2014/main" id="{0F451498-934B-784D-AB98-A92A1225ECB1}"/>
                </a:ext>
              </a:extLst>
            </p:cNvPr>
            <p:cNvSpPr>
              <a:spLocks noChangeAspect="1" noEditPoints="1"/>
            </p:cNvSpPr>
            <p:nvPr/>
          </p:nvSpPr>
          <p:spPr bwMode="gray">
            <a:xfrm>
              <a:off x="5124785" y="2248653"/>
              <a:ext cx="143062" cy="105494"/>
            </a:xfrm>
            <a:custGeom>
              <a:avLst/>
              <a:gdLst>
                <a:gd name="T0" fmla="*/ 116 w 295"/>
                <a:gd name="T1" fmla="*/ 156 h 181"/>
                <a:gd name="T2" fmla="*/ 122 w 295"/>
                <a:gd name="T3" fmla="*/ 115 h 181"/>
                <a:gd name="T4" fmla="*/ 111 w 295"/>
                <a:gd name="T5" fmla="*/ 115 h 181"/>
                <a:gd name="T6" fmla="*/ 101 w 295"/>
                <a:gd name="T7" fmla="*/ 126 h 181"/>
                <a:gd name="T8" fmla="*/ 85 w 295"/>
                <a:gd name="T9" fmla="*/ 118 h 181"/>
                <a:gd name="T10" fmla="*/ 76 w 295"/>
                <a:gd name="T11" fmla="*/ 92 h 181"/>
                <a:gd name="T12" fmla="*/ 87 w 295"/>
                <a:gd name="T13" fmla="*/ 82 h 181"/>
                <a:gd name="T14" fmla="*/ 74 w 295"/>
                <a:gd name="T15" fmla="*/ 76 h 181"/>
                <a:gd name="T16" fmla="*/ 76 w 295"/>
                <a:gd name="T17" fmla="*/ 41 h 181"/>
                <a:gd name="T18" fmla="*/ 118 w 295"/>
                <a:gd name="T19" fmla="*/ 17 h 181"/>
                <a:gd name="T20" fmla="*/ 135 w 295"/>
                <a:gd name="T21" fmla="*/ 19 h 181"/>
                <a:gd name="T22" fmla="*/ 136 w 295"/>
                <a:gd name="T23" fmla="*/ 11 h 181"/>
                <a:gd name="T24" fmla="*/ 164 w 295"/>
                <a:gd name="T25" fmla="*/ 14 h 181"/>
                <a:gd name="T26" fmla="*/ 175 w 295"/>
                <a:gd name="T27" fmla="*/ 0 h 181"/>
                <a:gd name="T28" fmla="*/ 238 w 295"/>
                <a:gd name="T29" fmla="*/ 21 h 181"/>
                <a:gd name="T30" fmla="*/ 274 w 295"/>
                <a:gd name="T31" fmla="*/ 22 h 181"/>
                <a:gd name="T32" fmla="*/ 283 w 295"/>
                <a:gd name="T33" fmla="*/ 19 h 181"/>
                <a:gd name="T34" fmla="*/ 283 w 295"/>
                <a:gd name="T35" fmla="*/ 8 h 181"/>
                <a:gd name="T36" fmla="*/ 295 w 295"/>
                <a:gd name="T37" fmla="*/ 22 h 181"/>
                <a:gd name="T38" fmla="*/ 277 w 295"/>
                <a:gd name="T39" fmla="*/ 51 h 181"/>
                <a:gd name="T40" fmla="*/ 238 w 295"/>
                <a:gd name="T41" fmla="*/ 65 h 181"/>
                <a:gd name="T42" fmla="*/ 274 w 295"/>
                <a:gd name="T43" fmla="*/ 155 h 181"/>
                <a:gd name="T44" fmla="*/ 258 w 295"/>
                <a:gd name="T45" fmla="*/ 181 h 181"/>
                <a:gd name="T46" fmla="*/ 218 w 295"/>
                <a:gd name="T47" fmla="*/ 181 h 181"/>
                <a:gd name="T48" fmla="*/ 195 w 295"/>
                <a:gd name="T49" fmla="*/ 158 h 181"/>
                <a:gd name="T50" fmla="*/ 158 w 295"/>
                <a:gd name="T51" fmla="*/ 141 h 181"/>
                <a:gd name="T52" fmla="*/ 116 w 295"/>
                <a:gd name="T53" fmla="*/ 156 h 181"/>
                <a:gd name="T54" fmla="*/ 42 w 295"/>
                <a:gd name="T55" fmla="*/ 59 h 181"/>
                <a:gd name="T56" fmla="*/ 33 w 295"/>
                <a:gd name="T57" fmla="*/ 51 h 181"/>
                <a:gd name="T58" fmla="*/ 25 w 295"/>
                <a:gd name="T59" fmla="*/ 65 h 181"/>
                <a:gd name="T60" fmla="*/ 8 w 295"/>
                <a:gd name="T61" fmla="*/ 70 h 181"/>
                <a:gd name="T62" fmla="*/ 11 w 295"/>
                <a:gd name="T63" fmla="*/ 75 h 181"/>
                <a:gd name="T64" fmla="*/ 20 w 295"/>
                <a:gd name="T65" fmla="*/ 72 h 181"/>
                <a:gd name="T66" fmla="*/ 26 w 295"/>
                <a:gd name="T67" fmla="*/ 87 h 181"/>
                <a:gd name="T68" fmla="*/ 50 w 295"/>
                <a:gd name="T69" fmla="*/ 73 h 181"/>
                <a:gd name="T70" fmla="*/ 50 w 295"/>
                <a:gd name="T71" fmla="*/ 65 h 181"/>
                <a:gd name="T72" fmla="*/ 42 w 295"/>
                <a:gd name="T73" fmla="*/ 59 h 181"/>
                <a:gd name="T74" fmla="*/ 51 w 295"/>
                <a:gd name="T75" fmla="*/ 95 h 181"/>
                <a:gd name="T76" fmla="*/ 0 w 295"/>
                <a:gd name="T77" fmla="*/ 104 h 181"/>
                <a:gd name="T78" fmla="*/ 0 w 295"/>
                <a:gd name="T79" fmla="*/ 124 h 181"/>
                <a:gd name="T80" fmla="*/ 11 w 295"/>
                <a:gd name="T81" fmla="*/ 132 h 181"/>
                <a:gd name="T82" fmla="*/ 6 w 295"/>
                <a:gd name="T83" fmla="*/ 147 h 181"/>
                <a:gd name="T84" fmla="*/ 6 w 295"/>
                <a:gd name="T85" fmla="*/ 152 h 181"/>
                <a:gd name="T86" fmla="*/ 21 w 295"/>
                <a:gd name="T87" fmla="*/ 122 h 181"/>
                <a:gd name="T88" fmla="*/ 36 w 295"/>
                <a:gd name="T89" fmla="*/ 127 h 181"/>
                <a:gd name="T90" fmla="*/ 63 w 295"/>
                <a:gd name="T91" fmla="*/ 109 h 181"/>
                <a:gd name="T92" fmla="*/ 51 w 295"/>
                <a:gd name="T93" fmla="*/ 95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95" h="181">
                  <a:moveTo>
                    <a:pt x="116" y="156"/>
                  </a:moveTo>
                  <a:lnTo>
                    <a:pt x="122" y="115"/>
                  </a:lnTo>
                  <a:lnTo>
                    <a:pt x="111" y="115"/>
                  </a:lnTo>
                  <a:lnTo>
                    <a:pt x="101" y="126"/>
                  </a:lnTo>
                  <a:lnTo>
                    <a:pt x="85" y="118"/>
                  </a:lnTo>
                  <a:lnTo>
                    <a:pt x="76" y="92"/>
                  </a:lnTo>
                  <a:lnTo>
                    <a:pt x="87" y="82"/>
                  </a:lnTo>
                  <a:lnTo>
                    <a:pt x="74" y="76"/>
                  </a:lnTo>
                  <a:lnTo>
                    <a:pt x="76" y="41"/>
                  </a:lnTo>
                  <a:lnTo>
                    <a:pt x="118" y="17"/>
                  </a:lnTo>
                  <a:lnTo>
                    <a:pt x="135" y="19"/>
                  </a:lnTo>
                  <a:lnTo>
                    <a:pt x="136" y="11"/>
                  </a:lnTo>
                  <a:lnTo>
                    <a:pt x="164" y="14"/>
                  </a:lnTo>
                  <a:lnTo>
                    <a:pt x="175" y="0"/>
                  </a:lnTo>
                  <a:lnTo>
                    <a:pt x="238" y="21"/>
                  </a:lnTo>
                  <a:lnTo>
                    <a:pt x="274" y="22"/>
                  </a:lnTo>
                  <a:lnTo>
                    <a:pt x="283" y="19"/>
                  </a:lnTo>
                  <a:lnTo>
                    <a:pt x="283" y="8"/>
                  </a:lnTo>
                  <a:lnTo>
                    <a:pt x="295" y="22"/>
                  </a:lnTo>
                  <a:lnTo>
                    <a:pt x="277" y="51"/>
                  </a:lnTo>
                  <a:lnTo>
                    <a:pt x="238" y="65"/>
                  </a:lnTo>
                  <a:lnTo>
                    <a:pt x="274" y="155"/>
                  </a:lnTo>
                  <a:lnTo>
                    <a:pt x="258" y="181"/>
                  </a:lnTo>
                  <a:lnTo>
                    <a:pt x="218" y="181"/>
                  </a:lnTo>
                  <a:lnTo>
                    <a:pt x="195" y="158"/>
                  </a:lnTo>
                  <a:lnTo>
                    <a:pt x="158" y="141"/>
                  </a:lnTo>
                  <a:lnTo>
                    <a:pt x="116" y="156"/>
                  </a:lnTo>
                  <a:close/>
                  <a:moveTo>
                    <a:pt x="42" y="59"/>
                  </a:moveTo>
                  <a:lnTo>
                    <a:pt x="33" y="51"/>
                  </a:lnTo>
                  <a:lnTo>
                    <a:pt x="25" y="65"/>
                  </a:lnTo>
                  <a:lnTo>
                    <a:pt x="8" y="70"/>
                  </a:lnTo>
                  <a:lnTo>
                    <a:pt x="11" y="75"/>
                  </a:lnTo>
                  <a:lnTo>
                    <a:pt x="20" y="72"/>
                  </a:lnTo>
                  <a:lnTo>
                    <a:pt x="26" y="87"/>
                  </a:lnTo>
                  <a:lnTo>
                    <a:pt x="50" y="73"/>
                  </a:lnTo>
                  <a:lnTo>
                    <a:pt x="50" y="65"/>
                  </a:lnTo>
                  <a:lnTo>
                    <a:pt x="42" y="59"/>
                  </a:lnTo>
                  <a:close/>
                  <a:moveTo>
                    <a:pt x="51" y="95"/>
                  </a:moveTo>
                  <a:lnTo>
                    <a:pt x="0" y="104"/>
                  </a:lnTo>
                  <a:lnTo>
                    <a:pt x="0" y="124"/>
                  </a:lnTo>
                  <a:lnTo>
                    <a:pt x="11" y="132"/>
                  </a:lnTo>
                  <a:lnTo>
                    <a:pt x="6" y="147"/>
                  </a:lnTo>
                  <a:lnTo>
                    <a:pt x="6" y="152"/>
                  </a:lnTo>
                  <a:lnTo>
                    <a:pt x="21" y="122"/>
                  </a:lnTo>
                  <a:lnTo>
                    <a:pt x="36" y="127"/>
                  </a:lnTo>
                  <a:lnTo>
                    <a:pt x="63" y="109"/>
                  </a:lnTo>
                  <a:lnTo>
                    <a:pt x="51" y="95"/>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53" name="Freeform 156">
              <a:extLst>
                <a:ext uri="{FF2B5EF4-FFF2-40B4-BE49-F238E27FC236}">
                  <a16:creationId xmlns:a16="http://schemas.microsoft.com/office/drawing/2014/main" id="{C5BDB82E-CD1D-8849-8BBC-8D4CA6B43271}"/>
                </a:ext>
              </a:extLst>
            </p:cNvPr>
            <p:cNvSpPr>
              <a:spLocks noChangeAspect="1" noEditPoints="1"/>
            </p:cNvSpPr>
            <p:nvPr/>
          </p:nvSpPr>
          <p:spPr bwMode="gray">
            <a:xfrm>
              <a:off x="4716265" y="2557464"/>
              <a:ext cx="77891" cy="117003"/>
            </a:xfrm>
            <a:custGeom>
              <a:avLst/>
              <a:gdLst>
                <a:gd name="T0" fmla="*/ 163 w 163"/>
                <a:gd name="T1" fmla="*/ 14 h 200"/>
                <a:gd name="T2" fmla="*/ 146 w 163"/>
                <a:gd name="T3" fmla="*/ 0 h 200"/>
                <a:gd name="T4" fmla="*/ 107 w 163"/>
                <a:gd name="T5" fmla="*/ 3 h 200"/>
                <a:gd name="T6" fmla="*/ 90 w 163"/>
                <a:gd name="T7" fmla="*/ 15 h 200"/>
                <a:gd name="T8" fmla="*/ 87 w 163"/>
                <a:gd name="T9" fmla="*/ 39 h 200"/>
                <a:gd name="T10" fmla="*/ 97 w 163"/>
                <a:gd name="T11" fmla="*/ 45 h 200"/>
                <a:gd name="T12" fmla="*/ 91 w 163"/>
                <a:gd name="T13" fmla="*/ 63 h 200"/>
                <a:gd name="T14" fmla="*/ 83 w 163"/>
                <a:gd name="T15" fmla="*/ 70 h 200"/>
                <a:gd name="T16" fmla="*/ 87 w 163"/>
                <a:gd name="T17" fmla="*/ 87 h 200"/>
                <a:gd name="T18" fmla="*/ 70 w 163"/>
                <a:gd name="T19" fmla="*/ 78 h 200"/>
                <a:gd name="T20" fmla="*/ 70 w 163"/>
                <a:gd name="T21" fmla="*/ 62 h 200"/>
                <a:gd name="T22" fmla="*/ 79 w 163"/>
                <a:gd name="T23" fmla="*/ 54 h 200"/>
                <a:gd name="T24" fmla="*/ 70 w 163"/>
                <a:gd name="T25" fmla="*/ 40 h 200"/>
                <a:gd name="T26" fmla="*/ 62 w 163"/>
                <a:gd name="T27" fmla="*/ 43 h 200"/>
                <a:gd name="T28" fmla="*/ 51 w 163"/>
                <a:gd name="T29" fmla="*/ 88 h 200"/>
                <a:gd name="T30" fmla="*/ 31 w 163"/>
                <a:gd name="T31" fmla="*/ 116 h 200"/>
                <a:gd name="T32" fmla="*/ 32 w 163"/>
                <a:gd name="T33" fmla="*/ 122 h 200"/>
                <a:gd name="T34" fmla="*/ 36 w 163"/>
                <a:gd name="T35" fmla="*/ 127 h 200"/>
                <a:gd name="T36" fmla="*/ 65 w 163"/>
                <a:gd name="T37" fmla="*/ 129 h 200"/>
                <a:gd name="T38" fmla="*/ 19 w 163"/>
                <a:gd name="T39" fmla="*/ 144 h 200"/>
                <a:gd name="T40" fmla="*/ 15 w 163"/>
                <a:gd name="T41" fmla="*/ 150 h 200"/>
                <a:gd name="T42" fmla="*/ 0 w 163"/>
                <a:gd name="T43" fmla="*/ 156 h 200"/>
                <a:gd name="T44" fmla="*/ 14 w 163"/>
                <a:gd name="T45" fmla="*/ 164 h 200"/>
                <a:gd name="T46" fmla="*/ 53 w 163"/>
                <a:gd name="T47" fmla="*/ 149 h 200"/>
                <a:gd name="T48" fmla="*/ 73 w 163"/>
                <a:gd name="T49" fmla="*/ 154 h 200"/>
                <a:gd name="T50" fmla="*/ 97 w 163"/>
                <a:gd name="T51" fmla="*/ 167 h 200"/>
                <a:gd name="T52" fmla="*/ 97 w 163"/>
                <a:gd name="T53" fmla="*/ 195 h 200"/>
                <a:gd name="T54" fmla="*/ 114 w 163"/>
                <a:gd name="T55" fmla="*/ 200 h 200"/>
                <a:gd name="T56" fmla="*/ 110 w 163"/>
                <a:gd name="T57" fmla="*/ 179 h 200"/>
                <a:gd name="T58" fmla="*/ 116 w 163"/>
                <a:gd name="T59" fmla="*/ 167 h 200"/>
                <a:gd name="T60" fmla="*/ 113 w 163"/>
                <a:gd name="T61" fmla="*/ 113 h 200"/>
                <a:gd name="T62" fmla="*/ 139 w 163"/>
                <a:gd name="T63" fmla="*/ 117 h 200"/>
                <a:gd name="T64" fmla="*/ 144 w 163"/>
                <a:gd name="T65" fmla="*/ 99 h 200"/>
                <a:gd name="T66" fmla="*/ 158 w 163"/>
                <a:gd name="T67" fmla="*/ 85 h 200"/>
                <a:gd name="T68" fmla="*/ 159 w 163"/>
                <a:gd name="T69" fmla="*/ 74 h 200"/>
                <a:gd name="T70" fmla="*/ 144 w 163"/>
                <a:gd name="T71" fmla="*/ 68 h 200"/>
                <a:gd name="T72" fmla="*/ 142 w 163"/>
                <a:gd name="T73" fmla="*/ 59 h 200"/>
                <a:gd name="T74" fmla="*/ 155 w 163"/>
                <a:gd name="T75" fmla="*/ 51 h 200"/>
                <a:gd name="T76" fmla="*/ 163 w 163"/>
                <a:gd name="T77" fmla="*/ 14 h 200"/>
                <a:gd name="T78" fmla="*/ 68 w 163"/>
                <a:gd name="T79" fmla="*/ 15 h 200"/>
                <a:gd name="T80" fmla="*/ 57 w 163"/>
                <a:gd name="T81" fmla="*/ 37 h 200"/>
                <a:gd name="T82" fmla="*/ 65 w 163"/>
                <a:gd name="T83" fmla="*/ 32 h 200"/>
                <a:gd name="T84" fmla="*/ 68 w 163"/>
                <a:gd name="T85" fmla="*/ 15 h 200"/>
                <a:gd name="T86" fmla="*/ 6 w 163"/>
                <a:gd name="T87" fmla="*/ 142 h 200"/>
                <a:gd name="T88" fmla="*/ 6 w 163"/>
                <a:gd name="T89" fmla="*/ 150 h 200"/>
                <a:gd name="T90" fmla="*/ 11 w 163"/>
                <a:gd name="T91" fmla="*/ 147 h 200"/>
                <a:gd name="T92" fmla="*/ 6 w 163"/>
                <a:gd name="T93" fmla="*/ 14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3" h="200">
                  <a:moveTo>
                    <a:pt x="163" y="14"/>
                  </a:moveTo>
                  <a:lnTo>
                    <a:pt x="146" y="0"/>
                  </a:lnTo>
                  <a:lnTo>
                    <a:pt x="107" y="3"/>
                  </a:lnTo>
                  <a:lnTo>
                    <a:pt x="90" y="15"/>
                  </a:lnTo>
                  <a:lnTo>
                    <a:pt x="87" y="39"/>
                  </a:lnTo>
                  <a:lnTo>
                    <a:pt x="97" y="45"/>
                  </a:lnTo>
                  <a:lnTo>
                    <a:pt x="91" y="63"/>
                  </a:lnTo>
                  <a:lnTo>
                    <a:pt x="83" y="70"/>
                  </a:lnTo>
                  <a:lnTo>
                    <a:pt x="87" y="87"/>
                  </a:lnTo>
                  <a:lnTo>
                    <a:pt x="70" y="78"/>
                  </a:lnTo>
                  <a:lnTo>
                    <a:pt x="70" y="62"/>
                  </a:lnTo>
                  <a:lnTo>
                    <a:pt x="79" y="54"/>
                  </a:lnTo>
                  <a:lnTo>
                    <a:pt x="70" y="40"/>
                  </a:lnTo>
                  <a:lnTo>
                    <a:pt x="62" y="43"/>
                  </a:lnTo>
                  <a:lnTo>
                    <a:pt x="51" y="88"/>
                  </a:lnTo>
                  <a:lnTo>
                    <a:pt x="31" y="116"/>
                  </a:lnTo>
                  <a:lnTo>
                    <a:pt x="32" y="122"/>
                  </a:lnTo>
                  <a:lnTo>
                    <a:pt x="36" y="127"/>
                  </a:lnTo>
                  <a:lnTo>
                    <a:pt x="65" y="129"/>
                  </a:lnTo>
                  <a:lnTo>
                    <a:pt x="19" y="144"/>
                  </a:lnTo>
                  <a:lnTo>
                    <a:pt x="15" y="150"/>
                  </a:lnTo>
                  <a:lnTo>
                    <a:pt x="0" y="156"/>
                  </a:lnTo>
                  <a:lnTo>
                    <a:pt x="14" y="164"/>
                  </a:lnTo>
                  <a:lnTo>
                    <a:pt x="53" y="149"/>
                  </a:lnTo>
                  <a:lnTo>
                    <a:pt x="73" y="154"/>
                  </a:lnTo>
                  <a:lnTo>
                    <a:pt x="97" y="167"/>
                  </a:lnTo>
                  <a:lnTo>
                    <a:pt x="97" y="195"/>
                  </a:lnTo>
                  <a:lnTo>
                    <a:pt x="114" y="200"/>
                  </a:lnTo>
                  <a:lnTo>
                    <a:pt x="110" y="179"/>
                  </a:lnTo>
                  <a:lnTo>
                    <a:pt x="116" y="167"/>
                  </a:lnTo>
                  <a:lnTo>
                    <a:pt x="113" y="113"/>
                  </a:lnTo>
                  <a:lnTo>
                    <a:pt x="139" y="117"/>
                  </a:lnTo>
                  <a:lnTo>
                    <a:pt x="144" y="99"/>
                  </a:lnTo>
                  <a:lnTo>
                    <a:pt x="158" y="85"/>
                  </a:lnTo>
                  <a:lnTo>
                    <a:pt x="159" y="74"/>
                  </a:lnTo>
                  <a:lnTo>
                    <a:pt x="144" y="68"/>
                  </a:lnTo>
                  <a:lnTo>
                    <a:pt x="142" y="59"/>
                  </a:lnTo>
                  <a:lnTo>
                    <a:pt x="155" y="51"/>
                  </a:lnTo>
                  <a:lnTo>
                    <a:pt x="163" y="14"/>
                  </a:lnTo>
                  <a:close/>
                  <a:moveTo>
                    <a:pt x="68" y="15"/>
                  </a:moveTo>
                  <a:lnTo>
                    <a:pt x="57" y="37"/>
                  </a:lnTo>
                  <a:lnTo>
                    <a:pt x="65" y="32"/>
                  </a:lnTo>
                  <a:lnTo>
                    <a:pt x="68" y="15"/>
                  </a:lnTo>
                  <a:close/>
                  <a:moveTo>
                    <a:pt x="6" y="142"/>
                  </a:moveTo>
                  <a:lnTo>
                    <a:pt x="6" y="150"/>
                  </a:lnTo>
                  <a:lnTo>
                    <a:pt x="11" y="147"/>
                  </a:lnTo>
                  <a:lnTo>
                    <a:pt x="6" y="142"/>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54" name="Freeform 157">
              <a:extLst>
                <a:ext uri="{FF2B5EF4-FFF2-40B4-BE49-F238E27FC236}">
                  <a16:creationId xmlns:a16="http://schemas.microsoft.com/office/drawing/2014/main" id="{332698EE-4691-F149-86DE-0795198A2CFD}"/>
                </a:ext>
              </a:extLst>
            </p:cNvPr>
            <p:cNvSpPr>
              <a:spLocks noChangeAspect="1" noEditPoints="1"/>
            </p:cNvSpPr>
            <p:nvPr/>
          </p:nvSpPr>
          <p:spPr bwMode="gray">
            <a:xfrm>
              <a:off x="4431730" y="2950674"/>
              <a:ext cx="302018" cy="270453"/>
            </a:xfrm>
            <a:custGeom>
              <a:avLst/>
              <a:gdLst>
                <a:gd name="T0" fmla="*/ 82 w 619"/>
                <a:gd name="T1" fmla="*/ 370 h 459"/>
                <a:gd name="T2" fmla="*/ 95 w 619"/>
                <a:gd name="T3" fmla="*/ 316 h 459"/>
                <a:gd name="T4" fmla="*/ 90 w 619"/>
                <a:gd name="T5" fmla="*/ 254 h 459"/>
                <a:gd name="T6" fmla="*/ 108 w 619"/>
                <a:gd name="T7" fmla="*/ 213 h 459"/>
                <a:gd name="T8" fmla="*/ 135 w 619"/>
                <a:gd name="T9" fmla="*/ 151 h 459"/>
                <a:gd name="T10" fmla="*/ 130 w 619"/>
                <a:gd name="T11" fmla="*/ 117 h 459"/>
                <a:gd name="T12" fmla="*/ 54 w 619"/>
                <a:gd name="T13" fmla="*/ 113 h 459"/>
                <a:gd name="T14" fmla="*/ 28 w 619"/>
                <a:gd name="T15" fmla="*/ 112 h 459"/>
                <a:gd name="T16" fmla="*/ 20 w 619"/>
                <a:gd name="T17" fmla="*/ 109 h 459"/>
                <a:gd name="T18" fmla="*/ 22 w 619"/>
                <a:gd name="T19" fmla="*/ 92 h 459"/>
                <a:gd name="T20" fmla="*/ 17 w 619"/>
                <a:gd name="T21" fmla="*/ 81 h 459"/>
                <a:gd name="T22" fmla="*/ 11 w 619"/>
                <a:gd name="T23" fmla="*/ 66 h 459"/>
                <a:gd name="T24" fmla="*/ 0 w 619"/>
                <a:gd name="T25" fmla="*/ 47 h 459"/>
                <a:gd name="T26" fmla="*/ 39 w 619"/>
                <a:gd name="T27" fmla="*/ 27 h 459"/>
                <a:gd name="T28" fmla="*/ 70 w 619"/>
                <a:gd name="T29" fmla="*/ 0 h 459"/>
                <a:gd name="T30" fmla="*/ 150 w 619"/>
                <a:gd name="T31" fmla="*/ 7 h 459"/>
                <a:gd name="T32" fmla="*/ 257 w 619"/>
                <a:gd name="T33" fmla="*/ 16 h 459"/>
                <a:gd name="T34" fmla="*/ 362 w 619"/>
                <a:gd name="T35" fmla="*/ 42 h 459"/>
                <a:gd name="T36" fmla="*/ 444 w 619"/>
                <a:gd name="T37" fmla="*/ 69 h 459"/>
                <a:gd name="T38" fmla="*/ 484 w 619"/>
                <a:gd name="T39" fmla="*/ 73 h 459"/>
                <a:gd name="T40" fmla="*/ 500 w 619"/>
                <a:gd name="T41" fmla="*/ 78 h 459"/>
                <a:gd name="T42" fmla="*/ 567 w 619"/>
                <a:gd name="T43" fmla="*/ 84 h 459"/>
                <a:gd name="T44" fmla="*/ 569 w 619"/>
                <a:gd name="T45" fmla="*/ 96 h 459"/>
                <a:gd name="T46" fmla="*/ 565 w 619"/>
                <a:gd name="T47" fmla="*/ 121 h 459"/>
                <a:gd name="T48" fmla="*/ 472 w 619"/>
                <a:gd name="T49" fmla="*/ 171 h 459"/>
                <a:gd name="T50" fmla="*/ 416 w 619"/>
                <a:gd name="T51" fmla="*/ 253 h 459"/>
                <a:gd name="T52" fmla="*/ 416 w 619"/>
                <a:gd name="T53" fmla="*/ 290 h 459"/>
                <a:gd name="T54" fmla="*/ 430 w 619"/>
                <a:gd name="T55" fmla="*/ 310 h 459"/>
                <a:gd name="T56" fmla="*/ 393 w 619"/>
                <a:gd name="T57" fmla="*/ 358 h 459"/>
                <a:gd name="T58" fmla="*/ 365 w 619"/>
                <a:gd name="T59" fmla="*/ 374 h 459"/>
                <a:gd name="T60" fmla="*/ 335 w 619"/>
                <a:gd name="T61" fmla="*/ 418 h 459"/>
                <a:gd name="T62" fmla="*/ 217 w 619"/>
                <a:gd name="T63" fmla="*/ 434 h 459"/>
                <a:gd name="T64" fmla="*/ 176 w 619"/>
                <a:gd name="T65" fmla="*/ 459 h 459"/>
                <a:gd name="T66" fmla="*/ 135 w 619"/>
                <a:gd name="T67" fmla="*/ 409 h 459"/>
                <a:gd name="T68" fmla="*/ 105 w 619"/>
                <a:gd name="T69" fmla="*/ 392 h 459"/>
                <a:gd name="T70" fmla="*/ 618 w 619"/>
                <a:gd name="T71" fmla="*/ 228 h 459"/>
                <a:gd name="T72" fmla="*/ 601 w 619"/>
                <a:gd name="T73" fmla="*/ 230 h 459"/>
                <a:gd name="T74" fmla="*/ 571 w 619"/>
                <a:gd name="T75" fmla="*/ 234 h 459"/>
                <a:gd name="T76" fmla="*/ 580 w 619"/>
                <a:gd name="T77" fmla="*/ 250 h 459"/>
                <a:gd name="T78" fmla="*/ 551 w 619"/>
                <a:gd name="T79" fmla="*/ 257 h 459"/>
                <a:gd name="T80" fmla="*/ 535 w 619"/>
                <a:gd name="T81" fmla="*/ 254 h 459"/>
                <a:gd name="T82" fmla="*/ 571 w 619"/>
                <a:gd name="T83" fmla="*/ 234 h 459"/>
                <a:gd name="T84" fmla="*/ 496 w 619"/>
                <a:gd name="T85" fmla="*/ 290 h 459"/>
                <a:gd name="T86" fmla="*/ 483 w 619"/>
                <a:gd name="T87" fmla="*/ 295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19" h="459">
                  <a:moveTo>
                    <a:pt x="87" y="394"/>
                  </a:moveTo>
                  <a:lnTo>
                    <a:pt x="82" y="370"/>
                  </a:lnTo>
                  <a:lnTo>
                    <a:pt x="107" y="345"/>
                  </a:lnTo>
                  <a:lnTo>
                    <a:pt x="95" y="316"/>
                  </a:lnTo>
                  <a:lnTo>
                    <a:pt x="104" y="286"/>
                  </a:lnTo>
                  <a:lnTo>
                    <a:pt x="90" y="254"/>
                  </a:lnTo>
                  <a:lnTo>
                    <a:pt x="113" y="236"/>
                  </a:lnTo>
                  <a:lnTo>
                    <a:pt x="108" y="213"/>
                  </a:lnTo>
                  <a:lnTo>
                    <a:pt x="116" y="169"/>
                  </a:lnTo>
                  <a:lnTo>
                    <a:pt x="135" y="151"/>
                  </a:lnTo>
                  <a:lnTo>
                    <a:pt x="141" y="132"/>
                  </a:lnTo>
                  <a:lnTo>
                    <a:pt x="130" y="117"/>
                  </a:lnTo>
                  <a:lnTo>
                    <a:pt x="61" y="118"/>
                  </a:lnTo>
                  <a:lnTo>
                    <a:pt x="54" y="113"/>
                  </a:lnTo>
                  <a:lnTo>
                    <a:pt x="54" y="103"/>
                  </a:lnTo>
                  <a:lnTo>
                    <a:pt x="28" y="112"/>
                  </a:lnTo>
                  <a:lnTo>
                    <a:pt x="22" y="120"/>
                  </a:lnTo>
                  <a:lnTo>
                    <a:pt x="20" y="109"/>
                  </a:lnTo>
                  <a:lnTo>
                    <a:pt x="28" y="90"/>
                  </a:lnTo>
                  <a:lnTo>
                    <a:pt x="22" y="92"/>
                  </a:lnTo>
                  <a:lnTo>
                    <a:pt x="24" y="84"/>
                  </a:lnTo>
                  <a:lnTo>
                    <a:pt x="17" y="81"/>
                  </a:lnTo>
                  <a:lnTo>
                    <a:pt x="22" y="69"/>
                  </a:lnTo>
                  <a:lnTo>
                    <a:pt x="11" y="66"/>
                  </a:lnTo>
                  <a:lnTo>
                    <a:pt x="13" y="59"/>
                  </a:lnTo>
                  <a:lnTo>
                    <a:pt x="0" y="47"/>
                  </a:lnTo>
                  <a:lnTo>
                    <a:pt x="13" y="30"/>
                  </a:lnTo>
                  <a:lnTo>
                    <a:pt x="39" y="27"/>
                  </a:lnTo>
                  <a:lnTo>
                    <a:pt x="51" y="5"/>
                  </a:lnTo>
                  <a:lnTo>
                    <a:pt x="70" y="0"/>
                  </a:lnTo>
                  <a:lnTo>
                    <a:pt x="108" y="12"/>
                  </a:lnTo>
                  <a:lnTo>
                    <a:pt x="150" y="7"/>
                  </a:lnTo>
                  <a:lnTo>
                    <a:pt x="215" y="19"/>
                  </a:lnTo>
                  <a:lnTo>
                    <a:pt x="257" y="16"/>
                  </a:lnTo>
                  <a:lnTo>
                    <a:pt x="342" y="24"/>
                  </a:lnTo>
                  <a:lnTo>
                    <a:pt x="362" y="42"/>
                  </a:lnTo>
                  <a:lnTo>
                    <a:pt x="395" y="58"/>
                  </a:lnTo>
                  <a:lnTo>
                    <a:pt x="444" y="69"/>
                  </a:lnTo>
                  <a:lnTo>
                    <a:pt x="466" y="61"/>
                  </a:lnTo>
                  <a:lnTo>
                    <a:pt x="484" y="73"/>
                  </a:lnTo>
                  <a:lnTo>
                    <a:pt x="492" y="83"/>
                  </a:lnTo>
                  <a:lnTo>
                    <a:pt x="500" y="78"/>
                  </a:lnTo>
                  <a:lnTo>
                    <a:pt x="517" y="87"/>
                  </a:lnTo>
                  <a:lnTo>
                    <a:pt x="567" y="84"/>
                  </a:lnTo>
                  <a:lnTo>
                    <a:pt x="576" y="93"/>
                  </a:lnTo>
                  <a:lnTo>
                    <a:pt x="569" y="96"/>
                  </a:lnTo>
                  <a:lnTo>
                    <a:pt x="573" y="112"/>
                  </a:lnTo>
                  <a:lnTo>
                    <a:pt x="565" y="121"/>
                  </a:lnTo>
                  <a:lnTo>
                    <a:pt x="522" y="152"/>
                  </a:lnTo>
                  <a:lnTo>
                    <a:pt x="472" y="171"/>
                  </a:lnTo>
                  <a:lnTo>
                    <a:pt x="463" y="183"/>
                  </a:lnTo>
                  <a:lnTo>
                    <a:pt x="416" y="253"/>
                  </a:lnTo>
                  <a:lnTo>
                    <a:pt x="410" y="267"/>
                  </a:lnTo>
                  <a:lnTo>
                    <a:pt x="416" y="290"/>
                  </a:lnTo>
                  <a:lnTo>
                    <a:pt x="433" y="303"/>
                  </a:lnTo>
                  <a:lnTo>
                    <a:pt x="430" y="310"/>
                  </a:lnTo>
                  <a:lnTo>
                    <a:pt x="406" y="330"/>
                  </a:lnTo>
                  <a:lnTo>
                    <a:pt x="393" y="358"/>
                  </a:lnTo>
                  <a:lnTo>
                    <a:pt x="391" y="370"/>
                  </a:lnTo>
                  <a:lnTo>
                    <a:pt x="365" y="374"/>
                  </a:lnTo>
                  <a:lnTo>
                    <a:pt x="348" y="389"/>
                  </a:lnTo>
                  <a:lnTo>
                    <a:pt x="335" y="418"/>
                  </a:lnTo>
                  <a:lnTo>
                    <a:pt x="226" y="423"/>
                  </a:lnTo>
                  <a:lnTo>
                    <a:pt x="217" y="434"/>
                  </a:lnTo>
                  <a:lnTo>
                    <a:pt x="197" y="438"/>
                  </a:lnTo>
                  <a:lnTo>
                    <a:pt x="176" y="459"/>
                  </a:lnTo>
                  <a:lnTo>
                    <a:pt x="152" y="448"/>
                  </a:lnTo>
                  <a:lnTo>
                    <a:pt x="135" y="409"/>
                  </a:lnTo>
                  <a:lnTo>
                    <a:pt x="124" y="401"/>
                  </a:lnTo>
                  <a:lnTo>
                    <a:pt x="105" y="392"/>
                  </a:lnTo>
                  <a:lnTo>
                    <a:pt x="87" y="394"/>
                  </a:lnTo>
                  <a:close/>
                  <a:moveTo>
                    <a:pt x="618" y="228"/>
                  </a:moveTo>
                  <a:lnTo>
                    <a:pt x="619" y="239"/>
                  </a:lnTo>
                  <a:lnTo>
                    <a:pt x="601" y="230"/>
                  </a:lnTo>
                  <a:lnTo>
                    <a:pt x="618" y="228"/>
                  </a:lnTo>
                  <a:close/>
                  <a:moveTo>
                    <a:pt x="571" y="234"/>
                  </a:moveTo>
                  <a:lnTo>
                    <a:pt x="569" y="244"/>
                  </a:lnTo>
                  <a:lnTo>
                    <a:pt x="580" y="250"/>
                  </a:lnTo>
                  <a:lnTo>
                    <a:pt x="567" y="273"/>
                  </a:lnTo>
                  <a:lnTo>
                    <a:pt x="551" y="257"/>
                  </a:lnTo>
                  <a:lnTo>
                    <a:pt x="540" y="261"/>
                  </a:lnTo>
                  <a:lnTo>
                    <a:pt x="535" y="254"/>
                  </a:lnTo>
                  <a:lnTo>
                    <a:pt x="543" y="245"/>
                  </a:lnTo>
                  <a:lnTo>
                    <a:pt x="571" y="234"/>
                  </a:lnTo>
                  <a:close/>
                  <a:moveTo>
                    <a:pt x="492" y="282"/>
                  </a:moveTo>
                  <a:lnTo>
                    <a:pt x="496" y="290"/>
                  </a:lnTo>
                  <a:lnTo>
                    <a:pt x="491" y="295"/>
                  </a:lnTo>
                  <a:lnTo>
                    <a:pt x="483" y="295"/>
                  </a:lnTo>
                  <a:lnTo>
                    <a:pt x="492" y="282"/>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155" name="Freeform 158">
              <a:extLst>
                <a:ext uri="{FF2B5EF4-FFF2-40B4-BE49-F238E27FC236}">
                  <a16:creationId xmlns:a16="http://schemas.microsoft.com/office/drawing/2014/main" id="{98EBEB74-4D38-2B47-AAAD-A1D9A810B964}"/>
                </a:ext>
              </a:extLst>
            </p:cNvPr>
            <p:cNvSpPr>
              <a:spLocks noChangeAspect="1" noEditPoints="1"/>
            </p:cNvSpPr>
            <p:nvPr/>
          </p:nvSpPr>
          <p:spPr bwMode="gray">
            <a:xfrm>
              <a:off x="4786206" y="2824081"/>
              <a:ext cx="263870" cy="375947"/>
            </a:xfrm>
            <a:custGeom>
              <a:avLst/>
              <a:gdLst>
                <a:gd name="T0" fmla="*/ 68 w 544"/>
                <a:gd name="T1" fmla="*/ 206 h 642"/>
                <a:gd name="T2" fmla="*/ 97 w 544"/>
                <a:gd name="T3" fmla="*/ 176 h 642"/>
                <a:gd name="T4" fmla="*/ 160 w 544"/>
                <a:gd name="T5" fmla="*/ 204 h 642"/>
                <a:gd name="T6" fmla="*/ 203 w 544"/>
                <a:gd name="T7" fmla="*/ 288 h 642"/>
                <a:gd name="T8" fmla="*/ 219 w 544"/>
                <a:gd name="T9" fmla="*/ 298 h 642"/>
                <a:gd name="T10" fmla="*/ 237 w 544"/>
                <a:gd name="T11" fmla="*/ 322 h 642"/>
                <a:gd name="T12" fmla="*/ 293 w 544"/>
                <a:gd name="T13" fmla="*/ 371 h 642"/>
                <a:gd name="T14" fmla="*/ 340 w 544"/>
                <a:gd name="T15" fmla="*/ 395 h 642"/>
                <a:gd name="T16" fmla="*/ 354 w 544"/>
                <a:gd name="T17" fmla="*/ 410 h 642"/>
                <a:gd name="T18" fmla="*/ 384 w 544"/>
                <a:gd name="T19" fmla="*/ 436 h 642"/>
                <a:gd name="T20" fmla="*/ 411 w 544"/>
                <a:gd name="T21" fmla="*/ 442 h 642"/>
                <a:gd name="T22" fmla="*/ 422 w 544"/>
                <a:gd name="T23" fmla="*/ 527 h 642"/>
                <a:gd name="T24" fmla="*/ 415 w 544"/>
                <a:gd name="T25" fmla="*/ 554 h 642"/>
                <a:gd name="T26" fmla="*/ 431 w 544"/>
                <a:gd name="T27" fmla="*/ 571 h 642"/>
                <a:gd name="T28" fmla="*/ 454 w 544"/>
                <a:gd name="T29" fmla="*/ 544 h 642"/>
                <a:gd name="T30" fmla="*/ 479 w 544"/>
                <a:gd name="T31" fmla="*/ 505 h 642"/>
                <a:gd name="T32" fmla="*/ 452 w 544"/>
                <a:gd name="T33" fmla="*/ 463 h 642"/>
                <a:gd name="T34" fmla="*/ 464 w 544"/>
                <a:gd name="T35" fmla="*/ 429 h 642"/>
                <a:gd name="T36" fmla="*/ 518 w 544"/>
                <a:gd name="T37" fmla="*/ 433 h 642"/>
                <a:gd name="T38" fmla="*/ 536 w 544"/>
                <a:gd name="T39" fmla="*/ 456 h 642"/>
                <a:gd name="T40" fmla="*/ 518 w 544"/>
                <a:gd name="T41" fmla="*/ 404 h 642"/>
                <a:gd name="T42" fmla="*/ 423 w 544"/>
                <a:gd name="T43" fmla="*/ 353 h 642"/>
                <a:gd name="T44" fmla="*/ 435 w 544"/>
                <a:gd name="T45" fmla="*/ 334 h 642"/>
                <a:gd name="T46" fmla="*/ 392 w 544"/>
                <a:gd name="T47" fmla="*/ 331 h 642"/>
                <a:gd name="T48" fmla="*/ 369 w 544"/>
                <a:gd name="T49" fmla="*/ 319 h 642"/>
                <a:gd name="T50" fmla="*/ 315 w 544"/>
                <a:gd name="T51" fmla="*/ 226 h 642"/>
                <a:gd name="T52" fmla="*/ 258 w 544"/>
                <a:gd name="T53" fmla="*/ 178 h 642"/>
                <a:gd name="T54" fmla="*/ 266 w 544"/>
                <a:gd name="T55" fmla="*/ 144 h 642"/>
                <a:gd name="T56" fmla="*/ 258 w 544"/>
                <a:gd name="T57" fmla="*/ 131 h 642"/>
                <a:gd name="T58" fmla="*/ 301 w 544"/>
                <a:gd name="T59" fmla="*/ 91 h 642"/>
                <a:gd name="T60" fmla="*/ 320 w 544"/>
                <a:gd name="T61" fmla="*/ 104 h 642"/>
                <a:gd name="T62" fmla="*/ 317 w 544"/>
                <a:gd name="T63" fmla="*/ 83 h 642"/>
                <a:gd name="T64" fmla="*/ 315 w 544"/>
                <a:gd name="T65" fmla="*/ 58 h 642"/>
                <a:gd name="T66" fmla="*/ 320 w 544"/>
                <a:gd name="T67" fmla="*/ 40 h 642"/>
                <a:gd name="T68" fmla="*/ 254 w 544"/>
                <a:gd name="T69" fmla="*/ 19 h 642"/>
                <a:gd name="T70" fmla="*/ 185 w 544"/>
                <a:gd name="T71" fmla="*/ 19 h 642"/>
                <a:gd name="T72" fmla="*/ 168 w 544"/>
                <a:gd name="T73" fmla="*/ 29 h 642"/>
                <a:gd name="T74" fmla="*/ 156 w 544"/>
                <a:gd name="T75" fmla="*/ 53 h 642"/>
                <a:gd name="T76" fmla="*/ 103 w 544"/>
                <a:gd name="T77" fmla="*/ 79 h 642"/>
                <a:gd name="T78" fmla="*/ 78 w 544"/>
                <a:gd name="T79" fmla="*/ 45 h 642"/>
                <a:gd name="T80" fmla="*/ 12 w 544"/>
                <a:gd name="T81" fmla="*/ 82 h 642"/>
                <a:gd name="T82" fmla="*/ 15 w 544"/>
                <a:gd name="T83" fmla="*/ 119 h 642"/>
                <a:gd name="T84" fmla="*/ 0 w 544"/>
                <a:gd name="T85" fmla="*/ 142 h 642"/>
                <a:gd name="T86" fmla="*/ 9 w 544"/>
                <a:gd name="T87" fmla="*/ 173 h 642"/>
                <a:gd name="T88" fmla="*/ 38 w 544"/>
                <a:gd name="T89" fmla="*/ 192 h 642"/>
                <a:gd name="T90" fmla="*/ 112 w 544"/>
                <a:gd name="T91" fmla="*/ 370 h 642"/>
                <a:gd name="T92" fmla="*/ 137 w 544"/>
                <a:gd name="T93" fmla="*/ 405 h 642"/>
                <a:gd name="T94" fmla="*/ 129 w 544"/>
                <a:gd name="T95" fmla="*/ 498 h 642"/>
                <a:gd name="T96" fmla="*/ 110 w 544"/>
                <a:gd name="T97" fmla="*/ 509 h 642"/>
                <a:gd name="T98" fmla="*/ 81 w 544"/>
                <a:gd name="T99" fmla="*/ 490 h 642"/>
                <a:gd name="T100" fmla="*/ 85 w 544"/>
                <a:gd name="T101" fmla="*/ 455 h 642"/>
                <a:gd name="T102" fmla="*/ 69 w 544"/>
                <a:gd name="T103" fmla="*/ 408 h 642"/>
                <a:gd name="T104" fmla="*/ 86 w 544"/>
                <a:gd name="T105" fmla="*/ 395 h 642"/>
                <a:gd name="T106" fmla="*/ 411 w 544"/>
                <a:gd name="T107" fmla="*/ 549 h 642"/>
                <a:gd name="T108" fmla="*/ 395 w 544"/>
                <a:gd name="T109" fmla="*/ 622 h 642"/>
                <a:gd name="T110" fmla="*/ 366 w 544"/>
                <a:gd name="T111" fmla="*/ 639 h 642"/>
                <a:gd name="T112" fmla="*/ 275 w 544"/>
                <a:gd name="T113" fmla="*/ 589 h 642"/>
                <a:gd name="T114" fmla="*/ 276 w 544"/>
                <a:gd name="T115" fmla="*/ 555 h 642"/>
                <a:gd name="T116" fmla="*/ 301 w 544"/>
                <a:gd name="T117" fmla="*/ 554 h 642"/>
                <a:gd name="T118" fmla="*/ 411 w 544"/>
                <a:gd name="T119" fmla="*/ 549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4" h="642">
                  <a:moveTo>
                    <a:pt x="39" y="212"/>
                  </a:moveTo>
                  <a:lnTo>
                    <a:pt x="68" y="206"/>
                  </a:lnTo>
                  <a:lnTo>
                    <a:pt x="81" y="184"/>
                  </a:lnTo>
                  <a:lnTo>
                    <a:pt x="97" y="176"/>
                  </a:lnTo>
                  <a:lnTo>
                    <a:pt x="112" y="178"/>
                  </a:lnTo>
                  <a:lnTo>
                    <a:pt x="160" y="204"/>
                  </a:lnTo>
                  <a:lnTo>
                    <a:pt x="177" y="261"/>
                  </a:lnTo>
                  <a:lnTo>
                    <a:pt x="203" y="288"/>
                  </a:lnTo>
                  <a:lnTo>
                    <a:pt x="205" y="302"/>
                  </a:lnTo>
                  <a:lnTo>
                    <a:pt x="219" y="298"/>
                  </a:lnTo>
                  <a:lnTo>
                    <a:pt x="227" y="305"/>
                  </a:lnTo>
                  <a:lnTo>
                    <a:pt x="237" y="322"/>
                  </a:lnTo>
                  <a:lnTo>
                    <a:pt x="245" y="323"/>
                  </a:lnTo>
                  <a:lnTo>
                    <a:pt x="293" y="371"/>
                  </a:lnTo>
                  <a:lnTo>
                    <a:pt x="326" y="373"/>
                  </a:lnTo>
                  <a:lnTo>
                    <a:pt x="340" y="395"/>
                  </a:lnTo>
                  <a:lnTo>
                    <a:pt x="354" y="402"/>
                  </a:lnTo>
                  <a:lnTo>
                    <a:pt x="354" y="410"/>
                  </a:lnTo>
                  <a:lnTo>
                    <a:pt x="374" y="408"/>
                  </a:lnTo>
                  <a:lnTo>
                    <a:pt x="384" y="436"/>
                  </a:lnTo>
                  <a:lnTo>
                    <a:pt x="401" y="449"/>
                  </a:lnTo>
                  <a:lnTo>
                    <a:pt x="411" y="442"/>
                  </a:lnTo>
                  <a:lnTo>
                    <a:pt x="439" y="517"/>
                  </a:lnTo>
                  <a:lnTo>
                    <a:pt x="422" y="527"/>
                  </a:lnTo>
                  <a:lnTo>
                    <a:pt x="423" y="537"/>
                  </a:lnTo>
                  <a:lnTo>
                    <a:pt x="415" y="554"/>
                  </a:lnTo>
                  <a:lnTo>
                    <a:pt x="417" y="571"/>
                  </a:lnTo>
                  <a:lnTo>
                    <a:pt x="431" y="571"/>
                  </a:lnTo>
                  <a:lnTo>
                    <a:pt x="442" y="551"/>
                  </a:lnTo>
                  <a:lnTo>
                    <a:pt x="454" y="544"/>
                  </a:lnTo>
                  <a:lnTo>
                    <a:pt x="459" y="515"/>
                  </a:lnTo>
                  <a:lnTo>
                    <a:pt x="479" y="505"/>
                  </a:lnTo>
                  <a:lnTo>
                    <a:pt x="477" y="481"/>
                  </a:lnTo>
                  <a:lnTo>
                    <a:pt x="452" y="463"/>
                  </a:lnTo>
                  <a:lnTo>
                    <a:pt x="457" y="439"/>
                  </a:lnTo>
                  <a:lnTo>
                    <a:pt x="464" y="429"/>
                  </a:lnTo>
                  <a:lnTo>
                    <a:pt x="482" y="415"/>
                  </a:lnTo>
                  <a:lnTo>
                    <a:pt x="518" y="433"/>
                  </a:lnTo>
                  <a:lnTo>
                    <a:pt x="527" y="450"/>
                  </a:lnTo>
                  <a:lnTo>
                    <a:pt x="536" y="456"/>
                  </a:lnTo>
                  <a:lnTo>
                    <a:pt x="544" y="441"/>
                  </a:lnTo>
                  <a:lnTo>
                    <a:pt x="518" y="404"/>
                  </a:lnTo>
                  <a:lnTo>
                    <a:pt x="426" y="359"/>
                  </a:lnTo>
                  <a:lnTo>
                    <a:pt x="423" y="353"/>
                  </a:lnTo>
                  <a:lnTo>
                    <a:pt x="435" y="342"/>
                  </a:lnTo>
                  <a:lnTo>
                    <a:pt x="435" y="334"/>
                  </a:lnTo>
                  <a:lnTo>
                    <a:pt x="431" y="328"/>
                  </a:lnTo>
                  <a:lnTo>
                    <a:pt x="392" y="331"/>
                  </a:lnTo>
                  <a:lnTo>
                    <a:pt x="391" y="337"/>
                  </a:lnTo>
                  <a:lnTo>
                    <a:pt x="369" y="319"/>
                  </a:lnTo>
                  <a:lnTo>
                    <a:pt x="340" y="288"/>
                  </a:lnTo>
                  <a:lnTo>
                    <a:pt x="315" y="226"/>
                  </a:lnTo>
                  <a:lnTo>
                    <a:pt x="264" y="193"/>
                  </a:lnTo>
                  <a:lnTo>
                    <a:pt x="258" y="178"/>
                  </a:lnTo>
                  <a:lnTo>
                    <a:pt x="258" y="163"/>
                  </a:lnTo>
                  <a:lnTo>
                    <a:pt x="266" y="144"/>
                  </a:lnTo>
                  <a:lnTo>
                    <a:pt x="266" y="139"/>
                  </a:lnTo>
                  <a:lnTo>
                    <a:pt x="258" y="131"/>
                  </a:lnTo>
                  <a:lnTo>
                    <a:pt x="256" y="113"/>
                  </a:lnTo>
                  <a:lnTo>
                    <a:pt x="301" y="91"/>
                  </a:lnTo>
                  <a:lnTo>
                    <a:pt x="321" y="90"/>
                  </a:lnTo>
                  <a:lnTo>
                    <a:pt x="320" y="104"/>
                  </a:lnTo>
                  <a:lnTo>
                    <a:pt x="332" y="97"/>
                  </a:lnTo>
                  <a:lnTo>
                    <a:pt x="317" y="83"/>
                  </a:lnTo>
                  <a:lnTo>
                    <a:pt x="313" y="71"/>
                  </a:lnTo>
                  <a:lnTo>
                    <a:pt x="315" y="58"/>
                  </a:lnTo>
                  <a:lnTo>
                    <a:pt x="309" y="58"/>
                  </a:lnTo>
                  <a:lnTo>
                    <a:pt x="320" y="40"/>
                  </a:lnTo>
                  <a:lnTo>
                    <a:pt x="264" y="26"/>
                  </a:lnTo>
                  <a:lnTo>
                    <a:pt x="254" y="19"/>
                  </a:lnTo>
                  <a:lnTo>
                    <a:pt x="247" y="0"/>
                  </a:lnTo>
                  <a:lnTo>
                    <a:pt x="185" y="19"/>
                  </a:lnTo>
                  <a:lnTo>
                    <a:pt x="169" y="15"/>
                  </a:lnTo>
                  <a:lnTo>
                    <a:pt x="168" y="29"/>
                  </a:lnTo>
                  <a:lnTo>
                    <a:pt x="156" y="32"/>
                  </a:lnTo>
                  <a:lnTo>
                    <a:pt x="156" y="53"/>
                  </a:lnTo>
                  <a:lnTo>
                    <a:pt x="118" y="41"/>
                  </a:lnTo>
                  <a:lnTo>
                    <a:pt x="103" y="79"/>
                  </a:lnTo>
                  <a:lnTo>
                    <a:pt x="83" y="62"/>
                  </a:lnTo>
                  <a:lnTo>
                    <a:pt x="78" y="45"/>
                  </a:lnTo>
                  <a:lnTo>
                    <a:pt x="51" y="77"/>
                  </a:lnTo>
                  <a:lnTo>
                    <a:pt x="12" y="82"/>
                  </a:lnTo>
                  <a:lnTo>
                    <a:pt x="4" y="85"/>
                  </a:lnTo>
                  <a:lnTo>
                    <a:pt x="15" y="119"/>
                  </a:lnTo>
                  <a:lnTo>
                    <a:pt x="2" y="133"/>
                  </a:lnTo>
                  <a:lnTo>
                    <a:pt x="0" y="142"/>
                  </a:lnTo>
                  <a:lnTo>
                    <a:pt x="10" y="150"/>
                  </a:lnTo>
                  <a:lnTo>
                    <a:pt x="9" y="173"/>
                  </a:lnTo>
                  <a:lnTo>
                    <a:pt x="17" y="190"/>
                  </a:lnTo>
                  <a:lnTo>
                    <a:pt x="38" y="192"/>
                  </a:lnTo>
                  <a:lnTo>
                    <a:pt x="39" y="212"/>
                  </a:lnTo>
                  <a:close/>
                  <a:moveTo>
                    <a:pt x="112" y="370"/>
                  </a:moveTo>
                  <a:lnTo>
                    <a:pt x="129" y="379"/>
                  </a:lnTo>
                  <a:lnTo>
                    <a:pt x="137" y="405"/>
                  </a:lnTo>
                  <a:lnTo>
                    <a:pt x="135" y="484"/>
                  </a:lnTo>
                  <a:lnTo>
                    <a:pt x="129" y="498"/>
                  </a:lnTo>
                  <a:lnTo>
                    <a:pt x="117" y="495"/>
                  </a:lnTo>
                  <a:lnTo>
                    <a:pt x="110" y="509"/>
                  </a:lnTo>
                  <a:lnTo>
                    <a:pt x="95" y="515"/>
                  </a:lnTo>
                  <a:lnTo>
                    <a:pt x="81" y="490"/>
                  </a:lnTo>
                  <a:lnTo>
                    <a:pt x="78" y="480"/>
                  </a:lnTo>
                  <a:lnTo>
                    <a:pt x="85" y="455"/>
                  </a:lnTo>
                  <a:lnTo>
                    <a:pt x="80" y="422"/>
                  </a:lnTo>
                  <a:lnTo>
                    <a:pt x="69" y="408"/>
                  </a:lnTo>
                  <a:lnTo>
                    <a:pt x="69" y="391"/>
                  </a:lnTo>
                  <a:lnTo>
                    <a:pt x="86" y="395"/>
                  </a:lnTo>
                  <a:lnTo>
                    <a:pt x="112" y="370"/>
                  </a:lnTo>
                  <a:close/>
                  <a:moveTo>
                    <a:pt x="411" y="549"/>
                  </a:moveTo>
                  <a:lnTo>
                    <a:pt x="388" y="600"/>
                  </a:lnTo>
                  <a:lnTo>
                    <a:pt x="395" y="622"/>
                  </a:lnTo>
                  <a:lnTo>
                    <a:pt x="389" y="642"/>
                  </a:lnTo>
                  <a:lnTo>
                    <a:pt x="366" y="639"/>
                  </a:lnTo>
                  <a:lnTo>
                    <a:pt x="351" y="623"/>
                  </a:lnTo>
                  <a:lnTo>
                    <a:pt x="275" y="589"/>
                  </a:lnTo>
                  <a:lnTo>
                    <a:pt x="267" y="571"/>
                  </a:lnTo>
                  <a:lnTo>
                    <a:pt x="276" y="555"/>
                  </a:lnTo>
                  <a:lnTo>
                    <a:pt x="283" y="561"/>
                  </a:lnTo>
                  <a:lnTo>
                    <a:pt x="301" y="554"/>
                  </a:lnTo>
                  <a:lnTo>
                    <a:pt x="324" y="568"/>
                  </a:lnTo>
                  <a:lnTo>
                    <a:pt x="411" y="549"/>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56" name="Freeform 159">
              <a:extLst>
                <a:ext uri="{FF2B5EF4-FFF2-40B4-BE49-F238E27FC236}">
                  <a16:creationId xmlns:a16="http://schemas.microsoft.com/office/drawing/2014/main" id="{4CD71E27-2A4E-D844-8CF6-B0DAD22F6DC3}"/>
                </a:ext>
              </a:extLst>
            </p:cNvPr>
            <p:cNvSpPr>
              <a:spLocks noChangeAspect="1" noEditPoints="1"/>
            </p:cNvSpPr>
            <p:nvPr/>
          </p:nvSpPr>
          <p:spPr bwMode="gray">
            <a:xfrm>
              <a:off x="4531874" y="2659123"/>
              <a:ext cx="317914" cy="379782"/>
            </a:xfrm>
            <a:custGeom>
              <a:avLst/>
              <a:gdLst>
                <a:gd name="T0" fmla="*/ 299 w 654"/>
                <a:gd name="T1" fmla="*/ 15 h 645"/>
                <a:gd name="T2" fmla="*/ 292 w 654"/>
                <a:gd name="T3" fmla="*/ 63 h 645"/>
                <a:gd name="T4" fmla="*/ 231 w 654"/>
                <a:gd name="T5" fmla="*/ 99 h 645"/>
                <a:gd name="T6" fmla="*/ 241 w 654"/>
                <a:gd name="T7" fmla="*/ 119 h 645"/>
                <a:gd name="T8" fmla="*/ 172 w 654"/>
                <a:gd name="T9" fmla="*/ 125 h 645"/>
                <a:gd name="T10" fmla="*/ 161 w 654"/>
                <a:gd name="T11" fmla="*/ 105 h 645"/>
                <a:gd name="T12" fmla="*/ 150 w 654"/>
                <a:gd name="T13" fmla="*/ 169 h 645"/>
                <a:gd name="T14" fmla="*/ 151 w 654"/>
                <a:gd name="T15" fmla="*/ 178 h 645"/>
                <a:gd name="T16" fmla="*/ 100 w 654"/>
                <a:gd name="T17" fmla="*/ 181 h 645"/>
                <a:gd name="T18" fmla="*/ 62 w 654"/>
                <a:gd name="T19" fmla="*/ 162 h 645"/>
                <a:gd name="T20" fmla="*/ 3 w 654"/>
                <a:gd name="T21" fmla="*/ 184 h 645"/>
                <a:gd name="T22" fmla="*/ 17 w 654"/>
                <a:gd name="T23" fmla="*/ 195 h 645"/>
                <a:gd name="T24" fmla="*/ 17 w 654"/>
                <a:gd name="T25" fmla="*/ 213 h 645"/>
                <a:gd name="T26" fmla="*/ 20 w 654"/>
                <a:gd name="T27" fmla="*/ 233 h 645"/>
                <a:gd name="T28" fmla="*/ 73 w 654"/>
                <a:gd name="T29" fmla="*/ 249 h 645"/>
                <a:gd name="T30" fmla="*/ 107 w 654"/>
                <a:gd name="T31" fmla="*/ 267 h 645"/>
                <a:gd name="T32" fmla="*/ 122 w 654"/>
                <a:gd name="T33" fmla="*/ 274 h 645"/>
                <a:gd name="T34" fmla="*/ 139 w 654"/>
                <a:gd name="T35" fmla="*/ 320 h 645"/>
                <a:gd name="T36" fmla="*/ 173 w 654"/>
                <a:gd name="T37" fmla="*/ 360 h 645"/>
                <a:gd name="T38" fmla="*/ 187 w 654"/>
                <a:gd name="T39" fmla="*/ 393 h 645"/>
                <a:gd name="T40" fmla="*/ 175 w 654"/>
                <a:gd name="T41" fmla="*/ 385 h 645"/>
                <a:gd name="T42" fmla="*/ 175 w 654"/>
                <a:gd name="T43" fmla="*/ 441 h 645"/>
                <a:gd name="T44" fmla="*/ 156 w 654"/>
                <a:gd name="T45" fmla="*/ 507 h 645"/>
                <a:gd name="T46" fmla="*/ 136 w 654"/>
                <a:gd name="T47" fmla="*/ 523 h 645"/>
                <a:gd name="T48" fmla="*/ 189 w 654"/>
                <a:gd name="T49" fmla="*/ 557 h 645"/>
                <a:gd name="T50" fmla="*/ 260 w 654"/>
                <a:gd name="T51" fmla="*/ 560 h 645"/>
                <a:gd name="T52" fmla="*/ 288 w 654"/>
                <a:gd name="T53" fmla="*/ 569 h 645"/>
                <a:gd name="T54" fmla="*/ 311 w 654"/>
                <a:gd name="T55" fmla="*/ 586 h 645"/>
                <a:gd name="T56" fmla="*/ 356 w 654"/>
                <a:gd name="T57" fmla="*/ 555 h 645"/>
                <a:gd name="T58" fmla="*/ 402 w 654"/>
                <a:gd name="T59" fmla="*/ 512 h 645"/>
                <a:gd name="T60" fmla="*/ 449 w 654"/>
                <a:gd name="T61" fmla="*/ 521 h 645"/>
                <a:gd name="T62" fmla="*/ 518 w 654"/>
                <a:gd name="T63" fmla="*/ 531 h 645"/>
                <a:gd name="T64" fmla="*/ 561 w 654"/>
                <a:gd name="T65" fmla="*/ 492 h 645"/>
                <a:gd name="T66" fmla="*/ 539 w 654"/>
                <a:gd name="T67" fmla="*/ 470 h 645"/>
                <a:gd name="T68" fmla="*/ 532 w 654"/>
                <a:gd name="T69" fmla="*/ 430 h 645"/>
                <a:gd name="T70" fmla="*/ 524 w 654"/>
                <a:gd name="T71" fmla="*/ 413 h 645"/>
                <a:gd name="T72" fmla="*/ 526 w 654"/>
                <a:gd name="T73" fmla="*/ 365 h 645"/>
                <a:gd name="T74" fmla="*/ 532 w 654"/>
                <a:gd name="T75" fmla="*/ 351 h 645"/>
                <a:gd name="T76" fmla="*/ 524 w 654"/>
                <a:gd name="T77" fmla="*/ 328 h 645"/>
                <a:gd name="T78" fmla="*/ 492 w 654"/>
                <a:gd name="T79" fmla="*/ 343 h 645"/>
                <a:gd name="T80" fmla="*/ 514 w 654"/>
                <a:gd name="T81" fmla="*/ 283 h 645"/>
                <a:gd name="T82" fmla="*/ 531 w 654"/>
                <a:gd name="T83" fmla="*/ 257 h 645"/>
                <a:gd name="T84" fmla="*/ 560 w 654"/>
                <a:gd name="T85" fmla="*/ 245 h 645"/>
                <a:gd name="T86" fmla="*/ 568 w 654"/>
                <a:gd name="T87" fmla="*/ 181 h 645"/>
                <a:gd name="T88" fmla="*/ 522 w 654"/>
                <a:gd name="T89" fmla="*/ 135 h 645"/>
                <a:gd name="T90" fmla="*/ 476 w 654"/>
                <a:gd name="T91" fmla="*/ 108 h 645"/>
                <a:gd name="T92" fmla="*/ 444 w 654"/>
                <a:gd name="T93" fmla="*/ 96 h 645"/>
                <a:gd name="T94" fmla="*/ 427 w 654"/>
                <a:gd name="T95" fmla="*/ 80 h 645"/>
                <a:gd name="T96" fmla="*/ 402 w 654"/>
                <a:gd name="T97" fmla="*/ 54 h 645"/>
                <a:gd name="T98" fmla="*/ 363 w 654"/>
                <a:gd name="T99" fmla="*/ 25 h 645"/>
                <a:gd name="T100" fmla="*/ 342 w 654"/>
                <a:gd name="T101" fmla="*/ 0 h 645"/>
                <a:gd name="T102" fmla="*/ 647 w 654"/>
                <a:gd name="T103" fmla="*/ 544 h 645"/>
                <a:gd name="T104" fmla="*/ 637 w 654"/>
                <a:gd name="T105" fmla="*/ 645 h 645"/>
                <a:gd name="T106" fmla="*/ 610 w 654"/>
                <a:gd name="T107" fmla="*/ 580 h 645"/>
                <a:gd name="T108" fmla="*/ 640 w 654"/>
                <a:gd name="T109" fmla="*/ 558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54" h="645">
                  <a:moveTo>
                    <a:pt x="342" y="0"/>
                  </a:moveTo>
                  <a:lnTo>
                    <a:pt x="299" y="15"/>
                  </a:lnTo>
                  <a:lnTo>
                    <a:pt x="294" y="29"/>
                  </a:lnTo>
                  <a:lnTo>
                    <a:pt x="292" y="63"/>
                  </a:lnTo>
                  <a:lnTo>
                    <a:pt x="269" y="82"/>
                  </a:lnTo>
                  <a:lnTo>
                    <a:pt x="231" y="99"/>
                  </a:lnTo>
                  <a:lnTo>
                    <a:pt x="226" y="114"/>
                  </a:lnTo>
                  <a:lnTo>
                    <a:pt x="241" y="119"/>
                  </a:lnTo>
                  <a:lnTo>
                    <a:pt x="210" y="130"/>
                  </a:lnTo>
                  <a:lnTo>
                    <a:pt x="172" y="125"/>
                  </a:lnTo>
                  <a:lnTo>
                    <a:pt x="161" y="111"/>
                  </a:lnTo>
                  <a:lnTo>
                    <a:pt x="161" y="105"/>
                  </a:lnTo>
                  <a:lnTo>
                    <a:pt x="133" y="101"/>
                  </a:lnTo>
                  <a:lnTo>
                    <a:pt x="150" y="169"/>
                  </a:lnTo>
                  <a:lnTo>
                    <a:pt x="156" y="172"/>
                  </a:lnTo>
                  <a:lnTo>
                    <a:pt x="151" y="178"/>
                  </a:lnTo>
                  <a:lnTo>
                    <a:pt x="136" y="172"/>
                  </a:lnTo>
                  <a:lnTo>
                    <a:pt x="100" y="181"/>
                  </a:lnTo>
                  <a:lnTo>
                    <a:pt x="80" y="162"/>
                  </a:lnTo>
                  <a:lnTo>
                    <a:pt x="62" y="162"/>
                  </a:lnTo>
                  <a:lnTo>
                    <a:pt x="56" y="169"/>
                  </a:lnTo>
                  <a:lnTo>
                    <a:pt x="3" y="184"/>
                  </a:lnTo>
                  <a:lnTo>
                    <a:pt x="0" y="198"/>
                  </a:lnTo>
                  <a:lnTo>
                    <a:pt x="17" y="195"/>
                  </a:lnTo>
                  <a:lnTo>
                    <a:pt x="9" y="204"/>
                  </a:lnTo>
                  <a:lnTo>
                    <a:pt x="17" y="213"/>
                  </a:lnTo>
                  <a:lnTo>
                    <a:pt x="6" y="218"/>
                  </a:lnTo>
                  <a:lnTo>
                    <a:pt x="20" y="233"/>
                  </a:lnTo>
                  <a:lnTo>
                    <a:pt x="37" y="230"/>
                  </a:lnTo>
                  <a:lnTo>
                    <a:pt x="73" y="249"/>
                  </a:lnTo>
                  <a:lnTo>
                    <a:pt x="105" y="252"/>
                  </a:lnTo>
                  <a:lnTo>
                    <a:pt x="107" y="267"/>
                  </a:lnTo>
                  <a:lnTo>
                    <a:pt x="139" y="272"/>
                  </a:lnTo>
                  <a:lnTo>
                    <a:pt x="122" y="274"/>
                  </a:lnTo>
                  <a:lnTo>
                    <a:pt x="125" y="299"/>
                  </a:lnTo>
                  <a:lnTo>
                    <a:pt x="139" y="320"/>
                  </a:lnTo>
                  <a:lnTo>
                    <a:pt x="170" y="334"/>
                  </a:lnTo>
                  <a:lnTo>
                    <a:pt x="173" y="360"/>
                  </a:lnTo>
                  <a:lnTo>
                    <a:pt x="168" y="370"/>
                  </a:lnTo>
                  <a:lnTo>
                    <a:pt x="187" y="393"/>
                  </a:lnTo>
                  <a:lnTo>
                    <a:pt x="189" y="402"/>
                  </a:lnTo>
                  <a:lnTo>
                    <a:pt x="175" y="385"/>
                  </a:lnTo>
                  <a:lnTo>
                    <a:pt x="168" y="435"/>
                  </a:lnTo>
                  <a:lnTo>
                    <a:pt x="175" y="441"/>
                  </a:lnTo>
                  <a:lnTo>
                    <a:pt x="167" y="458"/>
                  </a:lnTo>
                  <a:lnTo>
                    <a:pt x="156" y="507"/>
                  </a:lnTo>
                  <a:lnTo>
                    <a:pt x="153" y="518"/>
                  </a:lnTo>
                  <a:lnTo>
                    <a:pt x="136" y="523"/>
                  </a:lnTo>
                  <a:lnTo>
                    <a:pt x="156" y="541"/>
                  </a:lnTo>
                  <a:lnTo>
                    <a:pt x="189" y="557"/>
                  </a:lnTo>
                  <a:lnTo>
                    <a:pt x="238" y="568"/>
                  </a:lnTo>
                  <a:lnTo>
                    <a:pt x="260" y="560"/>
                  </a:lnTo>
                  <a:lnTo>
                    <a:pt x="278" y="572"/>
                  </a:lnTo>
                  <a:lnTo>
                    <a:pt x="288" y="569"/>
                  </a:lnTo>
                  <a:lnTo>
                    <a:pt x="294" y="577"/>
                  </a:lnTo>
                  <a:lnTo>
                    <a:pt x="311" y="586"/>
                  </a:lnTo>
                  <a:lnTo>
                    <a:pt x="361" y="583"/>
                  </a:lnTo>
                  <a:lnTo>
                    <a:pt x="356" y="555"/>
                  </a:lnTo>
                  <a:lnTo>
                    <a:pt x="365" y="535"/>
                  </a:lnTo>
                  <a:lnTo>
                    <a:pt x="402" y="512"/>
                  </a:lnTo>
                  <a:lnTo>
                    <a:pt x="432" y="523"/>
                  </a:lnTo>
                  <a:lnTo>
                    <a:pt x="449" y="521"/>
                  </a:lnTo>
                  <a:lnTo>
                    <a:pt x="498" y="540"/>
                  </a:lnTo>
                  <a:lnTo>
                    <a:pt x="518" y="531"/>
                  </a:lnTo>
                  <a:lnTo>
                    <a:pt x="544" y="503"/>
                  </a:lnTo>
                  <a:lnTo>
                    <a:pt x="561" y="492"/>
                  </a:lnTo>
                  <a:lnTo>
                    <a:pt x="560" y="472"/>
                  </a:lnTo>
                  <a:lnTo>
                    <a:pt x="539" y="470"/>
                  </a:lnTo>
                  <a:lnTo>
                    <a:pt x="531" y="453"/>
                  </a:lnTo>
                  <a:lnTo>
                    <a:pt x="532" y="430"/>
                  </a:lnTo>
                  <a:lnTo>
                    <a:pt x="522" y="422"/>
                  </a:lnTo>
                  <a:lnTo>
                    <a:pt x="524" y="413"/>
                  </a:lnTo>
                  <a:lnTo>
                    <a:pt x="537" y="399"/>
                  </a:lnTo>
                  <a:lnTo>
                    <a:pt x="526" y="365"/>
                  </a:lnTo>
                  <a:lnTo>
                    <a:pt x="534" y="362"/>
                  </a:lnTo>
                  <a:lnTo>
                    <a:pt x="532" y="351"/>
                  </a:lnTo>
                  <a:lnTo>
                    <a:pt x="526" y="350"/>
                  </a:lnTo>
                  <a:lnTo>
                    <a:pt x="524" y="328"/>
                  </a:lnTo>
                  <a:lnTo>
                    <a:pt x="507" y="326"/>
                  </a:lnTo>
                  <a:lnTo>
                    <a:pt x="492" y="343"/>
                  </a:lnTo>
                  <a:lnTo>
                    <a:pt x="490" y="323"/>
                  </a:lnTo>
                  <a:lnTo>
                    <a:pt x="514" y="283"/>
                  </a:lnTo>
                  <a:lnTo>
                    <a:pt x="534" y="261"/>
                  </a:lnTo>
                  <a:lnTo>
                    <a:pt x="531" y="257"/>
                  </a:lnTo>
                  <a:lnTo>
                    <a:pt x="534" y="252"/>
                  </a:lnTo>
                  <a:lnTo>
                    <a:pt x="560" y="245"/>
                  </a:lnTo>
                  <a:lnTo>
                    <a:pt x="557" y="212"/>
                  </a:lnTo>
                  <a:lnTo>
                    <a:pt x="568" y="181"/>
                  </a:lnTo>
                  <a:lnTo>
                    <a:pt x="583" y="150"/>
                  </a:lnTo>
                  <a:lnTo>
                    <a:pt x="522" y="135"/>
                  </a:lnTo>
                  <a:lnTo>
                    <a:pt x="500" y="110"/>
                  </a:lnTo>
                  <a:lnTo>
                    <a:pt x="476" y="108"/>
                  </a:lnTo>
                  <a:lnTo>
                    <a:pt x="459" y="106"/>
                  </a:lnTo>
                  <a:lnTo>
                    <a:pt x="444" y="96"/>
                  </a:lnTo>
                  <a:lnTo>
                    <a:pt x="441" y="69"/>
                  </a:lnTo>
                  <a:lnTo>
                    <a:pt x="427" y="80"/>
                  </a:lnTo>
                  <a:lnTo>
                    <a:pt x="410" y="79"/>
                  </a:lnTo>
                  <a:lnTo>
                    <a:pt x="402" y="54"/>
                  </a:lnTo>
                  <a:lnTo>
                    <a:pt x="371" y="40"/>
                  </a:lnTo>
                  <a:lnTo>
                    <a:pt x="363" y="25"/>
                  </a:lnTo>
                  <a:lnTo>
                    <a:pt x="345" y="21"/>
                  </a:lnTo>
                  <a:lnTo>
                    <a:pt x="342" y="0"/>
                  </a:lnTo>
                  <a:close/>
                  <a:moveTo>
                    <a:pt x="644" y="543"/>
                  </a:moveTo>
                  <a:lnTo>
                    <a:pt x="647" y="544"/>
                  </a:lnTo>
                  <a:lnTo>
                    <a:pt x="654" y="594"/>
                  </a:lnTo>
                  <a:lnTo>
                    <a:pt x="637" y="645"/>
                  </a:lnTo>
                  <a:lnTo>
                    <a:pt x="616" y="620"/>
                  </a:lnTo>
                  <a:lnTo>
                    <a:pt x="610" y="580"/>
                  </a:lnTo>
                  <a:lnTo>
                    <a:pt x="616" y="568"/>
                  </a:lnTo>
                  <a:lnTo>
                    <a:pt x="640" y="558"/>
                  </a:lnTo>
                  <a:lnTo>
                    <a:pt x="644" y="543"/>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157" name="Freeform 160">
              <a:extLst>
                <a:ext uri="{FF2B5EF4-FFF2-40B4-BE49-F238E27FC236}">
                  <a16:creationId xmlns:a16="http://schemas.microsoft.com/office/drawing/2014/main" id="{8C8131A4-DCBC-504E-A155-19145983FC17}"/>
                </a:ext>
              </a:extLst>
            </p:cNvPr>
            <p:cNvSpPr>
              <a:spLocks noChangeAspect="1" noEditPoints="1"/>
            </p:cNvSpPr>
            <p:nvPr/>
          </p:nvSpPr>
          <p:spPr bwMode="gray">
            <a:xfrm>
              <a:off x="4937215" y="2843259"/>
              <a:ext cx="135114" cy="153445"/>
            </a:xfrm>
            <a:custGeom>
              <a:avLst/>
              <a:gdLst>
                <a:gd name="T0" fmla="*/ 203 w 273"/>
                <a:gd name="T1" fmla="*/ 53 h 261"/>
                <a:gd name="T2" fmla="*/ 143 w 273"/>
                <a:gd name="T3" fmla="*/ 6 h 261"/>
                <a:gd name="T4" fmla="*/ 127 w 273"/>
                <a:gd name="T5" fmla="*/ 0 h 261"/>
                <a:gd name="T6" fmla="*/ 96 w 273"/>
                <a:gd name="T7" fmla="*/ 24 h 261"/>
                <a:gd name="T8" fmla="*/ 101 w 273"/>
                <a:gd name="T9" fmla="*/ 37 h 261"/>
                <a:gd name="T10" fmla="*/ 79 w 273"/>
                <a:gd name="T11" fmla="*/ 62 h 261"/>
                <a:gd name="T12" fmla="*/ 76 w 273"/>
                <a:gd name="T13" fmla="*/ 83 h 261"/>
                <a:gd name="T14" fmla="*/ 58 w 273"/>
                <a:gd name="T15" fmla="*/ 80 h 261"/>
                <a:gd name="T16" fmla="*/ 39 w 273"/>
                <a:gd name="T17" fmla="*/ 77 h 261"/>
                <a:gd name="T18" fmla="*/ 2 w 273"/>
                <a:gd name="T19" fmla="*/ 73 h 261"/>
                <a:gd name="T20" fmla="*/ 16 w 273"/>
                <a:gd name="T21" fmla="*/ 113 h 261"/>
                <a:gd name="T22" fmla="*/ 39 w 273"/>
                <a:gd name="T23" fmla="*/ 83 h 261"/>
                <a:gd name="T24" fmla="*/ 61 w 273"/>
                <a:gd name="T25" fmla="*/ 100 h 261"/>
                <a:gd name="T26" fmla="*/ 88 w 273"/>
                <a:gd name="T27" fmla="*/ 147 h 261"/>
                <a:gd name="T28" fmla="*/ 78 w 273"/>
                <a:gd name="T29" fmla="*/ 158 h 261"/>
                <a:gd name="T30" fmla="*/ 115 w 273"/>
                <a:gd name="T31" fmla="*/ 198 h 261"/>
                <a:gd name="T32" fmla="*/ 186 w 273"/>
                <a:gd name="T33" fmla="*/ 230 h 261"/>
                <a:gd name="T34" fmla="*/ 192 w 273"/>
                <a:gd name="T35" fmla="*/ 227 h 261"/>
                <a:gd name="T36" fmla="*/ 172 w 273"/>
                <a:gd name="T37" fmla="*/ 197 h 261"/>
                <a:gd name="T38" fmla="*/ 121 w 273"/>
                <a:gd name="T39" fmla="*/ 131 h 261"/>
                <a:gd name="T40" fmla="*/ 102 w 273"/>
                <a:gd name="T41" fmla="*/ 110 h 261"/>
                <a:gd name="T42" fmla="*/ 118 w 273"/>
                <a:gd name="T43" fmla="*/ 83 h 261"/>
                <a:gd name="T44" fmla="*/ 139 w 273"/>
                <a:gd name="T45" fmla="*/ 83 h 261"/>
                <a:gd name="T46" fmla="*/ 160 w 273"/>
                <a:gd name="T47" fmla="*/ 80 h 261"/>
                <a:gd name="T48" fmla="*/ 209 w 273"/>
                <a:gd name="T49" fmla="*/ 88 h 261"/>
                <a:gd name="T50" fmla="*/ 248 w 273"/>
                <a:gd name="T51" fmla="*/ 108 h 261"/>
                <a:gd name="T52" fmla="*/ 262 w 273"/>
                <a:gd name="T53" fmla="*/ 85 h 261"/>
                <a:gd name="T54" fmla="*/ 251 w 273"/>
                <a:gd name="T55" fmla="*/ 74 h 261"/>
                <a:gd name="T56" fmla="*/ 246 w 273"/>
                <a:gd name="T57" fmla="*/ 63 h 261"/>
                <a:gd name="T58" fmla="*/ 240 w 273"/>
                <a:gd name="T59" fmla="*/ 43 h 261"/>
                <a:gd name="T60" fmla="*/ 44 w 273"/>
                <a:gd name="T61" fmla="*/ 125 h 261"/>
                <a:gd name="T62" fmla="*/ 36 w 273"/>
                <a:gd name="T63" fmla="*/ 96 h 261"/>
                <a:gd name="T64" fmla="*/ 56 w 273"/>
                <a:gd name="T65" fmla="*/ 105 h 261"/>
                <a:gd name="T66" fmla="*/ 48 w 273"/>
                <a:gd name="T67" fmla="*/ 90 h 261"/>
                <a:gd name="T68" fmla="*/ 155 w 273"/>
                <a:gd name="T69" fmla="*/ 210 h 261"/>
                <a:gd name="T70" fmla="*/ 136 w 273"/>
                <a:gd name="T71" fmla="*/ 212 h 261"/>
                <a:gd name="T72" fmla="*/ 186 w 273"/>
                <a:gd name="T73" fmla="*/ 234 h 261"/>
                <a:gd name="T74" fmla="*/ 178 w 273"/>
                <a:gd name="T75" fmla="*/ 229 h 261"/>
                <a:gd name="T76" fmla="*/ 164 w 273"/>
                <a:gd name="T77" fmla="*/ 229 h 261"/>
                <a:gd name="T78" fmla="*/ 190 w 273"/>
                <a:gd name="T79" fmla="*/ 241 h 261"/>
                <a:gd name="T80" fmla="*/ 229 w 273"/>
                <a:gd name="T81" fmla="*/ 261 h 261"/>
                <a:gd name="T82" fmla="*/ 226 w 273"/>
                <a:gd name="T83" fmla="*/ 254 h 261"/>
                <a:gd name="T84" fmla="*/ 219 w 273"/>
                <a:gd name="T85" fmla="*/ 249 h 261"/>
                <a:gd name="T86" fmla="*/ 205 w 273"/>
                <a:gd name="T87" fmla="*/ 241 h 261"/>
                <a:gd name="T88" fmla="*/ 198 w 273"/>
                <a:gd name="T89" fmla="*/ 232 h 261"/>
                <a:gd name="T90" fmla="*/ 186 w 273"/>
                <a:gd name="T91" fmla="*/ 234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261">
                  <a:moveTo>
                    <a:pt x="240" y="43"/>
                  </a:moveTo>
                  <a:lnTo>
                    <a:pt x="203" y="53"/>
                  </a:lnTo>
                  <a:lnTo>
                    <a:pt x="181" y="41"/>
                  </a:lnTo>
                  <a:lnTo>
                    <a:pt x="143" y="6"/>
                  </a:lnTo>
                  <a:lnTo>
                    <a:pt x="139" y="6"/>
                  </a:lnTo>
                  <a:lnTo>
                    <a:pt x="127" y="0"/>
                  </a:lnTo>
                  <a:lnTo>
                    <a:pt x="126" y="14"/>
                  </a:lnTo>
                  <a:lnTo>
                    <a:pt x="96" y="24"/>
                  </a:lnTo>
                  <a:lnTo>
                    <a:pt x="95" y="32"/>
                  </a:lnTo>
                  <a:lnTo>
                    <a:pt x="101" y="37"/>
                  </a:lnTo>
                  <a:lnTo>
                    <a:pt x="101" y="46"/>
                  </a:lnTo>
                  <a:lnTo>
                    <a:pt x="79" y="62"/>
                  </a:lnTo>
                  <a:lnTo>
                    <a:pt x="79" y="80"/>
                  </a:lnTo>
                  <a:lnTo>
                    <a:pt x="76" y="83"/>
                  </a:lnTo>
                  <a:lnTo>
                    <a:pt x="65" y="77"/>
                  </a:lnTo>
                  <a:lnTo>
                    <a:pt x="58" y="80"/>
                  </a:lnTo>
                  <a:lnTo>
                    <a:pt x="50" y="63"/>
                  </a:lnTo>
                  <a:lnTo>
                    <a:pt x="39" y="77"/>
                  </a:lnTo>
                  <a:lnTo>
                    <a:pt x="0" y="73"/>
                  </a:lnTo>
                  <a:lnTo>
                    <a:pt x="2" y="73"/>
                  </a:lnTo>
                  <a:lnTo>
                    <a:pt x="4" y="90"/>
                  </a:lnTo>
                  <a:lnTo>
                    <a:pt x="16" y="113"/>
                  </a:lnTo>
                  <a:lnTo>
                    <a:pt x="24" y="116"/>
                  </a:lnTo>
                  <a:lnTo>
                    <a:pt x="39" y="83"/>
                  </a:lnTo>
                  <a:lnTo>
                    <a:pt x="50" y="87"/>
                  </a:lnTo>
                  <a:lnTo>
                    <a:pt x="61" y="100"/>
                  </a:lnTo>
                  <a:lnTo>
                    <a:pt x="71" y="134"/>
                  </a:lnTo>
                  <a:lnTo>
                    <a:pt x="88" y="147"/>
                  </a:lnTo>
                  <a:lnTo>
                    <a:pt x="79" y="150"/>
                  </a:lnTo>
                  <a:lnTo>
                    <a:pt x="78" y="158"/>
                  </a:lnTo>
                  <a:lnTo>
                    <a:pt x="110" y="183"/>
                  </a:lnTo>
                  <a:lnTo>
                    <a:pt x="115" y="198"/>
                  </a:lnTo>
                  <a:lnTo>
                    <a:pt x="156" y="204"/>
                  </a:lnTo>
                  <a:lnTo>
                    <a:pt x="186" y="230"/>
                  </a:lnTo>
                  <a:lnTo>
                    <a:pt x="185" y="230"/>
                  </a:lnTo>
                  <a:lnTo>
                    <a:pt x="192" y="227"/>
                  </a:lnTo>
                  <a:lnTo>
                    <a:pt x="173" y="207"/>
                  </a:lnTo>
                  <a:lnTo>
                    <a:pt x="172" y="197"/>
                  </a:lnTo>
                  <a:lnTo>
                    <a:pt x="122" y="150"/>
                  </a:lnTo>
                  <a:lnTo>
                    <a:pt x="121" y="131"/>
                  </a:lnTo>
                  <a:lnTo>
                    <a:pt x="112" y="116"/>
                  </a:lnTo>
                  <a:lnTo>
                    <a:pt x="102" y="110"/>
                  </a:lnTo>
                  <a:lnTo>
                    <a:pt x="105" y="87"/>
                  </a:lnTo>
                  <a:lnTo>
                    <a:pt x="118" y="83"/>
                  </a:lnTo>
                  <a:lnTo>
                    <a:pt x="130" y="97"/>
                  </a:lnTo>
                  <a:lnTo>
                    <a:pt x="139" y="83"/>
                  </a:lnTo>
                  <a:lnTo>
                    <a:pt x="147" y="83"/>
                  </a:lnTo>
                  <a:lnTo>
                    <a:pt x="160" y="80"/>
                  </a:lnTo>
                  <a:lnTo>
                    <a:pt x="200" y="96"/>
                  </a:lnTo>
                  <a:lnTo>
                    <a:pt x="209" y="88"/>
                  </a:lnTo>
                  <a:lnTo>
                    <a:pt x="239" y="93"/>
                  </a:lnTo>
                  <a:lnTo>
                    <a:pt x="248" y="108"/>
                  </a:lnTo>
                  <a:lnTo>
                    <a:pt x="259" y="104"/>
                  </a:lnTo>
                  <a:lnTo>
                    <a:pt x="262" y="85"/>
                  </a:lnTo>
                  <a:lnTo>
                    <a:pt x="273" y="83"/>
                  </a:lnTo>
                  <a:lnTo>
                    <a:pt x="251" y="74"/>
                  </a:lnTo>
                  <a:lnTo>
                    <a:pt x="256" y="65"/>
                  </a:lnTo>
                  <a:lnTo>
                    <a:pt x="246" y="63"/>
                  </a:lnTo>
                  <a:lnTo>
                    <a:pt x="248" y="48"/>
                  </a:lnTo>
                  <a:lnTo>
                    <a:pt x="240" y="43"/>
                  </a:lnTo>
                  <a:close/>
                  <a:moveTo>
                    <a:pt x="36" y="96"/>
                  </a:moveTo>
                  <a:lnTo>
                    <a:pt x="44" y="125"/>
                  </a:lnTo>
                  <a:lnTo>
                    <a:pt x="36" y="113"/>
                  </a:lnTo>
                  <a:lnTo>
                    <a:pt x="36" y="96"/>
                  </a:lnTo>
                  <a:close/>
                  <a:moveTo>
                    <a:pt x="48" y="90"/>
                  </a:moveTo>
                  <a:lnTo>
                    <a:pt x="56" y="105"/>
                  </a:lnTo>
                  <a:lnTo>
                    <a:pt x="42" y="100"/>
                  </a:lnTo>
                  <a:lnTo>
                    <a:pt x="48" y="90"/>
                  </a:lnTo>
                  <a:close/>
                  <a:moveTo>
                    <a:pt x="134" y="206"/>
                  </a:moveTo>
                  <a:lnTo>
                    <a:pt x="155" y="210"/>
                  </a:lnTo>
                  <a:lnTo>
                    <a:pt x="152" y="214"/>
                  </a:lnTo>
                  <a:lnTo>
                    <a:pt x="136" y="212"/>
                  </a:lnTo>
                  <a:lnTo>
                    <a:pt x="134" y="206"/>
                  </a:lnTo>
                  <a:close/>
                  <a:moveTo>
                    <a:pt x="186" y="234"/>
                  </a:moveTo>
                  <a:lnTo>
                    <a:pt x="181" y="234"/>
                  </a:lnTo>
                  <a:lnTo>
                    <a:pt x="178" y="229"/>
                  </a:lnTo>
                  <a:lnTo>
                    <a:pt x="168" y="226"/>
                  </a:lnTo>
                  <a:lnTo>
                    <a:pt x="164" y="229"/>
                  </a:lnTo>
                  <a:lnTo>
                    <a:pt x="177" y="232"/>
                  </a:lnTo>
                  <a:lnTo>
                    <a:pt x="190" y="241"/>
                  </a:lnTo>
                  <a:lnTo>
                    <a:pt x="203" y="243"/>
                  </a:lnTo>
                  <a:lnTo>
                    <a:pt x="229" y="261"/>
                  </a:lnTo>
                  <a:lnTo>
                    <a:pt x="229" y="254"/>
                  </a:lnTo>
                  <a:lnTo>
                    <a:pt x="226" y="254"/>
                  </a:lnTo>
                  <a:lnTo>
                    <a:pt x="226" y="251"/>
                  </a:lnTo>
                  <a:lnTo>
                    <a:pt x="219" y="249"/>
                  </a:lnTo>
                  <a:lnTo>
                    <a:pt x="211" y="243"/>
                  </a:lnTo>
                  <a:lnTo>
                    <a:pt x="205" y="241"/>
                  </a:lnTo>
                  <a:lnTo>
                    <a:pt x="198" y="235"/>
                  </a:lnTo>
                  <a:lnTo>
                    <a:pt x="198" y="232"/>
                  </a:lnTo>
                  <a:lnTo>
                    <a:pt x="194" y="230"/>
                  </a:lnTo>
                  <a:lnTo>
                    <a:pt x="186" y="234"/>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58" name="Freeform 161">
              <a:extLst>
                <a:ext uri="{FF2B5EF4-FFF2-40B4-BE49-F238E27FC236}">
                  <a16:creationId xmlns:a16="http://schemas.microsoft.com/office/drawing/2014/main" id="{80AFDD54-26B3-2F4F-83FD-EFD9A11B5BC3}"/>
                </a:ext>
              </a:extLst>
            </p:cNvPr>
            <p:cNvSpPr>
              <a:spLocks noChangeAspect="1"/>
            </p:cNvSpPr>
            <p:nvPr/>
          </p:nvSpPr>
          <p:spPr bwMode="gray">
            <a:xfrm>
              <a:off x="4085204" y="1838182"/>
              <a:ext cx="246385" cy="201400"/>
            </a:xfrm>
            <a:custGeom>
              <a:avLst/>
              <a:gdLst>
                <a:gd name="T0" fmla="*/ 154 w 507"/>
                <a:gd name="T1" fmla="*/ 295 h 346"/>
                <a:gd name="T2" fmla="*/ 83 w 507"/>
                <a:gd name="T3" fmla="*/ 273 h 346"/>
                <a:gd name="T4" fmla="*/ 125 w 507"/>
                <a:gd name="T5" fmla="*/ 262 h 346"/>
                <a:gd name="T6" fmla="*/ 110 w 507"/>
                <a:gd name="T7" fmla="*/ 248 h 346"/>
                <a:gd name="T8" fmla="*/ 111 w 507"/>
                <a:gd name="T9" fmla="*/ 229 h 346"/>
                <a:gd name="T10" fmla="*/ 26 w 507"/>
                <a:gd name="T11" fmla="*/ 197 h 346"/>
                <a:gd name="T12" fmla="*/ 79 w 507"/>
                <a:gd name="T13" fmla="*/ 168 h 346"/>
                <a:gd name="T14" fmla="*/ 128 w 507"/>
                <a:gd name="T15" fmla="*/ 151 h 346"/>
                <a:gd name="T16" fmla="*/ 93 w 507"/>
                <a:gd name="T17" fmla="*/ 157 h 346"/>
                <a:gd name="T18" fmla="*/ 105 w 507"/>
                <a:gd name="T19" fmla="*/ 123 h 346"/>
                <a:gd name="T20" fmla="*/ 74 w 507"/>
                <a:gd name="T21" fmla="*/ 106 h 346"/>
                <a:gd name="T22" fmla="*/ 0 w 507"/>
                <a:gd name="T23" fmla="*/ 123 h 346"/>
                <a:gd name="T24" fmla="*/ 26 w 507"/>
                <a:gd name="T25" fmla="*/ 107 h 346"/>
                <a:gd name="T26" fmla="*/ 17 w 507"/>
                <a:gd name="T27" fmla="*/ 84 h 346"/>
                <a:gd name="T28" fmla="*/ 59 w 507"/>
                <a:gd name="T29" fmla="*/ 101 h 346"/>
                <a:gd name="T30" fmla="*/ 57 w 507"/>
                <a:gd name="T31" fmla="*/ 85 h 346"/>
                <a:gd name="T32" fmla="*/ 43 w 507"/>
                <a:gd name="T33" fmla="*/ 75 h 346"/>
                <a:gd name="T34" fmla="*/ 43 w 507"/>
                <a:gd name="T35" fmla="*/ 64 h 346"/>
                <a:gd name="T36" fmla="*/ 49 w 507"/>
                <a:gd name="T37" fmla="*/ 55 h 346"/>
                <a:gd name="T38" fmla="*/ 64 w 507"/>
                <a:gd name="T39" fmla="*/ 50 h 346"/>
                <a:gd name="T40" fmla="*/ 77 w 507"/>
                <a:gd name="T41" fmla="*/ 59 h 346"/>
                <a:gd name="T42" fmla="*/ 91 w 507"/>
                <a:gd name="T43" fmla="*/ 70 h 346"/>
                <a:gd name="T44" fmla="*/ 100 w 507"/>
                <a:gd name="T45" fmla="*/ 68 h 346"/>
                <a:gd name="T46" fmla="*/ 74 w 507"/>
                <a:gd name="T47" fmla="*/ 39 h 346"/>
                <a:gd name="T48" fmla="*/ 94 w 507"/>
                <a:gd name="T49" fmla="*/ 33 h 346"/>
                <a:gd name="T50" fmla="*/ 64 w 507"/>
                <a:gd name="T51" fmla="*/ 24 h 346"/>
                <a:gd name="T52" fmla="*/ 96 w 507"/>
                <a:gd name="T53" fmla="*/ 14 h 346"/>
                <a:gd name="T54" fmla="*/ 137 w 507"/>
                <a:gd name="T55" fmla="*/ 68 h 346"/>
                <a:gd name="T56" fmla="*/ 147 w 507"/>
                <a:gd name="T57" fmla="*/ 85 h 346"/>
                <a:gd name="T58" fmla="*/ 142 w 507"/>
                <a:gd name="T59" fmla="*/ 106 h 346"/>
                <a:gd name="T60" fmla="*/ 147 w 507"/>
                <a:gd name="T61" fmla="*/ 109 h 346"/>
                <a:gd name="T62" fmla="*/ 144 w 507"/>
                <a:gd name="T63" fmla="*/ 124 h 346"/>
                <a:gd name="T64" fmla="*/ 152 w 507"/>
                <a:gd name="T65" fmla="*/ 148 h 346"/>
                <a:gd name="T66" fmla="*/ 169 w 507"/>
                <a:gd name="T67" fmla="*/ 127 h 346"/>
                <a:gd name="T68" fmla="*/ 186 w 507"/>
                <a:gd name="T69" fmla="*/ 118 h 346"/>
                <a:gd name="T70" fmla="*/ 196 w 507"/>
                <a:gd name="T71" fmla="*/ 84 h 346"/>
                <a:gd name="T72" fmla="*/ 196 w 507"/>
                <a:gd name="T73" fmla="*/ 50 h 346"/>
                <a:gd name="T74" fmla="*/ 238 w 507"/>
                <a:gd name="T75" fmla="*/ 75 h 346"/>
                <a:gd name="T76" fmla="*/ 267 w 507"/>
                <a:gd name="T77" fmla="*/ 39 h 346"/>
                <a:gd name="T78" fmla="*/ 298 w 507"/>
                <a:gd name="T79" fmla="*/ 76 h 346"/>
                <a:gd name="T80" fmla="*/ 303 w 507"/>
                <a:gd name="T81" fmla="*/ 45 h 346"/>
                <a:gd name="T82" fmla="*/ 329 w 507"/>
                <a:gd name="T83" fmla="*/ 56 h 346"/>
                <a:gd name="T84" fmla="*/ 372 w 507"/>
                <a:gd name="T85" fmla="*/ 45 h 346"/>
                <a:gd name="T86" fmla="*/ 382 w 507"/>
                <a:gd name="T87" fmla="*/ 0 h 346"/>
                <a:gd name="T88" fmla="*/ 402 w 507"/>
                <a:gd name="T89" fmla="*/ 33 h 346"/>
                <a:gd name="T90" fmla="*/ 456 w 507"/>
                <a:gd name="T91" fmla="*/ 17 h 346"/>
                <a:gd name="T92" fmla="*/ 433 w 507"/>
                <a:gd name="T93" fmla="*/ 51 h 346"/>
                <a:gd name="T94" fmla="*/ 452 w 507"/>
                <a:gd name="T95" fmla="*/ 55 h 346"/>
                <a:gd name="T96" fmla="*/ 450 w 507"/>
                <a:gd name="T97" fmla="*/ 93 h 346"/>
                <a:gd name="T98" fmla="*/ 470 w 507"/>
                <a:gd name="T99" fmla="*/ 106 h 346"/>
                <a:gd name="T100" fmla="*/ 485 w 507"/>
                <a:gd name="T101" fmla="*/ 99 h 346"/>
                <a:gd name="T102" fmla="*/ 492 w 507"/>
                <a:gd name="T103" fmla="*/ 141 h 346"/>
                <a:gd name="T104" fmla="*/ 506 w 507"/>
                <a:gd name="T105" fmla="*/ 148 h 346"/>
                <a:gd name="T106" fmla="*/ 498 w 507"/>
                <a:gd name="T107" fmla="*/ 183 h 346"/>
                <a:gd name="T108" fmla="*/ 461 w 507"/>
                <a:gd name="T109" fmla="*/ 214 h 346"/>
                <a:gd name="T110" fmla="*/ 444 w 507"/>
                <a:gd name="T111" fmla="*/ 253 h 346"/>
                <a:gd name="T112" fmla="*/ 422 w 507"/>
                <a:gd name="T113" fmla="*/ 246 h 346"/>
                <a:gd name="T114" fmla="*/ 345 w 507"/>
                <a:gd name="T115" fmla="*/ 288 h 346"/>
                <a:gd name="T116" fmla="*/ 272 w 507"/>
                <a:gd name="T117"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7" h="346">
                  <a:moveTo>
                    <a:pt x="210" y="329"/>
                  </a:moveTo>
                  <a:lnTo>
                    <a:pt x="154" y="295"/>
                  </a:lnTo>
                  <a:lnTo>
                    <a:pt x="86" y="300"/>
                  </a:lnTo>
                  <a:lnTo>
                    <a:pt x="83" y="273"/>
                  </a:lnTo>
                  <a:lnTo>
                    <a:pt x="94" y="282"/>
                  </a:lnTo>
                  <a:lnTo>
                    <a:pt x="125" y="262"/>
                  </a:lnTo>
                  <a:lnTo>
                    <a:pt x="125" y="245"/>
                  </a:lnTo>
                  <a:lnTo>
                    <a:pt x="110" y="248"/>
                  </a:lnTo>
                  <a:lnTo>
                    <a:pt x="127" y="219"/>
                  </a:lnTo>
                  <a:lnTo>
                    <a:pt x="111" y="229"/>
                  </a:lnTo>
                  <a:lnTo>
                    <a:pt x="91" y="192"/>
                  </a:lnTo>
                  <a:lnTo>
                    <a:pt x="26" y="197"/>
                  </a:lnTo>
                  <a:lnTo>
                    <a:pt x="29" y="186"/>
                  </a:lnTo>
                  <a:lnTo>
                    <a:pt x="79" y="168"/>
                  </a:lnTo>
                  <a:lnTo>
                    <a:pt x="120" y="172"/>
                  </a:lnTo>
                  <a:lnTo>
                    <a:pt x="128" y="151"/>
                  </a:lnTo>
                  <a:lnTo>
                    <a:pt x="119" y="161"/>
                  </a:lnTo>
                  <a:lnTo>
                    <a:pt x="93" y="157"/>
                  </a:lnTo>
                  <a:lnTo>
                    <a:pt x="125" y="124"/>
                  </a:lnTo>
                  <a:lnTo>
                    <a:pt x="105" y="123"/>
                  </a:lnTo>
                  <a:lnTo>
                    <a:pt x="93" y="107"/>
                  </a:lnTo>
                  <a:lnTo>
                    <a:pt x="74" y="106"/>
                  </a:lnTo>
                  <a:lnTo>
                    <a:pt x="40" y="126"/>
                  </a:lnTo>
                  <a:lnTo>
                    <a:pt x="0" y="123"/>
                  </a:lnTo>
                  <a:lnTo>
                    <a:pt x="6" y="104"/>
                  </a:lnTo>
                  <a:lnTo>
                    <a:pt x="26" y="107"/>
                  </a:lnTo>
                  <a:lnTo>
                    <a:pt x="30" y="101"/>
                  </a:lnTo>
                  <a:lnTo>
                    <a:pt x="17" y="84"/>
                  </a:lnTo>
                  <a:lnTo>
                    <a:pt x="43" y="104"/>
                  </a:lnTo>
                  <a:lnTo>
                    <a:pt x="59" y="101"/>
                  </a:lnTo>
                  <a:lnTo>
                    <a:pt x="52" y="95"/>
                  </a:lnTo>
                  <a:lnTo>
                    <a:pt x="57" y="85"/>
                  </a:lnTo>
                  <a:lnTo>
                    <a:pt x="34" y="78"/>
                  </a:lnTo>
                  <a:lnTo>
                    <a:pt x="43" y="75"/>
                  </a:lnTo>
                  <a:lnTo>
                    <a:pt x="30" y="56"/>
                  </a:lnTo>
                  <a:lnTo>
                    <a:pt x="43" y="64"/>
                  </a:lnTo>
                  <a:lnTo>
                    <a:pt x="38" y="51"/>
                  </a:lnTo>
                  <a:lnTo>
                    <a:pt x="49" y="55"/>
                  </a:lnTo>
                  <a:lnTo>
                    <a:pt x="42" y="45"/>
                  </a:lnTo>
                  <a:lnTo>
                    <a:pt x="64" y="50"/>
                  </a:lnTo>
                  <a:lnTo>
                    <a:pt x="68" y="65"/>
                  </a:lnTo>
                  <a:lnTo>
                    <a:pt x="77" y="59"/>
                  </a:lnTo>
                  <a:lnTo>
                    <a:pt x="88" y="81"/>
                  </a:lnTo>
                  <a:lnTo>
                    <a:pt x="91" y="70"/>
                  </a:lnTo>
                  <a:lnTo>
                    <a:pt x="94" y="81"/>
                  </a:lnTo>
                  <a:lnTo>
                    <a:pt x="100" y="68"/>
                  </a:lnTo>
                  <a:lnTo>
                    <a:pt x="94" y="51"/>
                  </a:lnTo>
                  <a:lnTo>
                    <a:pt x="74" y="39"/>
                  </a:lnTo>
                  <a:lnTo>
                    <a:pt x="79" y="30"/>
                  </a:lnTo>
                  <a:lnTo>
                    <a:pt x="94" y="33"/>
                  </a:lnTo>
                  <a:lnTo>
                    <a:pt x="85" y="22"/>
                  </a:lnTo>
                  <a:lnTo>
                    <a:pt x="64" y="24"/>
                  </a:lnTo>
                  <a:lnTo>
                    <a:pt x="66" y="9"/>
                  </a:lnTo>
                  <a:lnTo>
                    <a:pt x="96" y="14"/>
                  </a:lnTo>
                  <a:lnTo>
                    <a:pt x="145" y="61"/>
                  </a:lnTo>
                  <a:lnTo>
                    <a:pt x="137" y="68"/>
                  </a:lnTo>
                  <a:lnTo>
                    <a:pt x="147" y="73"/>
                  </a:lnTo>
                  <a:lnTo>
                    <a:pt x="147" y="85"/>
                  </a:lnTo>
                  <a:lnTo>
                    <a:pt x="139" y="97"/>
                  </a:lnTo>
                  <a:lnTo>
                    <a:pt x="142" y="106"/>
                  </a:lnTo>
                  <a:lnTo>
                    <a:pt x="142" y="114"/>
                  </a:lnTo>
                  <a:lnTo>
                    <a:pt x="147" y="109"/>
                  </a:lnTo>
                  <a:lnTo>
                    <a:pt x="148" y="119"/>
                  </a:lnTo>
                  <a:lnTo>
                    <a:pt x="144" y="124"/>
                  </a:lnTo>
                  <a:lnTo>
                    <a:pt x="152" y="127"/>
                  </a:lnTo>
                  <a:lnTo>
                    <a:pt x="152" y="148"/>
                  </a:lnTo>
                  <a:lnTo>
                    <a:pt x="159" y="129"/>
                  </a:lnTo>
                  <a:lnTo>
                    <a:pt x="169" y="127"/>
                  </a:lnTo>
                  <a:lnTo>
                    <a:pt x="173" y="101"/>
                  </a:lnTo>
                  <a:lnTo>
                    <a:pt x="186" y="118"/>
                  </a:lnTo>
                  <a:lnTo>
                    <a:pt x="191" y="109"/>
                  </a:lnTo>
                  <a:lnTo>
                    <a:pt x="196" y="84"/>
                  </a:lnTo>
                  <a:lnTo>
                    <a:pt x="191" y="51"/>
                  </a:lnTo>
                  <a:lnTo>
                    <a:pt x="196" y="50"/>
                  </a:lnTo>
                  <a:lnTo>
                    <a:pt x="232" y="92"/>
                  </a:lnTo>
                  <a:lnTo>
                    <a:pt x="238" y="75"/>
                  </a:lnTo>
                  <a:lnTo>
                    <a:pt x="235" y="58"/>
                  </a:lnTo>
                  <a:lnTo>
                    <a:pt x="267" y="39"/>
                  </a:lnTo>
                  <a:lnTo>
                    <a:pt x="295" y="101"/>
                  </a:lnTo>
                  <a:lnTo>
                    <a:pt x="298" y="76"/>
                  </a:lnTo>
                  <a:lnTo>
                    <a:pt x="289" y="45"/>
                  </a:lnTo>
                  <a:lnTo>
                    <a:pt x="303" y="45"/>
                  </a:lnTo>
                  <a:lnTo>
                    <a:pt x="318" y="61"/>
                  </a:lnTo>
                  <a:lnTo>
                    <a:pt x="329" y="56"/>
                  </a:lnTo>
                  <a:lnTo>
                    <a:pt x="334" y="42"/>
                  </a:lnTo>
                  <a:lnTo>
                    <a:pt x="372" y="45"/>
                  </a:lnTo>
                  <a:lnTo>
                    <a:pt x="368" y="7"/>
                  </a:lnTo>
                  <a:lnTo>
                    <a:pt x="382" y="0"/>
                  </a:lnTo>
                  <a:lnTo>
                    <a:pt x="405" y="17"/>
                  </a:lnTo>
                  <a:lnTo>
                    <a:pt x="402" y="33"/>
                  </a:lnTo>
                  <a:lnTo>
                    <a:pt x="416" y="42"/>
                  </a:lnTo>
                  <a:lnTo>
                    <a:pt x="456" y="17"/>
                  </a:lnTo>
                  <a:lnTo>
                    <a:pt x="461" y="21"/>
                  </a:lnTo>
                  <a:lnTo>
                    <a:pt x="433" y="51"/>
                  </a:lnTo>
                  <a:lnTo>
                    <a:pt x="435" y="58"/>
                  </a:lnTo>
                  <a:lnTo>
                    <a:pt x="452" y="55"/>
                  </a:lnTo>
                  <a:lnTo>
                    <a:pt x="455" y="72"/>
                  </a:lnTo>
                  <a:lnTo>
                    <a:pt x="450" y="93"/>
                  </a:lnTo>
                  <a:lnTo>
                    <a:pt x="470" y="90"/>
                  </a:lnTo>
                  <a:lnTo>
                    <a:pt x="470" y="106"/>
                  </a:lnTo>
                  <a:lnTo>
                    <a:pt x="484" y="110"/>
                  </a:lnTo>
                  <a:lnTo>
                    <a:pt x="485" y="99"/>
                  </a:lnTo>
                  <a:lnTo>
                    <a:pt x="499" y="126"/>
                  </a:lnTo>
                  <a:lnTo>
                    <a:pt x="492" y="141"/>
                  </a:lnTo>
                  <a:lnTo>
                    <a:pt x="498" y="153"/>
                  </a:lnTo>
                  <a:lnTo>
                    <a:pt x="506" y="148"/>
                  </a:lnTo>
                  <a:lnTo>
                    <a:pt x="507" y="161"/>
                  </a:lnTo>
                  <a:lnTo>
                    <a:pt x="498" y="183"/>
                  </a:lnTo>
                  <a:lnTo>
                    <a:pt x="462" y="205"/>
                  </a:lnTo>
                  <a:lnTo>
                    <a:pt x="461" y="214"/>
                  </a:lnTo>
                  <a:lnTo>
                    <a:pt x="476" y="209"/>
                  </a:lnTo>
                  <a:lnTo>
                    <a:pt x="444" y="253"/>
                  </a:lnTo>
                  <a:lnTo>
                    <a:pt x="423" y="234"/>
                  </a:lnTo>
                  <a:lnTo>
                    <a:pt x="422" y="246"/>
                  </a:lnTo>
                  <a:lnTo>
                    <a:pt x="377" y="287"/>
                  </a:lnTo>
                  <a:lnTo>
                    <a:pt x="345" y="288"/>
                  </a:lnTo>
                  <a:lnTo>
                    <a:pt x="300" y="334"/>
                  </a:lnTo>
                  <a:lnTo>
                    <a:pt x="272" y="346"/>
                  </a:lnTo>
                  <a:lnTo>
                    <a:pt x="210" y="329"/>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59" name="Freeform 162">
              <a:extLst>
                <a:ext uri="{FF2B5EF4-FFF2-40B4-BE49-F238E27FC236}">
                  <a16:creationId xmlns:a16="http://schemas.microsoft.com/office/drawing/2014/main" id="{ECBDD864-FB11-794D-997D-ABCAB1A68A48}"/>
                </a:ext>
              </a:extLst>
            </p:cNvPr>
            <p:cNvSpPr>
              <a:spLocks noChangeAspect="1" noEditPoints="1"/>
            </p:cNvSpPr>
            <p:nvPr/>
          </p:nvSpPr>
          <p:spPr bwMode="gray">
            <a:xfrm>
              <a:off x="5238529" y="1432635"/>
              <a:ext cx="3681923" cy="1609638"/>
            </a:xfrm>
            <a:custGeom>
              <a:avLst/>
              <a:gdLst>
                <a:gd name="T0" fmla="*/ 1973 w 7540"/>
                <a:gd name="T1" fmla="*/ 663 h 2736"/>
                <a:gd name="T2" fmla="*/ 2339 w 7540"/>
                <a:gd name="T3" fmla="*/ 571 h 2736"/>
                <a:gd name="T4" fmla="*/ 2223 w 7540"/>
                <a:gd name="T5" fmla="*/ 58 h 2736"/>
                <a:gd name="T6" fmla="*/ 2548 w 7540"/>
                <a:gd name="T7" fmla="*/ 220 h 2736"/>
                <a:gd name="T8" fmla="*/ 4889 w 7540"/>
                <a:gd name="T9" fmla="*/ 0 h 2736"/>
                <a:gd name="T10" fmla="*/ 5793 w 7540"/>
                <a:gd name="T11" fmla="*/ 148 h 2736"/>
                <a:gd name="T12" fmla="*/ 6624 w 7540"/>
                <a:gd name="T13" fmla="*/ 313 h 2736"/>
                <a:gd name="T14" fmla="*/ 7197 w 7540"/>
                <a:gd name="T15" fmla="*/ 499 h 2736"/>
                <a:gd name="T16" fmla="*/ 7316 w 7540"/>
                <a:gd name="T17" fmla="*/ 686 h 2736"/>
                <a:gd name="T18" fmla="*/ 7370 w 7540"/>
                <a:gd name="T19" fmla="*/ 634 h 2736"/>
                <a:gd name="T20" fmla="*/ 7469 w 7540"/>
                <a:gd name="T21" fmla="*/ 793 h 2736"/>
                <a:gd name="T22" fmla="*/ 7362 w 7540"/>
                <a:gd name="T23" fmla="*/ 932 h 2736"/>
                <a:gd name="T24" fmla="*/ 7293 w 7540"/>
                <a:gd name="T25" fmla="*/ 887 h 2736"/>
                <a:gd name="T26" fmla="*/ 7059 w 7540"/>
                <a:gd name="T27" fmla="*/ 734 h 2736"/>
                <a:gd name="T28" fmla="*/ 7011 w 7540"/>
                <a:gd name="T29" fmla="*/ 1067 h 2736"/>
                <a:gd name="T30" fmla="*/ 6457 w 7540"/>
                <a:gd name="T31" fmla="*/ 1322 h 2736"/>
                <a:gd name="T32" fmla="*/ 6282 w 7540"/>
                <a:gd name="T33" fmla="*/ 1656 h 2736"/>
                <a:gd name="T34" fmla="*/ 6081 w 7540"/>
                <a:gd name="T35" fmla="*/ 1955 h 2736"/>
                <a:gd name="T36" fmla="*/ 6301 w 7540"/>
                <a:gd name="T37" fmla="*/ 1257 h 2736"/>
                <a:gd name="T38" fmla="*/ 6154 w 7540"/>
                <a:gd name="T39" fmla="*/ 1174 h 2736"/>
                <a:gd name="T40" fmla="*/ 5741 w 7540"/>
                <a:gd name="T41" fmla="*/ 1401 h 2736"/>
                <a:gd name="T42" fmla="*/ 5231 w 7540"/>
                <a:gd name="T43" fmla="*/ 1556 h 2736"/>
                <a:gd name="T44" fmla="*/ 5138 w 7540"/>
                <a:gd name="T45" fmla="*/ 1905 h 2736"/>
                <a:gd name="T46" fmla="*/ 5148 w 7540"/>
                <a:gd name="T47" fmla="*/ 2377 h 2736"/>
                <a:gd name="T48" fmla="*/ 4799 w 7540"/>
                <a:gd name="T49" fmla="*/ 2526 h 2736"/>
                <a:gd name="T50" fmla="*/ 4636 w 7540"/>
                <a:gd name="T51" fmla="*/ 2174 h 2736"/>
                <a:gd name="T52" fmla="*/ 4092 w 7540"/>
                <a:gd name="T53" fmla="*/ 2174 h 2736"/>
                <a:gd name="T54" fmla="*/ 3275 w 7540"/>
                <a:gd name="T55" fmla="*/ 2159 h 2736"/>
                <a:gd name="T56" fmla="*/ 2501 w 7540"/>
                <a:gd name="T57" fmla="*/ 2083 h 2736"/>
                <a:gd name="T58" fmla="*/ 2099 w 7540"/>
                <a:gd name="T59" fmla="*/ 1854 h 2736"/>
                <a:gd name="T60" fmla="*/ 1708 w 7540"/>
                <a:gd name="T61" fmla="*/ 1848 h 2736"/>
                <a:gd name="T62" fmla="*/ 1570 w 7540"/>
                <a:gd name="T63" fmla="*/ 2057 h 2736"/>
                <a:gd name="T64" fmla="*/ 1270 w 7540"/>
                <a:gd name="T65" fmla="*/ 2120 h 2736"/>
                <a:gd name="T66" fmla="*/ 938 w 7540"/>
                <a:gd name="T67" fmla="*/ 2156 h 2736"/>
                <a:gd name="T68" fmla="*/ 964 w 7540"/>
                <a:gd name="T69" fmla="*/ 2419 h 2736"/>
                <a:gd name="T70" fmla="*/ 862 w 7540"/>
                <a:gd name="T71" fmla="*/ 2657 h 2736"/>
                <a:gd name="T72" fmla="*/ 535 w 7540"/>
                <a:gd name="T73" fmla="*/ 2391 h 2736"/>
                <a:gd name="T74" fmla="*/ 525 w 7540"/>
                <a:gd name="T75" fmla="*/ 2154 h 2736"/>
                <a:gd name="T76" fmla="*/ 246 w 7540"/>
                <a:gd name="T77" fmla="*/ 1873 h 2736"/>
                <a:gd name="T78" fmla="*/ 0 w 7540"/>
                <a:gd name="T79" fmla="*/ 1452 h 2736"/>
                <a:gd name="T80" fmla="*/ 167 w 7540"/>
                <a:gd name="T81" fmla="*/ 938 h 2736"/>
                <a:gd name="T82" fmla="*/ 178 w 7540"/>
                <a:gd name="T83" fmla="*/ 316 h 2736"/>
                <a:gd name="T84" fmla="*/ 605 w 7540"/>
                <a:gd name="T85" fmla="*/ 717 h 2736"/>
                <a:gd name="T86" fmla="*/ 479 w 7540"/>
                <a:gd name="T87" fmla="*/ 930 h 2736"/>
                <a:gd name="T88" fmla="*/ 792 w 7540"/>
                <a:gd name="T89" fmla="*/ 544 h 2736"/>
                <a:gd name="T90" fmla="*/ 1193 w 7540"/>
                <a:gd name="T91" fmla="*/ 420 h 2736"/>
                <a:gd name="T92" fmla="*/ 1484 w 7540"/>
                <a:gd name="T93" fmla="*/ 457 h 2736"/>
                <a:gd name="T94" fmla="*/ 1861 w 7540"/>
                <a:gd name="T95" fmla="*/ 246 h 2736"/>
                <a:gd name="T96" fmla="*/ 5897 w 7540"/>
                <a:gd name="T97" fmla="*/ 2191 h 2736"/>
                <a:gd name="T98" fmla="*/ 6422 w 7540"/>
                <a:gd name="T99" fmla="*/ 1765 h 2736"/>
                <a:gd name="T100" fmla="*/ 5334 w 7540"/>
                <a:gd name="T101" fmla="*/ 1840 h 2736"/>
                <a:gd name="T102" fmla="*/ 5359 w 7540"/>
                <a:gd name="T103" fmla="*/ 2221 h 2736"/>
                <a:gd name="T104" fmla="*/ 5306 w 7540"/>
                <a:gd name="T105" fmla="*/ 2257 h 2736"/>
                <a:gd name="T106" fmla="*/ 5509 w 7540"/>
                <a:gd name="T107" fmla="*/ 2552 h 2736"/>
                <a:gd name="T108" fmla="*/ 5622 w 7540"/>
                <a:gd name="T109" fmla="*/ 2472 h 2736"/>
                <a:gd name="T110" fmla="*/ 1468 w 7540"/>
                <a:gd name="T111" fmla="*/ 262 h 2736"/>
                <a:gd name="T112" fmla="*/ 1168 w 7540"/>
                <a:gd name="T113" fmla="*/ 76 h 2736"/>
                <a:gd name="T114" fmla="*/ 1231 w 7540"/>
                <a:gd name="T115" fmla="*/ 118 h 2736"/>
                <a:gd name="T116" fmla="*/ 1024 w 7540"/>
                <a:gd name="T117" fmla="*/ 322 h 2736"/>
                <a:gd name="T118" fmla="*/ 2576 w 7540"/>
                <a:gd name="T119" fmla="*/ 222 h 2736"/>
                <a:gd name="T120" fmla="*/ 6527 w 7540"/>
                <a:gd name="T121" fmla="*/ 253 h 2736"/>
                <a:gd name="T122" fmla="*/ 5780 w 7540"/>
                <a:gd name="T123" fmla="*/ 2363 h 2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540" h="2736">
                  <a:moveTo>
                    <a:pt x="1911" y="0"/>
                  </a:moveTo>
                  <a:lnTo>
                    <a:pt x="2084" y="0"/>
                  </a:lnTo>
                  <a:lnTo>
                    <a:pt x="2066" y="47"/>
                  </a:lnTo>
                  <a:lnTo>
                    <a:pt x="2103" y="90"/>
                  </a:lnTo>
                  <a:lnTo>
                    <a:pt x="2112" y="140"/>
                  </a:lnTo>
                  <a:lnTo>
                    <a:pt x="2110" y="202"/>
                  </a:lnTo>
                  <a:lnTo>
                    <a:pt x="2095" y="220"/>
                  </a:lnTo>
                  <a:lnTo>
                    <a:pt x="2108" y="276"/>
                  </a:lnTo>
                  <a:lnTo>
                    <a:pt x="2098" y="387"/>
                  </a:lnTo>
                  <a:lnTo>
                    <a:pt x="2142" y="437"/>
                  </a:lnTo>
                  <a:lnTo>
                    <a:pt x="2142" y="461"/>
                  </a:lnTo>
                  <a:lnTo>
                    <a:pt x="2127" y="497"/>
                  </a:lnTo>
                  <a:lnTo>
                    <a:pt x="2127" y="550"/>
                  </a:lnTo>
                  <a:lnTo>
                    <a:pt x="2105" y="564"/>
                  </a:lnTo>
                  <a:lnTo>
                    <a:pt x="2075" y="637"/>
                  </a:lnTo>
                  <a:lnTo>
                    <a:pt x="1973" y="663"/>
                  </a:lnTo>
                  <a:lnTo>
                    <a:pt x="1986" y="705"/>
                  </a:lnTo>
                  <a:lnTo>
                    <a:pt x="2079" y="723"/>
                  </a:lnTo>
                  <a:lnTo>
                    <a:pt x="2090" y="720"/>
                  </a:lnTo>
                  <a:lnTo>
                    <a:pt x="2093" y="683"/>
                  </a:lnTo>
                  <a:lnTo>
                    <a:pt x="2146" y="649"/>
                  </a:lnTo>
                  <a:lnTo>
                    <a:pt x="2164" y="593"/>
                  </a:lnTo>
                  <a:lnTo>
                    <a:pt x="2201" y="553"/>
                  </a:lnTo>
                  <a:lnTo>
                    <a:pt x="2203" y="516"/>
                  </a:lnTo>
                  <a:lnTo>
                    <a:pt x="2181" y="465"/>
                  </a:lnTo>
                  <a:lnTo>
                    <a:pt x="2195" y="423"/>
                  </a:lnTo>
                  <a:lnTo>
                    <a:pt x="2288" y="393"/>
                  </a:lnTo>
                  <a:lnTo>
                    <a:pt x="2322" y="454"/>
                  </a:lnTo>
                  <a:lnTo>
                    <a:pt x="2316" y="482"/>
                  </a:lnTo>
                  <a:lnTo>
                    <a:pt x="2327" y="490"/>
                  </a:lnTo>
                  <a:lnTo>
                    <a:pt x="2316" y="547"/>
                  </a:lnTo>
                  <a:lnTo>
                    <a:pt x="2339" y="571"/>
                  </a:lnTo>
                  <a:lnTo>
                    <a:pt x="2395" y="564"/>
                  </a:lnTo>
                  <a:lnTo>
                    <a:pt x="2332" y="542"/>
                  </a:lnTo>
                  <a:lnTo>
                    <a:pt x="2335" y="497"/>
                  </a:lnTo>
                  <a:lnTo>
                    <a:pt x="2361" y="482"/>
                  </a:lnTo>
                  <a:lnTo>
                    <a:pt x="2339" y="406"/>
                  </a:lnTo>
                  <a:lnTo>
                    <a:pt x="2264" y="361"/>
                  </a:lnTo>
                  <a:lnTo>
                    <a:pt x="2222" y="380"/>
                  </a:lnTo>
                  <a:lnTo>
                    <a:pt x="2157" y="363"/>
                  </a:lnTo>
                  <a:lnTo>
                    <a:pt x="2166" y="327"/>
                  </a:lnTo>
                  <a:lnTo>
                    <a:pt x="2149" y="290"/>
                  </a:lnTo>
                  <a:lnTo>
                    <a:pt x="2183" y="165"/>
                  </a:lnTo>
                  <a:lnTo>
                    <a:pt x="2124" y="39"/>
                  </a:lnTo>
                  <a:lnTo>
                    <a:pt x="2137" y="0"/>
                  </a:lnTo>
                  <a:lnTo>
                    <a:pt x="2231" y="0"/>
                  </a:lnTo>
                  <a:lnTo>
                    <a:pt x="2237" y="31"/>
                  </a:lnTo>
                  <a:lnTo>
                    <a:pt x="2223" y="58"/>
                  </a:lnTo>
                  <a:lnTo>
                    <a:pt x="2232" y="70"/>
                  </a:lnTo>
                  <a:lnTo>
                    <a:pt x="2362" y="106"/>
                  </a:lnTo>
                  <a:lnTo>
                    <a:pt x="2361" y="81"/>
                  </a:lnTo>
                  <a:lnTo>
                    <a:pt x="2277" y="39"/>
                  </a:lnTo>
                  <a:lnTo>
                    <a:pt x="2263" y="0"/>
                  </a:lnTo>
                  <a:lnTo>
                    <a:pt x="2290" y="0"/>
                  </a:lnTo>
                  <a:lnTo>
                    <a:pt x="2299" y="19"/>
                  </a:lnTo>
                  <a:lnTo>
                    <a:pt x="2344" y="0"/>
                  </a:lnTo>
                  <a:lnTo>
                    <a:pt x="2501" y="0"/>
                  </a:lnTo>
                  <a:lnTo>
                    <a:pt x="2517" y="14"/>
                  </a:lnTo>
                  <a:lnTo>
                    <a:pt x="2598" y="24"/>
                  </a:lnTo>
                  <a:lnTo>
                    <a:pt x="2584" y="65"/>
                  </a:lnTo>
                  <a:lnTo>
                    <a:pt x="2552" y="92"/>
                  </a:lnTo>
                  <a:lnTo>
                    <a:pt x="2556" y="157"/>
                  </a:lnTo>
                  <a:lnTo>
                    <a:pt x="2548" y="182"/>
                  </a:lnTo>
                  <a:lnTo>
                    <a:pt x="2548" y="220"/>
                  </a:lnTo>
                  <a:lnTo>
                    <a:pt x="2560" y="239"/>
                  </a:lnTo>
                  <a:lnTo>
                    <a:pt x="2596" y="250"/>
                  </a:lnTo>
                  <a:lnTo>
                    <a:pt x="2593" y="219"/>
                  </a:lnTo>
                  <a:lnTo>
                    <a:pt x="2618" y="208"/>
                  </a:lnTo>
                  <a:lnTo>
                    <a:pt x="2619" y="168"/>
                  </a:lnTo>
                  <a:lnTo>
                    <a:pt x="2596" y="85"/>
                  </a:lnTo>
                  <a:lnTo>
                    <a:pt x="2616" y="35"/>
                  </a:lnTo>
                  <a:lnTo>
                    <a:pt x="2607" y="0"/>
                  </a:lnTo>
                  <a:lnTo>
                    <a:pt x="4694" y="0"/>
                  </a:lnTo>
                  <a:lnTo>
                    <a:pt x="4700" y="27"/>
                  </a:lnTo>
                  <a:lnTo>
                    <a:pt x="4712" y="24"/>
                  </a:lnTo>
                  <a:lnTo>
                    <a:pt x="4751" y="112"/>
                  </a:lnTo>
                  <a:lnTo>
                    <a:pt x="4796" y="129"/>
                  </a:lnTo>
                  <a:lnTo>
                    <a:pt x="4813" y="161"/>
                  </a:lnTo>
                  <a:lnTo>
                    <a:pt x="4869" y="0"/>
                  </a:lnTo>
                  <a:lnTo>
                    <a:pt x="4889" y="0"/>
                  </a:lnTo>
                  <a:lnTo>
                    <a:pt x="4921" y="60"/>
                  </a:lnTo>
                  <a:lnTo>
                    <a:pt x="5009" y="27"/>
                  </a:lnTo>
                  <a:lnTo>
                    <a:pt x="5045" y="45"/>
                  </a:lnTo>
                  <a:lnTo>
                    <a:pt x="5119" y="97"/>
                  </a:lnTo>
                  <a:lnTo>
                    <a:pt x="5189" y="45"/>
                  </a:lnTo>
                  <a:lnTo>
                    <a:pt x="5212" y="55"/>
                  </a:lnTo>
                  <a:lnTo>
                    <a:pt x="5201" y="11"/>
                  </a:lnTo>
                  <a:lnTo>
                    <a:pt x="5205" y="0"/>
                  </a:lnTo>
                  <a:lnTo>
                    <a:pt x="5641" y="0"/>
                  </a:lnTo>
                  <a:lnTo>
                    <a:pt x="5629" y="21"/>
                  </a:lnTo>
                  <a:lnTo>
                    <a:pt x="5685" y="30"/>
                  </a:lnTo>
                  <a:lnTo>
                    <a:pt x="5707" y="64"/>
                  </a:lnTo>
                  <a:lnTo>
                    <a:pt x="5749" y="55"/>
                  </a:lnTo>
                  <a:lnTo>
                    <a:pt x="5783" y="95"/>
                  </a:lnTo>
                  <a:lnTo>
                    <a:pt x="5756" y="123"/>
                  </a:lnTo>
                  <a:lnTo>
                    <a:pt x="5793" y="148"/>
                  </a:lnTo>
                  <a:lnTo>
                    <a:pt x="5893" y="121"/>
                  </a:lnTo>
                  <a:lnTo>
                    <a:pt x="6083" y="126"/>
                  </a:lnTo>
                  <a:lnTo>
                    <a:pt x="6135" y="200"/>
                  </a:lnTo>
                  <a:lnTo>
                    <a:pt x="6122" y="282"/>
                  </a:lnTo>
                  <a:lnTo>
                    <a:pt x="6149" y="293"/>
                  </a:lnTo>
                  <a:lnTo>
                    <a:pt x="6193" y="313"/>
                  </a:lnTo>
                  <a:lnTo>
                    <a:pt x="6194" y="338"/>
                  </a:lnTo>
                  <a:lnTo>
                    <a:pt x="6321" y="285"/>
                  </a:lnTo>
                  <a:lnTo>
                    <a:pt x="6333" y="307"/>
                  </a:lnTo>
                  <a:lnTo>
                    <a:pt x="6451" y="326"/>
                  </a:lnTo>
                  <a:lnTo>
                    <a:pt x="6493" y="287"/>
                  </a:lnTo>
                  <a:lnTo>
                    <a:pt x="6513" y="312"/>
                  </a:lnTo>
                  <a:lnTo>
                    <a:pt x="6516" y="359"/>
                  </a:lnTo>
                  <a:lnTo>
                    <a:pt x="6599" y="418"/>
                  </a:lnTo>
                  <a:lnTo>
                    <a:pt x="6643" y="375"/>
                  </a:lnTo>
                  <a:lnTo>
                    <a:pt x="6624" y="313"/>
                  </a:lnTo>
                  <a:lnTo>
                    <a:pt x="6599" y="307"/>
                  </a:lnTo>
                  <a:lnTo>
                    <a:pt x="6618" y="292"/>
                  </a:lnTo>
                  <a:lnTo>
                    <a:pt x="6618" y="254"/>
                  </a:lnTo>
                  <a:lnTo>
                    <a:pt x="6624" y="250"/>
                  </a:lnTo>
                  <a:lnTo>
                    <a:pt x="6867" y="273"/>
                  </a:lnTo>
                  <a:lnTo>
                    <a:pt x="6983" y="333"/>
                  </a:lnTo>
                  <a:lnTo>
                    <a:pt x="7059" y="398"/>
                  </a:lnTo>
                  <a:lnTo>
                    <a:pt x="7059" y="399"/>
                  </a:lnTo>
                  <a:lnTo>
                    <a:pt x="7107" y="418"/>
                  </a:lnTo>
                  <a:lnTo>
                    <a:pt x="7115" y="446"/>
                  </a:lnTo>
                  <a:lnTo>
                    <a:pt x="7141" y="457"/>
                  </a:lnTo>
                  <a:lnTo>
                    <a:pt x="7144" y="482"/>
                  </a:lnTo>
                  <a:lnTo>
                    <a:pt x="7161" y="474"/>
                  </a:lnTo>
                  <a:lnTo>
                    <a:pt x="7178" y="483"/>
                  </a:lnTo>
                  <a:lnTo>
                    <a:pt x="7184" y="499"/>
                  </a:lnTo>
                  <a:lnTo>
                    <a:pt x="7197" y="499"/>
                  </a:lnTo>
                  <a:lnTo>
                    <a:pt x="7201" y="511"/>
                  </a:lnTo>
                  <a:lnTo>
                    <a:pt x="7192" y="519"/>
                  </a:lnTo>
                  <a:lnTo>
                    <a:pt x="7234" y="531"/>
                  </a:lnTo>
                  <a:lnTo>
                    <a:pt x="7233" y="542"/>
                  </a:lnTo>
                  <a:lnTo>
                    <a:pt x="7220" y="551"/>
                  </a:lnTo>
                  <a:lnTo>
                    <a:pt x="7268" y="579"/>
                  </a:lnTo>
                  <a:lnTo>
                    <a:pt x="7245" y="542"/>
                  </a:lnTo>
                  <a:lnTo>
                    <a:pt x="7270" y="551"/>
                  </a:lnTo>
                  <a:lnTo>
                    <a:pt x="7274" y="570"/>
                  </a:lnTo>
                  <a:lnTo>
                    <a:pt x="7294" y="585"/>
                  </a:lnTo>
                  <a:lnTo>
                    <a:pt x="7296" y="596"/>
                  </a:lnTo>
                  <a:lnTo>
                    <a:pt x="7287" y="587"/>
                  </a:lnTo>
                  <a:lnTo>
                    <a:pt x="7302" y="639"/>
                  </a:lnTo>
                  <a:lnTo>
                    <a:pt x="7301" y="659"/>
                  </a:lnTo>
                  <a:lnTo>
                    <a:pt x="7316" y="671"/>
                  </a:lnTo>
                  <a:lnTo>
                    <a:pt x="7316" y="686"/>
                  </a:lnTo>
                  <a:lnTo>
                    <a:pt x="7335" y="688"/>
                  </a:lnTo>
                  <a:lnTo>
                    <a:pt x="7333" y="709"/>
                  </a:lnTo>
                  <a:lnTo>
                    <a:pt x="7344" y="703"/>
                  </a:lnTo>
                  <a:lnTo>
                    <a:pt x="7345" y="686"/>
                  </a:lnTo>
                  <a:lnTo>
                    <a:pt x="7327" y="676"/>
                  </a:lnTo>
                  <a:lnTo>
                    <a:pt x="7331" y="635"/>
                  </a:lnTo>
                  <a:lnTo>
                    <a:pt x="7319" y="634"/>
                  </a:lnTo>
                  <a:lnTo>
                    <a:pt x="7310" y="626"/>
                  </a:lnTo>
                  <a:lnTo>
                    <a:pt x="7324" y="624"/>
                  </a:lnTo>
                  <a:lnTo>
                    <a:pt x="7344" y="632"/>
                  </a:lnTo>
                  <a:lnTo>
                    <a:pt x="7345" y="615"/>
                  </a:lnTo>
                  <a:lnTo>
                    <a:pt x="7368" y="629"/>
                  </a:lnTo>
                  <a:lnTo>
                    <a:pt x="7358" y="639"/>
                  </a:lnTo>
                  <a:lnTo>
                    <a:pt x="7365" y="652"/>
                  </a:lnTo>
                  <a:lnTo>
                    <a:pt x="7372" y="646"/>
                  </a:lnTo>
                  <a:lnTo>
                    <a:pt x="7370" y="634"/>
                  </a:lnTo>
                  <a:lnTo>
                    <a:pt x="7395" y="646"/>
                  </a:lnTo>
                  <a:lnTo>
                    <a:pt x="7395" y="630"/>
                  </a:lnTo>
                  <a:lnTo>
                    <a:pt x="7438" y="639"/>
                  </a:lnTo>
                  <a:lnTo>
                    <a:pt x="7457" y="676"/>
                  </a:lnTo>
                  <a:lnTo>
                    <a:pt x="7495" y="712"/>
                  </a:lnTo>
                  <a:lnTo>
                    <a:pt x="7489" y="720"/>
                  </a:lnTo>
                  <a:lnTo>
                    <a:pt x="7494" y="725"/>
                  </a:lnTo>
                  <a:lnTo>
                    <a:pt x="7502" y="715"/>
                  </a:lnTo>
                  <a:lnTo>
                    <a:pt x="7509" y="728"/>
                  </a:lnTo>
                  <a:lnTo>
                    <a:pt x="7533" y="735"/>
                  </a:lnTo>
                  <a:lnTo>
                    <a:pt x="7494" y="756"/>
                  </a:lnTo>
                  <a:lnTo>
                    <a:pt x="7491" y="791"/>
                  </a:lnTo>
                  <a:lnTo>
                    <a:pt x="7457" y="766"/>
                  </a:lnTo>
                  <a:lnTo>
                    <a:pt x="7453" y="773"/>
                  </a:lnTo>
                  <a:lnTo>
                    <a:pt x="7455" y="786"/>
                  </a:lnTo>
                  <a:lnTo>
                    <a:pt x="7469" y="793"/>
                  </a:lnTo>
                  <a:lnTo>
                    <a:pt x="7472" y="802"/>
                  </a:lnTo>
                  <a:lnTo>
                    <a:pt x="7469" y="807"/>
                  </a:lnTo>
                  <a:lnTo>
                    <a:pt x="7431" y="803"/>
                  </a:lnTo>
                  <a:lnTo>
                    <a:pt x="7419" y="813"/>
                  </a:lnTo>
                  <a:lnTo>
                    <a:pt x="7418" y="832"/>
                  </a:lnTo>
                  <a:lnTo>
                    <a:pt x="7415" y="835"/>
                  </a:lnTo>
                  <a:lnTo>
                    <a:pt x="7424" y="852"/>
                  </a:lnTo>
                  <a:lnTo>
                    <a:pt x="7376" y="881"/>
                  </a:lnTo>
                  <a:lnTo>
                    <a:pt x="7392" y="884"/>
                  </a:lnTo>
                  <a:lnTo>
                    <a:pt x="7382" y="895"/>
                  </a:lnTo>
                  <a:lnTo>
                    <a:pt x="7398" y="896"/>
                  </a:lnTo>
                  <a:lnTo>
                    <a:pt x="7410" y="920"/>
                  </a:lnTo>
                  <a:lnTo>
                    <a:pt x="7385" y="918"/>
                  </a:lnTo>
                  <a:lnTo>
                    <a:pt x="7387" y="932"/>
                  </a:lnTo>
                  <a:lnTo>
                    <a:pt x="7381" y="938"/>
                  </a:lnTo>
                  <a:lnTo>
                    <a:pt x="7362" y="932"/>
                  </a:lnTo>
                  <a:lnTo>
                    <a:pt x="7370" y="910"/>
                  </a:lnTo>
                  <a:lnTo>
                    <a:pt x="7365" y="904"/>
                  </a:lnTo>
                  <a:lnTo>
                    <a:pt x="7362" y="925"/>
                  </a:lnTo>
                  <a:lnTo>
                    <a:pt x="7355" y="930"/>
                  </a:lnTo>
                  <a:lnTo>
                    <a:pt x="7345" y="926"/>
                  </a:lnTo>
                  <a:lnTo>
                    <a:pt x="7347" y="915"/>
                  </a:lnTo>
                  <a:lnTo>
                    <a:pt x="7333" y="921"/>
                  </a:lnTo>
                  <a:lnTo>
                    <a:pt x="7322" y="904"/>
                  </a:lnTo>
                  <a:lnTo>
                    <a:pt x="7327" y="900"/>
                  </a:lnTo>
                  <a:lnTo>
                    <a:pt x="7297" y="886"/>
                  </a:lnTo>
                  <a:lnTo>
                    <a:pt x="7304" y="878"/>
                  </a:lnTo>
                  <a:lnTo>
                    <a:pt x="7305" y="864"/>
                  </a:lnTo>
                  <a:lnTo>
                    <a:pt x="7302" y="866"/>
                  </a:lnTo>
                  <a:lnTo>
                    <a:pt x="7302" y="879"/>
                  </a:lnTo>
                  <a:lnTo>
                    <a:pt x="7291" y="872"/>
                  </a:lnTo>
                  <a:lnTo>
                    <a:pt x="7293" y="887"/>
                  </a:lnTo>
                  <a:lnTo>
                    <a:pt x="7270" y="883"/>
                  </a:lnTo>
                  <a:lnTo>
                    <a:pt x="7246" y="853"/>
                  </a:lnTo>
                  <a:lnTo>
                    <a:pt x="7245" y="810"/>
                  </a:lnTo>
                  <a:lnTo>
                    <a:pt x="7218" y="793"/>
                  </a:lnTo>
                  <a:lnTo>
                    <a:pt x="7163" y="805"/>
                  </a:lnTo>
                  <a:lnTo>
                    <a:pt x="7127" y="796"/>
                  </a:lnTo>
                  <a:lnTo>
                    <a:pt x="7123" y="771"/>
                  </a:lnTo>
                  <a:lnTo>
                    <a:pt x="7118" y="769"/>
                  </a:lnTo>
                  <a:lnTo>
                    <a:pt x="7104" y="740"/>
                  </a:lnTo>
                  <a:lnTo>
                    <a:pt x="7123" y="737"/>
                  </a:lnTo>
                  <a:lnTo>
                    <a:pt x="7124" y="706"/>
                  </a:lnTo>
                  <a:lnTo>
                    <a:pt x="7106" y="731"/>
                  </a:lnTo>
                  <a:lnTo>
                    <a:pt x="7096" y="708"/>
                  </a:lnTo>
                  <a:lnTo>
                    <a:pt x="7085" y="709"/>
                  </a:lnTo>
                  <a:lnTo>
                    <a:pt x="7087" y="732"/>
                  </a:lnTo>
                  <a:lnTo>
                    <a:pt x="7059" y="734"/>
                  </a:lnTo>
                  <a:lnTo>
                    <a:pt x="7059" y="741"/>
                  </a:lnTo>
                  <a:lnTo>
                    <a:pt x="7064" y="762"/>
                  </a:lnTo>
                  <a:lnTo>
                    <a:pt x="7089" y="786"/>
                  </a:lnTo>
                  <a:lnTo>
                    <a:pt x="7089" y="799"/>
                  </a:lnTo>
                  <a:lnTo>
                    <a:pt x="7059" y="848"/>
                  </a:lnTo>
                  <a:lnTo>
                    <a:pt x="7059" y="852"/>
                  </a:lnTo>
                  <a:lnTo>
                    <a:pt x="6992" y="904"/>
                  </a:lnTo>
                  <a:lnTo>
                    <a:pt x="6938" y="889"/>
                  </a:lnTo>
                  <a:lnTo>
                    <a:pt x="6945" y="926"/>
                  </a:lnTo>
                  <a:lnTo>
                    <a:pt x="6971" y="941"/>
                  </a:lnTo>
                  <a:lnTo>
                    <a:pt x="6980" y="929"/>
                  </a:lnTo>
                  <a:lnTo>
                    <a:pt x="6991" y="960"/>
                  </a:lnTo>
                  <a:lnTo>
                    <a:pt x="6996" y="971"/>
                  </a:lnTo>
                  <a:lnTo>
                    <a:pt x="7004" y="1026"/>
                  </a:lnTo>
                  <a:lnTo>
                    <a:pt x="7031" y="1062"/>
                  </a:lnTo>
                  <a:lnTo>
                    <a:pt x="7011" y="1067"/>
                  </a:lnTo>
                  <a:lnTo>
                    <a:pt x="7034" y="1096"/>
                  </a:lnTo>
                  <a:lnTo>
                    <a:pt x="7011" y="1136"/>
                  </a:lnTo>
                  <a:lnTo>
                    <a:pt x="6938" y="1113"/>
                  </a:lnTo>
                  <a:lnTo>
                    <a:pt x="6929" y="1113"/>
                  </a:lnTo>
                  <a:lnTo>
                    <a:pt x="6830" y="1155"/>
                  </a:lnTo>
                  <a:lnTo>
                    <a:pt x="6827" y="1172"/>
                  </a:lnTo>
                  <a:lnTo>
                    <a:pt x="6774" y="1203"/>
                  </a:lnTo>
                  <a:lnTo>
                    <a:pt x="6757" y="1194"/>
                  </a:lnTo>
                  <a:lnTo>
                    <a:pt x="6742" y="1226"/>
                  </a:lnTo>
                  <a:lnTo>
                    <a:pt x="6706" y="1246"/>
                  </a:lnTo>
                  <a:lnTo>
                    <a:pt x="6706" y="1263"/>
                  </a:lnTo>
                  <a:lnTo>
                    <a:pt x="6621" y="1319"/>
                  </a:lnTo>
                  <a:lnTo>
                    <a:pt x="6612" y="1365"/>
                  </a:lnTo>
                  <a:lnTo>
                    <a:pt x="6567" y="1313"/>
                  </a:lnTo>
                  <a:lnTo>
                    <a:pt x="6511" y="1300"/>
                  </a:lnTo>
                  <a:lnTo>
                    <a:pt x="6457" y="1322"/>
                  </a:lnTo>
                  <a:lnTo>
                    <a:pt x="6420" y="1376"/>
                  </a:lnTo>
                  <a:lnTo>
                    <a:pt x="6420" y="1311"/>
                  </a:lnTo>
                  <a:lnTo>
                    <a:pt x="6371" y="1353"/>
                  </a:lnTo>
                  <a:lnTo>
                    <a:pt x="6366" y="1376"/>
                  </a:lnTo>
                  <a:lnTo>
                    <a:pt x="6346" y="1356"/>
                  </a:lnTo>
                  <a:lnTo>
                    <a:pt x="6298" y="1372"/>
                  </a:lnTo>
                  <a:lnTo>
                    <a:pt x="6281" y="1443"/>
                  </a:lnTo>
                  <a:lnTo>
                    <a:pt x="6269" y="1443"/>
                  </a:lnTo>
                  <a:lnTo>
                    <a:pt x="6240" y="1492"/>
                  </a:lnTo>
                  <a:lnTo>
                    <a:pt x="6227" y="1545"/>
                  </a:lnTo>
                  <a:lnTo>
                    <a:pt x="6242" y="1562"/>
                  </a:lnTo>
                  <a:lnTo>
                    <a:pt x="6257" y="1543"/>
                  </a:lnTo>
                  <a:lnTo>
                    <a:pt x="6282" y="1558"/>
                  </a:lnTo>
                  <a:lnTo>
                    <a:pt x="6261" y="1610"/>
                  </a:lnTo>
                  <a:lnTo>
                    <a:pt x="6262" y="1648"/>
                  </a:lnTo>
                  <a:lnTo>
                    <a:pt x="6282" y="1656"/>
                  </a:lnTo>
                  <a:lnTo>
                    <a:pt x="6286" y="1685"/>
                  </a:lnTo>
                  <a:lnTo>
                    <a:pt x="6273" y="1709"/>
                  </a:lnTo>
                  <a:lnTo>
                    <a:pt x="6257" y="1689"/>
                  </a:lnTo>
                  <a:lnTo>
                    <a:pt x="6271" y="1663"/>
                  </a:lnTo>
                  <a:lnTo>
                    <a:pt x="6239" y="1676"/>
                  </a:lnTo>
                  <a:lnTo>
                    <a:pt x="6242" y="1685"/>
                  </a:lnTo>
                  <a:lnTo>
                    <a:pt x="6244" y="1692"/>
                  </a:lnTo>
                  <a:lnTo>
                    <a:pt x="6223" y="1712"/>
                  </a:lnTo>
                  <a:lnTo>
                    <a:pt x="6211" y="1748"/>
                  </a:lnTo>
                  <a:lnTo>
                    <a:pt x="6231" y="1812"/>
                  </a:lnTo>
                  <a:lnTo>
                    <a:pt x="6208" y="1829"/>
                  </a:lnTo>
                  <a:lnTo>
                    <a:pt x="6179" y="1823"/>
                  </a:lnTo>
                  <a:lnTo>
                    <a:pt x="6131" y="1866"/>
                  </a:lnTo>
                  <a:lnTo>
                    <a:pt x="6135" y="1933"/>
                  </a:lnTo>
                  <a:lnTo>
                    <a:pt x="6122" y="1927"/>
                  </a:lnTo>
                  <a:lnTo>
                    <a:pt x="6081" y="1955"/>
                  </a:lnTo>
                  <a:lnTo>
                    <a:pt x="6066" y="1978"/>
                  </a:lnTo>
                  <a:lnTo>
                    <a:pt x="6056" y="2029"/>
                  </a:lnTo>
                  <a:lnTo>
                    <a:pt x="5990" y="2102"/>
                  </a:lnTo>
                  <a:lnTo>
                    <a:pt x="5937" y="1815"/>
                  </a:lnTo>
                  <a:lnTo>
                    <a:pt x="5934" y="1712"/>
                  </a:lnTo>
                  <a:lnTo>
                    <a:pt x="5947" y="1650"/>
                  </a:lnTo>
                  <a:lnTo>
                    <a:pt x="5988" y="1616"/>
                  </a:lnTo>
                  <a:lnTo>
                    <a:pt x="5998" y="1582"/>
                  </a:lnTo>
                  <a:lnTo>
                    <a:pt x="5993" y="1554"/>
                  </a:lnTo>
                  <a:lnTo>
                    <a:pt x="6018" y="1558"/>
                  </a:lnTo>
                  <a:lnTo>
                    <a:pt x="6063" y="1532"/>
                  </a:lnTo>
                  <a:lnTo>
                    <a:pt x="6157" y="1402"/>
                  </a:lnTo>
                  <a:lnTo>
                    <a:pt x="6220" y="1342"/>
                  </a:lnTo>
                  <a:lnTo>
                    <a:pt x="6227" y="1317"/>
                  </a:lnTo>
                  <a:lnTo>
                    <a:pt x="6307" y="1277"/>
                  </a:lnTo>
                  <a:lnTo>
                    <a:pt x="6301" y="1257"/>
                  </a:lnTo>
                  <a:lnTo>
                    <a:pt x="6313" y="1240"/>
                  </a:lnTo>
                  <a:lnTo>
                    <a:pt x="6329" y="1147"/>
                  </a:lnTo>
                  <a:lnTo>
                    <a:pt x="6366" y="1118"/>
                  </a:lnTo>
                  <a:lnTo>
                    <a:pt x="6340" y="1101"/>
                  </a:lnTo>
                  <a:lnTo>
                    <a:pt x="6290" y="1127"/>
                  </a:lnTo>
                  <a:lnTo>
                    <a:pt x="6274" y="1189"/>
                  </a:lnTo>
                  <a:lnTo>
                    <a:pt x="6286" y="1200"/>
                  </a:lnTo>
                  <a:lnTo>
                    <a:pt x="6279" y="1214"/>
                  </a:lnTo>
                  <a:lnTo>
                    <a:pt x="6265" y="1198"/>
                  </a:lnTo>
                  <a:lnTo>
                    <a:pt x="6245" y="1208"/>
                  </a:lnTo>
                  <a:lnTo>
                    <a:pt x="6146" y="1306"/>
                  </a:lnTo>
                  <a:lnTo>
                    <a:pt x="6156" y="1265"/>
                  </a:lnTo>
                  <a:lnTo>
                    <a:pt x="6129" y="1268"/>
                  </a:lnTo>
                  <a:lnTo>
                    <a:pt x="6137" y="1254"/>
                  </a:lnTo>
                  <a:lnTo>
                    <a:pt x="6132" y="1235"/>
                  </a:lnTo>
                  <a:lnTo>
                    <a:pt x="6154" y="1174"/>
                  </a:lnTo>
                  <a:lnTo>
                    <a:pt x="6129" y="1200"/>
                  </a:lnTo>
                  <a:lnTo>
                    <a:pt x="6092" y="1175"/>
                  </a:lnTo>
                  <a:lnTo>
                    <a:pt x="6008" y="1201"/>
                  </a:lnTo>
                  <a:lnTo>
                    <a:pt x="5868" y="1376"/>
                  </a:lnTo>
                  <a:lnTo>
                    <a:pt x="5874" y="1396"/>
                  </a:lnTo>
                  <a:lnTo>
                    <a:pt x="5869" y="1407"/>
                  </a:lnTo>
                  <a:lnTo>
                    <a:pt x="5910" y="1421"/>
                  </a:lnTo>
                  <a:lnTo>
                    <a:pt x="5911" y="1436"/>
                  </a:lnTo>
                  <a:lnTo>
                    <a:pt x="5900" y="1440"/>
                  </a:lnTo>
                  <a:lnTo>
                    <a:pt x="5843" y="1433"/>
                  </a:lnTo>
                  <a:lnTo>
                    <a:pt x="5807" y="1460"/>
                  </a:lnTo>
                  <a:lnTo>
                    <a:pt x="5792" y="1448"/>
                  </a:lnTo>
                  <a:lnTo>
                    <a:pt x="5741" y="1465"/>
                  </a:lnTo>
                  <a:lnTo>
                    <a:pt x="5729" y="1443"/>
                  </a:lnTo>
                  <a:lnTo>
                    <a:pt x="5776" y="1427"/>
                  </a:lnTo>
                  <a:lnTo>
                    <a:pt x="5741" y="1401"/>
                  </a:lnTo>
                  <a:lnTo>
                    <a:pt x="5717" y="1410"/>
                  </a:lnTo>
                  <a:lnTo>
                    <a:pt x="5640" y="1385"/>
                  </a:lnTo>
                  <a:lnTo>
                    <a:pt x="5631" y="1392"/>
                  </a:lnTo>
                  <a:lnTo>
                    <a:pt x="5636" y="1409"/>
                  </a:lnTo>
                  <a:lnTo>
                    <a:pt x="5617" y="1412"/>
                  </a:lnTo>
                  <a:lnTo>
                    <a:pt x="5624" y="1427"/>
                  </a:lnTo>
                  <a:lnTo>
                    <a:pt x="5612" y="1432"/>
                  </a:lnTo>
                  <a:lnTo>
                    <a:pt x="5599" y="1418"/>
                  </a:lnTo>
                  <a:lnTo>
                    <a:pt x="5561" y="1429"/>
                  </a:lnTo>
                  <a:lnTo>
                    <a:pt x="5512" y="1410"/>
                  </a:lnTo>
                  <a:lnTo>
                    <a:pt x="5495" y="1436"/>
                  </a:lnTo>
                  <a:lnTo>
                    <a:pt x="5468" y="1415"/>
                  </a:lnTo>
                  <a:lnTo>
                    <a:pt x="5360" y="1421"/>
                  </a:lnTo>
                  <a:lnTo>
                    <a:pt x="5320" y="1443"/>
                  </a:lnTo>
                  <a:lnTo>
                    <a:pt x="5253" y="1514"/>
                  </a:lnTo>
                  <a:lnTo>
                    <a:pt x="5231" y="1556"/>
                  </a:lnTo>
                  <a:lnTo>
                    <a:pt x="5141" y="1641"/>
                  </a:lnTo>
                  <a:lnTo>
                    <a:pt x="5109" y="1695"/>
                  </a:lnTo>
                  <a:lnTo>
                    <a:pt x="4997" y="1794"/>
                  </a:lnTo>
                  <a:lnTo>
                    <a:pt x="4994" y="1811"/>
                  </a:lnTo>
                  <a:lnTo>
                    <a:pt x="5017" y="1823"/>
                  </a:lnTo>
                  <a:lnTo>
                    <a:pt x="5065" y="1820"/>
                  </a:lnTo>
                  <a:lnTo>
                    <a:pt x="5067" y="1887"/>
                  </a:lnTo>
                  <a:lnTo>
                    <a:pt x="5084" y="1873"/>
                  </a:lnTo>
                  <a:lnTo>
                    <a:pt x="5085" y="1851"/>
                  </a:lnTo>
                  <a:lnTo>
                    <a:pt x="5105" y="1844"/>
                  </a:lnTo>
                  <a:lnTo>
                    <a:pt x="5092" y="1859"/>
                  </a:lnTo>
                  <a:lnTo>
                    <a:pt x="5107" y="1878"/>
                  </a:lnTo>
                  <a:lnTo>
                    <a:pt x="5088" y="1900"/>
                  </a:lnTo>
                  <a:lnTo>
                    <a:pt x="5130" y="1891"/>
                  </a:lnTo>
                  <a:lnTo>
                    <a:pt x="5145" y="1873"/>
                  </a:lnTo>
                  <a:lnTo>
                    <a:pt x="5138" y="1905"/>
                  </a:lnTo>
                  <a:lnTo>
                    <a:pt x="5153" y="1883"/>
                  </a:lnTo>
                  <a:lnTo>
                    <a:pt x="5156" y="1844"/>
                  </a:lnTo>
                  <a:lnTo>
                    <a:pt x="5204" y="1848"/>
                  </a:lnTo>
                  <a:lnTo>
                    <a:pt x="5229" y="1887"/>
                  </a:lnTo>
                  <a:lnTo>
                    <a:pt x="5278" y="1922"/>
                  </a:lnTo>
                  <a:lnTo>
                    <a:pt x="5268" y="1942"/>
                  </a:lnTo>
                  <a:lnTo>
                    <a:pt x="5210" y="1930"/>
                  </a:lnTo>
                  <a:lnTo>
                    <a:pt x="5266" y="1952"/>
                  </a:lnTo>
                  <a:lnTo>
                    <a:pt x="5272" y="1975"/>
                  </a:lnTo>
                  <a:lnTo>
                    <a:pt x="5266" y="1989"/>
                  </a:lnTo>
                  <a:lnTo>
                    <a:pt x="5282" y="2006"/>
                  </a:lnTo>
                  <a:lnTo>
                    <a:pt x="5252" y="2063"/>
                  </a:lnTo>
                  <a:lnTo>
                    <a:pt x="5236" y="2113"/>
                  </a:lnTo>
                  <a:lnTo>
                    <a:pt x="5246" y="2164"/>
                  </a:lnTo>
                  <a:lnTo>
                    <a:pt x="5227" y="2274"/>
                  </a:lnTo>
                  <a:lnTo>
                    <a:pt x="5148" y="2377"/>
                  </a:lnTo>
                  <a:lnTo>
                    <a:pt x="5111" y="2452"/>
                  </a:lnTo>
                  <a:lnTo>
                    <a:pt x="4987" y="2606"/>
                  </a:lnTo>
                  <a:lnTo>
                    <a:pt x="4906" y="2651"/>
                  </a:lnTo>
                  <a:lnTo>
                    <a:pt x="4864" y="2642"/>
                  </a:lnTo>
                  <a:lnTo>
                    <a:pt x="4862" y="2616"/>
                  </a:lnTo>
                  <a:lnTo>
                    <a:pt x="4847" y="2626"/>
                  </a:lnTo>
                  <a:lnTo>
                    <a:pt x="4839" y="2606"/>
                  </a:lnTo>
                  <a:lnTo>
                    <a:pt x="4811" y="2657"/>
                  </a:lnTo>
                  <a:lnTo>
                    <a:pt x="4788" y="2657"/>
                  </a:lnTo>
                  <a:lnTo>
                    <a:pt x="4791" y="2668"/>
                  </a:lnTo>
                  <a:lnTo>
                    <a:pt x="4784" y="2670"/>
                  </a:lnTo>
                  <a:lnTo>
                    <a:pt x="4780" y="2660"/>
                  </a:lnTo>
                  <a:lnTo>
                    <a:pt x="4780" y="2645"/>
                  </a:lnTo>
                  <a:lnTo>
                    <a:pt x="4811" y="2609"/>
                  </a:lnTo>
                  <a:lnTo>
                    <a:pt x="4811" y="2562"/>
                  </a:lnTo>
                  <a:lnTo>
                    <a:pt x="4799" y="2526"/>
                  </a:lnTo>
                  <a:lnTo>
                    <a:pt x="4839" y="2492"/>
                  </a:lnTo>
                  <a:lnTo>
                    <a:pt x="4882" y="2503"/>
                  </a:lnTo>
                  <a:lnTo>
                    <a:pt x="4887" y="2506"/>
                  </a:lnTo>
                  <a:lnTo>
                    <a:pt x="4898" y="2498"/>
                  </a:lnTo>
                  <a:lnTo>
                    <a:pt x="4927" y="2433"/>
                  </a:lnTo>
                  <a:lnTo>
                    <a:pt x="4950" y="2354"/>
                  </a:lnTo>
                  <a:lnTo>
                    <a:pt x="4970" y="2334"/>
                  </a:lnTo>
                  <a:lnTo>
                    <a:pt x="4975" y="2274"/>
                  </a:lnTo>
                  <a:lnTo>
                    <a:pt x="4867" y="2322"/>
                  </a:lnTo>
                  <a:lnTo>
                    <a:pt x="4850" y="2328"/>
                  </a:lnTo>
                  <a:lnTo>
                    <a:pt x="4805" y="2326"/>
                  </a:lnTo>
                  <a:lnTo>
                    <a:pt x="4777" y="2241"/>
                  </a:lnTo>
                  <a:lnTo>
                    <a:pt x="4728" y="2212"/>
                  </a:lnTo>
                  <a:lnTo>
                    <a:pt x="4712" y="2204"/>
                  </a:lnTo>
                  <a:lnTo>
                    <a:pt x="4636" y="2191"/>
                  </a:lnTo>
                  <a:lnTo>
                    <a:pt x="4636" y="2174"/>
                  </a:lnTo>
                  <a:lnTo>
                    <a:pt x="4621" y="2103"/>
                  </a:lnTo>
                  <a:lnTo>
                    <a:pt x="4584" y="2000"/>
                  </a:lnTo>
                  <a:lnTo>
                    <a:pt x="4550" y="1947"/>
                  </a:lnTo>
                  <a:lnTo>
                    <a:pt x="4496" y="1938"/>
                  </a:lnTo>
                  <a:lnTo>
                    <a:pt x="4457" y="1910"/>
                  </a:lnTo>
                  <a:lnTo>
                    <a:pt x="4362" y="1927"/>
                  </a:lnTo>
                  <a:lnTo>
                    <a:pt x="4332" y="1932"/>
                  </a:lnTo>
                  <a:lnTo>
                    <a:pt x="4291" y="1973"/>
                  </a:lnTo>
                  <a:lnTo>
                    <a:pt x="4291" y="1988"/>
                  </a:lnTo>
                  <a:lnTo>
                    <a:pt x="4319" y="1986"/>
                  </a:lnTo>
                  <a:lnTo>
                    <a:pt x="4324" y="2022"/>
                  </a:lnTo>
                  <a:lnTo>
                    <a:pt x="4288" y="2054"/>
                  </a:lnTo>
                  <a:lnTo>
                    <a:pt x="4254" y="2159"/>
                  </a:lnTo>
                  <a:lnTo>
                    <a:pt x="4191" y="2196"/>
                  </a:lnTo>
                  <a:lnTo>
                    <a:pt x="4121" y="2167"/>
                  </a:lnTo>
                  <a:lnTo>
                    <a:pt x="4092" y="2174"/>
                  </a:lnTo>
                  <a:lnTo>
                    <a:pt x="4039" y="2150"/>
                  </a:lnTo>
                  <a:lnTo>
                    <a:pt x="3966" y="2196"/>
                  </a:lnTo>
                  <a:lnTo>
                    <a:pt x="3868" y="2223"/>
                  </a:lnTo>
                  <a:lnTo>
                    <a:pt x="3770" y="2207"/>
                  </a:lnTo>
                  <a:lnTo>
                    <a:pt x="3736" y="2176"/>
                  </a:lnTo>
                  <a:lnTo>
                    <a:pt x="3626" y="2125"/>
                  </a:lnTo>
                  <a:lnTo>
                    <a:pt x="3602" y="2119"/>
                  </a:lnTo>
                  <a:lnTo>
                    <a:pt x="3532" y="2145"/>
                  </a:lnTo>
                  <a:lnTo>
                    <a:pt x="3505" y="2137"/>
                  </a:lnTo>
                  <a:lnTo>
                    <a:pt x="3468" y="2111"/>
                  </a:lnTo>
                  <a:lnTo>
                    <a:pt x="3456" y="2056"/>
                  </a:lnTo>
                  <a:lnTo>
                    <a:pt x="3332" y="2006"/>
                  </a:lnTo>
                  <a:lnTo>
                    <a:pt x="3270" y="2060"/>
                  </a:lnTo>
                  <a:lnTo>
                    <a:pt x="3281" y="2117"/>
                  </a:lnTo>
                  <a:lnTo>
                    <a:pt x="3273" y="2130"/>
                  </a:lnTo>
                  <a:lnTo>
                    <a:pt x="3275" y="2159"/>
                  </a:lnTo>
                  <a:lnTo>
                    <a:pt x="3267" y="2164"/>
                  </a:lnTo>
                  <a:lnTo>
                    <a:pt x="3131" y="2165"/>
                  </a:lnTo>
                  <a:lnTo>
                    <a:pt x="3102" y="2133"/>
                  </a:lnTo>
                  <a:lnTo>
                    <a:pt x="2990" y="2120"/>
                  </a:lnTo>
                  <a:lnTo>
                    <a:pt x="2830" y="2204"/>
                  </a:lnTo>
                  <a:lnTo>
                    <a:pt x="2806" y="2237"/>
                  </a:lnTo>
                  <a:lnTo>
                    <a:pt x="2789" y="2250"/>
                  </a:lnTo>
                  <a:lnTo>
                    <a:pt x="2769" y="2246"/>
                  </a:lnTo>
                  <a:lnTo>
                    <a:pt x="2775" y="2220"/>
                  </a:lnTo>
                  <a:lnTo>
                    <a:pt x="2750" y="2181"/>
                  </a:lnTo>
                  <a:lnTo>
                    <a:pt x="2732" y="2198"/>
                  </a:lnTo>
                  <a:lnTo>
                    <a:pt x="2686" y="2186"/>
                  </a:lnTo>
                  <a:lnTo>
                    <a:pt x="2607" y="2091"/>
                  </a:lnTo>
                  <a:lnTo>
                    <a:pt x="2565" y="2108"/>
                  </a:lnTo>
                  <a:lnTo>
                    <a:pt x="2511" y="2108"/>
                  </a:lnTo>
                  <a:lnTo>
                    <a:pt x="2501" y="2083"/>
                  </a:lnTo>
                  <a:lnTo>
                    <a:pt x="2479" y="2069"/>
                  </a:lnTo>
                  <a:lnTo>
                    <a:pt x="2449" y="2105"/>
                  </a:lnTo>
                  <a:lnTo>
                    <a:pt x="2349" y="1921"/>
                  </a:lnTo>
                  <a:lnTo>
                    <a:pt x="2285" y="1862"/>
                  </a:lnTo>
                  <a:lnTo>
                    <a:pt x="2282" y="1849"/>
                  </a:lnTo>
                  <a:lnTo>
                    <a:pt x="2298" y="1842"/>
                  </a:lnTo>
                  <a:lnTo>
                    <a:pt x="2294" y="1829"/>
                  </a:lnTo>
                  <a:lnTo>
                    <a:pt x="2240" y="1848"/>
                  </a:lnTo>
                  <a:lnTo>
                    <a:pt x="2188" y="1898"/>
                  </a:lnTo>
                  <a:lnTo>
                    <a:pt x="2141" y="1902"/>
                  </a:lnTo>
                  <a:lnTo>
                    <a:pt x="2135" y="1890"/>
                  </a:lnTo>
                  <a:lnTo>
                    <a:pt x="2154" y="1871"/>
                  </a:lnTo>
                  <a:lnTo>
                    <a:pt x="2152" y="1857"/>
                  </a:lnTo>
                  <a:lnTo>
                    <a:pt x="2137" y="1866"/>
                  </a:lnTo>
                  <a:lnTo>
                    <a:pt x="2107" y="1851"/>
                  </a:lnTo>
                  <a:lnTo>
                    <a:pt x="2099" y="1854"/>
                  </a:lnTo>
                  <a:lnTo>
                    <a:pt x="2107" y="1866"/>
                  </a:lnTo>
                  <a:lnTo>
                    <a:pt x="2093" y="1865"/>
                  </a:lnTo>
                  <a:lnTo>
                    <a:pt x="2095" y="1851"/>
                  </a:lnTo>
                  <a:lnTo>
                    <a:pt x="2079" y="1832"/>
                  </a:lnTo>
                  <a:lnTo>
                    <a:pt x="2078" y="1846"/>
                  </a:lnTo>
                  <a:lnTo>
                    <a:pt x="2037" y="1851"/>
                  </a:lnTo>
                  <a:lnTo>
                    <a:pt x="2030" y="1839"/>
                  </a:lnTo>
                  <a:lnTo>
                    <a:pt x="2042" y="1808"/>
                  </a:lnTo>
                  <a:lnTo>
                    <a:pt x="2032" y="1798"/>
                  </a:lnTo>
                  <a:lnTo>
                    <a:pt x="2027" y="1766"/>
                  </a:lnTo>
                  <a:lnTo>
                    <a:pt x="1937" y="1749"/>
                  </a:lnTo>
                  <a:lnTo>
                    <a:pt x="1903" y="1765"/>
                  </a:lnTo>
                  <a:lnTo>
                    <a:pt x="1900" y="1783"/>
                  </a:lnTo>
                  <a:lnTo>
                    <a:pt x="1771" y="1811"/>
                  </a:lnTo>
                  <a:lnTo>
                    <a:pt x="1744" y="1828"/>
                  </a:lnTo>
                  <a:lnTo>
                    <a:pt x="1708" y="1848"/>
                  </a:lnTo>
                  <a:lnTo>
                    <a:pt x="1691" y="1840"/>
                  </a:lnTo>
                  <a:lnTo>
                    <a:pt x="1640" y="1868"/>
                  </a:lnTo>
                  <a:lnTo>
                    <a:pt x="1566" y="1865"/>
                  </a:lnTo>
                  <a:lnTo>
                    <a:pt x="1576" y="1874"/>
                  </a:lnTo>
                  <a:lnTo>
                    <a:pt x="1570" y="1893"/>
                  </a:lnTo>
                  <a:lnTo>
                    <a:pt x="1593" y="1895"/>
                  </a:lnTo>
                  <a:lnTo>
                    <a:pt x="1576" y="1904"/>
                  </a:lnTo>
                  <a:lnTo>
                    <a:pt x="1580" y="1915"/>
                  </a:lnTo>
                  <a:lnTo>
                    <a:pt x="1623" y="1932"/>
                  </a:lnTo>
                  <a:lnTo>
                    <a:pt x="1573" y="1939"/>
                  </a:lnTo>
                  <a:lnTo>
                    <a:pt x="1555" y="1958"/>
                  </a:lnTo>
                  <a:lnTo>
                    <a:pt x="1570" y="1980"/>
                  </a:lnTo>
                  <a:lnTo>
                    <a:pt x="1566" y="1993"/>
                  </a:lnTo>
                  <a:lnTo>
                    <a:pt x="1524" y="2015"/>
                  </a:lnTo>
                  <a:lnTo>
                    <a:pt x="1539" y="2039"/>
                  </a:lnTo>
                  <a:lnTo>
                    <a:pt x="1570" y="2057"/>
                  </a:lnTo>
                  <a:lnTo>
                    <a:pt x="1595" y="2059"/>
                  </a:lnTo>
                  <a:lnTo>
                    <a:pt x="1598" y="2065"/>
                  </a:lnTo>
                  <a:lnTo>
                    <a:pt x="1587" y="2103"/>
                  </a:lnTo>
                  <a:lnTo>
                    <a:pt x="1567" y="2111"/>
                  </a:lnTo>
                  <a:lnTo>
                    <a:pt x="1526" y="2100"/>
                  </a:lnTo>
                  <a:lnTo>
                    <a:pt x="1497" y="2123"/>
                  </a:lnTo>
                  <a:lnTo>
                    <a:pt x="1468" y="2113"/>
                  </a:lnTo>
                  <a:lnTo>
                    <a:pt x="1441" y="2079"/>
                  </a:lnTo>
                  <a:lnTo>
                    <a:pt x="1417" y="2086"/>
                  </a:lnTo>
                  <a:lnTo>
                    <a:pt x="1405" y="2096"/>
                  </a:lnTo>
                  <a:lnTo>
                    <a:pt x="1372" y="2085"/>
                  </a:lnTo>
                  <a:lnTo>
                    <a:pt x="1324" y="2119"/>
                  </a:lnTo>
                  <a:lnTo>
                    <a:pt x="1284" y="2085"/>
                  </a:lnTo>
                  <a:lnTo>
                    <a:pt x="1273" y="2091"/>
                  </a:lnTo>
                  <a:lnTo>
                    <a:pt x="1277" y="2117"/>
                  </a:lnTo>
                  <a:lnTo>
                    <a:pt x="1270" y="2120"/>
                  </a:lnTo>
                  <a:lnTo>
                    <a:pt x="1255" y="2083"/>
                  </a:lnTo>
                  <a:lnTo>
                    <a:pt x="1224" y="2051"/>
                  </a:lnTo>
                  <a:lnTo>
                    <a:pt x="1179" y="2049"/>
                  </a:lnTo>
                  <a:lnTo>
                    <a:pt x="1168" y="2032"/>
                  </a:lnTo>
                  <a:lnTo>
                    <a:pt x="1150" y="2034"/>
                  </a:lnTo>
                  <a:lnTo>
                    <a:pt x="1140" y="2052"/>
                  </a:lnTo>
                  <a:lnTo>
                    <a:pt x="1117" y="2037"/>
                  </a:lnTo>
                  <a:lnTo>
                    <a:pt x="1092" y="2040"/>
                  </a:lnTo>
                  <a:lnTo>
                    <a:pt x="1070" y="2066"/>
                  </a:lnTo>
                  <a:lnTo>
                    <a:pt x="1035" y="2079"/>
                  </a:lnTo>
                  <a:lnTo>
                    <a:pt x="1029" y="2097"/>
                  </a:lnTo>
                  <a:lnTo>
                    <a:pt x="994" y="2114"/>
                  </a:lnTo>
                  <a:lnTo>
                    <a:pt x="1009" y="2161"/>
                  </a:lnTo>
                  <a:lnTo>
                    <a:pt x="986" y="2176"/>
                  </a:lnTo>
                  <a:lnTo>
                    <a:pt x="947" y="2123"/>
                  </a:lnTo>
                  <a:lnTo>
                    <a:pt x="938" y="2156"/>
                  </a:lnTo>
                  <a:lnTo>
                    <a:pt x="922" y="2167"/>
                  </a:lnTo>
                  <a:lnTo>
                    <a:pt x="914" y="2207"/>
                  </a:lnTo>
                  <a:lnTo>
                    <a:pt x="927" y="2221"/>
                  </a:lnTo>
                  <a:lnTo>
                    <a:pt x="911" y="2233"/>
                  </a:lnTo>
                  <a:lnTo>
                    <a:pt x="901" y="2271"/>
                  </a:lnTo>
                  <a:lnTo>
                    <a:pt x="925" y="2280"/>
                  </a:lnTo>
                  <a:lnTo>
                    <a:pt x="939" y="2320"/>
                  </a:lnTo>
                  <a:lnTo>
                    <a:pt x="973" y="2313"/>
                  </a:lnTo>
                  <a:lnTo>
                    <a:pt x="994" y="2339"/>
                  </a:lnTo>
                  <a:lnTo>
                    <a:pt x="1001" y="2385"/>
                  </a:lnTo>
                  <a:lnTo>
                    <a:pt x="977" y="2385"/>
                  </a:lnTo>
                  <a:lnTo>
                    <a:pt x="970" y="2397"/>
                  </a:lnTo>
                  <a:lnTo>
                    <a:pt x="1004" y="2418"/>
                  </a:lnTo>
                  <a:lnTo>
                    <a:pt x="987" y="2445"/>
                  </a:lnTo>
                  <a:lnTo>
                    <a:pt x="972" y="2447"/>
                  </a:lnTo>
                  <a:lnTo>
                    <a:pt x="964" y="2419"/>
                  </a:lnTo>
                  <a:lnTo>
                    <a:pt x="945" y="2414"/>
                  </a:lnTo>
                  <a:lnTo>
                    <a:pt x="953" y="2428"/>
                  </a:lnTo>
                  <a:lnTo>
                    <a:pt x="950" y="2455"/>
                  </a:lnTo>
                  <a:lnTo>
                    <a:pt x="944" y="2453"/>
                  </a:lnTo>
                  <a:lnTo>
                    <a:pt x="938" y="2484"/>
                  </a:lnTo>
                  <a:lnTo>
                    <a:pt x="910" y="2532"/>
                  </a:lnTo>
                  <a:lnTo>
                    <a:pt x="945" y="2589"/>
                  </a:lnTo>
                  <a:lnTo>
                    <a:pt x="952" y="2572"/>
                  </a:lnTo>
                  <a:lnTo>
                    <a:pt x="948" y="2623"/>
                  </a:lnTo>
                  <a:lnTo>
                    <a:pt x="989" y="2701"/>
                  </a:lnTo>
                  <a:lnTo>
                    <a:pt x="955" y="2736"/>
                  </a:lnTo>
                  <a:lnTo>
                    <a:pt x="935" y="2735"/>
                  </a:lnTo>
                  <a:lnTo>
                    <a:pt x="928" y="2714"/>
                  </a:lnTo>
                  <a:lnTo>
                    <a:pt x="894" y="2696"/>
                  </a:lnTo>
                  <a:lnTo>
                    <a:pt x="862" y="2676"/>
                  </a:lnTo>
                  <a:lnTo>
                    <a:pt x="862" y="2657"/>
                  </a:lnTo>
                  <a:lnTo>
                    <a:pt x="840" y="2645"/>
                  </a:lnTo>
                  <a:lnTo>
                    <a:pt x="783" y="2651"/>
                  </a:lnTo>
                  <a:lnTo>
                    <a:pt x="733" y="2614"/>
                  </a:lnTo>
                  <a:lnTo>
                    <a:pt x="678" y="2611"/>
                  </a:lnTo>
                  <a:lnTo>
                    <a:pt x="628" y="2591"/>
                  </a:lnTo>
                  <a:lnTo>
                    <a:pt x="594" y="2596"/>
                  </a:lnTo>
                  <a:lnTo>
                    <a:pt x="546" y="2554"/>
                  </a:lnTo>
                  <a:lnTo>
                    <a:pt x="481" y="2523"/>
                  </a:lnTo>
                  <a:lnTo>
                    <a:pt x="447" y="2489"/>
                  </a:lnTo>
                  <a:lnTo>
                    <a:pt x="458" y="2478"/>
                  </a:lnTo>
                  <a:lnTo>
                    <a:pt x="483" y="2478"/>
                  </a:lnTo>
                  <a:lnTo>
                    <a:pt x="508" y="2436"/>
                  </a:lnTo>
                  <a:lnTo>
                    <a:pt x="534" y="2431"/>
                  </a:lnTo>
                  <a:lnTo>
                    <a:pt x="500" y="2401"/>
                  </a:lnTo>
                  <a:lnTo>
                    <a:pt x="501" y="2393"/>
                  </a:lnTo>
                  <a:lnTo>
                    <a:pt x="535" y="2391"/>
                  </a:lnTo>
                  <a:lnTo>
                    <a:pt x="529" y="2380"/>
                  </a:lnTo>
                  <a:lnTo>
                    <a:pt x="572" y="2365"/>
                  </a:lnTo>
                  <a:lnTo>
                    <a:pt x="563" y="2354"/>
                  </a:lnTo>
                  <a:lnTo>
                    <a:pt x="520" y="2359"/>
                  </a:lnTo>
                  <a:lnTo>
                    <a:pt x="518" y="2339"/>
                  </a:lnTo>
                  <a:lnTo>
                    <a:pt x="551" y="2306"/>
                  </a:lnTo>
                  <a:lnTo>
                    <a:pt x="588" y="2311"/>
                  </a:lnTo>
                  <a:lnTo>
                    <a:pt x="596" y="2280"/>
                  </a:lnTo>
                  <a:lnTo>
                    <a:pt x="593" y="2264"/>
                  </a:lnTo>
                  <a:lnTo>
                    <a:pt x="586" y="2250"/>
                  </a:lnTo>
                  <a:lnTo>
                    <a:pt x="602" y="2240"/>
                  </a:lnTo>
                  <a:lnTo>
                    <a:pt x="588" y="2229"/>
                  </a:lnTo>
                  <a:lnTo>
                    <a:pt x="608" y="2212"/>
                  </a:lnTo>
                  <a:lnTo>
                    <a:pt x="601" y="2193"/>
                  </a:lnTo>
                  <a:lnTo>
                    <a:pt x="608" y="2190"/>
                  </a:lnTo>
                  <a:lnTo>
                    <a:pt x="525" y="2154"/>
                  </a:lnTo>
                  <a:lnTo>
                    <a:pt x="508" y="2161"/>
                  </a:lnTo>
                  <a:lnTo>
                    <a:pt x="479" y="2123"/>
                  </a:lnTo>
                  <a:lnTo>
                    <a:pt x="446" y="2137"/>
                  </a:lnTo>
                  <a:lnTo>
                    <a:pt x="398" y="2125"/>
                  </a:lnTo>
                  <a:lnTo>
                    <a:pt x="374" y="2069"/>
                  </a:lnTo>
                  <a:lnTo>
                    <a:pt x="336" y="2060"/>
                  </a:lnTo>
                  <a:lnTo>
                    <a:pt x="328" y="2035"/>
                  </a:lnTo>
                  <a:lnTo>
                    <a:pt x="342" y="2023"/>
                  </a:lnTo>
                  <a:lnTo>
                    <a:pt x="313" y="1986"/>
                  </a:lnTo>
                  <a:lnTo>
                    <a:pt x="223" y="2003"/>
                  </a:lnTo>
                  <a:lnTo>
                    <a:pt x="198" y="1927"/>
                  </a:lnTo>
                  <a:lnTo>
                    <a:pt x="212" y="1915"/>
                  </a:lnTo>
                  <a:lnTo>
                    <a:pt x="242" y="1925"/>
                  </a:lnTo>
                  <a:lnTo>
                    <a:pt x="268" y="1904"/>
                  </a:lnTo>
                  <a:lnTo>
                    <a:pt x="268" y="1891"/>
                  </a:lnTo>
                  <a:lnTo>
                    <a:pt x="246" y="1873"/>
                  </a:lnTo>
                  <a:lnTo>
                    <a:pt x="225" y="1876"/>
                  </a:lnTo>
                  <a:lnTo>
                    <a:pt x="221" y="1856"/>
                  </a:lnTo>
                  <a:lnTo>
                    <a:pt x="180" y="1797"/>
                  </a:lnTo>
                  <a:lnTo>
                    <a:pt x="187" y="1766"/>
                  </a:lnTo>
                  <a:lnTo>
                    <a:pt x="183" y="1732"/>
                  </a:lnTo>
                  <a:lnTo>
                    <a:pt x="158" y="1710"/>
                  </a:lnTo>
                  <a:lnTo>
                    <a:pt x="113" y="1723"/>
                  </a:lnTo>
                  <a:lnTo>
                    <a:pt x="115" y="1707"/>
                  </a:lnTo>
                  <a:lnTo>
                    <a:pt x="105" y="1698"/>
                  </a:lnTo>
                  <a:lnTo>
                    <a:pt x="59" y="1687"/>
                  </a:lnTo>
                  <a:lnTo>
                    <a:pt x="56" y="1653"/>
                  </a:lnTo>
                  <a:lnTo>
                    <a:pt x="32" y="1622"/>
                  </a:lnTo>
                  <a:lnTo>
                    <a:pt x="39" y="1590"/>
                  </a:lnTo>
                  <a:lnTo>
                    <a:pt x="20" y="1568"/>
                  </a:lnTo>
                  <a:lnTo>
                    <a:pt x="36" y="1541"/>
                  </a:lnTo>
                  <a:lnTo>
                    <a:pt x="0" y="1452"/>
                  </a:lnTo>
                  <a:lnTo>
                    <a:pt x="39" y="1438"/>
                  </a:lnTo>
                  <a:lnTo>
                    <a:pt x="57" y="1409"/>
                  </a:lnTo>
                  <a:lnTo>
                    <a:pt x="45" y="1396"/>
                  </a:lnTo>
                  <a:lnTo>
                    <a:pt x="47" y="1379"/>
                  </a:lnTo>
                  <a:lnTo>
                    <a:pt x="150" y="1362"/>
                  </a:lnTo>
                  <a:lnTo>
                    <a:pt x="130" y="1342"/>
                  </a:lnTo>
                  <a:lnTo>
                    <a:pt x="71" y="1326"/>
                  </a:lnTo>
                  <a:lnTo>
                    <a:pt x="68" y="1306"/>
                  </a:lnTo>
                  <a:lnTo>
                    <a:pt x="74" y="1314"/>
                  </a:lnTo>
                  <a:lnTo>
                    <a:pt x="76" y="1289"/>
                  </a:lnTo>
                  <a:lnTo>
                    <a:pt x="31" y="1304"/>
                  </a:lnTo>
                  <a:lnTo>
                    <a:pt x="135" y="1204"/>
                  </a:lnTo>
                  <a:lnTo>
                    <a:pt x="203" y="1098"/>
                  </a:lnTo>
                  <a:lnTo>
                    <a:pt x="204" y="1065"/>
                  </a:lnTo>
                  <a:lnTo>
                    <a:pt x="150" y="996"/>
                  </a:lnTo>
                  <a:lnTo>
                    <a:pt x="167" y="938"/>
                  </a:lnTo>
                  <a:lnTo>
                    <a:pt x="147" y="912"/>
                  </a:lnTo>
                  <a:lnTo>
                    <a:pt x="142" y="881"/>
                  </a:lnTo>
                  <a:lnTo>
                    <a:pt x="129" y="876"/>
                  </a:lnTo>
                  <a:lnTo>
                    <a:pt x="129" y="827"/>
                  </a:lnTo>
                  <a:lnTo>
                    <a:pt x="146" y="771"/>
                  </a:lnTo>
                  <a:lnTo>
                    <a:pt x="104" y="641"/>
                  </a:lnTo>
                  <a:lnTo>
                    <a:pt x="141" y="562"/>
                  </a:lnTo>
                  <a:lnTo>
                    <a:pt x="137" y="544"/>
                  </a:lnTo>
                  <a:lnTo>
                    <a:pt x="113" y="500"/>
                  </a:lnTo>
                  <a:lnTo>
                    <a:pt x="81" y="486"/>
                  </a:lnTo>
                  <a:lnTo>
                    <a:pt x="71" y="435"/>
                  </a:lnTo>
                  <a:lnTo>
                    <a:pt x="96" y="380"/>
                  </a:lnTo>
                  <a:lnTo>
                    <a:pt x="110" y="355"/>
                  </a:lnTo>
                  <a:lnTo>
                    <a:pt x="144" y="333"/>
                  </a:lnTo>
                  <a:lnTo>
                    <a:pt x="149" y="307"/>
                  </a:lnTo>
                  <a:lnTo>
                    <a:pt x="178" y="316"/>
                  </a:lnTo>
                  <a:lnTo>
                    <a:pt x="181" y="288"/>
                  </a:lnTo>
                  <a:lnTo>
                    <a:pt x="217" y="305"/>
                  </a:lnTo>
                  <a:lnTo>
                    <a:pt x="230" y="287"/>
                  </a:lnTo>
                  <a:lnTo>
                    <a:pt x="226" y="267"/>
                  </a:lnTo>
                  <a:lnTo>
                    <a:pt x="280" y="293"/>
                  </a:lnTo>
                  <a:lnTo>
                    <a:pt x="272" y="313"/>
                  </a:lnTo>
                  <a:lnTo>
                    <a:pt x="238" y="293"/>
                  </a:lnTo>
                  <a:lnTo>
                    <a:pt x="234" y="318"/>
                  </a:lnTo>
                  <a:lnTo>
                    <a:pt x="276" y="333"/>
                  </a:lnTo>
                  <a:lnTo>
                    <a:pt x="272" y="349"/>
                  </a:lnTo>
                  <a:lnTo>
                    <a:pt x="410" y="366"/>
                  </a:lnTo>
                  <a:lnTo>
                    <a:pt x="648" y="559"/>
                  </a:lnTo>
                  <a:lnTo>
                    <a:pt x="655" y="609"/>
                  </a:lnTo>
                  <a:lnTo>
                    <a:pt x="665" y="615"/>
                  </a:lnTo>
                  <a:lnTo>
                    <a:pt x="655" y="655"/>
                  </a:lnTo>
                  <a:lnTo>
                    <a:pt x="605" y="717"/>
                  </a:lnTo>
                  <a:lnTo>
                    <a:pt x="546" y="740"/>
                  </a:lnTo>
                  <a:lnTo>
                    <a:pt x="347" y="686"/>
                  </a:lnTo>
                  <a:lnTo>
                    <a:pt x="342" y="666"/>
                  </a:lnTo>
                  <a:lnTo>
                    <a:pt x="303" y="664"/>
                  </a:lnTo>
                  <a:lnTo>
                    <a:pt x="254" y="617"/>
                  </a:lnTo>
                  <a:lnTo>
                    <a:pt x="246" y="630"/>
                  </a:lnTo>
                  <a:lnTo>
                    <a:pt x="262" y="671"/>
                  </a:lnTo>
                  <a:lnTo>
                    <a:pt x="361" y="762"/>
                  </a:lnTo>
                  <a:lnTo>
                    <a:pt x="357" y="813"/>
                  </a:lnTo>
                  <a:lnTo>
                    <a:pt x="342" y="824"/>
                  </a:lnTo>
                  <a:lnTo>
                    <a:pt x="365" y="875"/>
                  </a:lnTo>
                  <a:lnTo>
                    <a:pt x="367" y="913"/>
                  </a:lnTo>
                  <a:lnTo>
                    <a:pt x="491" y="991"/>
                  </a:lnTo>
                  <a:lnTo>
                    <a:pt x="521" y="979"/>
                  </a:lnTo>
                  <a:lnTo>
                    <a:pt x="504" y="920"/>
                  </a:lnTo>
                  <a:lnTo>
                    <a:pt x="479" y="930"/>
                  </a:lnTo>
                  <a:lnTo>
                    <a:pt x="449" y="893"/>
                  </a:lnTo>
                  <a:lnTo>
                    <a:pt x="441" y="872"/>
                  </a:lnTo>
                  <a:lnTo>
                    <a:pt x="461" y="842"/>
                  </a:lnTo>
                  <a:lnTo>
                    <a:pt x="644" y="918"/>
                  </a:lnTo>
                  <a:lnTo>
                    <a:pt x="597" y="825"/>
                  </a:lnTo>
                  <a:lnTo>
                    <a:pt x="594" y="791"/>
                  </a:lnTo>
                  <a:lnTo>
                    <a:pt x="669" y="742"/>
                  </a:lnTo>
                  <a:lnTo>
                    <a:pt x="707" y="689"/>
                  </a:lnTo>
                  <a:lnTo>
                    <a:pt x="767" y="720"/>
                  </a:lnTo>
                  <a:lnTo>
                    <a:pt x="760" y="743"/>
                  </a:lnTo>
                  <a:lnTo>
                    <a:pt x="777" y="732"/>
                  </a:lnTo>
                  <a:lnTo>
                    <a:pt x="794" y="762"/>
                  </a:lnTo>
                  <a:lnTo>
                    <a:pt x="792" y="718"/>
                  </a:lnTo>
                  <a:lnTo>
                    <a:pt x="811" y="639"/>
                  </a:lnTo>
                  <a:lnTo>
                    <a:pt x="778" y="598"/>
                  </a:lnTo>
                  <a:lnTo>
                    <a:pt x="792" y="544"/>
                  </a:lnTo>
                  <a:lnTo>
                    <a:pt x="794" y="473"/>
                  </a:lnTo>
                  <a:lnTo>
                    <a:pt x="752" y="431"/>
                  </a:lnTo>
                  <a:lnTo>
                    <a:pt x="865" y="456"/>
                  </a:lnTo>
                  <a:lnTo>
                    <a:pt x="897" y="491"/>
                  </a:lnTo>
                  <a:lnTo>
                    <a:pt x="910" y="536"/>
                  </a:lnTo>
                  <a:lnTo>
                    <a:pt x="831" y="571"/>
                  </a:lnTo>
                  <a:lnTo>
                    <a:pt x="877" y="650"/>
                  </a:lnTo>
                  <a:lnTo>
                    <a:pt x="902" y="650"/>
                  </a:lnTo>
                  <a:lnTo>
                    <a:pt x="908" y="674"/>
                  </a:lnTo>
                  <a:lnTo>
                    <a:pt x="958" y="634"/>
                  </a:lnTo>
                  <a:lnTo>
                    <a:pt x="972" y="564"/>
                  </a:lnTo>
                  <a:lnTo>
                    <a:pt x="1137" y="456"/>
                  </a:lnTo>
                  <a:lnTo>
                    <a:pt x="1176" y="469"/>
                  </a:lnTo>
                  <a:lnTo>
                    <a:pt x="1184" y="448"/>
                  </a:lnTo>
                  <a:lnTo>
                    <a:pt x="1173" y="443"/>
                  </a:lnTo>
                  <a:lnTo>
                    <a:pt x="1193" y="420"/>
                  </a:lnTo>
                  <a:lnTo>
                    <a:pt x="1214" y="435"/>
                  </a:lnTo>
                  <a:lnTo>
                    <a:pt x="1211" y="417"/>
                  </a:lnTo>
                  <a:lnTo>
                    <a:pt x="1219" y="403"/>
                  </a:lnTo>
                  <a:lnTo>
                    <a:pt x="1270" y="390"/>
                  </a:lnTo>
                  <a:lnTo>
                    <a:pt x="1250" y="415"/>
                  </a:lnTo>
                  <a:lnTo>
                    <a:pt x="1241" y="441"/>
                  </a:lnTo>
                  <a:lnTo>
                    <a:pt x="1247" y="474"/>
                  </a:lnTo>
                  <a:lnTo>
                    <a:pt x="1256" y="488"/>
                  </a:lnTo>
                  <a:lnTo>
                    <a:pt x="1287" y="495"/>
                  </a:lnTo>
                  <a:lnTo>
                    <a:pt x="1293" y="461"/>
                  </a:lnTo>
                  <a:lnTo>
                    <a:pt x="1314" y="446"/>
                  </a:lnTo>
                  <a:lnTo>
                    <a:pt x="1402" y="448"/>
                  </a:lnTo>
                  <a:lnTo>
                    <a:pt x="1439" y="401"/>
                  </a:lnTo>
                  <a:lnTo>
                    <a:pt x="1482" y="390"/>
                  </a:lnTo>
                  <a:lnTo>
                    <a:pt x="1499" y="424"/>
                  </a:lnTo>
                  <a:lnTo>
                    <a:pt x="1484" y="457"/>
                  </a:lnTo>
                  <a:lnTo>
                    <a:pt x="1504" y="473"/>
                  </a:lnTo>
                  <a:lnTo>
                    <a:pt x="1522" y="454"/>
                  </a:lnTo>
                  <a:lnTo>
                    <a:pt x="1519" y="427"/>
                  </a:lnTo>
                  <a:lnTo>
                    <a:pt x="1563" y="401"/>
                  </a:lnTo>
                  <a:lnTo>
                    <a:pt x="1563" y="376"/>
                  </a:lnTo>
                  <a:lnTo>
                    <a:pt x="1539" y="307"/>
                  </a:lnTo>
                  <a:lnTo>
                    <a:pt x="1561" y="282"/>
                  </a:lnTo>
                  <a:lnTo>
                    <a:pt x="1714" y="321"/>
                  </a:lnTo>
                  <a:lnTo>
                    <a:pt x="1849" y="414"/>
                  </a:lnTo>
                  <a:lnTo>
                    <a:pt x="1905" y="486"/>
                  </a:lnTo>
                  <a:lnTo>
                    <a:pt x="1944" y="407"/>
                  </a:lnTo>
                  <a:lnTo>
                    <a:pt x="1915" y="390"/>
                  </a:lnTo>
                  <a:lnTo>
                    <a:pt x="1898" y="322"/>
                  </a:lnTo>
                  <a:lnTo>
                    <a:pt x="1841" y="307"/>
                  </a:lnTo>
                  <a:lnTo>
                    <a:pt x="1842" y="251"/>
                  </a:lnTo>
                  <a:lnTo>
                    <a:pt x="1861" y="246"/>
                  </a:lnTo>
                  <a:lnTo>
                    <a:pt x="1855" y="217"/>
                  </a:lnTo>
                  <a:lnTo>
                    <a:pt x="1866" y="160"/>
                  </a:lnTo>
                  <a:lnTo>
                    <a:pt x="1824" y="146"/>
                  </a:lnTo>
                  <a:lnTo>
                    <a:pt x="1847" y="112"/>
                  </a:lnTo>
                  <a:lnTo>
                    <a:pt x="1832" y="112"/>
                  </a:lnTo>
                  <a:lnTo>
                    <a:pt x="1838" y="81"/>
                  </a:lnTo>
                  <a:lnTo>
                    <a:pt x="1910" y="4"/>
                  </a:lnTo>
                  <a:lnTo>
                    <a:pt x="1911" y="0"/>
                  </a:lnTo>
                  <a:close/>
                  <a:moveTo>
                    <a:pt x="5869" y="2244"/>
                  </a:moveTo>
                  <a:lnTo>
                    <a:pt x="5865" y="2254"/>
                  </a:lnTo>
                  <a:lnTo>
                    <a:pt x="5869" y="2250"/>
                  </a:lnTo>
                  <a:lnTo>
                    <a:pt x="5869" y="2244"/>
                  </a:lnTo>
                  <a:close/>
                  <a:moveTo>
                    <a:pt x="5897" y="2191"/>
                  </a:moveTo>
                  <a:lnTo>
                    <a:pt x="5886" y="2215"/>
                  </a:lnTo>
                  <a:lnTo>
                    <a:pt x="5893" y="2212"/>
                  </a:lnTo>
                  <a:lnTo>
                    <a:pt x="5897" y="2191"/>
                  </a:lnTo>
                  <a:close/>
                  <a:moveTo>
                    <a:pt x="5956" y="2114"/>
                  </a:moveTo>
                  <a:lnTo>
                    <a:pt x="5940" y="2136"/>
                  </a:lnTo>
                  <a:lnTo>
                    <a:pt x="5922" y="2145"/>
                  </a:lnTo>
                  <a:lnTo>
                    <a:pt x="5919" y="2162"/>
                  </a:lnTo>
                  <a:lnTo>
                    <a:pt x="5953" y="2142"/>
                  </a:lnTo>
                  <a:lnTo>
                    <a:pt x="5961" y="2128"/>
                  </a:lnTo>
                  <a:lnTo>
                    <a:pt x="5956" y="2114"/>
                  </a:lnTo>
                  <a:close/>
                  <a:moveTo>
                    <a:pt x="5976" y="2106"/>
                  </a:moveTo>
                  <a:lnTo>
                    <a:pt x="5964" y="2120"/>
                  </a:lnTo>
                  <a:lnTo>
                    <a:pt x="5976" y="2106"/>
                  </a:lnTo>
                  <a:close/>
                  <a:moveTo>
                    <a:pt x="6472" y="1798"/>
                  </a:moveTo>
                  <a:lnTo>
                    <a:pt x="6499" y="1825"/>
                  </a:lnTo>
                  <a:lnTo>
                    <a:pt x="6479" y="1814"/>
                  </a:lnTo>
                  <a:lnTo>
                    <a:pt x="6472" y="1798"/>
                  </a:lnTo>
                  <a:close/>
                  <a:moveTo>
                    <a:pt x="6411" y="1763"/>
                  </a:moveTo>
                  <a:lnTo>
                    <a:pt x="6422" y="1765"/>
                  </a:lnTo>
                  <a:lnTo>
                    <a:pt x="6425" y="1785"/>
                  </a:lnTo>
                  <a:lnTo>
                    <a:pt x="6440" y="1812"/>
                  </a:lnTo>
                  <a:lnTo>
                    <a:pt x="6422" y="1800"/>
                  </a:lnTo>
                  <a:lnTo>
                    <a:pt x="6405" y="1766"/>
                  </a:lnTo>
                  <a:lnTo>
                    <a:pt x="6411" y="1763"/>
                  </a:lnTo>
                  <a:close/>
                  <a:moveTo>
                    <a:pt x="5091" y="1802"/>
                  </a:moveTo>
                  <a:lnTo>
                    <a:pt x="5088" y="1811"/>
                  </a:lnTo>
                  <a:lnTo>
                    <a:pt x="5097" y="1808"/>
                  </a:lnTo>
                  <a:lnTo>
                    <a:pt x="5109" y="1819"/>
                  </a:lnTo>
                  <a:lnTo>
                    <a:pt x="5114" y="1814"/>
                  </a:lnTo>
                  <a:lnTo>
                    <a:pt x="5130" y="1786"/>
                  </a:lnTo>
                  <a:lnTo>
                    <a:pt x="5125" y="1782"/>
                  </a:lnTo>
                  <a:lnTo>
                    <a:pt x="5111" y="1771"/>
                  </a:lnTo>
                  <a:lnTo>
                    <a:pt x="5104" y="1774"/>
                  </a:lnTo>
                  <a:lnTo>
                    <a:pt x="5091" y="1802"/>
                  </a:lnTo>
                  <a:close/>
                  <a:moveTo>
                    <a:pt x="5334" y="1840"/>
                  </a:moveTo>
                  <a:lnTo>
                    <a:pt x="5343" y="1840"/>
                  </a:lnTo>
                  <a:lnTo>
                    <a:pt x="5350" y="1856"/>
                  </a:lnTo>
                  <a:lnTo>
                    <a:pt x="5351" y="1888"/>
                  </a:lnTo>
                  <a:lnTo>
                    <a:pt x="5368" y="1959"/>
                  </a:lnTo>
                  <a:lnTo>
                    <a:pt x="5366" y="1995"/>
                  </a:lnTo>
                  <a:lnTo>
                    <a:pt x="5360" y="2000"/>
                  </a:lnTo>
                  <a:lnTo>
                    <a:pt x="5365" y="2054"/>
                  </a:lnTo>
                  <a:lnTo>
                    <a:pt x="5374" y="2066"/>
                  </a:lnTo>
                  <a:lnTo>
                    <a:pt x="5385" y="2110"/>
                  </a:lnTo>
                  <a:lnTo>
                    <a:pt x="5399" y="2161"/>
                  </a:lnTo>
                  <a:lnTo>
                    <a:pt x="5413" y="2212"/>
                  </a:lnTo>
                  <a:lnTo>
                    <a:pt x="5434" y="2255"/>
                  </a:lnTo>
                  <a:lnTo>
                    <a:pt x="5416" y="2229"/>
                  </a:lnTo>
                  <a:lnTo>
                    <a:pt x="5391" y="2215"/>
                  </a:lnTo>
                  <a:lnTo>
                    <a:pt x="5368" y="2213"/>
                  </a:lnTo>
                  <a:lnTo>
                    <a:pt x="5359" y="2221"/>
                  </a:lnTo>
                  <a:lnTo>
                    <a:pt x="5337" y="2300"/>
                  </a:lnTo>
                  <a:lnTo>
                    <a:pt x="5336" y="2330"/>
                  </a:lnTo>
                  <a:lnTo>
                    <a:pt x="5356" y="2360"/>
                  </a:lnTo>
                  <a:lnTo>
                    <a:pt x="5362" y="2379"/>
                  </a:lnTo>
                  <a:lnTo>
                    <a:pt x="5379" y="2391"/>
                  </a:lnTo>
                  <a:lnTo>
                    <a:pt x="5382" y="2427"/>
                  </a:lnTo>
                  <a:lnTo>
                    <a:pt x="5377" y="2436"/>
                  </a:lnTo>
                  <a:lnTo>
                    <a:pt x="5370" y="2405"/>
                  </a:lnTo>
                  <a:lnTo>
                    <a:pt x="5337" y="2394"/>
                  </a:lnTo>
                  <a:lnTo>
                    <a:pt x="5329" y="2402"/>
                  </a:lnTo>
                  <a:lnTo>
                    <a:pt x="5317" y="2444"/>
                  </a:lnTo>
                  <a:lnTo>
                    <a:pt x="5308" y="2438"/>
                  </a:lnTo>
                  <a:lnTo>
                    <a:pt x="5303" y="2396"/>
                  </a:lnTo>
                  <a:lnTo>
                    <a:pt x="5312" y="2313"/>
                  </a:lnTo>
                  <a:lnTo>
                    <a:pt x="5317" y="2303"/>
                  </a:lnTo>
                  <a:lnTo>
                    <a:pt x="5306" y="2257"/>
                  </a:lnTo>
                  <a:lnTo>
                    <a:pt x="5317" y="2167"/>
                  </a:lnTo>
                  <a:lnTo>
                    <a:pt x="5312" y="2114"/>
                  </a:lnTo>
                  <a:lnTo>
                    <a:pt x="5316" y="2076"/>
                  </a:lnTo>
                  <a:lnTo>
                    <a:pt x="5309" y="2057"/>
                  </a:lnTo>
                  <a:lnTo>
                    <a:pt x="5295" y="2042"/>
                  </a:lnTo>
                  <a:lnTo>
                    <a:pt x="5291" y="1997"/>
                  </a:lnTo>
                  <a:lnTo>
                    <a:pt x="5299" y="1972"/>
                  </a:lnTo>
                  <a:lnTo>
                    <a:pt x="5299" y="1919"/>
                  </a:lnTo>
                  <a:lnTo>
                    <a:pt x="5302" y="1908"/>
                  </a:lnTo>
                  <a:lnTo>
                    <a:pt x="5333" y="1910"/>
                  </a:lnTo>
                  <a:lnTo>
                    <a:pt x="5334" y="1893"/>
                  </a:lnTo>
                  <a:lnTo>
                    <a:pt x="5342" y="1891"/>
                  </a:lnTo>
                  <a:lnTo>
                    <a:pt x="5323" y="1846"/>
                  </a:lnTo>
                  <a:lnTo>
                    <a:pt x="5334" y="1840"/>
                  </a:lnTo>
                  <a:close/>
                  <a:moveTo>
                    <a:pt x="5498" y="2541"/>
                  </a:moveTo>
                  <a:lnTo>
                    <a:pt x="5509" y="2552"/>
                  </a:lnTo>
                  <a:lnTo>
                    <a:pt x="5472" y="2591"/>
                  </a:lnTo>
                  <a:lnTo>
                    <a:pt x="5468" y="2582"/>
                  </a:lnTo>
                  <a:lnTo>
                    <a:pt x="5498" y="2541"/>
                  </a:lnTo>
                  <a:close/>
                  <a:moveTo>
                    <a:pt x="5532" y="2579"/>
                  </a:moveTo>
                  <a:lnTo>
                    <a:pt x="5535" y="2580"/>
                  </a:lnTo>
                  <a:lnTo>
                    <a:pt x="5532" y="2583"/>
                  </a:lnTo>
                  <a:lnTo>
                    <a:pt x="5521" y="2586"/>
                  </a:lnTo>
                  <a:lnTo>
                    <a:pt x="5532" y="2579"/>
                  </a:lnTo>
                  <a:close/>
                  <a:moveTo>
                    <a:pt x="5625" y="2481"/>
                  </a:moveTo>
                  <a:lnTo>
                    <a:pt x="5578" y="2509"/>
                  </a:lnTo>
                  <a:lnTo>
                    <a:pt x="5546" y="2541"/>
                  </a:lnTo>
                  <a:lnTo>
                    <a:pt x="5540" y="2541"/>
                  </a:lnTo>
                  <a:lnTo>
                    <a:pt x="5549" y="2521"/>
                  </a:lnTo>
                  <a:lnTo>
                    <a:pt x="5580" y="2487"/>
                  </a:lnTo>
                  <a:lnTo>
                    <a:pt x="5597" y="2489"/>
                  </a:lnTo>
                  <a:lnTo>
                    <a:pt x="5622" y="2472"/>
                  </a:lnTo>
                  <a:lnTo>
                    <a:pt x="5625" y="2481"/>
                  </a:lnTo>
                  <a:close/>
                  <a:moveTo>
                    <a:pt x="6337" y="1435"/>
                  </a:moveTo>
                  <a:lnTo>
                    <a:pt x="6303" y="1453"/>
                  </a:lnTo>
                  <a:lnTo>
                    <a:pt x="6291" y="1498"/>
                  </a:lnTo>
                  <a:lnTo>
                    <a:pt x="6299" y="1498"/>
                  </a:lnTo>
                  <a:lnTo>
                    <a:pt x="6349" y="1455"/>
                  </a:lnTo>
                  <a:lnTo>
                    <a:pt x="6344" y="1433"/>
                  </a:lnTo>
                  <a:lnTo>
                    <a:pt x="6337" y="1435"/>
                  </a:lnTo>
                  <a:close/>
                  <a:moveTo>
                    <a:pt x="5122" y="43"/>
                  </a:moveTo>
                  <a:lnTo>
                    <a:pt x="5150" y="24"/>
                  </a:lnTo>
                  <a:lnTo>
                    <a:pt x="5165" y="48"/>
                  </a:lnTo>
                  <a:lnTo>
                    <a:pt x="5147" y="70"/>
                  </a:lnTo>
                  <a:lnTo>
                    <a:pt x="5125" y="72"/>
                  </a:lnTo>
                  <a:lnTo>
                    <a:pt x="5116" y="69"/>
                  </a:lnTo>
                  <a:lnTo>
                    <a:pt x="5122" y="43"/>
                  </a:lnTo>
                  <a:close/>
                  <a:moveTo>
                    <a:pt x="1468" y="262"/>
                  </a:moveTo>
                  <a:lnTo>
                    <a:pt x="1456" y="228"/>
                  </a:lnTo>
                  <a:lnTo>
                    <a:pt x="1471" y="229"/>
                  </a:lnTo>
                  <a:lnTo>
                    <a:pt x="1459" y="219"/>
                  </a:lnTo>
                  <a:lnTo>
                    <a:pt x="1478" y="197"/>
                  </a:lnTo>
                  <a:lnTo>
                    <a:pt x="1549" y="288"/>
                  </a:lnTo>
                  <a:lnTo>
                    <a:pt x="1543" y="301"/>
                  </a:lnTo>
                  <a:lnTo>
                    <a:pt x="1518" y="301"/>
                  </a:lnTo>
                  <a:lnTo>
                    <a:pt x="1478" y="268"/>
                  </a:lnTo>
                  <a:lnTo>
                    <a:pt x="1487" y="292"/>
                  </a:lnTo>
                  <a:lnTo>
                    <a:pt x="1468" y="262"/>
                  </a:lnTo>
                  <a:close/>
                  <a:moveTo>
                    <a:pt x="1168" y="76"/>
                  </a:moveTo>
                  <a:lnTo>
                    <a:pt x="1199" y="75"/>
                  </a:lnTo>
                  <a:lnTo>
                    <a:pt x="1209" y="92"/>
                  </a:lnTo>
                  <a:lnTo>
                    <a:pt x="1209" y="132"/>
                  </a:lnTo>
                  <a:lnTo>
                    <a:pt x="1188" y="89"/>
                  </a:lnTo>
                  <a:lnTo>
                    <a:pt x="1168" y="76"/>
                  </a:lnTo>
                  <a:close/>
                  <a:moveTo>
                    <a:pt x="1132" y="0"/>
                  </a:moveTo>
                  <a:lnTo>
                    <a:pt x="1316" y="0"/>
                  </a:lnTo>
                  <a:lnTo>
                    <a:pt x="1323" y="39"/>
                  </a:lnTo>
                  <a:lnTo>
                    <a:pt x="1344" y="92"/>
                  </a:lnTo>
                  <a:lnTo>
                    <a:pt x="1414" y="158"/>
                  </a:lnTo>
                  <a:lnTo>
                    <a:pt x="1399" y="178"/>
                  </a:lnTo>
                  <a:lnTo>
                    <a:pt x="1391" y="189"/>
                  </a:lnTo>
                  <a:lnTo>
                    <a:pt x="1366" y="166"/>
                  </a:lnTo>
                  <a:lnTo>
                    <a:pt x="1369" y="157"/>
                  </a:lnTo>
                  <a:lnTo>
                    <a:pt x="1349" y="165"/>
                  </a:lnTo>
                  <a:lnTo>
                    <a:pt x="1361" y="178"/>
                  </a:lnTo>
                  <a:lnTo>
                    <a:pt x="1314" y="161"/>
                  </a:lnTo>
                  <a:lnTo>
                    <a:pt x="1301" y="180"/>
                  </a:lnTo>
                  <a:lnTo>
                    <a:pt x="1280" y="158"/>
                  </a:lnTo>
                  <a:lnTo>
                    <a:pt x="1236" y="149"/>
                  </a:lnTo>
                  <a:lnTo>
                    <a:pt x="1231" y="118"/>
                  </a:lnTo>
                  <a:lnTo>
                    <a:pt x="1261" y="107"/>
                  </a:lnTo>
                  <a:lnTo>
                    <a:pt x="1226" y="87"/>
                  </a:lnTo>
                  <a:lnTo>
                    <a:pt x="1247" y="53"/>
                  </a:lnTo>
                  <a:lnTo>
                    <a:pt x="1221" y="81"/>
                  </a:lnTo>
                  <a:lnTo>
                    <a:pt x="1221" y="43"/>
                  </a:lnTo>
                  <a:lnTo>
                    <a:pt x="1194" y="58"/>
                  </a:lnTo>
                  <a:lnTo>
                    <a:pt x="1190" y="35"/>
                  </a:lnTo>
                  <a:lnTo>
                    <a:pt x="1184" y="30"/>
                  </a:lnTo>
                  <a:lnTo>
                    <a:pt x="1177" y="52"/>
                  </a:lnTo>
                  <a:lnTo>
                    <a:pt x="1171" y="39"/>
                  </a:lnTo>
                  <a:lnTo>
                    <a:pt x="1156" y="53"/>
                  </a:lnTo>
                  <a:lnTo>
                    <a:pt x="1137" y="39"/>
                  </a:lnTo>
                  <a:lnTo>
                    <a:pt x="1131" y="10"/>
                  </a:lnTo>
                  <a:lnTo>
                    <a:pt x="1132" y="0"/>
                  </a:lnTo>
                  <a:close/>
                  <a:moveTo>
                    <a:pt x="1001" y="329"/>
                  </a:moveTo>
                  <a:lnTo>
                    <a:pt x="1024" y="322"/>
                  </a:lnTo>
                  <a:lnTo>
                    <a:pt x="1063" y="366"/>
                  </a:lnTo>
                  <a:lnTo>
                    <a:pt x="1066" y="352"/>
                  </a:lnTo>
                  <a:lnTo>
                    <a:pt x="1077" y="376"/>
                  </a:lnTo>
                  <a:lnTo>
                    <a:pt x="1075" y="389"/>
                  </a:lnTo>
                  <a:lnTo>
                    <a:pt x="1070" y="375"/>
                  </a:lnTo>
                  <a:lnTo>
                    <a:pt x="1043" y="410"/>
                  </a:lnTo>
                  <a:lnTo>
                    <a:pt x="1016" y="426"/>
                  </a:lnTo>
                  <a:lnTo>
                    <a:pt x="1001" y="429"/>
                  </a:lnTo>
                  <a:lnTo>
                    <a:pt x="984" y="410"/>
                  </a:lnTo>
                  <a:lnTo>
                    <a:pt x="986" y="427"/>
                  </a:lnTo>
                  <a:lnTo>
                    <a:pt x="977" y="410"/>
                  </a:lnTo>
                  <a:lnTo>
                    <a:pt x="981" y="370"/>
                  </a:lnTo>
                  <a:lnTo>
                    <a:pt x="1001" y="329"/>
                  </a:lnTo>
                  <a:close/>
                  <a:moveTo>
                    <a:pt x="2552" y="202"/>
                  </a:moveTo>
                  <a:lnTo>
                    <a:pt x="2564" y="185"/>
                  </a:lnTo>
                  <a:lnTo>
                    <a:pt x="2576" y="222"/>
                  </a:lnTo>
                  <a:lnTo>
                    <a:pt x="2562" y="231"/>
                  </a:lnTo>
                  <a:lnTo>
                    <a:pt x="2552" y="202"/>
                  </a:lnTo>
                  <a:close/>
                  <a:moveTo>
                    <a:pt x="7058" y="121"/>
                  </a:moveTo>
                  <a:lnTo>
                    <a:pt x="7002" y="143"/>
                  </a:lnTo>
                  <a:lnTo>
                    <a:pt x="6988" y="114"/>
                  </a:lnTo>
                  <a:lnTo>
                    <a:pt x="7023" y="65"/>
                  </a:lnTo>
                  <a:lnTo>
                    <a:pt x="7057" y="42"/>
                  </a:lnTo>
                  <a:lnTo>
                    <a:pt x="7057" y="41"/>
                  </a:lnTo>
                  <a:lnTo>
                    <a:pt x="7057" y="39"/>
                  </a:lnTo>
                  <a:lnTo>
                    <a:pt x="7101" y="36"/>
                  </a:lnTo>
                  <a:lnTo>
                    <a:pt x="7141" y="53"/>
                  </a:lnTo>
                  <a:lnTo>
                    <a:pt x="7169" y="92"/>
                  </a:lnTo>
                  <a:lnTo>
                    <a:pt x="7098" y="131"/>
                  </a:lnTo>
                  <a:lnTo>
                    <a:pt x="7058" y="121"/>
                  </a:lnTo>
                  <a:close/>
                  <a:moveTo>
                    <a:pt x="6510" y="256"/>
                  </a:moveTo>
                  <a:lnTo>
                    <a:pt x="6527" y="253"/>
                  </a:lnTo>
                  <a:lnTo>
                    <a:pt x="6567" y="285"/>
                  </a:lnTo>
                  <a:lnTo>
                    <a:pt x="6561" y="316"/>
                  </a:lnTo>
                  <a:lnTo>
                    <a:pt x="6530" y="310"/>
                  </a:lnTo>
                  <a:lnTo>
                    <a:pt x="6496" y="271"/>
                  </a:lnTo>
                  <a:lnTo>
                    <a:pt x="6510" y="256"/>
                  </a:lnTo>
                  <a:close/>
                  <a:moveTo>
                    <a:pt x="7526" y="1065"/>
                  </a:moveTo>
                  <a:lnTo>
                    <a:pt x="7482" y="1033"/>
                  </a:lnTo>
                  <a:lnTo>
                    <a:pt x="7441" y="1034"/>
                  </a:lnTo>
                  <a:lnTo>
                    <a:pt x="7429" y="1018"/>
                  </a:lnTo>
                  <a:lnTo>
                    <a:pt x="7435" y="988"/>
                  </a:lnTo>
                  <a:lnTo>
                    <a:pt x="7472" y="1008"/>
                  </a:lnTo>
                  <a:lnTo>
                    <a:pt x="7504" y="1000"/>
                  </a:lnTo>
                  <a:lnTo>
                    <a:pt x="7540" y="1033"/>
                  </a:lnTo>
                  <a:lnTo>
                    <a:pt x="7540" y="1064"/>
                  </a:lnTo>
                  <a:lnTo>
                    <a:pt x="7526" y="1065"/>
                  </a:lnTo>
                  <a:close/>
                  <a:moveTo>
                    <a:pt x="5780" y="2363"/>
                  </a:moveTo>
                  <a:lnTo>
                    <a:pt x="5770" y="2382"/>
                  </a:lnTo>
                  <a:lnTo>
                    <a:pt x="5758" y="2385"/>
                  </a:lnTo>
                  <a:lnTo>
                    <a:pt x="5780" y="2363"/>
                  </a:lnTo>
                  <a:close/>
                  <a:moveTo>
                    <a:pt x="5700" y="2430"/>
                  </a:moveTo>
                  <a:lnTo>
                    <a:pt x="5676" y="2456"/>
                  </a:lnTo>
                  <a:lnTo>
                    <a:pt x="5657" y="2467"/>
                  </a:lnTo>
                  <a:lnTo>
                    <a:pt x="5659" y="2459"/>
                  </a:lnTo>
                  <a:lnTo>
                    <a:pt x="5678" y="2438"/>
                  </a:lnTo>
                  <a:lnTo>
                    <a:pt x="5695" y="2425"/>
                  </a:lnTo>
                  <a:lnTo>
                    <a:pt x="5700" y="243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160" name="Freeform 164">
              <a:extLst>
                <a:ext uri="{FF2B5EF4-FFF2-40B4-BE49-F238E27FC236}">
                  <a16:creationId xmlns:a16="http://schemas.microsoft.com/office/drawing/2014/main" id="{9E206A14-40A2-E544-96DE-C2B5544369E4}"/>
                </a:ext>
              </a:extLst>
            </p:cNvPr>
            <p:cNvSpPr>
              <a:spLocks noChangeAspect="1" noEditPoints="1"/>
            </p:cNvSpPr>
            <p:nvPr/>
          </p:nvSpPr>
          <p:spPr bwMode="gray">
            <a:xfrm>
              <a:off x="1831673" y="2730537"/>
              <a:ext cx="1301516" cy="852469"/>
            </a:xfrm>
            <a:custGeom>
              <a:avLst/>
              <a:gdLst>
                <a:gd name="T0" fmla="*/ 2491 w 2669"/>
                <a:gd name="T1" fmla="*/ 265 h 1448"/>
                <a:gd name="T2" fmla="*/ 2600 w 2669"/>
                <a:gd name="T3" fmla="*/ 141 h 1448"/>
                <a:gd name="T4" fmla="*/ 2655 w 2669"/>
                <a:gd name="T5" fmla="*/ 305 h 1448"/>
                <a:gd name="T6" fmla="*/ 2545 w 2669"/>
                <a:gd name="T7" fmla="*/ 368 h 1448"/>
                <a:gd name="T8" fmla="*/ 2490 w 2669"/>
                <a:gd name="T9" fmla="*/ 475 h 1448"/>
                <a:gd name="T10" fmla="*/ 2491 w 2669"/>
                <a:gd name="T11" fmla="*/ 506 h 1448"/>
                <a:gd name="T12" fmla="*/ 2327 w 2669"/>
                <a:gd name="T13" fmla="*/ 575 h 1448"/>
                <a:gd name="T14" fmla="*/ 2262 w 2669"/>
                <a:gd name="T15" fmla="*/ 630 h 1448"/>
                <a:gd name="T16" fmla="*/ 2244 w 2669"/>
                <a:gd name="T17" fmla="*/ 756 h 1448"/>
                <a:gd name="T18" fmla="*/ 2237 w 2669"/>
                <a:gd name="T19" fmla="*/ 663 h 1448"/>
                <a:gd name="T20" fmla="*/ 2186 w 2669"/>
                <a:gd name="T21" fmla="*/ 697 h 1448"/>
                <a:gd name="T22" fmla="*/ 2220 w 2669"/>
                <a:gd name="T23" fmla="*/ 785 h 1448"/>
                <a:gd name="T24" fmla="*/ 2216 w 2669"/>
                <a:gd name="T25" fmla="*/ 846 h 1448"/>
                <a:gd name="T26" fmla="*/ 2224 w 2669"/>
                <a:gd name="T27" fmla="*/ 882 h 1448"/>
                <a:gd name="T28" fmla="*/ 2095 w 2669"/>
                <a:gd name="T29" fmla="*/ 989 h 1448"/>
                <a:gd name="T30" fmla="*/ 1988 w 2669"/>
                <a:gd name="T31" fmla="*/ 1117 h 1448"/>
                <a:gd name="T32" fmla="*/ 2034 w 2669"/>
                <a:gd name="T33" fmla="*/ 1413 h 1448"/>
                <a:gd name="T34" fmla="*/ 1953 w 2669"/>
                <a:gd name="T35" fmla="*/ 1329 h 1448"/>
                <a:gd name="T36" fmla="*/ 1899 w 2669"/>
                <a:gd name="T37" fmla="*/ 1184 h 1448"/>
                <a:gd name="T38" fmla="*/ 1729 w 2669"/>
                <a:gd name="T39" fmla="*/ 1145 h 1448"/>
                <a:gd name="T40" fmla="*/ 1578 w 2669"/>
                <a:gd name="T41" fmla="*/ 1150 h 1448"/>
                <a:gd name="T42" fmla="*/ 1636 w 2669"/>
                <a:gd name="T43" fmla="*/ 1212 h 1448"/>
                <a:gd name="T44" fmla="*/ 1541 w 2669"/>
                <a:gd name="T45" fmla="*/ 1207 h 1448"/>
                <a:gd name="T46" fmla="*/ 1377 w 2669"/>
                <a:gd name="T47" fmla="*/ 1196 h 1448"/>
                <a:gd name="T48" fmla="*/ 1316 w 2669"/>
                <a:gd name="T49" fmla="*/ 1252 h 1448"/>
                <a:gd name="T50" fmla="*/ 1283 w 2669"/>
                <a:gd name="T51" fmla="*/ 1266 h 1448"/>
                <a:gd name="T52" fmla="*/ 1257 w 2669"/>
                <a:gd name="T53" fmla="*/ 1340 h 1448"/>
                <a:gd name="T54" fmla="*/ 1138 w 2669"/>
                <a:gd name="T55" fmla="*/ 1283 h 1448"/>
                <a:gd name="T56" fmla="*/ 932 w 2669"/>
                <a:gd name="T57" fmla="*/ 1193 h 1448"/>
                <a:gd name="T58" fmla="*/ 754 w 2669"/>
                <a:gd name="T59" fmla="*/ 1096 h 1448"/>
                <a:gd name="T60" fmla="*/ 349 w 2669"/>
                <a:gd name="T61" fmla="*/ 1034 h 1448"/>
                <a:gd name="T62" fmla="*/ 194 w 2669"/>
                <a:gd name="T63" fmla="*/ 922 h 1448"/>
                <a:gd name="T64" fmla="*/ 110 w 2669"/>
                <a:gd name="T65" fmla="*/ 775 h 1448"/>
                <a:gd name="T66" fmla="*/ 51 w 2669"/>
                <a:gd name="T67" fmla="*/ 675 h 1448"/>
                <a:gd name="T68" fmla="*/ 16 w 2669"/>
                <a:gd name="T69" fmla="*/ 407 h 1448"/>
                <a:gd name="T70" fmla="*/ 39 w 2669"/>
                <a:gd name="T71" fmla="*/ 198 h 1448"/>
                <a:gd name="T72" fmla="*/ 39 w 2669"/>
                <a:gd name="T73" fmla="*/ 81 h 1448"/>
                <a:gd name="T74" fmla="*/ 110 w 2669"/>
                <a:gd name="T75" fmla="*/ 99 h 1448"/>
                <a:gd name="T76" fmla="*/ 232 w 2669"/>
                <a:gd name="T77" fmla="*/ 28 h 1448"/>
                <a:gd name="T78" fmla="*/ 814 w 2669"/>
                <a:gd name="T79" fmla="*/ 30 h 1448"/>
                <a:gd name="T80" fmla="*/ 1368 w 2669"/>
                <a:gd name="T81" fmla="*/ 1 h 1448"/>
                <a:gd name="T82" fmla="*/ 1504 w 2669"/>
                <a:gd name="T83" fmla="*/ 190 h 1448"/>
                <a:gd name="T84" fmla="*/ 1667 w 2669"/>
                <a:gd name="T85" fmla="*/ 169 h 1448"/>
                <a:gd name="T86" fmla="*/ 1832 w 2669"/>
                <a:gd name="T87" fmla="*/ 199 h 1448"/>
                <a:gd name="T88" fmla="*/ 1772 w 2669"/>
                <a:gd name="T89" fmla="*/ 241 h 1448"/>
                <a:gd name="T90" fmla="*/ 1730 w 2669"/>
                <a:gd name="T91" fmla="*/ 289 h 1448"/>
                <a:gd name="T92" fmla="*/ 1750 w 2669"/>
                <a:gd name="T93" fmla="*/ 492 h 1448"/>
                <a:gd name="T94" fmla="*/ 1798 w 2669"/>
                <a:gd name="T95" fmla="*/ 308 h 1448"/>
                <a:gd name="T96" fmla="*/ 1905 w 2669"/>
                <a:gd name="T97" fmla="*/ 334 h 1448"/>
                <a:gd name="T98" fmla="*/ 1948 w 2669"/>
                <a:gd name="T99" fmla="*/ 418 h 1448"/>
                <a:gd name="T100" fmla="*/ 2034 w 2669"/>
                <a:gd name="T101" fmla="*/ 487 h 1448"/>
                <a:gd name="T102" fmla="*/ 2239 w 2669"/>
                <a:gd name="T103" fmla="*/ 360 h 1448"/>
                <a:gd name="T104" fmla="*/ 2666 w 2669"/>
                <a:gd name="T105" fmla="*/ 309 h 1448"/>
                <a:gd name="T106" fmla="*/ 2581 w 2669"/>
                <a:gd name="T107" fmla="*/ 350 h 1448"/>
                <a:gd name="T108" fmla="*/ 2520 w 2669"/>
                <a:gd name="T109" fmla="*/ 528 h 1448"/>
                <a:gd name="T110" fmla="*/ 2418 w 2669"/>
                <a:gd name="T111" fmla="*/ 534 h 1448"/>
                <a:gd name="T112" fmla="*/ 2408 w 2669"/>
                <a:gd name="T113" fmla="*/ 548 h 1448"/>
                <a:gd name="T114" fmla="*/ 2018 w 2669"/>
                <a:gd name="T115" fmla="*/ 1438 h 1448"/>
                <a:gd name="T116" fmla="*/ 1274 w 2669"/>
                <a:gd name="T117" fmla="*/ 1286 h 1448"/>
                <a:gd name="T118" fmla="*/ 223 w 2669"/>
                <a:gd name="T119" fmla="*/ 949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69" h="1448">
                  <a:moveTo>
                    <a:pt x="2254" y="885"/>
                  </a:moveTo>
                  <a:lnTo>
                    <a:pt x="2264" y="883"/>
                  </a:lnTo>
                  <a:lnTo>
                    <a:pt x="2268" y="861"/>
                  </a:lnTo>
                  <a:lnTo>
                    <a:pt x="2256" y="837"/>
                  </a:lnTo>
                  <a:lnTo>
                    <a:pt x="2266" y="861"/>
                  </a:lnTo>
                  <a:lnTo>
                    <a:pt x="2262" y="882"/>
                  </a:lnTo>
                  <a:lnTo>
                    <a:pt x="2254" y="885"/>
                  </a:lnTo>
                  <a:close/>
                  <a:moveTo>
                    <a:pt x="2469" y="280"/>
                  </a:moveTo>
                  <a:lnTo>
                    <a:pt x="2491" y="277"/>
                  </a:lnTo>
                  <a:lnTo>
                    <a:pt x="2491" y="265"/>
                  </a:lnTo>
                  <a:lnTo>
                    <a:pt x="2502" y="255"/>
                  </a:lnTo>
                  <a:lnTo>
                    <a:pt x="2505" y="226"/>
                  </a:lnTo>
                  <a:lnTo>
                    <a:pt x="2516" y="195"/>
                  </a:lnTo>
                  <a:lnTo>
                    <a:pt x="2520" y="177"/>
                  </a:lnTo>
                  <a:lnTo>
                    <a:pt x="2542" y="138"/>
                  </a:lnTo>
                  <a:lnTo>
                    <a:pt x="2552" y="136"/>
                  </a:lnTo>
                  <a:lnTo>
                    <a:pt x="2561" y="147"/>
                  </a:lnTo>
                  <a:lnTo>
                    <a:pt x="2562" y="150"/>
                  </a:lnTo>
                  <a:lnTo>
                    <a:pt x="2575" y="153"/>
                  </a:lnTo>
                  <a:lnTo>
                    <a:pt x="2600" y="141"/>
                  </a:lnTo>
                  <a:lnTo>
                    <a:pt x="2621" y="164"/>
                  </a:lnTo>
                  <a:lnTo>
                    <a:pt x="2621" y="207"/>
                  </a:lnTo>
                  <a:lnTo>
                    <a:pt x="2621" y="254"/>
                  </a:lnTo>
                  <a:lnTo>
                    <a:pt x="2635" y="260"/>
                  </a:lnTo>
                  <a:lnTo>
                    <a:pt x="2635" y="277"/>
                  </a:lnTo>
                  <a:lnTo>
                    <a:pt x="2646" y="285"/>
                  </a:lnTo>
                  <a:lnTo>
                    <a:pt x="2652" y="288"/>
                  </a:lnTo>
                  <a:lnTo>
                    <a:pt x="2657" y="283"/>
                  </a:lnTo>
                  <a:lnTo>
                    <a:pt x="2658" y="297"/>
                  </a:lnTo>
                  <a:lnTo>
                    <a:pt x="2655" y="305"/>
                  </a:lnTo>
                  <a:lnTo>
                    <a:pt x="2661" y="306"/>
                  </a:lnTo>
                  <a:lnTo>
                    <a:pt x="2661" y="314"/>
                  </a:lnTo>
                  <a:lnTo>
                    <a:pt x="2623" y="328"/>
                  </a:lnTo>
                  <a:lnTo>
                    <a:pt x="2600" y="345"/>
                  </a:lnTo>
                  <a:lnTo>
                    <a:pt x="2583" y="339"/>
                  </a:lnTo>
                  <a:lnTo>
                    <a:pt x="2581" y="330"/>
                  </a:lnTo>
                  <a:lnTo>
                    <a:pt x="2576" y="330"/>
                  </a:lnTo>
                  <a:lnTo>
                    <a:pt x="2562" y="360"/>
                  </a:lnTo>
                  <a:lnTo>
                    <a:pt x="2556" y="359"/>
                  </a:lnTo>
                  <a:lnTo>
                    <a:pt x="2545" y="368"/>
                  </a:lnTo>
                  <a:lnTo>
                    <a:pt x="2539" y="365"/>
                  </a:lnTo>
                  <a:lnTo>
                    <a:pt x="2533" y="377"/>
                  </a:lnTo>
                  <a:lnTo>
                    <a:pt x="2528" y="370"/>
                  </a:lnTo>
                  <a:lnTo>
                    <a:pt x="2519" y="372"/>
                  </a:lnTo>
                  <a:lnTo>
                    <a:pt x="2496" y="407"/>
                  </a:lnTo>
                  <a:lnTo>
                    <a:pt x="2485" y="418"/>
                  </a:lnTo>
                  <a:lnTo>
                    <a:pt x="2481" y="431"/>
                  </a:lnTo>
                  <a:lnTo>
                    <a:pt x="2490" y="447"/>
                  </a:lnTo>
                  <a:lnTo>
                    <a:pt x="2477" y="467"/>
                  </a:lnTo>
                  <a:lnTo>
                    <a:pt x="2490" y="475"/>
                  </a:lnTo>
                  <a:lnTo>
                    <a:pt x="2498" y="497"/>
                  </a:lnTo>
                  <a:lnTo>
                    <a:pt x="2505" y="500"/>
                  </a:lnTo>
                  <a:lnTo>
                    <a:pt x="2520" y="503"/>
                  </a:lnTo>
                  <a:lnTo>
                    <a:pt x="2524" y="492"/>
                  </a:lnTo>
                  <a:lnTo>
                    <a:pt x="2520" y="489"/>
                  </a:lnTo>
                  <a:lnTo>
                    <a:pt x="2525" y="489"/>
                  </a:lnTo>
                  <a:lnTo>
                    <a:pt x="2527" y="500"/>
                  </a:lnTo>
                  <a:lnTo>
                    <a:pt x="2515" y="509"/>
                  </a:lnTo>
                  <a:lnTo>
                    <a:pt x="2500" y="512"/>
                  </a:lnTo>
                  <a:lnTo>
                    <a:pt x="2491" y="506"/>
                  </a:lnTo>
                  <a:lnTo>
                    <a:pt x="2473" y="514"/>
                  </a:lnTo>
                  <a:lnTo>
                    <a:pt x="2465" y="504"/>
                  </a:lnTo>
                  <a:lnTo>
                    <a:pt x="2457" y="517"/>
                  </a:lnTo>
                  <a:lnTo>
                    <a:pt x="2434" y="526"/>
                  </a:lnTo>
                  <a:lnTo>
                    <a:pt x="2412" y="528"/>
                  </a:lnTo>
                  <a:lnTo>
                    <a:pt x="2389" y="528"/>
                  </a:lnTo>
                  <a:lnTo>
                    <a:pt x="2380" y="536"/>
                  </a:lnTo>
                  <a:lnTo>
                    <a:pt x="2351" y="546"/>
                  </a:lnTo>
                  <a:lnTo>
                    <a:pt x="2334" y="565"/>
                  </a:lnTo>
                  <a:lnTo>
                    <a:pt x="2327" y="575"/>
                  </a:lnTo>
                  <a:lnTo>
                    <a:pt x="2338" y="591"/>
                  </a:lnTo>
                  <a:lnTo>
                    <a:pt x="2335" y="608"/>
                  </a:lnTo>
                  <a:lnTo>
                    <a:pt x="2330" y="611"/>
                  </a:lnTo>
                  <a:lnTo>
                    <a:pt x="2327" y="627"/>
                  </a:lnTo>
                  <a:lnTo>
                    <a:pt x="2304" y="661"/>
                  </a:lnTo>
                  <a:lnTo>
                    <a:pt x="2296" y="668"/>
                  </a:lnTo>
                  <a:lnTo>
                    <a:pt x="2296" y="655"/>
                  </a:lnTo>
                  <a:lnTo>
                    <a:pt x="2276" y="647"/>
                  </a:lnTo>
                  <a:lnTo>
                    <a:pt x="2264" y="633"/>
                  </a:lnTo>
                  <a:lnTo>
                    <a:pt x="2262" y="630"/>
                  </a:lnTo>
                  <a:lnTo>
                    <a:pt x="2262" y="639"/>
                  </a:lnTo>
                  <a:lnTo>
                    <a:pt x="2284" y="678"/>
                  </a:lnTo>
                  <a:lnTo>
                    <a:pt x="2290" y="693"/>
                  </a:lnTo>
                  <a:lnTo>
                    <a:pt x="2287" y="698"/>
                  </a:lnTo>
                  <a:lnTo>
                    <a:pt x="2278" y="715"/>
                  </a:lnTo>
                  <a:lnTo>
                    <a:pt x="2278" y="722"/>
                  </a:lnTo>
                  <a:lnTo>
                    <a:pt x="2264" y="747"/>
                  </a:lnTo>
                  <a:lnTo>
                    <a:pt x="2258" y="768"/>
                  </a:lnTo>
                  <a:lnTo>
                    <a:pt x="2247" y="775"/>
                  </a:lnTo>
                  <a:lnTo>
                    <a:pt x="2244" y="756"/>
                  </a:lnTo>
                  <a:lnTo>
                    <a:pt x="2259" y="732"/>
                  </a:lnTo>
                  <a:lnTo>
                    <a:pt x="2259" y="729"/>
                  </a:lnTo>
                  <a:lnTo>
                    <a:pt x="2256" y="727"/>
                  </a:lnTo>
                  <a:lnTo>
                    <a:pt x="2250" y="710"/>
                  </a:lnTo>
                  <a:lnTo>
                    <a:pt x="2239" y="709"/>
                  </a:lnTo>
                  <a:lnTo>
                    <a:pt x="2233" y="697"/>
                  </a:lnTo>
                  <a:lnTo>
                    <a:pt x="2239" y="687"/>
                  </a:lnTo>
                  <a:lnTo>
                    <a:pt x="2239" y="675"/>
                  </a:lnTo>
                  <a:lnTo>
                    <a:pt x="2233" y="670"/>
                  </a:lnTo>
                  <a:lnTo>
                    <a:pt x="2237" y="663"/>
                  </a:lnTo>
                  <a:lnTo>
                    <a:pt x="2237" y="651"/>
                  </a:lnTo>
                  <a:lnTo>
                    <a:pt x="2245" y="641"/>
                  </a:lnTo>
                  <a:lnTo>
                    <a:pt x="2245" y="633"/>
                  </a:lnTo>
                  <a:lnTo>
                    <a:pt x="2242" y="636"/>
                  </a:lnTo>
                  <a:lnTo>
                    <a:pt x="2220" y="655"/>
                  </a:lnTo>
                  <a:lnTo>
                    <a:pt x="2224" y="698"/>
                  </a:lnTo>
                  <a:lnTo>
                    <a:pt x="2219" y="698"/>
                  </a:lnTo>
                  <a:lnTo>
                    <a:pt x="2225" y="705"/>
                  </a:lnTo>
                  <a:lnTo>
                    <a:pt x="2228" y="719"/>
                  </a:lnTo>
                  <a:lnTo>
                    <a:pt x="2186" y="697"/>
                  </a:lnTo>
                  <a:lnTo>
                    <a:pt x="2193" y="681"/>
                  </a:lnTo>
                  <a:lnTo>
                    <a:pt x="2183" y="697"/>
                  </a:lnTo>
                  <a:lnTo>
                    <a:pt x="2185" y="702"/>
                  </a:lnTo>
                  <a:lnTo>
                    <a:pt x="2230" y="729"/>
                  </a:lnTo>
                  <a:lnTo>
                    <a:pt x="2225" y="746"/>
                  </a:lnTo>
                  <a:lnTo>
                    <a:pt x="2234" y="763"/>
                  </a:lnTo>
                  <a:lnTo>
                    <a:pt x="2227" y="768"/>
                  </a:lnTo>
                  <a:lnTo>
                    <a:pt x="2234" y="778"/>
                  </a:lnTo>
                  <a:lnTo>
                    <a:pt x="2222" y="780"/>
                  </a:lnTo>
                  <a:lnTo>
                    <a:pt x="2220" y="785"/>
                  </a:lnTo>
                  <a:lnTo>
                    <a:pt x="2250" y="789"/>
                  </a:lnTo>
                  <a:lnTo>
                    <a:pt x="2250" y="802"/>
                  </a:lnTo>
                  <a:lnTo>
                    <a:pt x="2247" y="815"/>
                  </a:lnTo>
                  <a:lnTo>
                    <a:pt x="2254" y="837"/>
                  </a:lnTo>
                  <a:lnTo>
                    <a:pt x="2251" y="831"/>
                  </a:lnTo>
                  <a:lnTo>
                    <a:pt x="2241" y="828"/>
                  </a:lnTo>
                  <a:lnTo>
                    <a:pt x="2220" y="837"/>
                  </a:lnTo>
                  <a:lnTo>
                    <a:pt x="2216" y="823"/>
                  </a:lnTo>
                  <a:lnTo>
                    <a:pt x="2214" y="839"/>
                  </a:lnTo>
                  <a:lnTo>
                    <a:pt x="2216" y="846"/>
                  </a:lnTo>
                  <a:lnTo>
                    <a:pt x="2220" y="846"/>
                  </a:lnTo>
                  <a:lnTo>
                    <a:pt x="2241" y="842"/>
                  </a:lnTo>
                  <a:lnTo>
                    <a:pt x="2244" y="857"/>
                  </a:lnTo>
                  <a:lnTo>
                    <a:pt x="2253" y="845"/>
                  </a:lnTo>
                  <a:lnTo>
                    <a:pt x="2258" y="863"/>
                  </a:lnTo>
                  <a:lnTo>
                    <a:pt x="2239" y="878"/>
                  </a:lnTo>
                  <a:lnTo>
                    <a:pt x="2230" y="878"/>
                  </a:lnTo>
                  <a:lnTo>
                    <a:pt x="2224" y="868"/>
                  </a:lnTo>
                  <a:lnTo>
                    <a:pt x="2207" y="873"/>
                  </a:lnTo>
                  <a:lnTo>
                    <a:pt x="2224" y="882"/>
                  </a:lnTo>
                  <a:lnTo>
                    <a:pt x="2214" y="899"/>
                  </a:lnTo>
                  <a:lnTo>
                    <a:pt x="2225" y="899"/>
                  </a:lnTo>
                  <a:lnTo>
                    <a:pt x="2225" y="908"/>
                  </a:lnTo>
                  <a:lnTo>
                    <a:pt x="2211" y="917"/>
                  </a:lnTo>
                  <a:lnTo>
                    <a:pt x="2194" y="917"/>
                  </a:lnTo>
                  <a:lnTo>
                    <a:pt x="2180" y="925"/>
                  </a:lnTo>
                  <a:lnTo>
                    <a:pt x="2159" y="949"/>
                  </a:lnTo>
                  <a:lnTo>
                    <a:pt x="2144" y="956"/>
                  </a:lnTo>
                  <a:lnTo>
                    <a:pt x="2123" y="959"/>
                  </a:lnTo>
                  <a:lnTo>
                    <a:pt x="2095" y="989"/>
                  </a:lnTo>
                  <a:lnTo>
                    <a:pt x="2095" y="998"/>
                  </a:lnTo>
                  <a:lnTo>
                    <a:pt x="2056" y="1030"/>
                  </a:lnTo>
                  <a:lnTo>
                    <a:pt x="2026" y="1030"/>
                  </a:lnTo>
                  <a:lnTo>
                    <a:pt x="2030" y="1046"/>
                  </a:lnTo>
                  <a:lnTo>
                    <a:pt x="2018" y="1054"/>
                  </a:lnTo>
                  <a:lnTo>
                    <a:pt x="2015" y="1059"/>
                  </a:lnTo>
                  <a:lnTo>
                    <a:pt x="2009" y="1068"/>
                  </a:lnTo>
                  <a:lnTo>
                    <a:pt x="1996" y="1091"/>
                  </a:lnTo>
                  <a:lnTo>
                    <a:pt x="1996" y="1100"/>
                  </a:lnTo>
                  <a:lnTo>
                    <a:pt x="1988" y="1117"/>
                  </a:lnTo>
                  <a:lnTo>
                    <a:pt x="1988" y="1130"/>
                  </a:lnTo>
                  <a:lnTo>
                    <a:pt x="1985" y="1136"/>
                  </a:lnTo>
                  <a:lnTo>
                    <a:pt x="1995" y="1174"/>
                  </a:lnTo>
                  <a:lnTo>
                    <a:pt x="2007" y="1208"/>
                  </a:lnTo>
                  <a:lnTo>
                    <a:pt x="2027" y="1244"/>
                  </a:lnTo>
                  <a:lnTo>
                    <a:pt x="2029" y="1275"/>
                  </a:lnTo>
                  <a:lnTo>
                    <a:pt x="2051" y="1328"/>
                  </a:lnTo>
                  <a:lnTo>
                    <a:pt x="2051" y="1372"/>
                  </a:lnTo>
                  <a:lnTo>
                    <a:pt x="2041" y="1416"/>
                  </a:lnTo>
                  <a:lnTo>
                    <a:pt x="2034" y="1413"/>
                  </a:lnTo>
                  <a:lnTo>
                    <a:pt x="2018" y="1419"/>
                  </a:lnTo>
                  <a:lnTo>
                    <a:pt x="2002" y="1418"/>
                  </a:lnTo>
                  <a:lnTo>
                    <a:pt x="2002" y="1405"/>
                  </a:lnTo>
                  <a:lnTo>
                    <a:pt x="1993" y="1386"/>
                  </a:lnTo>
                  <a:lnTo>
                    <a:pt x="1976" y="1377"/>
                  </a:lnTo>
                  <a:lnTo>
                    <a:pt x="1965" y="1351"/>
                  </a:lnTo>
                  <a:lnTo>
                    <a:pt x="1968" y="1343"/>
                  </a:lnTo>
                  <a:lnTo>
                    <a:pt x="1962" y="1343"/>
                  </a:lnTo>
                  <a:lnTo>
                    <a:pt x="1961" y="1328"/>
                  </a:lnTo>
                  <a:lnTo>
                    <a:pt x="1953" y="1329"/>
                  </a:lnTo>
                  <a:lnTo>
                    <a:pt x="1937" y="1306"/>
                  </a:lnTo>
                  <a:lnTo>
                    <a:pt x="1941" y="1278"/>
                  </a:lnTo>
                  <a:lnTo>
                    <a:pt x="1934" y="1274"/>
                  </a:lnTo>
                  <a:lnTo>
                    <a:pt x="1933" y="1281"/>
                  </a:lnTo>
                  <a:lnTo>
                    <a:pt x="1929" y="1281"/>
                  </a:lnTo>
                  <a:lnTo>
                    <a:pt x="1928" y="1272"/>
                  </a:lnTo>
                  <a:lnTo>
                    <a:pt x="1931" y="1238"/>
                  </a:lnTo>
                  <a:lnTo>
                    <a:pt x="1929" y="1216"/>
                  </a:lnTo>
                  <a:lnTo>
                    <a:pt x="1899" y="1193"/>
                  </a:lnTo>
                  <a:lnTo>
                    <a:pt x="1899" y="1184"/>
                  </a:lnTo>
                  <a:lnTo>
                    <a:pt x="1880" y="1165"/>
                  </a:lnTo>
                  <a:lnTo>
                    <a:pt x="1860" y="1162"/>
                  </a:lnTo>
                  <a:lnTo>
                    <a:pt x="1854" y="1171"/>
                  </a:lnTo>
                  <a:lnTo>
                    <a:pt x="1824" y="1179"/>
                  </a:lnTo>
                  <a:lnTo>
                    <a:pt x="1814" y="1182"/>
                  </a:lnTo>
                  <a:lnTo>
                    <a:pt x="1803" y="1167"/>
                  </a:lnTo>
                  <a:lnTo>
                    <a:pt x="1764" y="1148"/>
                  </a:lnTo>
                  <a:lnTo>
                    <a:pt x="1769" y="1142"/>
                  </a:lnTo>
                  <a:lnTo>
                    <a:pt x="1763" y="1142"/>
                  </a:lnTo>
                  <a:lnTo>
                    <a:pt x="1729" y="1145"/>
                  </a:lnTo>
                  <a:lnTo>
                    <a:pt x="1730" y="1137"/>
                  </a:lnTo>
                  <a:lnTo>
                    <a:pt x="1716" y="1148"/>
                  </a:lnTo>
                  <a:lnTo>
                    <a:pt x="1690" y="1156"/>
                  </a:lnTo>
                  <a:lnTo>
                    <a:pt x="1687" y="1119"/>
                  </a:lnTo>
                  <a:lnTo>
                    <a:pt x="1680" y="1147"/>
                  </a:lnTo>
                  <a:lnTo>
                    <a:pt x="1670" y="1147"/>
                  </a:lnTo>
                  <a:lnTo>
                    <a:pt x="1642" y="1145"/>
                  </a:lnTo>
                  <a:lnTo>
                    <a:pt x="1614" y="1156"/>
                  </a:lnTo>
                  <a:lnTo>
                    <a:pt x="1589" y="1147"/>
                  </a:lnTo>
                  <a:lnTo>
                    <a:pt x="1578" y="1150"/>
                  </a:lnTo>
                  <a:lnTo>
                    <a:pt x="1577" y="1159"/>
                  </a:lnTo>
                  <a:lnTo>
                    <a:pt x="1583" y="1164"/>
                  </a:lnTo>
                  <a:lnTo>
                    <a:pt x="1603" y="1159"/>
                  </a:lnTo>
                  <a:lnTo>
                    <a:pt x="1605" y="1170"/>
                  </a:lnTo>
                  <a:lnTo>
                    <a:pt x="1609" y="1170"/>
                  </a:lnTo>
                  <a:lnTo>
                    <a:pt x="1625" y="1161"/>
                  </a:lnTo>
                  <a:lnTo>
                    <a:pt x="1628" y="1164"/>
                  </a:lnTo>
                  <a:lnTo>
                    <a:pt x="1626" y="1176"/>
                  </a:lnTo>
                  <a:lnTo>
                    <a:pt x="1612" y="1191"/>
                  </a:lnTo>
                  <a:lnTo>
                    <a:pt x="1636" y="1212"/>
                  </a:lnTo>
                  <a:lnTo>
                    <a:pt x="1631" y="1216"/>
                  </a:lnTo>
                  <a:lnTo>
                    <a:pt x="1629" y="1218"/>
                  </a:lnTo>
                  <a:lnTo>
                    <a:pt x="1625" y="1220"/>
                  </a:lnTo>
                  <a:lnTo>
                    <a:pt x="1616" y="1208"/>
                  </a:lnTo>
                  <a:lnTo>
                    <a:pt x="1600" y="1198"/>
                  </a:lnTo>
                  <a:lnTo>
                    <a:pt x="1594" y="1198"/>
                  </a:lnTo>
                  <a:lnTo>
                    <a:pt x="1589" y="1212"/>
                  </a:lnTo>
                  <a:lnTo>
                    <a:pt x="1566" y="1208"/>
                  </a:lnTo>
                  <a:lnTo>
                    <a:pt x="1560" y="1212"/>
                  </a:lnTo>
                  <a:lnTo>
                    <a:pt x="1541" y="1207"/>
                  </a:lnTo>
                  <a:lnTo>
                    <a:pt x="1531" y="1193"/>
                  </a:lnTo>
                  <a:lnTo>
                    <a:pt x="1507" y="1179"/>
                  </a:lnTo>
                  <a:lnTo>
                    <a:pt x="1499" y="1179"/>
                  </a:lnTo>
                  <a:lnTo>
                    <a:pt x="1499" y="1186"/>
                  </a:lnTo>
                  <a:lnTo>
                    <a:pt x="1492" y="1191"/>
                  </a:lnTo>
                  <a:lnTo>
                    <a:pt x="1473" y="1190"/>
                  </a:lnTo>
                  <a:lnTo>
                    <a:pt x="1444" y="1179"/>
                  </a:lnTo>
                  <a:lnTo>
                    <a:pt x="1419" y="1184"/>
                  </a:lnTo>
                  <a:lnTo>
                    <a:pt x="1404" y="1184"/>
                  </a:lnTo>
                  <a:lnTo>
                    <a:pt x="1377" y="1196"/>
                  </a:lnTo>
                  <a:lnTo>
                    <a:pt x="1382" y="1190"/>
                  </a:lnTo>
                  <a:lnTo>
                    <a:pt x="1377" y="1190"/>
                  </a:lnTo>
                  <a:lnTo>
                    <a:pt x="1376" y="1179"/>
                  </a:lnTo>
                  <a:lnTo>
                    <a:pt x="1371" y="1181"/>
                  </a:lnTo>
                  <a:lnTo>
                    <a:pt x="1367" y="1210"/>
                  </a:lnTo>
                  <a:lnTo>
                    <a:pt x="1360" y="1227"/>
                  </a:lnTo>
                  <a:lnTo>
                    <a:pt x="1350" y="1235"/>
                  </a:lnTo>
                  <a:lnTo>
                    <a:pt x="1345" y="1242"/>
                  </a:lnTo>
                  <a:lnTo>
                    <a:pt x="1326" y="1250"/>
                  </a:lnTo>
                  <a:lnTo>
                    <a:pt x="1316" y="1252"/>
                  </a:lnTo>
                  <a:lnTo>
                    <a:pt x="1336" y="1238"/>
                  </a:lnTo>
                  <a:lnTo>
                    <a:pt x="1321" y="1244"/>
                  </a:lnTo>
                  <a:lnTo>
                    <a:pt x="1320" y="1235"/>
                  </a:lnTo>
                  <a:lnTo>
                    <a:pt x="1314" y="1242"/>
                  </a:lnTo>
                  <a:lnTo>
                    <a:pt x="1309" y="1237"/>
                  </a:lnTo>
                  <a:lnTo>
                    <a:pt x="1306" y="1244"/>
                  </a:lnTo>
                  <a:lnTo>
                    <a:pt x="1299" y="1238"/>
                  </a:lnTo>
                  <a:lnTo>
                    <a:pt x="1303" y="1252"/>
                  </a:lnTo>
                  <a:lnTo>
                    <a:pt x="1291" y="1255"/>
                  </a:lnTo>
                  <a:lnTo>
                    <a:pt x="1283" y="1266"/>
                  </a:lnTo>
                  <a:lnTo>
                    <a:pt x="1272" y="1270"/>
                  </a:lnTo>
                  <a:lnTo>
                    <a:pt x="1272" y="1274"/>
                  </a:lnTo>
                  <a:lnTo>
                    <a:pt x="1277" y="1275"/>
                  </a:lnTo>
                  <a:lnTo>
                    <a:pt x="1274" y="1283"/>
                  </a:lnTo>
                  <a:lnTo>
                    <a:pt x="1262" y="1286"/>
                  </a:lnTo>
                  <a:lnTo>
                    <a:pt x="1267" y="1294"/>
                  </a:lnTo>
                  <a:lnTo>
                    <a:pt x="1265" y="1311"/>
                  </a:lnTo>
                  <a:lnTo>
                    <a:pt x="1252" y="1315"/>
                  </a:lnTo>
                  <a:lnTo>
                    <a:pt x="1260" y="1320"/>
                  </a:lnTo>
                  <a:lnTo>
                    <a:pt x="1257" y="1340"/>
                  </a:lnTo>
                  <a:lnTo>
                    <a:pt x="1263" y="1369"/>
                  </a:lnTo>
                  <a:lnTo>
                    <a:pt x="1272" y="1380"/>
                  </a:lnTo>
                  <a:lnTo>
                    <a:pt x="1257" y="1382"/>
                  </a:lnTo>
                  <a:lnTo>
                    <a:pt x="1241" y="1374"/>
                  </a:lnTo>
                  <a:lnTo>
                    <a:pt x="1218" y="1372"/>
                  </a:lnTo>
                  <a:lnTo>
                    <a:pt x="1195" y="1363"/>
                  </a:lnTo>
                  <a:lnTo>
                    <a:pt x="1181" y="1355"/>
                  </a:lnTo>
                  <a:lnTo>
                    <a:pt x="1165" y="1334"/>
                  </a:lnTo>
                  <a:lnTo>
                    <a:pt x="1153" y="1292"/>
                  </a:lnTo>
                  <a:lnTo>
                    <a:pt x="1138" y="1283"/>
                  </a:lnTo>
                  <a:lnTo>
                    <a:pt x="1131" y="1267"/>
                  </a:lnTo>
                  <a:lnTo>
                    <a:pt x="1118" y="1254"/>
                  </a:lnTo>
                  <a:lnTo>
                    <a:pt x="1101" y="1215"/>
                  </a:lnTo>
                  <a:lnTo>
                    <a:pt x="1074" y="1186"/>
                  </a:lnTo>
                  <a:lnTo>
                    <a:pt x="1065" y="1178"/>
                  </a:lnTo>
                  <a:lnTo>
                    <a:pt x="1020" y="1176"/>
                  </a:lnTo>
                  <a:lnTo>
                    <a:pt x="1009" y="1181"/>
                  </a:lnTo>
                  <a:lnTo>
                    <a:pt x="988" y="1224"/>
                  </a:lnTo>
                  <a:lnTo>
                    <a:pt x="969" y="1218"/>
                  </a:lnTo>
                  <a:lnTo>
                    <a:pt x="932" y="1193"/>
                  </a:lnTo>
                  <a:lnTo>
                    <a:pt x="920" y="1176"/>
                  </a:lnTo>
                  <a:lnTo>
                    <a:pt x="907" y="1134"/>
                  </a:lnTo>
                  <a:lnTo>
                    <a:pt x="882" y="1119"/>
                  </a:lnTo>
                  <a:lnTo>
                    <a:pt x="859" y="1093"/>
                  </a:lnTo>
                  <a:lnTo>
                    <a:pt x="848" y="1088"/>
                  </a:lnTo>
                  <a:lnTo>
                    <a:pt x="844" y="1077"/>
                  </a:lnTo>
                  <a:lnTo>
                    <a:pt x="830" y="1071"/>
                  </a:lnTo>
                  <a:lnTo>
                    <a:pt x="794" y="1071"/>
                  </a:lnTo>
                  <a:lnTo>
                    <a:pt x="755" y="1071"/>
                  </a:lnTo>
                  <a:lnTo>
                    <a:pt x="754" y="1096"/>
                  </a:lnTo>
                  <a:lnTo>
                    <a:pt x="718" y="1096"/>
                  </a:lnTo>
                  <a:lnTo>
                    <a:pt x="678" y="1096"/>
                  </a:lnTo>
                  <a:lnTo>
                    <a:pt x="630" y="1096"/>
                  </a:lnTo>
                  <a:lnTo>
                    <a:pt x="564" y="1071"/>
                  </a:lnTo>
                  <a:lnTo>
                    <a:pt x="498" y="1047"/>
                  </a:lnTo>
                  <a:lnTo>
                    <a:pt x="454" y="1030"/>
                  </a:lnTo>
                  <a:lnTo>
                    <a:pt x="454" y="1026"/>
                  </a:lnTo>
                  <a:lnTo>
                    <a:pt x="422" y="1029"/>
                  </a:lnTo>
                  <a:lnTo>
                    <a:pt x="388" y="1032"/>
                  </a:lnTo>
                  <a:lnTo>
                    <a:pt x="349" y="1034"/>
                  </a:lnTo>
                  <a:lnTo>
                    <a:pt x="346" y="1007"/>
                  </a:lnTo>
                  <a:lnTo>
                    <a:pt x="341" y="998"/>
                  </a:lnTo>
                  <a:lnTo>
                    <a:pt x="315" y="973"/>
                  </a:lnTo>
                  <a:lnTo>
                    <a:pt x="293" y="966"/>
                  </a:lnTo>
                  <a:lnTo>
                    <a:pt x="285" y="950"/>
                  </a:lnTo>
                  <a:lnTo>
                    <a:pt x="276" y="949"/>
                  </a:lnTo>
                  <a:lnTo>
                    <a:pt x="274" y="955"/>
                  </a:lnTo>
                  <a:lnTo>
                    <a:pt x="234" y="930"/>
                  </a:lnTo>
                  <a:lnTo>
                    <a:pt x="225" y="930"/>
                  </a:lnTo>
                  <a:lnTo>
                    <a:pt x="194" y="922"/>
                  </a:lnTo>
                  <a:lnTo>
                    <a:pt x="189" y="891"/>
                  </a:lnTo>
                  <a:lnTo>
                    <a:pt x="178" y="882"/>
                  </a:lnTo>
                  <a:lnTo>
                    <a:pt x="178" y="873"/>
                  </a:lnTo>
                  <a:lnTo>
                    <a:pt x="131" y="820"/>
                  </a:lnTo>
                  <a:lnTo>
                    <a:pt x="129" y="806"/>
                  </a:lnTo>
                  <a:lnTo>
                    <a:pt x="134" y="802"/>
                  </a:lnTo>
                  <a:lnTo>
                    <a:pt x="134" y="792"/>
                  </a:lnTo>
                  <a:lnTo>
                    <a:pt x="129" y="785"/>
                  </a:lnTo>
                  <a:lnTo>
                    <a:pt x="118" y="783"/>
                  </a:lnTo>
                  <a:lnTo>
                    <a:pt x="110" y="775"/>
                  </a:lnTo>
                  <a:lnTo>
                    <a:pt x="103" y="738"/>
                  </a:lnTo>
                  <a:lnTo>
                    <a:pt x="120" y="752"/>
                  </a:lnTo>
                  <a:lnTo>
                    <a:pt x="110" y="729"/>
                  </a:lnTo>
                  <a:lnTo>
                    <a:pt x="126" y="719"/>
                  </a:lnTo>
                  <a:lnTo>
                    <a:pt x="103" y="715"/>
                  </a:lnTo>
                  <a:lnTo>
                    <a:pt x="101" y="729"/>
                  </a:lnTo>
                  <a:lnTo>
                    <a:pt x="90" y="727"/>
                  </a:lnTo>
                  <a:lnTo>
                    <a:pt x="81" y="719"/>
                  </a:lnTo>
                  <a:lnTo>
                    <a:pt x="78" y="705"/>
                  </a:lnTo>
                  <a:lnTo>
                    <a:pt x="51" y="675"/>
                  </a:lnTo>
                  <a:lnTo>
                    <a:pt x="44" y="644"/>
                  </a:lnTo>
                  <a:lnTo>
                    <a:pt x="44" y="625"/>
                  </a:lnTo>
                  <a:lnTo>
                    <a:pt x="17" y="583"/>
                  </a:lnTo>
                  <a:lnTo>
                    <a:pt x="17" y="575"/>
                  </a:lnTo>
                  <a:lnTo>
                    <a:pt x="29" y="558"/>
                  </a:lnTo>
                  <a:lnTo>
                    <a:pt x="33" y="521"/>
                  </a:lnTo>
                  <a:lnTo>
                    <a:pt x="24" y="486"/>
                  </a:lnTo>
                  <a:lnTo>
                    <a:pt x="16" y="464"/>
                  </a:lnTo>
                  <a:lnTo>
                    <a:pt x="12" y="431"/>
                  </a:lnTo>
                  <a:lnTo>
                    <a:pt x="16" y="407"/>
                  </a:lnTo>
                  <a:lnTo>
                    <a:pt x="25" y="396"/>
                  </a:lnTo>
                  <a:lnTo>
                    <a:pt x="22" y="389"/>
                  </a:lnTo>
                  <a:lnTo>
                    <a:pt x="30" y="343"/>
                  </a:lnTo>
                  <a:lnTo>
                    <a:pt x="38" y="221"/>
                  </a:lnTo>
                  <a:lnTo>
                    <a:pt x="66" y="218"/>
                  </a:lnTo>
                  <a:lnTo>
                    <a:pt x="56" y="209"/>
                  </a:lnTo>
                  <a:lnTo>
                    <a:pt x="33" y="206"/>
                  </a:lnTo>
                  <a:lnTo>
                    <a:pt x="30" y="187"/>
                  </a:lnTo>
                  <a:lnTo>
                    <a:pt x="34" y="201"/>
                  </a:lnTo>
                  <a:lnTo>
                    <a:pt x="39" y="198"/>
                  </a:lnTo>
                  <a:lnTo>
                    <a:pt x="38" y="182"/>
                  </a:lnTo>
                  <a:lnTo>
                    <a:pt x="30" y="177"/>
                  </a:lnTo>
                  <a:lnTo>
                    <a:pt x="34" y="162"/>
                  </a:lnTo>
                  <a:lnTo>
                    <a:pt x="30" y="156"/>
                  </a:lnTo>
                  <a:lnTo>
                    <a:pt x="25" y="162"/>
                  </a:lnTo>
                  <a:lnTo>
                    <a:pt x="17" y="123"/>
                  </a:lnTo>
                  <a:lnTo>
                    <a:pt x="0" y="94"/>
                  </a:lnTo>
                  <a:lnTo>
                    <a:pt x="2" y="73"/>
                  </a:lnTo>
                  <a:lnTo>
                    <a:pt x="5" y="67"/>
                  </a:lnTo>
                  <a:lnTo>
                    <a:pt x="39" y="81"/>
                  </a:lnTo>
                  <a:lnTo>
                    <a:pt x="90" y="87"/>
                  </a:lnTo>
                  <a:lnTo>
                    <a:pt x="92" y="101"/>
                  </a:lnTo>
                  <a:lnTo>
                    <a:pt x="76" y="127"/>
                  </a:lnTo>
                  <a:lnTo>
                    <a:pt x="76" y="136"/>
                  </a:lnTo>
                  <a:lnTo>
                    <a:pt x="83" y="135"/>
                  </a:lnTo>
                  <a:lnTo>
                    <a:pt x="81" y="130"/>
                  </a:lnTo>
                  <a:lnTo>
                    <a:pt x="98" y="107"/>
                  </a:lnTo>
                  <a:lnTo>
                    <a:pt x="106" y="104"/>
                  </a:lnTo>
                  <a:lnTo>
                    <a:pt x="109" y="111"/>
                  </a:lnTo>
                  <a:lnTo>
                    <a:pt x="110" y="99"/>
                  </a:lnTo>
                  <a:lnTo>
                    <a:pt x="107" y="73"/>
                  </a:lnTo>
                  <a:lnTo>
                    <a:pt x="97" y="62"/>
                  </a:lnTo>
                  <a:lnTo>
                    <a:pt x="103" y="56"/>
                  </a:lnTo>
                  <a:lnTo>
                    <a:pt x="103" y="48"/>
                  </a:lnTo>
                  <a:lnTo>
                    <a:pt x="110" y="47"/>
                  </a:lnTo>
                  <a:lnTo>
                    <a:pt x="95" y="42"/>
                  </a:lnTo>
                  <a:lnTo>
                    <a:pt x="87" y="28"/>
                  </a:lnTo>
                  <a:lnTo>
                    <a:pt x="139" y="28"/>
                  </a:lnTo>
                  <a:lnTo>
                    <a:pt x="174" y="28"/>
                  </a:lnTo>
                  <a:lnTo>
                    <a:pt x="232" y="28"/>
                  </a:lnTo>
                  <a:lnTo>
                    <a:pt x="295" y="28"/>
                  </a:lnTo>
                  <a:lnTo>
                    <a:pt x="349" y="28"/>
                  </a:lnTo>
                  <a:lnTo>
                    <a:pt x="395" y="28"/>
                  </a:lnTo>
                  <a:lnTo>
                    <a:pt x="439" y="28"/>
                  </a:lnTo>
                  <a:lnTo>
                    <a:pt x="486" y="28"/>
                  </a:lnTo>
                  <a:lnTo>
                    <a:pt x="545" y="28"/>
                  </a:lnTo>
                  <a:lnTo>
                    <a:pt x="615" y="28"/>
                  </a:lnTo>
                  <a:lnTo>
                    <a:pt x="672" y="28"/>
                  </a:lnTo>
                  <a:lnTo>
                    <a:pt x="740" y="30"/>
                  </a:lnTo>
                  <a:lnTo>
                    <a:pt x="814" y="30"/>
                  </a:lnTo>
                  <a:lnTo>
                    <a:pt x="896" y="30"/>
                  </a:lnTo>
                  <a:lnTo>
                    <a:pt x="949" y="30"/>
                  </a:lnTo>
                  <a:lnTo>
                    <a:pt x="1009" y="30"/>
                  </a:lnTo>
                  <a:lnTo>
                    <a:pt x="1072" y="30"/>
                  </a:lnTo>
                  <a:lnTo>
                    <a:pt x="1135" y="30"/>
                  </a:lnTo>
                  <a:lnTo>
                    <a:pt x="1204" y="30"/>
                  </a:lnTo>
                  <a:lnTo>
                    <a:pt x="1262" y="30"/>
                  </a:lnTo>
                  <a:lnTo>
                    <a:pt x="1359" y="30"/>
                  </a:lnTo>
                  <a:lnTo>
                    <a:pt x="1359" y="0"/>
                  </a:lnTo>
                  <a:lnTo>
                    <a:pt x="1368" y="1"/>
                  </a:lnTo>
                  <a:lnTo>
                    <a:pt x="1387" y="47"/>
                  </a:lnTo>
                  <a:lnTo>
                    <a:pt x="1407" y="47"/>
                  </a:lnTo>
                  <a:lnTo>
                    <a:pt x="1431" y="57"/>
                  </a:lnTo>
                  <a:lnTo>
                    <a:pt x="1469" y="54"/>
                  </a:lnTo>
                  <a:lnTo>
                    <a:pt x="1532" y="93"/>
                  </a:lnTo>
                  <a:lnTo>
                    <a:pt x="1558" y="87"/>
                  </a:lnTo>
                  <a:lnTo>
                    <a:pt x="1609" y="99"/>
                  </a:lnTo>
                  <a:lnTo>
                    <a:pt x="1538" y="150"/>
                  </a:lnTo>
                  <a:lnTo>
                    <a:pt x="1501" y="186"/>
                  </a:lnTo>
                  <a:lnTo>
                    <a:pt x="1504" y="190"/>
                  </a:lnTo>
                  <a:lnTo>
                    <a:pt x="1523" y="189"/>
                  </a:lnTo>
                  <a:lnTo>
                    <a:pt x="1553" y="170"/>
                  </a:lnTo>
                  <a:lnTo>
                    <a:pt x="1558" y="175"/>
                  </a:lnTo>
                  <a:lnTo>
                    <a:pt x="1557" y="194"/>
                  </a:lnTo>
                  <a:lnTo>
                    <a:pt x="1577" y="192"/>
                  </a:lnTo>
                  <a:lnTo>
                    <a:pt x="1628" y="173"/>
                  </a:lnTo>
                  <a:lnTo>
                    <a:pt x="1668" y="141"/>
                  </a:lnTo>
                  <a:lnTo>
                    <a:pt x="1697" y="133"/>
                  </a:lnTo>
                  <a:lnTo>
                    <a:pt x="1697" y="136"/>
                  </a:lnTo>
                  <a:lnTo>
                    <a:pt x="1667" y="169"/>
                  </a:lnTo>
                  <a:lnTo>
                    <a:pt x="1667" y="181"/>
                  </a:lnTo>
                  <a:lnTo>
                    <a:pt x="1673" y="175"/>
                  </a:lnTo>
                  <a:lnTo>
                    <a:pt x="1690" y="173"/>
                  </a:lnTo>
                  <a:lnTo>
                    <a:pt x="1705" y="182"/>
                  </a:lnTo>
                  <a:lnTo>
                    <a:pt x="1721" y="199"/>
                  </a:lnTo>
                  <a:lnTo>
                    <a:pt x="1747" y="203"/>
                  </a:lnTo>
                  <a:lnTo>
                    <a:pt x="1773" y="187"/>
                  </a:lnTo>
                  <a:lnTo>
                    <a:pt x="1823" y="181"/>
                  </a:lnTo>
                  <a:lnTo>
                    <a:pt x="1824" y="195"/>
                  </a:lnTo>
                  <a:lnTo>
                    <a:pt x="1832" y="199"/>
                  </a:lnTo>
                  <a:lnTo>
                    <a:pt x="1849" y="199"/>
                  </a:lnTo>
                  <a:lnTo>
                    <a:pt x="1857" y="199"/>
                  </a:lnTo>
                  <a:lnTo>
                    <a:pt x="1861" y="220"/>
                  </a:lnTo>
                  <a:lnTo>
                    <a:pt x="1875" y="233"/>
                  </a:lnTo>
                  <a:lnTo>
                    <a:pt x="1854" y="238"/>
                  </a:lnTo>
                  <a:lnTo>
                    <a:pt x="1846" y="229"/>
                  </a:lnTo>
                  <a:lnTo>
                    <a:pt x="1843" y="240"/>
                  </a:lnTo>
                  <a:lnTo>
                    <a:pt x="1835" y="240"/>
                  </a:lnTo>
                  <a:lnTo>
                    <a:pt x="1812" y="226"/>
                  </a:lnTo>
                  <a:lnTo>
                    <a:pt x="1772" y="241"/>
                  </a:lnTo>
                  <a:lnTo>
                    <a:pt x="1752" y="257"/>
                  </a:lnTo>
                  <a:lnTo>
                    <a:pt x="1752" y="241"/>
                  </a:lnTo>
                  <a:lnTo>
                    <a:pt x="1736" y="248"/>
                  </a:lnTo>
                  <a:lnTo>
                    <a:pt x="1707" y="291"/>
                  </a:lnTo>
                  <a:lnTo>
                    <a:pt x="1699" y="306"/>
                  </a:lnTo>
                  <a:lnTo>
                    <a:pt x="1690" y="326"/>
                  </a:lnTo>
                  <a:lnTo>
                    <a:pt x="1716" y="308"/>
                  </a:lnTo>
                  <a:lnTo>
                    <a:pt x="1718" y="294"/>
                  </a:lnTo>
                  <a:lnTo>
                    <a:pt x="1729" y="280"/>
                  </a:lnTo>
                  <a:lnTo>
                    <a:pt x="1730" y="289"/>
                  </a:lnTo>
                  <a:lnTo>
                    <a:pt x="1712" y="328"/>
                  </a:lnTo>
                  <a:lnTo>
                    <a:pt x="1704" y="381"/>
                  </a:lnTo>
                  <a:lnTo>
                    <a:pt x="1693" y="409"/>
                  </a:lnTo>
                  <a:lnTo>
                    <a:pt x="1697" y="456"/>
                  </a:lnTo>
                  <a:lnTo>
                    <a:pt x="1697" y="469"/>
                  </a:lnTo>
                  <a:lnTo>
                    <a:pt x="1707" y="497"/>
                  </a:lnTo>
                  <a:lnTo>
                    <a:pt x="1710" y="503"/>
                  </a:lnTo>
                  <a:lnTo>
                    <a:pt x="1727" y="507"/>
                  </a:lnTo>
                  <a:lnTo>
                    <a:pt x="1738" y="498"/>
                  </a:lnTo>
                  <a:lnTo>
                    <a:pt x="1750" y="492"/>
                  </a:lnTo>
                  <a:lnTo>
                    <a:pt x="1769" y="446"/>
                  </a:lnTo>
                  <a:lnTo>
                    <a:pt x="1770" y="418"/>
                  </a:lnTo>
                  <a:lnTo>
                    <a:pt x="1769" y="407"/>
                  </a:lnTo>
                  <a:lnTo>
                    <a:pt x="1756" y="382"/>
                  </a:lnTo>
                  <a:lnTo>
                    <a:pt x="1763" y="348"/>
                  </a:lnTo>
                  <a:lnTo>
                    <a:pt x="1769" y="345"/>
                  </a:lnTo>
                  <a:lnTo>
                    <a:pt x="1769" y="317"/>
                  </a:lnTo>
                  <a:lnTo>
                    <a:pt x="1775" y="305"/>
                  </a:lnTo>
                  <a:lnTo>
                    <a:pt x="1795" y="289"/>
                  </a:lnTo>
                  <a:lnTo>
                    <a:pt x="1798" y="308"/>
                  </a:lnTo>
                  <a:lnTo>
                    <a:pt x="1806" y="300"/>
                  </a:lnTo>
                  <a:lnTo>
                    <a:pt x="1809" y="280"/>
                  </a:lnTo>
                  <a:lnTo>
                    <a:pt x="1829" y="272"/>
                  </a:lnTo>
                  <a:lnTo>
                    <a:pt x="1824" y="262"/>
                  </a:lnTo>
                  <a:lnTo>
                    <a:pt x="1827" y="252"/>
                  </a:lnTo>
                  <a:lnTo>
                    <a:pt x="1860" y="257"/>
                  </a:lnTo>
                  <a:lnTo>
                    <a:pt x="1897" y="280"/>
                  </a:lnTo>
                  <a:lnTo>
                    <a:pt x="1902" y="292"/>
                  </a:lnTo>
                  <a:lnTo>
                    <a:pt x="1899" y="296"/>
                  </a:lnTo>
                  <a:lnTo>
                    <a:pt x="1905" y="334"/>
                  </a:lnTo>
                  <a:lnTo>
                    <a:pt x="1895" y="353"/>
                  </a:lnTo>
                  <a:lnTo>
                    <a:pt x="1883" y="362"/>
                  </a:lnTo>
                  <a:lnTo>
                    <a:pt x="1877" y="377"/>
                  </a:lnTo>
                  <a:lnTo>
                    <a:pt x="1880" y="381"/>
                  </a:lnTo>
                  <a:lnTo>
                    <a:pt x="1890" y="381"/>
                  </a:lnTo>
                  <a:lnTo>
                    <a:pt x="1902" y="362"/>
                  </a:lnTo>
                  <a:lnTo>
                    <a:pt x="1924" y="356"/>
                  </a:lnTo>
                  <a:lnTo>
                    <a:pt x="1934" y="372"/>
                  </a:lnTo>
                  <a:lnTo>
                    <a:pt x="1941" y="407"/>
                  </a:lnTo>
                  <a:lnTo>
                    <a:pt x="1948" y="418"/>
                  </a:lnTo>
                  <a:lnTo>
                    <a:pt x="1941" y="446"/>
                  </a:lnTo>
                  <a:lnTo>
                    <a:pt x="1925" y="452"/>
                  </a:lnTo>
                  <a:lnTo>
                    <a:pt x="1924" y="461"/>
                  </a:lnTo>
                  <a:lnTo>
                    <a:pt x="1916" y="477"/>
                  </a:lnTo>
                  <a:lnTo>
                    <a:pt x="1914" y="486"/>
                  </a:lnTo>
                  <a:lnTo>
                    <a:pt x="1900" y="504"/>
                  </a:lnTo>
                  <a:lnTo>
                    <a:pt x="1946" y="519"/>
                  </a:lnTo>
                  <a:lnTo>
                    <a:pt x="1975" y="514"/>
                  </a:lnTo>
                  <a:lnTo>
                    <a:pt x="2005" y="495"/>
                  </a:lnTo>
                  <a:lnTo>
                    <a:pt x="2034" y="487"/>
                  </a:lnTo>
                  <a:lnTo>
                    <a:pt x="2068" y="469"/>
                  </a:lnTo>
                  <a:lnTo>
                    <a:pt x="2112" y="435"/>
                  </a:lnTo>
                  <a:lnTo>
                    <a:pt x="2103" y="409"/>
                  </a:lnTo>
                  <a:lnTo>
                    <a:pt x="2146" y="398"/>
                  </a:lnTo>
                  <a:lnTo>
                    <a:pt x="2171" y="407"/>
                  </a:lnTo>
                  <a:lnTo>
                    <a:pt x="2200" y="404"/>
                  </a:lnTo>
                  <a:lnTo>
                    <a:pt x="2236" y="389"/>
                  </a:lnTo>
                  <a:lnTo>
                    <a:pt x="2236" y="375"/>
                  </a:lnTo>
                  <a:lnTo>
                    <a:pt x="2230" y="367"/>
                  </a:lnTo>
                  <a:lnTo>
                    <a:pt x="2239" y="360"/>
                  </a:lnTo>
                  <a:lnTo>
                    <a:pt x="2228" y="355"/>
                  </a:lnTo>
                  <a:lnTo>
                    <a:pt x="2250" y="339"/>
                  </a:lnTo>
                  <a:lnTo>
                    <a:pt x="2259" y="319"/>
                  </a:lnTo>
                  <a:lnTo>
                    <a:pt x="2288" y="299"/>
                  </a:lnTo>
                  <a:lnTo>
                    <a:pt x="2364" y="299"/>
                  </a:lnTo>
                  <a:lnTo>
                    <a:pt x="2403" y="299"/>
                  </a:lnTo>
                  <a:lnTo>
                    <a:pt x="2448" y="299"/>
                  </a:lnTo>
                  <a:lnTo>
                    <a:pt x="2456" y="282"/>
                  </a:lnTo>
                  <a:lnTo>
                    <a:pt x="2469" y="280"/>
                  </a:lnTo>
                  <a:close/>
                  <a:moveTo>
                    <a:pt x="2666" y="309"/>
                  </a:moveTo>
                  <a:lnTo>
                    <a:pt x="2663" y="323"/>
                  </a:lnTo>
                  <a:lnTo>
                    <a:pt x="2669" y="319"/>
                  </a:lnTo>
                  <a:lnTo>
                    <a:pt x="2669" y="311"/>
                  </a:lnTo>
                  <a:lnTo>
                    <a:pt x="2666" y="309"/>
                  </a:lnTo>
                  <a:close/>
                  <a:moveTo>
                    <a:pt x="2581" y="356"/>
                  </a:moveTo>
                  <a:lnTo>
                    <a:pt x="2583" y="360"/>
                  </a:lnTo>
                  <a:lnTo>
                    <a:pt x="2584" y="356"/>
                  </a:lnTo>
                  <a:lnTo>
                    <a:pt x="2581" y="356"/>
                  </a:lnTo>
                  <a:close/>
                  <a:moveTo>
                    <a:pt x="2578" y="350"/>
                  </a:moveTo>
                  <a:lnTo>
                    <a:pt x="2581" y="350"/>
                  </a:lnTo>
                  <a:lnTo>
                    <a:pt x="2583" y="343"/>
                  </a:lnTo>
                  <a:lnTo>
                    <a:pt x="2578" y="350"/>
                  </a:lnTo>
                  <a:close/>
                  <a:moveTo>
                    <a:pt x="2567" y="353"/>
                  </a:moveTo>
                  <a:lnTo>
                    <a:pt x="2570" y="356"/>
                  </a:lnTo>
                  <a:lnTo>
                    <a:pt x="2576" y="355"/>
                  </a:lnTo>
                  <a:lnTo>
                    <a:pt x="2573" y="348"/>
                  </a:lnTo>
                  <a:lnTo>
                    <a:pt x="2567" y="353"/>
                  </a:lnTo>
                  <a:close/>
                  <a:moveTo>
                    <a:pt x="2507" y="529"/>
                  </a:moveTo>
                  <a:lnTo>
                    <a:pt x="2519" y="532"/>
                  </a:lnTo>
                  <a:lnTo>
                    <a:pt x="2520" y="528"/>
                  </a:lnTo>
                  <a:lnTo>
                    <a:pt x="2516" y="523"/>
                  </a:lnTo>
                  <a:lnTo>
                    <a:pt x="2515" y="528"/>
                  </a:lnTo>
                  <a:lnTo>
                    <a:pt x="2507" y="529"/>
                  </a:lnTo>
                  <a:close/>
                  <a:moveTo>
                    <a:pt x="2479" y="524"/>
                  </a:moveTo>
                  <a:lnTo>
                    <a:pt x="2498" y="526"/>
                  </a:lnTo>
                  <a:lnTo>
                    <a:pt x="2498" y="521"/>
                  </a:lnTo>
                  <a:lnTo>
                    <a:pt x="2491" y="517"/>
                  </a:lnTo>
                  <a:lnTo>
                    <a:pt x="2479" y="524"/>
                  </a:lnTo>
                  <a:close/>
                  <a:moveTo>
                    <a:pt x="2418" y="537"/>
                  </a:moveTo>
                  <a:lnTo>
                    <a:pt x="2418" y="534"/>
                  </a:lnTo>
                  <a:lnTo>
                    <a:pt x="2401" y="548"/>
                  </a:lnTo>
                  <a:lnTo>
                    <a:pt x="2351" y="557"/>
                  </a:lnTo>
                  <a:lnTo>
                    <a:pt x="2338" y="563"/>
                  </a:lnTo>
                  <a:lnTo>
                    <a:pt x="2338" y="570"/>
                  </a:lnTo>
                  <a:lnTo>
                    <a:pt x="2347" y="571"/>
                  </a:lnTo>
                  <a:lnTo>
                    <a:pt x="2420" y="549"/>
                  </a:lnTo>
                  <a:lnTo>
                    <a:pt x="2431" y="545"/>
                  </a:lnTo>
                  <a:lnTo>
                    <a:pt x="2431" y="541"/>
                  </a:lnTo>
                  <a:lnTo>
                    <a:pt x="2422" y="543"/>
                  </a:lnTo>
                  <a:lnTo>
                    <a:pt x="2408" y="548"/>
                  </a:lnTo>
                  <a:lnTo>
                    <a:pt x="2418" y="537"/>
                  </a:lnTo>
                  <a:close/>
                  <a:moveTo>
                    <a:pt x="1835" y="659"/>
                  </a:moveTo>
                  <a:lnTo>
                    <a:pt x="1832" y="663"/>
                  </a:lnTo>
                  <a:lnTo>
                    <a:pt x="1840" y="658"/>
                  </a:lnTo>
                  <a:lnTo>
                    <a:pt x="1835" y="659"/>
                  </a:lnTo>
                  <a:close/>
                  <a:moveTo>
                    <a:pt x="2041" y="1418"/>
                  </a:moveTo>
                  <a:lnTo>
                    <a:pt x="2030" y="1430"/>
                  </a:lnTo>
                  <a:lnTo>
                    <a:pt x="2041" y="1418"/>
                  </a:lnTo>
                  <a:close/>
                  <a:moveTo>
                    <a:pt x="2026" y="1431"/>
                  </a:moveTo>
                  <a:lnTo>
                    <a:pt x="2018" y="1438"/>
                  </a:lnTo>
                  <a:lnTo>
                    <a:pt x="2026" y="1431"/>
                  </a:lnTo>
                  <a:close/>
                  <a:moveTo>
                    <a:pt x="1996" y="1445"/>
                  </a:moveTo>
                  <a:lnTo>
                    <a:pt x="1973" y="1448"/>
                  </a:lnTo>
                  <a:lnTo>
                    <a:pt x="1992" y="1438"/>
                  </a:lnTo>
                  <a:lnTo>
                    <a:pt x="1996" y="1440"/>
                  </a:lnTo>
                  <a:lnTo>
                    <a:pt x="1996" y="1445"/>
                  </a:lnTo>
                  <a:close/>
                  <a:moveTo>
                    <a:pt x="1280" y="1274"/>
                  </a:moveTo>
                  <a:lnTo>
                    <a:pt x="1300" y="1258"/>
                  </a:lnTo>
                  <a:lnTo>
                    <a:pt x="1277" y="1287"/>
                  </a:lnTo>
                  <a:lnTo>
                    <a:pt x="1274" y="1286"/>
                  </a:lnTo>
                  <a:lnTo>
                    <a:pt x="1280" y="1274"/>
                  </a:lnTo>
                  <a:close/>
                  <a:moveTo>
                    <a:pt x="282" y="1007"/>
                  </a:moveTo>
                  <a:lnTo>
                    <a:pt x="295" y="1018"/>
                  </a:lnTo>
                  <a:lnTo>
                    <a:pt x="291" y="1020"/>
                  </a:lnTo>
                  <a:lnTo>
                    <a:pt x="282" y="1007"/>
                  </a:lnTo>
                  <a:close/>
                  <a:moveTo>
                    <a:pt x="208" y="955"/>
                  </a:moveTo>
                  <a:lnTo>
                    <a:pt x="215" y="950"/>
                  </a:lnTo>
                  <a:lnTo>
                    <a:pt x="219" y="958"/>
                  </a:lnTo>
                  <a:lnTo>
                    <a:pt x="208" y="955"/>
                  </a:lnTo>
                  <a:close/>
                  <a:moveTo>
                    <a:pt x="223" y="949"/>
                  </a:moveTo>
                  <a:lnTo>
                    <a:pt x="239" y="955"/>
                  </a:lnTo>
                  <a:lnTo>
                    <a:pt x="231" y="958"/>
                  </a:lnTo>
                  <a:lnTo>
                    <a:pt x="223" y="949"/>
                  </a:lnTo>
                  <a:close/>
                </a:path>
              </a:pathLst>
            </a:custGeom>
            <a:solidFill>
              <a:schemeClr val="accent1"/>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61" name="Freeform 165">
              <a:extLst>
                <a:ext uri="{FF2B5EF4-FFF2-40B4-BE49-F238E27FC236}">
                  <a16:creationId xmlns:a16="http://schemas.microsoft.com/office/drawing/2014/main" id="{2C40035D-3ED9-A942-9F37-DCAD5CF6D764}"/>
                </a:ext>
              </a:extLst>
            </p:cNvPr>
            <p:cNvSpPr>
              <a:spLocks noChangeAspect="1"/>
            </p:cNvSpPr>
            <p:nvPr/>
          </p:nvSpPr>
          <p:spPr bwMode="gray">
            <a:xfrm>
              <a:off x="3177795" y="3344929"/>
              <a:ext cx="4778" cy="1920"/>
            </a:xfrm>
            <a:custGeom>
              <a:avLst/>
              <a:gdLst>
                <a:gd name="T0" fmla="*/ 9 w 9"/>
                <a:gd name="T1" fmla="*/ 0 h 4"/>
                <a:gd name="T2" fmla="*/ 5 w 9"/>
                <a:gd name="T3" fmla="*/ 0 h 4"/>
                <a:gd name="T4" fmla="*/ 2 w 9"/>
                <a:gd name="T5" fmla="*/ 1 h 4"/>
                <a:gd name="T6" fmla="*/ 1 w 9"/>
                <a:gd name="T7" fmla="*/ 2 h 4"/>
                <a:gd name="T8" fmla="*/ 0 w 9"/>
                <a:gd name="T9" fmla="*/ 3 h 4"/>
                <a:gd name="T10" fmla="*/ 3 w 9"/>
                <a:gd name="T11" fmla="*/ 4 h 4"/>
                <a:gd name="T12" fmla="*/ 6 w 9"/>
                <a:gd name="T13" fmla="*/ 3 h 4"/>
                <a:gd name="T14" fmla="*/ 9 w 9"/>
                <a:gd name="T15" fmla="*/ 2 h 4"/>
                <a:gd name="T16" fmla="*/ 9 w 9"/>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4">
                  <a:moveTo>
                    <a:pt x="9" y="0"/>
                  </a:moveTo>
                  <a:lnTo>
                    <a:pt x="5" y="0"/>
                  </a:lnTo>
                  <a:lnTo>
                    <a:pt x="2" y="1"/>
                  </a:lnTo>
                  <a:lnTo>
                    <a:pt x="1" y="2"/>
                  </a:lnTo>
                  <a:lnTo>
                    <a:pt x="0" y="3"/>
                  </a:lnTo>
                  <a:lnTo>
                    <a:pt x="3" y="4"/>
                  </a:lnTo>
                  <a:lnTo>
                    <a:pt x="6" y="3"/>
                  </a:lnTo>
                  <a:lnTo>
                    <a:pt x="9" y="2"/>
                  </a:lnTo>
                  <a:lnTo>
                    <a:pt x="9" y="0"/>
                  </a:lnTo>
                  <a:close/>
                </a:path>
              </a:pathLst>
            </a:custGeom>
            <a:no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ysClr val="windowText" lastClr="000000"/>
                  </a:solidFill>
                  <a:effectLst/>
                  <a:uLnTx/>
                  <a:uFillTx/>
                  <a:latin typeface="Arial"/>
                  <a:ea typeface="+mn-ea"/>
                  <a:cs typeface="+mn-cs"/>
                </a:rPr>
                <a:t>   </a:t>
              </a:r>
            </a:p>
          </p:txBody>
        </p:sp>
        <p:sp>
          <p:nvSpPr>
            <p:cNvPr id="163" name="Freeform 167">
              <a:extLst>
                <a:ext uri="{FF2B5EF4-FFF2-40B4-BE49-F238E27FC236}">
                  <a16:creationId xmlns:a16="http://schemas.microsoft.com/office/drawing/2014/main" id="{3A1E6EAB-2BE8-5B4B-AE4C-5344AEFA2863}"/>
                </a:ext>
              </a:extLst>
            </p:cNvPr>
            <p:cNvSpPr>
              <a:spLocks noChangeAspect="1" noEditPoints="1"/>
            </p:cNvSpPr>
            <p:nvPr/>
          </p:nvSpPr>
          <p:spPr bwMode="gray">
            <a:xfrm>
              <a:off x="826461" y="1472956"/>
              <a:ext cx="699347" cy="1111665"/>
            </a:xfrm>
            <a:custGeom>
              <a:avLst/>
              <a:gdLst>
                <a:gd name="T0" fmla="*/ 1305 w 1433"/>
                <a:gd name="T1" fmla="*/ 1263 h 1891"/>
                <a:gd name="T2" fmla="*/ 1305 w 1433"/>
                <a:gd name="T3" fmla="*/ 724 h 1891"/>
                <a:gd name="T4" fmla="*/ 1293 w 1433"/>
                <a:gd name="T5" fmla="*/ 235 h 1891"/>
                <a:gd name="T6" fmla="*/ 875 w 1433"/>
                <a:gd name="T7" fmla="*/ 132 h 1891"/>
                <a:gd name="T8" fmla="*/ 767 w 1433"/>
                <a:gd name="T9" fmla="*/ 79 h 1891"/>
                <a:gd name="T10" fmla="*/ 640 w 1433"/>
                <a:gd name="T11" fmla="*/ 60 h 1891"/>
                <a:gd name="T12" fmla="*/ 567 w 1433"/>
                <a:gd name="T13" fmla="*/ 18 h 1891"/>
                <a:gd name="T14" fmla="*/ 436 w 1433"/>
                <a:gd name="T15" fmla="*/ 85 h 1891"/>
                <a:gd name="T16" fmla="*/ 338 w 1433"/>
                <a:gd name="T17" fmla="*/ 169 h 1891"/>
                <a:gd name="T18" fmla="*/ 266 w 1433"/>
                <a:gd name="T19" fmla="*/ 299 h 1891"/>
                <a:gd name="T20" fmla="*/ 300 w 1433"/>
                <a:gd name="T21" fmla="*/ 566 h 1891"/>
                <a:gd name="T22" fmla="*/ 372 w 1433"/>
                <a:gd name="T23" fmla="*/ 599 h 1891"/>
                <a:gd name="T24" fmla="*/ 344 w 1433"/>
                <a:gd name="T25" fmla="*/ 624 h 1891"/>
                <a:gd name="T26" fmla="*/ 334 w 1433"/>
                <a:gd name="T27" fmla="*/ 670 h 1891"/>
                <a:gd name="T28" fmla="*/ 139 w 1433"/>
                <a:gd name="T29" fmla="*/ 659 h 1891"/>
                <a:gd name="T30" fmla="*/ 112 w 1433"/>
                <a:gd name="T31" fmla="*/ 768 h 1891"/>
                <a:gd name="T32" fmla="*/ 286 w 1433"/>
                <a:gd name="T33" fmla="*/ 831 h 1891"/>
                <a:gd name="T34" fmla="*/ 363 w 1433"/>
                <a:gd name="T35" fmla="*/ 843 h 1891"/>
                <a:gd name="T36" fmla="*/ 292 w 1433"/>
                <a:gd name="T37" fmla="*/ 993 h 1891"/>
                <a:gd name="T38" fmla="*/ 146 w 1433"/>
                <a:gd name="T39" fmla="*/ 1119 h 1891"/>
                <a:gd name="T40" fmla="*/ 182 w 1433"/>
                <a:gd name="T41" fmla="*/ 1157 h 1891"/>
                <a:gd name="T42" fmla="*/ 259 w 1433"/>
                <a:gd name="T43" fmla="*/ 1218 h 1891"/>
                <a:gd name="T44" fmla="*/ 318 w 1433"/>
                <a:gd name="T45" fmla="*/ 1275 h 1891"/>
                <a:gd name="T46" fmla="*/ 346 w 1433"/>
                <a:gd name="T47" fmla="*/ 1379 h 1891"/>
                <a:gd name="T48" fmla="*/ 447 w 1433"/>
                <a:gd name="T49" fmla="*/ 1388 h 1891"/>
                <a:gd name="T50" fmla="*/ 559 w 1433"/>
                <a:gd name="T51" fmla="*/ 1398 h 1891"/>
                <a:gd name="T52" fmla="*/ 495 w 1433"/>
                <a:gd name="T53" fmla="*/ 1544 h 1891"/>
                <a:gd name="T54" fmla="*/ 366 w 1433"/>
                <a:gd name="T55" fmla="*/ 1634 h 1891"/>
                <a:gd name="T56" fmla="*/ 309 w 1433"/>
                <a:gd name="T57" fmla="*/ 1713 h 1891"/>
                <a:gd name="T58" fmla="*/ 403 w 1433"/>
                <a:gd name="T59" fmla="*/ 1673 h 1891"/>
                <a:gd name="T60" fmla="*/ 499 w 1433"/>
                <a:gd name="T61" fmla="*/ 1598 h 1891"/>
                <a:gd name="T62" fmla="*/ 593 w 1433"/>
                <a:gd name="T63" fmla="*/ 1527 h 1891"/>
                <a:gd name="T64" fmla="*/ 700 w 1433"/>
                <a:gd name="T65" fmla="*/ 1433 h 1891"/>
                <a:gd name="T66" fmla="*/ 720 w 1433"/>
                <a:gd name="T67" fmla="*/ 1317 h 1891"/>
                <a:gd name="T68" fmla="*/ 804 w 1433"/>
                <a:gd name="T69" fmla="*/ 1204 h 1891"/>
                <a:gd name="T70" fmla="*/ 883 w 1433"/>
                <a:gd name="T71" fmla="*/ 1171 h 1891"/>
                <a:gd name="T72" fmla="*/ 827 w 1433"/>
                <a:gd name="T73" fmla="*/ 1218 h 1891"/>
                <a:gd name="T74" fmla="*/ 807 w 1433"/>
                <a:gd name="T75" fmla="*/ 1337 h 1891"/>
                <a:gd name="T76" fmla="*/ 879 w 1433"/>
                <a:gd name="T77" fmla="*/ 1320 h 1891"/>
                <a:gd name="T78" fmla="*/ 960 w 1433"/>
                <a:gd name="T79" fmla="*/ 1266 h 1891"/>
                <a:gd name="T80" fmla="*/ 968 w 1433"/>
                <a:gd name="T81" fmla="*/ 1196 h 1891"/>
                <a:gd name="T82" fmla="*/ 997 w 1433"/>
                <a:gd name="T83" fmla="*/ 1198 h 1891"/>
                <a:gd name="T84" fmla="*/ 1103 w 1433"/>
                <a:gd name="T85" fmla="*/ 1259 h 1891"/>
                <a:gd name="T86" fmla="*/ 1282 w 1433"/>
                <a:gd name="T87" fmla="*/ 1298 h 1891"/>
                <a:gd name="T88" fmla="*/ 1369 w 1433"/>
                <a:gd name="T89" fmla="*/ 1300 h 1891"/>
                <a:gd name="T90" fmla="*/ 376 w 1433"/>
                <a:gd name="T91" fmla="*/ 1414 h 1891"/>
                <a:gd name="T92" fmla="*/ 1038 w 1433"/>
                <a:gd name="T93" fmla="*/ 1254 h 1891"/>
                <a:gd name="T94" fmla="*/ 984 w 1433"/>
                <a:gd name="T95" fmla="*/ 1306 h 1891"/>
                <a:gd name="T96" fmla="*/ 781 w 1433"/>
                <a:gd name="T97" fmla="*/ 1427 h 1891"/>
                <a:gd name="T98" fmla="*/ 700 w 1433"/>
                <a:gd name="T99" fmla="*/ 1496 h 1891"/>
                <a:gd name="T100" fmla="*/ 716 w 1433"/>
                <a:gd name="T101" fmla="*/ 1476 h 1891"/>
                <a:gd name="T102" fmla="*/ 781 w 1433"/>
                <a:gd name="T103" fmla="*/ 1513 h 1891"/>
                <a:gd name="T104" fmla="*/ 719 w 1433"/>
                <a:gd name="T105" fmla="*/ 1564 h 1891"/>
                <a:gd name="T106" fmla="*/ 696 w 1433"/>
                <a:gd name="T107" fmla="*/ 1592 h 1891"/>
                <a:gd name="T108" fmla="*/ 183 w 1433"/>
                <a:gd name="T109" fmla="*/ 1227 h 1891"/>
                <a:gd name="T110" fmla="*/ 166 w 1433"/>
                <a:gd name="T111" fmla="*/ 1261 h 1891"/>
                <a:gd name="T112" fmla="*/ 402 w 1433"/>
                <a:gd name="T113" fmla="*/ 1702 h 1891"/>
                <a:gd name="T114" fmla="*/ 144 w 1433"/>
                <a:gd name="T115" fmla="*/ 1790 h 1891"/>
                <a:gd name="T116" fmla="*/ 95 w 1433"/>
                <a:gd name="T117" fmla="*/ 1801 h 1891"/>
                <a:gd name="T118" fmla="*/ 0 w 1433"/>
                <a:gd name="T119" fmla="*/ 1891 h 1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33" h="1891">
                  <a:moveTo>
                    <a:pt x="1433" y="1340"/>
                  </a:moveTo>
                  <a:lnTo>
                    <a:pt x="1392" y="1289"/>
                  </a:lnTo>
                  <a:lnTo>
                    <a:pt x="1387" y="1284"/>
                  </a:lnTo>
                  <a:lnTo>
                    <a:pt x="1390" y="1261"/>
                  </a:lnTo>
                  <a:lnTo>
                    <a:pt x="1362" y="1261"/>
                  </a:lnTo>
                  <a:lnTo>
                    <a:pt x="1352" y="1275"/>
                  </a:lnTo>
                  <a:lnTo>
                    <a:pt x="1335" y="1263"/>
                  </a:lnTo>
                  <a:lnTo>
                    <a:pt x="1322" y="1272"/>
                  </a:lnTo>
                  <a:lnTo>
                    <a:pt x="1305" y="1263"/>
                  </a:lnTo>
                  <a:lnTo>
                    <a:pt x="1305" y="1207"/>
                  </a:lnTo>
                  <a:lnTo>
                    <a:pt x="1305" y="1151"/>
                  </a:lnTo>
                  <a:lnTo>
                    <a:pt x="1305" y="1094"/>
                  </a:lnTo>
                  <a:lnTo>
                    <a:pt x="1305" y="1035"/>
                  </a:lnTo>
                  <a:lnTo>
                    <a:pt x="1305" y="975"/>
                  </a:lnTo>
                  <a:lnTo>
                    <a:pt x="1305" y="914"/>
                  </a:lnTo>
                  <a:lnTo>
                    <a:pt x="1305" y="853"/>
                  </a:lnTo>
                  <a:lnTo>
                    <a:pt x="1305" y="789"/>
                  </a:lnTo>
                  <a:lnTo>
                    <a:pt x="1305" y="724"/>
                  </a:lnTo>
                  <a:lnTo>
                    <a:pt x="1305" y="658"/>
                  </a:lnTo>
                  <a:lnTo>
                    <a:pt x="1305" y="591"/>
                  </a:lnTo>
                  <a:lnTo>
                    <a:pt x="1305" y="520"/>
                  </a:lnTo>
                  <a:lnTo>
                    <a:pt x="1305" y="449"/>
                  </a:lnTo>
                  <a:lnTo>
                    <a:pt x="1305" y="376"/>
                  </a:lnTo>
                  <a:lnTo>
                    <a:pt x="1305" y="301"/>
                  </a:lnTo>
                  <a:lnTo>
                    <a:pt x="1305" y="223"/>
                  </a:lnTo>
                  <a:lnTo>
                    <a:pt x="1297" y="221"/>
                  </a:lnTo>
                  <a:lnTo>
                    <a:pt x="1293" y="235"/>
                  </a:lnTo>
                  <a:lnTo>
                    <a:pt x="1204" y="169"/>
                  </a:lnTo>
                  <a:lnTo>
                    <a:pt x="1191" y="170"/>
                  </a:lnTo>
                  <a:lnTo>
                    <a:pt x="1189" y="184"/>
                  </a:lnTo>
                  <a:lnTo>
                    <a:pt x="1178" y="172"/>
                  </a:lnTo>
                  <a:lnTo>
                    <a:pt x="1107" y="187"/>
                  </a:lnTo>
                  <a:lnTo>
                    <a:pt x="1073" y="164"/>
                  </a:lnTo>
                  <a:lnTo>
                    <a:pt x="1030" y="167"/>
                  </a:lnTo>
                  <a:lnTo>
                    <a:pt x="923" y="119"/>
                  </a:lnTo>
                  <a:lnTo>
                    <a:pt x="875" y="132"/>
                  </a:lnTo>
                  <a:lnTo>
                    <a:pt x="884" y="127"/>
                  </a:lnTo>
                  <a:lnTo>
                    <a:pt x="875" y="118"/>
                  </a:lnTo>
                  <a:lnTo>
                    <a:pt x="812" y="124"/>
                  </a:lnTo>
                  <a:lnTo>
                    <a:pt x="820" y="111"/>
                  </a:lnTo>
                  <a:lnTo>
                    <a:pt x="801" y="107"/>
                  </a:lnTo>
                  <a:lnTo>
                    <a:pt x="787" y="96"/>
                  </a:lnTo>
                  <a:lnTo>
                    <a:pt x="793" y="73"/>
                  </a:lnTo>
                  <a:lnTo>
                    <a:pt x="764" y="65"/>
                  </a:lnTo>
                  <a:lnTo>
                    <a:pt x="767" y="79"/>
                  </a:lnTo>
                  <a:lnTo>
                    <a:pt x="757" y="79"/>
                  </a:lnTo>
                  <a:lnTo>
                    <a:pt x="742" y="57"/>
                  </a:lnTo>
                  <a:lnTo>
                    <a:pt x="697" y="76"/>
                  </a:lnTo>
                  <a:lnTo>
                    <a:pt x="677" y="65"/>
                  </a:lnTo>
                  <a:lnTo>
                    <a:pt x="680" y="59"/>
                  </a:lnTo>
                  <a:lnTo>
                    <a:pt x="672" y="39"/>
                  </a:lnTo>
                  <a:lnTo>
                    <a:pt x="657" y="32"/>
                  </a:lnTo>
                  <a:lnTo>
                    <a:pt x="642" y="49"/>
                  </a:lnTo>
                  <a:lnTo>
                    <a:pt x="640" y="60"/>
                  </a:lnTo>
                  <a:lnTo>
                    <a:pt x="649" y="86"/>
                  </a:lnTo>
                  <a:lnTo>
                    <a:pt x="640" y="86"/>
                  </a:lnTo>
                  <a:lnTo>
                    <a:pt x="634" y="73"/>
                  </a:lnTo>
                  <a:lnTo>
                    <a:pt x="600" y="71"/>
                  </a:lnTo>
                  <a:lnTo>
                    <a:pt x="605" y="56"/>
                  </a:lnTo>
                  <a:lnTo>
                    <a:pt x="635" y="40"/>
                  </a:lnTo>
                  <a:lnTo>
                    <a:pt x="635" y="28"/>
                  </a:lnTo>
                  <a:lnTo>
                    <a:pt x="583" y="0"/>
                  </a:lnTo>
                  <a:lnTo>
                    <a:pt x="567" y="18"/>
                  </a:lnTo>
                  <a:lnTo>
                    <a:pt x="569" y="28"/>
                  </a:lnTo>
                  <a:lnTo>
                    <a:pt x="525" y="71"/>
                  </a:lnTo>
                  <a:lnTo>
                    <a:pt x="468" y="76"/>
                  </a:lnTo>
                  <a:lnTo>
                    <a:pt x="473" y="79"/>
                  </a:lnTo>
                  <a:lnTo>
                    <a:pt x="464" y="85"/>
                  </a:lnTo>
                  <a:lnTo>
                    <a:pt x="465" y="94"/>
                  </a:lnTo>
                  <a:lnTo>
                    <a:pt x="453" y="86"/>
                  </a:lnTo>
                  <a:lnTo>
                    <a:pt x="476" y="60"/>
                  </a:lnTo>
                  <a:lnTo>
                    <a:pt x="436" y="85"/>
                  </a:lnTo>
                  <a:lnTo>
                    <a:pt x="425" y="98"/>
                  </a:lnTo>
                  <a:lnTo>
                    <a:pt x="454" y="116"/>
                  </a:lnTo>
                  <a:lnTo>
                    <a:pt x="437" y="122"/>
                  </a:lnTo>
                  <a:lnTo>
                    <a:pt x="432" y="152"/>
                  </a:lnTo>
                  <a:lnTo>
                    <a:pt x="427" y="136"/>
                  </a:lnTo>
                  <a:lnTo>
                    <a:pt x="420" y="142"/>
                  </a:lnTo>
                  <a:lnTo>
                    <a:pt x="428" y="116"/>
                  </a:lnTo>
                  <a:lnTo>
                    <a:pt x="420" y="107"/>
                  </a:lnTo>
                  <a:lnTo>
                    <a:pt x="338" y="169"/>
                  </a:lnTo>
                  <a:lnTo>
                    <a:pt x="347" y="149"/>
                  </a:lnTo>
                  <a:lnTo>
                    <a:pt x="338" y="147"/>
                  </a:lnTo>
                  <a:lnTo>
                    <a:pt x="327" y="178"/>
                  </a:lnTo>
                  <a:lnTo>
                    <a:pt x="317" y="183"/>
                  </a:lnTo>
                  <a:lnTo>
                    <a:pt x="295" y="213"/>
                  </a:lnTo>
                  <a:lnTo>
                    <a:pt x="292" y="221"/>
                  </a:lnTo>
                  <a:lnTo>
                    <a:pt x="284" y="267"/>
                  </a:lnTo>
                  <a:lnTo>
                    <a:pt x="281" y="257"/>
                  </a:lnTo>
                  <a:lnTo>
                    <a:pt x="266" y="299"/>
                  </a:lnTo>
                  <a:lnTo>
                    <a:pt x="246" y="317"/>
                  </a:lnTo>
                  <a:lnTo>
                    <a:pt x="140" y="333"/>
                  </a:lnTo>
                  <a:lnTo>
                    <a:pt x="139" y="381"/>
                  </a:lnTo>
                  <a:lnTo>
                    <a:pt x="146" y="381"/>
                  </a:lnTo>
                  <a:lnTo>
                    <a:pt x="112" y="398"/>
                  </a:lnTo>
                  <a:lnTo>
                    <a:pt x="229" y="481"/>
                  </a:lnTo>
                  <a:lnTo>
                    <a:pt x="249" y="504"/>
                  </a:lnTo>
                  <a:lnTo>
                    <a:pt x="261" y="551"/>
                  </a:lnTo>
                  <a:lnTo>
                    <a:pt x="300" y="566"/>
                  </a:lnTo>
                  <a:lnTo>
                    <a:pt x="303" y="554"/>
                  </a:lnTo>
                  <a:lnTo>
                    <a:pt x="315" y="546"/>
                  </a:lnTo>
                  <a:lnTo>
                    <a:pt x="312" y="565"/>
                  </a:lnTo>
                  <a:lnTo>
                    <a:pt x="315" y="568"/>
                  </a:lnTo>
                  <a:lnTo>
                    <a:pt x="354" y="562"/>
                  </a:lnTo>
                  <a:lnTo>
                    <a:pt x="361" y="568"/>
                  </a:lnTo>
                  <a:lnTo>
                    <a:pt x="344" y="592"/>
                  </a:lnTo>
                  <a:lnTo>
                    <a:pt x="368" y="617"/>
                  </a:lnTo>
                  <a:lnTo>
                    <a:pt x="372" y="599"/>
                  </a:lnTo>
                  <a:lnTo>
                    <a:pt x="374" y="609"/>
                  </a:lnTo>
                  <a:lnTo>
                    <a:pt x="405" y="614"/>
                  </a:lnTo>
                  <a:lnTo>
                    <a:pt x="448" y="600"/>
                  </a:lnTo>
                  <a:lnTo>
                    <a:pt x="453" y="614"/>
                  </a:lnTo>
                  <a:lnTo>
                    <a:pt x="400" y="638"/>
                  </a:lnTo>
                  <a:lnTo>
                    <a:pt x="374" y="617"/>
                  </a:lnTo>
                  <a:lnTo>
                    <a:pt x="351" y="624"/>
                  </a:lnTo>
                  <a:lnTo>
                    <a:pt x="334" y="602"/>
                  </a:lnTo>
                  <a:lnTo>
                    <a:pt x="344" y="624"/>
                  </a:lnTo>
                  <a:lnTo>
                    <a:pt x="340" y="642"/>
                  </a:lnTo>
                  <a:lnTo>
                    <a:pt x="347" y="647"/>
                  </a:lnTo>
                  <a:lnTo>
                    <a:pt x="349" y="633"/>
                  </a:lnTo>
                  <a:lnTo>
                    <a:pt x="386" y="648"/>
                  </a:lnTo>
                  <a:lnTo>
                    <a:pt x="380" y="664"/>
                  </a:lnTo>
                  <a:lnTo>
                    <a:pt x="378" y="653"/>
                  </a:lnTo>
                  <a:lnTo>
                    <a:pt x="361" y="648"/>
                  </a:lnTo>
                  <a:lnTo>
                    <a:pt x="346" y="684"/>
                  </a:lnTo>
                  <a:lnTo>
                    <a:pt x="334" y="670"/>
                  </a:lnTo>
                  <a:lnTo>
                    <a:pt x="263" y="672"/>
                  </a:lnTo>
                  <a:lnTo>
                    <a:pt x="242" y="655"/>
                  </a:lnTo>
                  <a:lnTo>
                    <a:pt x="256" y="645"/>
                  </a:lnTo>
                  <a:lnTo>
                    <a:pt x="255" y="617"/>
                  </a:lnTo>
                  <a:lnTo>
                    <a:pt x="263" y="609"/>
                  </a:lnTo>
                  <a:lnTo>
                    <a:pt x="213" y="611"/>
                  </a:lnTo>
                  <a:lnTo>
                    <a:pt x="161" y="648"/>
                  </a:lnTo>
                  <a:lnTo>
                    <a:pt x="174" y="664"/>
                  </a:lnTo>
                  <a:lnTo>
                    <a:pt x="139" y="659"/>
                  </a:lnTo>
                  <a:lnTo>
                    <a:pt x="106" y="690"/>
                  </a:lnTo>
                  <a:lnTo>
                    <a:pt x="85" y="695"/>
                  </a:lnTo>
                  <a:lnTo>
                    <a:pt x="83" y="707"/>
                  </a:lnTo>
                  <a:lnTo>
                    <a:pt x="57" y="714"/>
                  </a:lnTo>
                  <a:lnTo>
                    <a:pt x="92" y="748"/>
                  </a:lnTo>
                  <a:lnTo>
                    <a:pt x="144" y="758"/>
                  </a:lnTo>
                  <a:lnTo>
                    <a:pt x="123" y="775"/>
                  </a:lnTo>
                  <a:lnTo>
                    <a:pt x="114" y="761"/>
                  </a:lnTo>
                  <a:lnTo>
                    <a:pt x="112" y="768"/>
                  </a:lnTo>
                  <a:lnTo>
                    <a:pt x="132" y="799"/>
                  </a:lnTo>
                  <a:lnTo>
                    <a:pt x="131" y="819"/>
                  </a:lnTo>
                  <a:lnTo>
                    <a:pt x="146" y="836"/>
                  </a:lnTo>
                  <a:lnTo>
                    <a:pt x="207" y="849"/>
                  </a:lnTo>
                  <a:lnTo>
                    <a:pt x="263" y="836"/>
                  </a:lnTo>
                  <a:lnTo>
                    <a:pt x="286" y="854"/>
                  </a:lnTo>
                  <a:lnTo>
                    <a:pt x="290" y="843"/>
                  </a:lnTo>
                  <a:lnTo>
                    <a:pt x="275" y="831"/>
                  </a:lnTo>
                  <a:lnTo>
                    <a:pt x="286" y="831"/>
                  </a:lnTo>
                  <a:lnTo>
                    <a:pt x="298" y="843"/>
                  </a:lnTo>
                  <a:lnTo>
                    <a:pt x="305" y="866"/>
                  </a:lnTo>
                  <a:lnTo>
                    <a:pt x="318" y="840"/>
                  </a:lnTo>
                  <a:lnTo>
                    <a:pt x="349" y="811"/>
                  </a:lnTo>
                  <a:lnTo>
                    <a:pt x="368" y="814"/>
                  </a:lnTo>
                  <a:lnTo>
                    <a:pt x="383" y="802"/>
                  </a:lnTo>
                  <a:lnTo>
                    <a:pt x="397" y="816"/>
                  </a:lnTo>
                  <a:lnTo>
                    <a:pt x="388" y="843"/>
                  </a:lnTo>
                  <a:lnTo>
                    <a:pt x="363" y="843"/>
                  </a:lnTo>
                  <a:lnTo>
                    <a:pt x="364" y="857"/>
                  </a:lnTo>
                  <a:lnTo>
                    <a:pt x="376" y="856"/>
                  </a:lnTo>
                  <a:lnTo>
                    <a:pt x="394" y="905"/>
                  </a:lnTo>
                  <a:lnTo>
                    <a:pt x="394" y="922"/>
                  </a:lnTo>
                  <a:lnTo>
                    <a:pt x="381" y="944"/>
                  </a:lnTo>
                  <a:lnTo>
                    <a:pt x="329" y="961"/>
                  </a:lnTo>
                  <a:lnTo>
                    <a:pt x="334" y="951"/>
                  </a:lnTo>
                  <a:lnTo>
                    <a:pt x="326" y="950"/>
                  </a:lnTo>
                  <a:lnTo>
                    <a:pt x="292" y="993"/>
                  </a:lnTo>
                  <a:lnTo>
                    <a:pt x="269" y="990"/>
                  </a:lnTo>
                  <a:lnTo>
                    <a:pt x="258" y="1000"/>
                  </a:lnTo>
                  <a:lnTo>
                    <a:pt x="239" y="1010"/>
                  </a:lnTo>
                  <a:lnTo>
                    <a:pt x="239" y="1027"/>
                  </a:lnTo>
                  <a:lnTo>
                    <a:pt x="215" y="1027"/>
                  </a:lnTo>
                  <a:lnTo>
                    <a:pt x="174" y="1065"/>
                  </a:lnTo>
                  <a:lnTo>
                    <a:pt x="162" y="1091"/>
                  </a:lnTo>
                  <a:lnTo>
                    <a:pt x="162" y="1110"/>
                  </a:lnTo>
                  <a:lnTo>
                    <a:pt x="146" y="1119"/>
                  </a:lnTo>
                  <a:lnTo>
                    <a:pt x="154" y="1128"/>
                  </a:lnTo>
                  <a:lnTo>
                    <a:pt x="142" y="1136"/>
                  </a:lnTo>
                  <a:lnTo>
                    <a:pt x="140" y="1148"/>
                  </a:lnTo>
                  <a:lnTo>
                    <a:pt x="182" y="1139"/>
                  </a:lnTo>
                  <a:lnTo>
                    <a:pt x="187" y="1140"/>
                  </a:lnTo>
                  <a:lnTo>
                    <a:pt x="161" y="1148"/>
                  </a:lnTo>
                  <a:lnTo>
                    <a:pt x="154" y="1157"/>
                  </a:lnTo>
                  <a:lnTo>
                    <a:pt x="166" y="1166"/>
                  </a:lnTo>
                  <a:lnTo>
                    <a:pt x="182" y="1157"/>
                  </a:lnTo>
                  <a:lnTo>
                    <a:pt x="176" y="1171"/>
                  </a:lnTo>
                  <a:lnTo>
                    <a:pt x="187" y="1196"/>
                  </a:lnTo>
                  <a:lnTo>
                    <a:pt x="202" y="1185"/>
                  </a:lnTo>
                  <a:lnTo>
                    <a:pt x="205" y="1195"/>
                  </a:lnTo>
                  <a:lnTo>
                    <a:pt x="219" y="1193"/>
                  </a:lnTo>
                  <a:lnTo>
                    <a:pt x="210" y="1205"/>
                  </a:lnTo>
                  <a:lnTo>
                    <a:pt x="221" y="1210"/>
                  </a:lnTo>
                  <a:lnTo>
                    <a:pt x="256" y="1208"/>
                  </a:lnTo>
                  <a:lnTo>
                    <a:pt x="259" y="1218"/>
                  </a:lnTo>
                  <a:lnTo>
                    <a:pt x="241" y="1229"/>
                  </a:lnTo>
                  <a:lnTo>
                    <a:pt x="219" y="1264"/>
                  </a:lnTo>
                  <a:lnTo>
                    <a:pt x="227" y="1288"/>
                  </a:lnTo>
                  <a:lnTo>
                    <a:pt x="244" y="1283"/>
                  </a:lnTo>
                  <a:lnTo>
                    <a:pt x="242" y="1292"/>
                  </a:lnTo>
                  <a:lnTo>
                    <a:pt x="236" y="1298"/>
                  </a:lnTo>
                  <a:lnTo>
                    <a:pt x="250" y="1314"/>
                  </a:lnTo>
                  <a:lnTo>
                    <a:pt x="289" y="1320"/>
                  </a:lnTo>
                  <a:lnTo>
                    <a:pt x="318" y="1275"/>
                  </a:lnTo>
                  <a:lnTo>
                    <a:pt x="309" y="1258"/>
                  </a:lnTo>
                  <a:lnTo>
                    <a:pt x="322" y="1233"/>
                  </a:lnTo>
                  <a:lnTo>
                    <a:pt x="360" y="1210"/>
                  </a:lnTo>
                  <a:lnTo>
                    <a:pt x="317" y="1261"/>
                  </a:lnTo>
                  <a:lnTo>
                    <a:pt x="349" y="1331"/>
                  </a:lnTo>
                  <a:lnTo>
                    <a:pt x="334" y="1359"/>
                  </a:lnTo>
                  <a:lnTo>
                    <a:pt x="338" y="1371"/>
                  </a:lnTo>
                  <a:lnTo>
                    <a:pt x="354" y="1371"/>
                  </a:lnTo>
                  <a:lnTo>
                    <a:pt x="346" y="1379"/>
                  </a:lnTo>
                  <a:lnTo>
                    <a:pt x="347" y="1393"/>
                  </a:lnTo>
                  <a:lnTo>
                    <a:pt x="354" y="1396"/>
                  </a:lnTo>
                  <a:lnTo>
                    <a:pt x="329" y="1411"/>
                  </a:lnTo>
                  <a:lnTo>
                    <a:pt x="346" y="1413"/>
                  </a:lnTo>
                  <a:lnTo>
                    <a:pt x="391" y="1386"/>
                  </a:lnTo>
                  <a:lnTo>
                    <a:pt x="414" y="1354"/>
                  </a:lnTo>
                  <a:lnTo>
                    <a:pt x="414" y="1385"/>
                  </a:lnTo>
                  <a:lnTo>
                    <a:pt x="430" y="1396"/>
                  </a:lnTo>
                  <a:lnTo>
                    <a:pt x="447" y="1388"/>
                  </a:lnTo>
                  <a:lnTo>
                    <a:pt x="474" y="1431"/>
                  </a:lnTo>
                  <a:lnTo>
                    <a:pt x="482" y="1423"/>
                  </a:lnTo>
                  <a:lnTo>
                    <a:pt x="479" y="1402"/>
                  </a:lnTo>
                  <a:lnTo>
                    <a:pt x="495" y="1379"/>
                  </a:lnTo>
                  <a:lnTo>
                    <a:pt x="498" y="1383"/>
                  </a:lnTo>
                  <a:lnTo>
                    <a:pt x="495" y="1394"/>
                  </a:lnTo>
                  <a:lnTo>
                    <a:pt x="516" y="1410"/>
                  </a:lnTo>
                  <a:lnTo>
                    <a:pt x="578" y="1371"/>
                  </a:lnTo>
                  <a:lnTo>
                    <a:pt x="559" y="1398"/>
                  </a:lnTo>
                  <a:lnTo>
                    <a:pt x="563" y="1402"/>
                  </a:lnTo>
                  <a:lnTo>
                    <a:pt x="547" y="1416"/>
                  </a:lnTo>
                  <a:lnTo>
                    <a:pt x="542" y="1439"/>
                  </a:lnTo>
                  <a:lnTo>
                    <a:pt x="550" y="1440"/>
                  </a:lnTo>
                  <a:lnTo>
                    <a:pt x="539" y="1454"/>
                  </a:lnTo>
                  <a:lnTo>
                    <a:pt x="532" y="1498"/>
                  </a:lnTo>
                  <a:lnTo>
                    <a:pt x="516" y="1524"/>
                  </a:lnTo>
                  <a:lnTo>
                    <a:pt x="510" y="1521"/>
                  </a:lnTo>
                  <a:lnTo>
                    <a:pt x="495" y="1544"/>
                  </a:lnTo>
                  <a:lnTo>
                    <a:pt x="487" y="1567"/>
                  </a:lnTo>
                  <a:lnTo>
                    <a:pt x="474" y="1566"/>
                  </a:lnTo>
                  <a:lnTo>
                    <a:pt x="419" y="1605"/>
                  </a:lnTo>
                  <a:lnTo>
                    <a:pt x="402" y="1640"/>
                  </a:lnTo>
                  <a:lnTo>
                    <a:pt x="394" y="1642"/>
                  </a:lnTo>
                  <a:lnTo>
                    <a:pt x="391" y="1648"/>
                  </a:lnTo>
                  <a:lnTo>
                    <a:pt x="383" y="1640"/>
                  </a:lnTo>
                  <a:lnTo>
                    <a:pt x="386" y="1634"/>
                  </a:lnTo>
                  <a:lnTo>
                    <a:pt x="366" y="1634"/>
                  </a:lnTo>
                  <a:lnTo>
                    <a:pt x="329" y="1654"/>
                  </a:lnTo>
                  <a:lnTo>
                    <a:pt x="292" y="1697"/>
                  </a:lnTo>
                  <a:lnTo>
                    <a:pt x="273" y="1702"/>
                  </a:lnTo>
                  <a:lnTo>
                    <a:pt x="267" y="1706"/>
                  </a:lnTo>
                  <a:lnTo>
                    <a:pt x="276" y="1727"/>
                  </a:lnTo>
                  <a:lnTo>
                    <a:pt x="283" y="1718"/>
                  </a:lnTo>
                  <a:lnTo>
                    <a:pt x="281" y="1706"/>
                  </a:lnTo>
                  <a:lnTo>
                    <a:pt x="293" y="1718"/>
                  </a:lnTo>
                  <a:lnTo>
                    <a:pt x="309" y="1713"/>
                  </a:lnTo>
                  <a:lnTo>
                    <a:pt x="307" y="1694"/>
                  </a:lnTo>
                  <a:lnTo>
                    <a:pt x="314" y="1708"/>
                  </a:lnTo>
                  <a:lnTo>
                    <a:pt x="331" y="1706"/>
                  </a:lnTo>
                  <a:lnTo>
                    <a:pt x="354" y="1665"/>
                  </a:lnTo>
                  <a:lnTo>
                    <a:pt x="361" y="1664"/>
                  </a:lnTo>
                  <a:lnTo>
                    <a:pt x="357" y="1685"/>
                  </a:lnTo>
                  <a:lnTo>
                    <a:pt x="393" y="1677"/>
                  </a:lnTo>
                  <a:lnTo>
                    <a:pt x="397" y="1667"/>
                  </a:lnTo>
                  <a:lnTo>
                    <a:pt x="403" y="1673"/>
                  </a:lnTo>
                  <a:lnTo>
                    <a:pt x="434" y="1647"/>
                  </a:lnTo>
                  <a:lnTo>
                    <a:pt x="442" y="1654"/>
                  </a:lnTo>
                  <a:lnTo>
                    <a:pt x="442" y="1671"/>
                  </a:lnTo>
                  <a:lnTo>
                    <a:pt x="451" y="1642"/>
                  </a:lnTo>
                  <a:lnTo>
                    <a:pt x="471" y="1642"/>
                  </a:lnTo>
                  <a:lnTo>
                    <a:pt x="490" y="1630"/>
                  </a:lnTo>
                  <a:lnTo>
                    <a:pt x="488" y="1617"/>
                  </a:lnTo>
                  <a:lnTo>
                    <a:pt x="488" y="1609"/>
                  </a:lnTo>
                  <a:lnTo>
                    <a:pt x="499" y="1598"/>
                  </a:lnTo>
                  <a:lnTo>
                    <a:pt x="524" y="1594"/>
                  </a:lnTo>
                  <a:lnTo>
                    <a:pt x="527" y="1588"/>
                  </a:lnTo>
                  <a:lnTo>
                    <a:pt x="516" y="1589"/>
                  </a:lnTo>
                  <a:lnTo>
                    <a:pt x="530" y="1580"/>
                  </a:lnTo>
                  <a:lnTo>
                    <a:pt x="542" y="1583"/>
                  </a:lnTo>
                  <a:lnTo>
                    <a:pt x="542" y="1567"/>
                  </a:lnTo>
                  <a:lnTo>
                    <a:pt x="555" y="1567"/>
                  </a:lnTo>
                  <a:lnTo>
                    <a:pt x="588" y="1546"/>
                  </a:lnTo>
                  <a:lnTo>
                    <a:pt x="593" y="1527"/>
                  </a:lnTo>
                  <a:lnTo>
                    <a:pt x="606" y="1513"/>
                  </a:lnTo>
                  <a:lnTo>
                    <a:pt x="610" y="1501"/>
                  </a:lnTo>
                  <a:lnTo>
                    <a:pt x="620" y="1503"/>
                  </a:lnTo>
                  <a:lnTo>
                    <a:pt x="625" y="1486"/>
                  </a:lnTo>
                  <a:lnTo>
                    <a:pt x="637" y="1491"/>
                  </a:lnTo>
                  <a:lnTo>
                    <a:pt x="655" y="1467"/>
                  </a:lnTo>
                  <a:lnTo>
                    <a:pt x="697" y="1450"/>
                  </a:lnTo>
                  <a:lnTo>
                    <a:pt x="693" y="1439"/>
                  </a:lnTo>
                  <a:lnTo>
                    <a:pt x="700" y="1433"/>
                  </a:lnTo>
                  <a:lnTo>
                    <a:pt x="700" y="1422"/>
                  </a:lnTo>
                  <a:lnTo>
                    <a:pt x="725" y="1408"/>
                  </a:lnTo>
                  <a:lnTo>
                    <a:pt x="731" y="1394"/>
                  </a:lnTo>
                  <a:lnTo>
                    <a:pt x="714" y="1376"/>
                  </a:lnTo>
                  <a:lnTo>
                    <a:pt x="691" y="1374"/>
                  </a:lnTo>
                  <a:lnTo>
                    <a:pt x="697" y="1346"/>
                  </a:lnTo>
                  <a:lnTo>
                    <a:pt x="714" y="1337"/>
                  </a:lnTo>
                  <a:lnTo>
                    <a:pt x="720" y="1329"/>
                  </a:lnTo>
                  <a:lnTo>
                    <a:pt x="720" y="1317"/>
                  </a:lnTo>
                  <a:lnTo>
                    <a:pt x="742" y="1317"/>
                  </a:lnTo>
                  <a:lnTo>
                    <a:pt x="745" y="1305"/>
                  </a:lnTo>
                  <a:lnTo>
                    <a:pt x="739" y="1301"/>
                  </a:lnTo>
                  <a:lnTo>
                    <a:pt x="764" y="1288"/>
                  </a:lnTo>
                  <a:lnTo>
                    <a:pt x="762" y="1276"/>
                  </a:lnTo>
                  <a:lnTo>
                    <a:pt x="745" y="1263"/>
                  </a:lnTo>
                  <a:lnTo>
                    <a:pt x="767" y="1267"/>
                  </a:lnTo>
                  <a:lnTo>
                    <a:pt x="781" y="1252"/>
                  </a:lnTo>
                  <a:lnTo>
                    <a:pt x="804" y="1204"/>
                  </a:lnTo>
                  <a:lnTo>
                    <a:pt x="854" y="1168"/>
                  </a:lnTo>
                  <a:lnTo>
                    <a:pt x="854" y="1144"/>
                  </a:lnTo>
                  <a:lnTo>
                    <a:pt x="874" y="1097"/>
                  </a:lnTo>
                  <a:lnTo>
                    <a:pt x="877" y="1071"/>
                  </a:lnTo>
                  <a:lnTo>
                    <a:pt x="883" y="1082"/>
                  </a:lnTo>
                  <a:lnTo>
                    <a:pt x="877" y="1117"/>
                  </a:lnTo>
                  <a:lnTo>
                    <a:pt x="864" y="1145"/>
                  </a:lnTo>
                  <a:lnTo>
                    <a:pt x="861" y="1168"/>
                  </a:lnTo>
                  <a:lnTo>
                    <a:pt x="883" y="1171"/>
                  </a:lnTo>
                  <a:lnTo>
                    <a:pt x="918" y="1145"/>
                  </a:lnTo>
                  <a:lnTo>
                    <a:pt x="915" y="1157"/>
                  </a:lnTo>
                  <a:lnTo>
                    <a:pt x="886" y="1178"/>
                  </a:lnTo>
                  <a:lnTo>
                    <a:pt x="886" y="1187"/>
                  </a:lnTo>
                  <a:lnTo>
                    <a:pt x="932" y="1207"/>
                  </a:lnTo>
                  <a:lnTo>
                    <a:pt x="925" y="1216"/>
                  </a:lnTo>
                  <a:lnTo>
                    <a:pt x="881" y="1207"/>
                  </a:lnTo>
                  <a:lnTo>
                    <a:pt x="871" y="1195"/>
                  </a:lnTo>
                  <a:lnTo>
                    <a:pt x="827" y="1218"/>
                  </a:lnTo>
                  <a:lnTo>
                    <a:pt x="823" y="1225"/>
                  </a:lnTo>
                  <a:lnTo>
                    <a:pt x="825" y="1264"/>
                  </a:lnTo>
                  <a:lnTo>
                    <a:pt x="803" y="1312"/>
                  </a:lnTo>
                  <a:lnTo>
                    <a:pt x="816" y="1322"/>
                  </a:lnTo>
                  <a:lnTo>
                    <a:pt x="841" y="1310"/>
                  </a:lnTo>
                  <a:lnTo>
                    <a:pt x="833" y="1326"/>
                  </a:lnTo>
                  <a:lnTo>
                    <a:pt x="823" y="1332"/>
                  </a:lnTo>
                  <a:lnTo>
                    <a:pt x="827" y="1339"/>
                  </a:lnTo>
                  <a:lnTo>
                    <a:pt x="807" y="1337"/>
                  </a:lnTo>
                  <a:lnTo>
                    <a:pt x="798" y="1356"/>
                  </a:lnTo>
                  <a:lnTo>
                    <a:pt x="808" y="1365"/>
                  </a:lnTo>
                  <a:lnTo>
                    <a:pt x="832" y="1359"/>
                  </a:lnTo>
                  <a:lnTo>
                    <a:pt x="833" y="1349"/>
                  </a:lnTo>
                  <a:lnTo>
                    <a:pt x="846" y="1356"/>
                  </a:lnTo>
                  <a:lnTo>
                    <a:pt x="861" y="1331"/>
                  </a:lnTo>
                  <a:lnTo>
                    <a:pt x="872" y="1326"/>
                  </a:lnTo>
                  <a:lnTo>
                    <a:pt x="869" y="1348"/>
                  </a:lnTo>
                  <a:lnTo>
                    <a:pt x="879" y="1320"/>
                  </a:lnTo>
                  <a:lnTo>
                    <a:pt x="894" y="1317"/>
                  </a:lnTo>
                  <a:lnTo>
                    <a:pt x="901" y="1293"/>
                  </a:lnTo>
                  <a:lnTo>
                    <a:pt x="906" y="1317"/>
                  </a:lnTo>
                  <a:lnTo>
                    <a:pt x="912" y="1280"/>
                  </a:lnTo>
                  <a:lnTo>
                    <a:pt x="917" y="1292"/>
                  </a:lnTo>
                  <a:lnTo>
                    <a:pt x="954" y="1288"/>
                  </a:lnTo>
                  <a:lnTo>
                    <a:pt x="957" y="1276"/>
                  </a:lnTo>
                  <a:lnTo>
                    <a:pt x="971" y="1267"/>
                  </a:lnTo>
                  <a:lnTo>
                    <a:pt x="960" y="1266"/>
                  </a:lnTo>
                  <a:lnTo>
                    <a:pt x="977" y="1241"/>
                  </a:lnTo>
                  <a:lnTo>
                    <a:pt x="974" y="1233"/>
                  </a:lnTo>
                  <a:lnTo>
                    <a:pt x="952" y="1246"/>
                  </a:lnTo>
                  <a:lnTo>
                    <a:pt x="951" y="1238"/>
                  </a:lnTo>
                  <a:lnTo>
                    <a:pt x="965" y="1229"/>
                  </a:lnTo>
                  <a:lnTo>
                    <a:pt x="968" y="1221"/>
                  </a:lnTo>
                  <a:lnTo>
                    <a:pt x="948" y="1215"/>
                  </a:lnTo>
                  <a:lnTo>
                    <a:pt x="962" y="1207"/>
                  </a:lnTo>
                  <a:lnTo>
                    <a:pt x="968" y="1196"/>
                  </a:lnTo>
                  <a:lnTo>
                    <a:pt x="957" y="1195"/>
                  </a:lnTo>
                  <a:lnTo>
                    <a:pt x="965" y="1187"/>
                  </a:lnTo>
                  <a:lnTo>
                    <a:pt x="976" y="1190"/>
                  </a:lnTo>
                  <a:lnTo>
                    <a:pt x="988" y="1171"/>
                  </a:lnTo>
                  <a:lnTo>
                    <a:pt x="977" y="1202"/>
                  </a:lnTo>
                  <a:lnTo>
                    <a:pt x="982" y="1207"/>
                  </a:lnTo>
                  <a:lnTo>
                    <a:pt x="993" y="1202"/>
                  </a:lnTo>
                  <a:lnTo>
                    <a:pt x="994" y="1179"/>
                  </a:lnTo>
                  <a:lnTo>
                    <a:pt x="997" y="1198"/>
                  </a:lnTo>
                  <a:lnTo>
                    <a:pt x="1005" y="1198"/>
                  </a:lnTo>
                  <a:lnTo>
                    <a:pt x="1042" y="1188"/>
                  </a:lnTo>
                  <a:lnTo>
                    <a:pt x="1040" y="1208"/>
                  </a:lnTo>
                  <a:lnTo>
                    <a:pt x="1038" y="1222"/>
                  </a:lnTo>
                  <a:lnTo>
                    <a:pt x="1069" y="1213"/>
                  </a:lnTo>
                  <a:lnTo>
                    <a:pt x="1057" y="1229"/>
                  </a:lnTo>
                  <a:lnTo>
                    <a:pt x="1082" y="1227"/>
                  </a:lnTo>
                  <a:lnTo>
                    <a:pt x="1079" y="1239"/>
                  </a:lnTo>
                  <a:lnTo>
                    <a:pt x="1103" y="1259"/>
                  </a:lnTo>
                  <a:lnTo>
                    <a:pt x="1118" y="1244"/>
                  </a:lnTo>
                  <a:lnTo>
                    <a:pt x="1123" y="1259"/>
                  </a:lnTo>
                  <a:lnTo>
                    <a:pt x="1155" y="1275"/>
                  </a:lnTo>
                  <a:lnTo>
                    <a:pt x="1161" y="1288"/>
                  </a:lnTo>
                  <a:lnTo>
                    <a:pt x="1211" y="1280"/>
                  </a:lnTo>
                  <a:lnTo>
                    <a:pt x="1263" y="1292"/>
                  </a:lnTo>
                  <a:lnTo>
                    <a:pt x="1284" y="1286"/>
                  </a:lnTo>
                  <a:lnTo>
                    <a:pt x="1288" y="1293"/>
                  </a:lnTo>
                  <a:lnTo>
                    <a:pt x="1282" y="1298"/>
                  </a:lnTo>
                  <a:lnTo>
                    <a:pt x="1285" y="1300"/>
                  </a:lnTo>
                  <a:lnTo>
                    <a:pt x="1319" y="1312"/>
                  </a:lnTo>
                  <a:lnTo>
                    <a:pt x="1350" y="1306"/>
                  </a:lnTo>
                  <a:lnTo>
                    <a:pt x="1370" y="1281"/>
                  </a:lnTo>
                  <a:lnTo>
                    <a:pt x="1392" y="1301"/>
                  </a:lnTo>
                  <a:lnTo>
                    <a:pt x="1384" y="1308"/>
                  </a:lnTo>
                  <a:lnTo>
                    <a:pt x="1384" y="1329"/>
                  </a:lnTo>
                  <a:lnTo>
                    <a:pt x="1373" y="1292"/>
                  </a:lnTo>
                  <a:lnTo>
                    <a:pt x="1369" y="1300"/>
                  </a:lnTo>
                  <a:lnTo>
                    <a:pt x="1369" y="1323"/>
                  </a:lnTo>
                  <a:lnTo>
                    <a:pt x="1358" y="1334"/>
                  </a:lnTo>
                  <a:lnTo>
                    <a:pt x="1411" y="1368"/>
                  </a:lnTo>
                  <a:lnTo>
                    <a:pt x="1426" y="1360"/>
                  </a:lnTo>
                  <a:lnTo>
                    <a:pt x="1424" y="1343"/>
                  </a:lnTo>
                  <a:lnTo>
                    <a:pt x="1433" y="1340"/>
                  </a:lnTo>
                  <a:close/>
                  <a:moveTo>
                    <a:pt x="391" y="1394"/>
                  </a:moveTo>
                  <a:lnTo>
                    <a:pt x="385" y="1414"/>
                  </a:lnTo>
                  <a:lnTo>
                    <a:pt x="376" y="1414"/>
                  </a:lnTo>
                  <a:lnTo>
                    <a:pt x="378" y="1403"/>
                  </a:lnTo>
                  <a:lnTo>
                    <a:pt x="391" y="1394"/>
                  </a:lnTo>
                  <a:close/>
                  <a:moveTo>
                    <a:pt x="317" y="572"/>
                  </a:moveTo>
                  <a:lnTo>
                    <a:pt x="326" y="568"/>
                  </a:lnTo>
                  <a:lnTo>
                    <a:pt x="337" y="592"/>
                  </a:lnTo>
                  <a:lnTo>
                    <a:pt x="322" y="594"/>
                  </a:lnTo>
                  <a:lnTo>
                    <a:pt x="314" y="579"/>
                  </a:lnTo>
                  <a:lnTo>
                    <a:pt x="317" y="572"/>
                  </a:lnTo>
                  <a:close/>
                  <a:moveTo>
                    <a:pt x="1038" y="1254"/>
                  </a:moveTo>
                  <a:lnTo>
                    <a:pt x="1045" y="1242"/>
                  </a:lnTo>
                  <a:lnTo>
                    <a:pt x="1064" y="1250"/>
                  </a:lnTo>
                  <a:lnTo>
                    <a:pt x="1045" y="1261"/>
                  </a:lnTo>
                  <a:lnTo>
                    <a:pt x="1038" y="1254"/>
                  </a:lnTo>
                  <a:close/>
                  <a:moveTo>
                    <a:pt x="993" y="1288"/>
                  </a:moveTo>
                  <a:lnTo>
                    <a:pt x="1018" y="1254"/>
                  </a:lnTo>
                  <a:lnTo>
                    <a:pt x="1027" y="1263"/>
                  </a:lnTo>
                  <a:lnTo>
                    <a:pt x="1002" y="1300"/>
                  </a:lnTo>
                  <a:lnTo>
                    <a:pt x="984" y="1306"/>
                  </a:lnTo>
                  <a:lnTo>
                    <a:pt x="993" y="1288"/>
                  </a:lnTo>
                  <a:close/>
                  <a:moveTo>
                    <a:pt x="767" y="1411"/>
                  </a:moveTo>
                  <a:lnTo>
                    <a:pt x="778" y="1420"/>
                  </a:lnTo>
                  <a:lnTo>
                    <a:pt x="769" y="1420"/>
                  </a:lnTo>
                  <a:lnTo>
                    <a:pt x="767" y="1411"/>
                  </a:lnTo>
                  <a:close/>
                  <a:moveTo>
                    <a:pt x="762" y="1444"/>
                  </a:moveTo>
                  <a:lnTo>
                    <a:pt x="754" y="1437"/>
                  </a:lnTo>
                  <a:lnTo>
                    <a:pt x="761" y="1430"/>
                  </a:lnTo>
                  <a:lnTo>
                    <a:pt x="781" y="1427"/>
                  </a:lnTo>
                  <a:lnTo>
                    <a:pt x="778" y="1437"/>
                  </a:lnTo>
                  <a:lnTo>
                    <a:pt x="787" y="1431"/>
                  </a:lnTo>
                  <a:lnTo>
                    <a:pt x="793" y="1448"/>
                  </a:lnTo>
                  <a:lnTo>
                    <a:pt x="756" y="1462"/>
                  </a:lnTo>
                  <a:lnTo>
                    <a:pt x="744" y="1450"/>
                  </a:lnTo>
                  <a:lnTo>
                    <a:pt x="762" y="1444"/>
                  </a:lnTo>
                  <a:close/>
                  <a:moveTo>
                    <a:pt x="669" y="1521"/>
                  </a:moveTo>
                  <a:lnTo>
                    <a:pt x="683" y="1501"/>
                  </a:lnTo>
                  <a:lnTo>
                    <a:pt x="700" y="1496"/>
                  </a:lnTo>
                  <a:lnTo>
                    <a:pt x="703" y="1498"/>
                  </a:lnTo>
                  <a:lnTo>
                    <a:pt x="700" y="1504"/>
                  </a:lnTo>
                  <a:lnTo>
                    <a:pt x="706" y="1516"/>
                  </a:lnTo>
                  <a:lnTo>
                    <a:pt x="713" y="1518"/>
                  </a:lnTo>
                  <a:lnTo>
                    <a:pt x="714" y="1501"/>
                  </a:lnTo>
                  <a:lnTo>
                    <a:pt x="719" y="1499"/>
                  </a:lnTo>
                  <a:lnTo>
                    <a:pt x="708" y="1486"/>
                  </a:lnTo>
                  <a:lnTo>
                    <a:pt x="710" y="1478"/>
                  </a:lnTo>
                  <a:lnTo>
                    <a:pt x="716" y="1476"/>
                  </a:lnTo>
                  <a:lnTo>
                    <a:pt x="725" y="1495"/>
                  </a:lnTo>
                  <a:lnTo>
                    <a:pt x="745" y="1481"/>
                  </a:lnTo>
                  <a:lnTo>
                    <a:pt x="742" y="1473"/>
                  </a:lnTo>
                  <a:lnTo>
                    <a:pt x="754" y="1474"/>
                  </a:lnTo>
                  <a:lnTo>
                    <a:pt x="757" y="1487"/>
                  </a:lnTo>
                  <a:lnTo>
                    <a:pt x="773" y="1476"/>
                  </a:lnTo>
                  <a:lnTo>
                    <a:pt x="773" y="1501"/>
                  </a:lnTo>
                  <a:lnTo>
                    <a:pt x="787" y="1501"/>
                  </a:lnTo>
                  <a:lnTo>
                    <a:pt x="781" y="1513"/>
                  </a:lnTo>
                  <a:lnTo>
                    <a:pt x="754" y="1506"/>
                  </a:lnTo>
                  <a:lnTo>
                    <a:pt x="750" y="1513"/>
                  </a:lnTo>
                  <a:lnTo>
                    <a:pt x="765" y="1516"/>
                  </a:lnTo>
                  <a:lnTo>
                    <a:pt x="767" y="1527"/>
                  </a:lnTo>
                  <a:lnTo>
                    <a:pt x="761" y="1520"/>
                  </a:lnTo>
                  <a:lnTo>
                    <a:pt x="745" y="1527"/>
                  </a:lnTo>
                  <a:lnTo>
                    <a:pt x="750" y="1530"/>
                  </a:lnTo>
                  <a:lnTo>
                    <a:pt x="722" y="1546"/>
                  </a:lnTo>
                  <a:lnTo>
                    <a:pt x="719" y="1564"/>
                  </a:lnTo>
                  <a:lnTo>
                    <a:pt x="702" y="1572"/>
                  </a:lnTo>
                  <a:lnTo>
                    <a:pt x="710" y="1557"/>
                  </a:lnTo>
                  <a:lnTo>
                    <a:pt x="703" y="1552"/>
                  </a:lnTo>
                  <a:lnTo>
                    <a:pt x="703" y="1541"/>
                  </a:lnTo>
                  <a:lnTo>
                    <a:pt x="696" y="1541"/>
                  </a:lnTo>
                  <a:lnTo>
                    <a:pt x="696" y="1558"/>
                  </a:lnTo>
                  <a:lnTo>
                    <a:pt x="691" y="1563"/>
                  </a:lnTo>
                  <a:lnTo>
                    <a:pt x="669" y="1521"/>
                  </a:lnTo>
                  <a:close/>
                  <a:moveTo>
                    <a:pt x="696" y="1592"/>
                  </a:moveTo>
                  <a:lnTo>
                    <a:pt x="689" y="1591"/>
                  </a:lnTo>
                  <a:lnTo>
                    <a:pt x="696" y="1586"/>
                  </a:lnTo>
                  <a:lnTo>
                    <a:pt x="696" y="1592"/>
                  </a:lnTo>
                  <a:close/>
                  <a:moveTo>
                    <a:pt x="672" y="1591"/>
                  </a:moveTo>
                  <a:lnTo>
                    <a:pt x="677" y="1588"/>
                  </a:lnTo>
                  <a:lnTo>
                    <a:pt x="679" y="1594"/>
                  </a:lnTo>
                  <a:lnTo>
                    <a:pt x="671" y="1603"/>
                  </a:lnTo>
                  <a:lnTo>
                    <a:pt x="672" y="1591"/>
                  </a:lnTo>
                  <a:close/>
                  <a:moveTo>
                    <a:pt x="183" y="1227"/>
                  </a:moveTo>
                  <a:lnTo>
                    <a:pt x="200" y="1210"/>
                  </a:lnTo>
                  <a:lnTo>
                    <a:pt x="227" y="1218"/>
                  </a:lnTo>
                  <a:lnTo>
                    <a:pt x="230" y="1232"/>
                  </a:lnTo>
                  <a:lnTo>
                    <a:pt x="212" y="1254"/>
                  </a:lnTo>
                  <a:lnTo>
                    <a:pt x="204" y="1233"/>
                  </a:lnTo>
                  <a:lnTo>
                    <a:pt x="183" y="1227"/>
                  </a:lnTo>
                  <a:close/>
                  <a:moveTo>
                    <a:pt x="81" y="1266"/>
                  </a:moveTo>
                  <a:lnTo>
                    <a:pt x="140" y="1254"/>
                  </a:lnTo>
                  <a:lnTo>
                    <a:pt x="166" y="1261"/>
                  </a:lnTo>
                  <a:lnTo>
                    <a:pt x="166" y="1281"/>
                  </a:lnTo>
                  <a:lnTo>
                    <a:pt x="170" y="1286"/>
                  </a:lnTo>
                  <a:lnTo>
                    <a:pt x="144" y="1308"/>
                  </a:lnTo>
                  <a:lnTo>
                    <a:pt x="98" y="1289"/>
                  </a:lnTo>
                  <a:lnTo>
                    <a:pt x="81" y="1266"/>
                  </a:lnTo>
                  <a:close/>
                  <a:moveTo>
                    <a:pt x="397" y="1689"/>
                  </a:moveTo>
                  <a:lnTo>
                    <a:pt x="393" y="1684"/>
                  </a:lnTo>
                  <a:lnTo>
                    <a:pt x="402" y="1685"/>
                  </a:lnTo>
                  <a:lnTo>
                    <a:pt x="402" y="1702"/>
                  </a:lnTo>
                  <a:lnTo>
                    <a:pt x="391" y="1701"/>
                  </a:lnTo>
                  <a:lnTo>
                    <a:pt x="388" y="1685"/>
                  </a:lnTo>
                  <a:lnTo>
                    <a:pt x="397" y="1689"/>
                  </a:lnTo>
                  <a:close/>
                  <a:moveTo>
                    <a:pt x="297" y="1758"/>
                  </a:moveTo>
                  <a:lnTo>
                    <a:pt x="307" y="1762"/>
                  </a:lnTo>
                  <a:lnTo>
                    <a:pt x="297" y="1758"/>
                  </a:lnTo>
                  <a:close/>
                  <a:moveTo>
                    <a:pt x="148" y="1775"/>
                  </a:moveTo>
                  <a:lnTo>
                    <a:pt x="157" y="1787"/>
                  </a:lnTo>
                  <a:lnTo>
                    <a:pt x="144" y="1790"/>
                  </a:lnTo>
                  <a:lnTo>
                    <a:pt x="144" y="1779"/>
                  </a:lnTo>
                  <a:lnTo>
                    <a:pt x="148" y="1775"/>
                  </a:lnTo>
                  <a:close/>
                  <a:moveTo>
                    <a:pt x="69" y="1850"/>
                  </a:moveTo>
                  <a:lnTo>
                    <a:pt x="66" y="1845"/>
                  </a:lnTo>
                  <a:lnTo>
                    <a:pt x="85" y="1840"/>
                  </a:lnTo>
                  <a:lnTo>
                    <a:pt x="98" y="1818"/>
                  </a:lnTo>
                  <a:lnTo>
                    <a:pt x="106" y="1818"/>
                  </a:lnTo>
                  <a:lnTo>
                    <a:pt x="100" y="1815"/>
                  </a:lnTo>
                  <a:lnTo>
                    <a:pt x="95" y="1801"/>
                  </a:lnTo>
                  <a:lnTo>
                    <a:pt x="108" y="1798"/>
                  </a:lnTo>
                  <a:lnTo>
                    <a:pt x="117" y="1806"/>
                  </a:lnTo>
                  <a:lnTo>
                    <a:pt x="125" y="1796"/>
                  </a:lnTo>
                  <a:lnTo>
                    <a:pt x="132" y="1801"/>
                  </a:lnTo>
                  <a:lnTo>
                    <a:pt x="120" y="1818"/>
                  </a:lnTo>
                  <a:lnTo>
                    <a:pt x="128" y="1821"/>
                  </a:lnTo>
                  <a:lnTo>
                    <a:pt x="108" y="1838"/>
                  </a:lnTo>
                  <a:lnTo>
                    <a:pt x="69" y="1850"/>
                  </a:lnTo>
                  <a:close/>
                  <a:moveTo>
                    <a:pt x="0" y="1891"/>
                  </a:moveTo>
                  <a:lnTo>
                    <a:pt x="18" y="1854"/>
                  </a:lnTo>
                  <a:lnTo>
                    <a:pt x="34" y="1848"/>
                  </a:lnTo>
                  <a:lnTo>
                    <a:pt x="35" y="1838"/>
                  </a:lnTo>
                  <a:lnTo>
                    <a:pt x="57" y="1835"/>
                  </a:lnTo>
                  <a:lnTo>
                    <a:pt x="57" y="1846"/>
                  </a:lnTo>
                  <a:lnTo>
                    <a:pt x="0" y="1891"/>
                  </a:lnTo>
                  <a:close/>
                </a:path>
              </a:pathLst>
            </a:custGeom>
            <a:solidFill>
              <a:schemeClr val="accent1"/>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165" name="Freeform 169">
              <a:extLst>
                <a:ext uri="{FF2B5EF4-FFF2-40B4-BE49-F238E27FC236}">
                  <a16:creationId xmlns:a16="http://schemas.microsoft.com/office/drawing/2014/main" id="{AB05E70D-43B8-1440-B0B1-3EC435994F95}"/>
                </a:ext>
              </a:extLst>
            </p:cNvPr>
            <p:cNvSpPr>
              <a:spLocks noChangeAspect="1"/>
            </p:cNvSpPr>
            <p:nvPr/>
          </p:nvSpPr>
          <p:spPr bwMode="gray">
            <a:xfrm>
              <a:off x="2561287" y="3776926"/>
              <a:ext cx="86025" cy="115198"/>
            </a:xfrm>
            <a:custGeom>
              <a:avLst/>
              <a:gdLst>
                <a:gd name="T0" fmla="*/ 139 w 178"/>
                <a:gd name="T1" fmla="*/ 0 h 198"/>
                <a:gd name="T2" fmla="*/ 104 w 178"/>
                <a:gd name="T3" fmla="*/ 0 h 198"/>
                <a:gd name="T4" fmla="*/ 60 w 178"/>
                <a:gd name="T5" fmla="*/ 0 h 198"/>
                <a:gd name="T6" fmla="*/ 60 w 178"/>
                <a:gd name="T7" fmla="*/ 24 h 198"/>
                <a:gd name="T8" fmla="*/ 31 w 178"/>
                <a:gd name="T9" fmla="*/ 24 h 198"/>
                <a:gd name="T10" fmla="*/ 66 w 178"/>
                <a:gd name="T11" fmla="*/ 52 h 198"/>
                <a:gd name="T12" fmla="*/ 80 w 178"/>
                <a:gd name="T13" fmla="*/ 71 h 198"/>
                <a:gd name="T14" fmla="*/ 79 w 178"/>
                <a:gd name="T15" fmla="*/ 83 h 198"/>
                <a:gd name="T16" fmla="*/ 33 w 178"/>
                <a:gd name="T17" fmla="*/ 84 h 198"/>
                <a:gd name="T18" fmla="*/ 4 w 178"/>
                <a:gd name="T19" fmla="*/ 132 h 198"/>
                <a:gd name="T20" fmla="*/ 6 w 178"/>
                <a:gd name="T21" fmla="*/ 139 h 198"/>
                <a:gd name="T22" fmla="*/ 0 w 178"/>
                <a:gd name="T23" fmla="*/ 157 h 198"/>
                <a:gd name="T24" fmla="*/ 40 w 178"/>
                <a:gd name="T25" fmla="*/ 188 h 198"/>
                <a:gd name="T26" fmla="*/ 100 w 178"/>
                <a:gd name="T27" fmla="*/ 198 h 198"/>
                <a:gd name="T28" fmla="*/ 105 w 178"/>
                <a:gd name="T29" fmla="*/ 186 h 198"/>
                <a:gd name="T30" fmla="*/ 122 w 178"/>
                <a:gd name="T31" fmla="*/ 177 h 198"/>
                <a:gd name="T32" fmla="*/ 127 w 178"/>
                <a:gd name="T33" fmla="*/ 164 h 198"/>
                <a:gd name="T34" fmla="*/ 138 w 178"/>
                <a:gd name="T35" fmla="*/ 154 h 198"/>
                <a:gd name="T36" fmla="*/ 138 w 178"/>
                <a:gd name="T37" fmla="*/ 140 h 198"/>
                <a:gd name="T38" fmla="*/ 175 w 178"/>
                <a:gd name="T39" fmla="*/ 111 h 198"/>
                <a:gd name="T40" fmla="*/ 178 w 178"/>
                <a:gd name="T41" fmla="*/ 101 h 198"/>
                <a:gd name="T42" fmla="*/ 172 w 178"/>
                <a:gd name="T43" fmla="*/ 98 h 198"/>
                <a:gd name="T44" fmla="*/ 163 w 178"/>
                <a:gd name="T45" fmla="*/ 101 h 198"/>
                <a:gd name="T46" fmla="*/ 153 w 178"/>
                <a:gd name="T47" fmla="*/ 92 h 198"/>
                <a:gd name="T48" fmla="*/ 138 w 178"/>
                <a:gd name="T49" fmla="*/ 91 h 198"/>
                <a:gd name="T50" fmla="*/ 139 w 178"/>
                <a:gd name="T51"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8" h="198">
                  <a:moveTo>
                    <a:pt x="139" y="0"/>
                  </a:moveTo>
                  <a:lnTo>
                    <a:pt x="104" y="0"/>
                  </a:lnTo>
                  <a:lnTo>
                    <a:pt x="60" y="0"/>
                  </a:lnTo>
                  <a:lnTo>
                    <a:pt x="60" y="24"/>
                  </a:lnTo>
                  <a:lnTo>
                    <a:pt x="31" y="24"/>
                  </a:lnTo>
                  <a:lnTo>
                    <a:pt x="66" y="52"/>
                  </a:lnTo>
                  <a:lnTo>
                    <a:pt x="80" y="71"/>
                  </a:lnTo>
                  <a:lnTo>
                    <a:pt x="79" y="83"/>
                  </a:lnTo>
                  <a:lnTo>
                    <a:pt x="33" y="84"/>
                  </a:lnTo>
                  <a:lnTo>
                    <a:pt x="4" y="132"/>
                  </a:lnTo>
                  <a:lnTo>
                    <a:pt x="6" y="139"/>
                  </a:lnTo>
                  <a:lnTo>
                    <a:pt x="0" y="157"/>
                  </a:lnTo>
                  <a:lnTo>
                    <a:pt x="40" y="188"/>
                  </a:lnTo>
                  <a:lnTo>
                    <a:pt x="100" y="198"/>
                  </a:lnTo>
                  <a:lnTo>
                    <a:pt x="105" y="186"/>
                  </a:lnTo>
                  <a:lnTo>
                    <a:pt x="122" y="177"/>
                  </a:lnTo>
                  <a:lnTo>
                    <a:pt x="127" y="164"/>
                  </a:lnTo>
                  <a:lnTo>
                    <a:pt x="138" y="154"/>
                  </a:lnTo>
                  <a:lnTo>
                    <a:pt x="138" y="140"/>
                  </a:lnTo>
                  <a:lnTo>
                    <a:pt x="175" y="111"/>
                  </a:lnTo>
                  <a:lnTo>
                    <a:pt x="178" y="101"/>
                  </a:lnTo>
                  <a:lnTo>
                    <a:pt x="172" y="98"/>
                  </a:lnTo>
                  <a:lnTo>
                    <a:pt x="163" y="101"/>
                  </a:lnTo>
                  <a:lnTo>
                    <a:pt x="153" y="92"/>
                  </a:lnTo>
                  <a:lnTo>
                    <a:pt x="138" y="91"/>
                  </a:lnTo>
                  <a:lnTo>
                    <a:pt x="139" y="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66" name="Freeform 170">
              <a:extLst>
                <a:ext uri="{FF2B5EF4-FFF2-40B4-BE49-F238E27FC236}">
                  <a16:creationId xmlns:a16="http://schemas.microsoft.com/office/drawing/2014/main" id="{747BB57A-F54F-6742-B094-9FBD244C0FB8}"/>
                </a:ext>
              </a:extLst>
            </p:cNvPr>
            <p:cNvSpPr>
              <a:spLocks noChangeAspect="1"/>
            </p:cNvSpPr>
            <p:nvPr/>
          </p:nvSpPr>
          <p:spPr bwMode="gray">
            <a:xfrm>
              <a:off x="3020083" y="3719326"/>
              <a:ext cx="76467" cy="63360"/>
            </a:xfrm>
            <a:custGeom>
              <a:avLst/>
              <a:gdLst>
                <a:gd name="T0" fmla="*/ 4 w 158"/>
                <a:gd name="T1" fmla="*/ 91 h 110"/>
                <a:gd name="T2" fmla="*/ 7 w 158"/>
                <a:gd name="T3" fmla="*/ 103 h 110"/>
                <a:gd name="T4" fmla="*/ 16 w 158"/>
                <a:gd name="T5" fmla="*/ 110 h 110"/>
                <a:gd name="T6" fmla="*/ 48 w 158"/>
                <a:gd name="T7" fmla="*/ 74 h 110"/>
                <a:gd name="T8" fmla="*/ 55 w 158"/>
                <a:gd name="T9" fmla="*/ 74 h 110"/>
                <a:gd name="T10" fmla="*/ 59 w 158"/>
                <a:gd name="T11" fmla="*/ 86 h 110"/>
                <a:gd name="T12" fmla="*/ 87 w 158"/>
                <a:gd name="T13" fmla="*/ 74 h 110"/>
                <a:gd name="T14" fmla="*/ 104 w 158"/>
                <a:gd name="T15" fmla="*/ 71 h 110"/>
                <a:gd name="T16" fmla="*/ 148 w 158"/>
                <a:gd name="T17" fmla="*/ 81 h 110"/>
                <a:gd name="T18" fmla="*/ 158 w 158"/>
                <a:gd name="T19" fmla="*/ 60 h 110"/>
                <a:gd name="T20" fmla="*/ 140 w 158"/>
                <a:gd name="T21" fmla="*/ 43 h 110"/>
                <a:gd name="T22" fmla="*/ 106 w 158"/>
                <a:gd name="T23" fmla="*/ 39 h 110"/>
                <a:gd name="T24" fmla="*/ 121 w 158"/>
                <a:gd name="T25" fmla="*/ 34 h 110"/>
                <a:gd name="T26" fmla="*/ 121 w 158"/>
                <a:gd name="T27" fmla="*/ 31 h 110"/>
                <a:gd name="T28" fmla="*/ 95 w 158"/>
                <a:gd name="T29" fmla="*/ 26 h 110"/>
                <a:gd name="T30" fmla="*/ 87 w 158"/>
                <a:gd name="T31" fmla="*/ 11 h 110"/>
                <a:gd name="T32" fmla="*/ 50 w 158"/>
                <a:gd name="T33" fmla="*/ 0 h 110"/>
                <a:gd name="T34" fmla="*/ 7 w 158"/>
                <a:gd name="T35" fmla="*/ 0 h 110"/>
                <a:gd name="T36" fmla="*/ 2 w 158"/>
                <a:gd name="T37" fmla="*/ 5 h 110"/>
                <a:gd name="T38" fmla="*/ 10 w 158"/>
                <a:gd name="T39" fmla="*/ 35 h 110"/>
                <a:gd name="T40" fmla="*/ 7 w 158"/>
                <a:gd name="T41" fmla="*/ 56 h 110"/>
                <a:gd name="T42" fmla="*/ 0 w 158"/>
                <a:gd name="T43" fmla="*/ 64 h 110"/>
                <a:gd name="T44" fmla="*/ 5 w 158"/>
                <a:gd name="T45" fmla="*/ 77 h 110"/>
                <a:gd name="T46" fmla="*/ 4 w 158"/>
                <a:gd name="T47" fmla="*/ 9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8" h="110">
                  <a:moveTo>
                    <a:pt x="4" y="91"/>
                  </a:moveTo>
                  <a:lnTo>
                    <a:pt x="7" y="103"/>
                  </a:lnTo>
                  <a:lnTo>
                    <a:pt x="16" y="110"/>
                  </a:lnTo>
                  <a:lnTo>
                    <a:pt x="48" y="74"/>
                  </a:lnTo>
                  <a:lnTo>
                    <a:pt x="55" y="74"/>
                  </a:lnTo>
                  <a:lnTo>
                    <a:pt x="59" y="86"/>
                  </a:lnTo>
                  <a:lnTo>
                    <a:pt x="87" y="74"/>
                  </a:lnTo>
                  <a:lnTo>
                    <a:pt x="104" y="71"/>
                  </a:lnTo>
                  <a:lnTo>
                    <a:pt x="148" y="81"/>
                  </a:lnTo>
                  <a:lnTo>
                    <a:pt x="158" y="60"/>
                  </a:lnTo>
                  <a:lnTo>
                    <a:pt x="140" y="43"/>
                  </a:lnTo>
                  <a:lnTo>
                    <a:pt x="106" y="39"/>
                  </a:lnTo>
                  <a:lnTo>
                    <a:pt x="121" y="34"/>
                  </a:lnTo>
                  <a:lnTo>
                    <a:pt x="121" y="31"/>
                  </a:lnTo>
                  <a:lnTo>
                    <a:pt x="95" y="26"/>
                  </a:lnTo>
                  <a:lnTo>
                    <a:pt x="87" y="11"/>
                  </a:lnTo>
                  <a:lnTo>
                    <a:pt x="50" y="0"/>
                  </a:lnTo>
                  <a:lnTo>
                    <a:pt x="7" y="0"/>
                  </a:lnTo>
                  <a:lnTo>
                    <a:pt x="2" y="5"/>
                  </a:lnTo>
                  <a:lnTo>
                    <a:pt x="10" y="35"/>
                  </a:lnTo>
                  <a:lnTo>
                    <a:pt x="7" y="56"/>
                  </a:lnTo>
                  <a:lnTo>
                    <a:pt x="0" y="64"/>
                  </a:lnTo>
                  <a:lnTo>
                    <a:pt x="5" y="77"/>
                  </a:lnTo>
                  <a:lnTo>
                    <a:pt x="4" y="91"/>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67" name="Freeform 171">
              <a:extLst>
                <a:ext uri="{FF2B5EF4-FFF2-40B4-BE49-F238E27FC236}">
                  <a16:creationId xmlns:a16="http://schemas.microsoft.com/office/drawing/2014/main" id="{C1B6FA37-E5FB-1647-96D7-8A988B39AE2E}"/>
                </a:ext>
              </a:extLst>
            </p:cNvPr>
            <p:cNvSpPr>
              <a:spLocks noChangeAspect="1"/>
            </p:cNvSpPr>
            <p:nvPr/>
          </p:nvSpPr>
          <p:spPr bwMode="gray">
            <a:xfrm>
              <a:off x="2610670" y="3874844"/>
              <a:ext cx="50979" cy="32639"/>
            </a:xfrm>
            <a:custGeom>
              <a:avLst/>
              <a:gdLst>
                <a:gd name="T0" fmla="*/ 0 w 106"/>
                <a:gd name="T1" fmla="*/ 34 h 60"/>
                <a:gd name="T2" fmla="*/ 5 w 106"/>
                <a:gd name="T3" fmla="*/ 22 h 60"/>
                <a:gd name="T4" fmla="*/ 22 w 106"/>
                <a:gd name="T5" fmla="*/ 13 h 60"/>
                <a:gd name="T6" fmla="*/ 27 w 106"/>
                <a:gd name="T7" fmla="*/ 0 h 60"/>
                <a:gd name="T8" fmla="*/ 42 w 106"/>
                <a:gd name="T9" fmla="*/ 4 h 60"/>
                <a:gd name="T10" fmla="*/ 72 w 106"/>
                <a:gd name="T11" fmla="*/ 26 h 60"/>
                <a:gd name="T12" fmla="*/ 90 w 106"/>
                <a:gd name="T13" fmla="*/ 24 h 60"/>
                <a:gd name="T14" fmla="*/ 98 w 106"/>
                <a:gd name="T15" fmla="*/ 27 h 60"/>
                <a:gd name="T16" fmla="*/ 104 w 106"/>
                <a:gd name="T17" fmla="*/ 32 h 60"/>
                <a:gd name="T18" fmla="*/ 106 w 106"/>
                <a:gd name="T19" fmla="*/ 49 h 60"/>
                <a:gd name="T20" fmla="*/ 87 w 106"/>
                <a:gd name="T21" fmla="*/ 60 h 60"/>
                <a:gd name="T22" fmla="*/ 63 w 106"/>
                <a:gd name="T23" fmla="*/ 60 h 60"/>
                <a:gd name="T24" fmla="*/ 17 w 106"/>
                <a:gd name="T25" fmla="*/ 44 h 60"/>
                <a:gd name="T26" fmla="*/ 0 w 106"/>
                <a:gd name="T27"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60">
                  <a:moveTo>
                    <a:pt x="0" y="34"/>
                  </a:moveTo>
                  <a:lnTo>
                    <a:pt x="5" y="22"/>
                  </a:lnTo>
                  <a:lnTo>
                    <a:pt x="22" y="13"/>
                  </a:lnTo>
                  <a:lnTo>
                    <a:pt x="27" y="0"/>
                  </a:lnTo>
                  <a:lnTo>
                    <a:pt x="42" y="4"/>
                  </a:lnTo>
                  <a:lnTo>
                    <a:pt x="72" y="26"/>
                  </a:lnTo>
                  <a:lnTo>
                    <a:pt x="90" y="24"/>
                  </a:lnTo>
                  <a:lnTo>
                    <a:pt x="98" y="27"/>
                  </a:lnTo>
                  <a:lnTo>
                    <a:pt x="104" y="32"/>
                  </a:lnTo>
                  <a:lnTo>
                    <a:pt x="106" y="49"/>
                  </a:lnTo>
                  <a:lnTo>
                    <a:pt x="87" y="60"/>
                  </a:lnTo>
                  <a:lnTo>
                    <a:pt x="63" y="60"/>
                  </a:lnTo>
                  <a:lnTo>
                    <a:pt x="17" y="44"/>
                  </a:lnTo>
                  <a:lnTo>
                    <a:pt x="0" y="34"/>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68" name="Freeform 172">
              <a:extLst>
                <a:ext uri="{FF2B5EF4-FFF2-40B4-BE49-F238E27FC236}">
                  <a16:creationId xmlns:a16="http://schemas.microsoft.com/office/drawing/2014/main" id="{8A9B984A-FCEC-1B40-A7BA-BFE49D706237}"/>
                </a:ext>
              </a:extLst>
            </p:cNvPr>
            <p:cNvSpPr>
              <a:spLocks noChangeAspect="1"/>
            </p:cNvSpPr>
            <p:nvPr/>
          </p:nvSpPr>
          <p:spPr bwMode="gray">
            <a:xfrm>
              <a:off x="2666429" y="3857563"/>
              <a:ext cx="95583" cy="117118"/>
            </a:xfrm>
            <a:custGeom>
              <a:avLst/>
              <a:gdLst>
                <a:gd name="T0" fmla="*/ 82 w 197"/>
                <a:gd name="T1" fmla="*/ 186 h 200"/>
                <a:gd name="T2" fmla="*/ 93 w 197"/>
                <a:gd name="T3" fmla="*/ 181 h 200"/>
                <a:gd name="T4" fmla="*/ 119 w 197"/>
                <a:gd name="T5" fmla="*/ 189 h 200"/>
                <a:gd name="T6" fmla="*/ 138 w 197"/>
                <a:gd name="T7" fmla="*/ 188 h 200"/>
                <a:gd name="T8" fmla="*/ 158 w 197"/>
                <a:gd name="T9" fmla="*/ 200 h 200"/>
                <a:gd name="T10" fmla="*/ 178 w 197"/>
                <a:gd name="T11" fmla="*/ 193 h 200"/>
                <a:gd name="T12" fmla="*/ 172 w 197"/>
                <a:gd name="T13" fmla="*/ 167 h 200"/>
                <a:gd name="T14" fmla="*/ 176 w 197"/>
                <a:gd name="T15" fmla="*/ 152 h 200"/>
                <a:gd name="T16" fmla="*/ 184 w 197"/>
                <a:gd name="T17" fmla="*/ 70 h 200"/>
                <a:gd name="T18" fmla="*/ 195 w 197"/>
                <a:gd name="T19" fmla="*/ 36 h 200"/>
                <a:gd name="T20" fmla="*/ 197 w 197"/>
                <a:gd name="T21" fmla="*/ 0 h 200"/>
                <a:gd name="T22" fmla="*/ 187 w 197"/>
                <a:gd name="T23" fmla="*/ 0 h 200"/>
                <a:gd name="T24" fmla="*/ 151 w 197"/>
                <a:gd name="T25" fmla="*/ 19 h 200"/>
                <a:gd name="T26" fmla="*/ 136 w 197"/>
                <a:gd name="T27" fmla="*/ 17 h 200"/>
                <a:gd name="T28" fmla="*/ 125 w 197"/>
                <a:gd name="T29" fmla="*/ 10 h 200"/>
                <a:gd name="T30" fmla="*/ 111 w 197"/>
                <a:gd name="T31" fmla="*/ 36 h 200"/>
                <a:gd name="T32" fmla="*/ 104 w 197"/>
                <a:gd name="T33" fmla="*/ 36 h 200"/>
                <a:gd name="T34" fmla="*/ 82 w 197"/>
                <a:gd name="T35" fmla="*/ 53 h 200"/>
                <a:gd name="T36" fmla="*/ 65 w 197"/>
                <a:gd name="T37" fmla="*/ 45 h 200"/>
                <a:gd name="T38" fmla="*/ 57 w 197"/>
                <a:gd name="T39" fmla="*/ 61 h 200"/>
                <a:gd name="T40" fmla="*/ 37 w 197"/>
                <a:gd name="T41" fmla="*/ 61 h 200"/>
                <a:gd name="T42" fmla="*/ 36 w 197"/>
                <a:gd name="T43" fmla="*/ 79 h 200"/>
                <a:gd name="T44" fmla="*/ 25 w 197"/>
                <a:gd name="T45" fmla="*/ 93 h 200"/>
                <a:gd name="T46" fmla="*/ 9 w 197"/>
                <a:gd name="T47" fmla="*/ 95 h 200"/>
                <a:gd name="T48" fmla="*/ 0 w 197"/>
                <a:gd name="T49" fmla="*/ 95 h 200"/>
                <a:gd name="T50" fmla="*/ 0 w 197"/>
                <a:gd name="T51" fmla="*/ 102 h 200"/>
                <a:gd name="T52" fmla="*/ 82 w 197"/>
                <a:gd name="T53" fmla="*/ 18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7" h="200">
                  <a:moveTo>
                    <a:pt x="82" y="186"/>
                  </a:moveTo>
                  <a:lnTo>
                    <a:pt x="93" y="181"/>
                  </a:lnTo>
                  <a:lnTo>
                    <a:pt x="119" y="189"/>
                  </a:lnTo>
                  <a:lnTo>
                    <a:pt x="138" y="188"/>
                  </a:lnTo>
                  <a:lnTo>
                    <a:pt x="158" y="200"/>
                  </a:lnTo>
                  <a:lnTo>
                    <a:pt x="178" y="193"/>
                  </a:lnTo>
                  <a:lnTo>
                    <a:pt x="172" y="167"/>
                  </a:lnTo>
                  <a:lnTo>
                    <a:pt x="176" y="152"/>
                  </a:lnTo>
                  <a:lnTo>
                    <a:pt x="184" y="70"/>
                  </a:lnTo>
                  <a:lnTo>
                    <a:pt x="195" y="36"/>
                  </a:lnTo>
                  <a:lnTo>
                    <a:pt x="197" y="0"/>
                  </a:lnTo>
                  <a:lnTo>
                    <a:pt x="187" y="0"/>
                  </a:lnTo>
                  <a:lnTo>
                    <a:pt x="151" y="19"/>
                  </a:lnTo>
                  <a:lnTo>
                    <a:pt x="136" y="17"/>
                  </a:lnTo>
                  <a:lnTo>
                    <a:pt x="125" y="10"/>
                  </a:lnTo>
                  <a:lnTo>
                    <a:pt x="111" y="36"/>
                  </a:lnTo>
                  <a:lnTo>
                    <a:pt x="104" y="36"/>
                  </a:lnTo>
                  <a:lnTo>
                    <a:pt x="82" y="53"/>
                  </a:lnTo>
                  <a:lnTo>
                    <a:pt x="65" y="45"/>
                  </a:lnTo>
                  <a:lnTo>
                    <a:pt x="57" y="61"/>
                  </a:lnTo>
                  <a:lnTo>
                    <a:pt x="37" y="61"/>
                  </a:lnTo>
                  <a:lnTo>
                    <a:pt x="36" y="79"/>
                  </a:lnTo>
                  <a:lnTo>
                    <a:pt x="25" y="93"/>
                  </a:lnTo>
                  <a:lnTo>
                    <a:pt x="9" y="95"/>
                  </a:lnTo>
                  <a:lnTo>
                    <a:pt x="0" y="95"/>
                  </a:lnTo>
                  <a:lnTo>
                    <a:pt x="0" y="102"/>
                  </a:lnTo>
                  <a:lnTo>
                    <a:pt x="82" y="186"/>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69" name="Freeform 173">
              <a:extLst>
                <a:ext uri="{FF2B5EF4-FFF2-40B4-BE49-F238E27FC236}">
                  <a16:creationId xmlns:a16="http://schemas.microsoft.com/office/drawing/2014/main" id="{C29B9433-7246-E14C-8EE4-16DB35FA1B26}"/>
                </a:ext>
              </a:extLst>
            </p:cNvPr>
            <p:cNvSpPr>
              <a:spLocks noChangeAspect="1"/>
            </p:cNvSpPr>
            <p:nvPr/>
          </p:nvSpPr>
          <p:spPr bwMode="gray">
            <a:xfrm>
              <a:off x="2623414" y="3828763"/>
              <a:ext cx="138594" cy="84479"/>
            </a:xfrm>
            <a:custGeom>
              <a:avLst/>
              <a:gdLst>
                <a:gd name="T0" fmla="*/ 285 w 285"/>
                <a:gd name="T1" fmla="*/ 46 h 141"/>
                <a:gd name="T2" fmla="*/ 275 w 285"/>
                <a:gd name="T3" fmla="*/ 46 h 141"/>
                <a:gd name="T4" fmla="*/ 239 w 285"/>
                <a:gd name="T5" fmla="*/ 65 h 141"/>
                <a:gd name="T6" fmla="*/ 224 w 285"/>
                <a:gd name="T7" fmla="*/ 63 h 141"/>
                <a:gd name="T8" fmla="*/ 213 w 285"/>
                <a:gd name="T9" fmla="*/ 56 h 141"/>
                <a:gd name="T10" fmla="*/ 199 w 285"/>
                <a:gd name="T11" fmla="*/ 82 h 141"/>
                <a:gd name="T12" fmla="*/ 192 w 285"/>
                <a:gd name="T13" fmla="*/ 82 h 141"/>
                <a:gd name="T14" fmla="*/ 170 w 285"/>
                <a:gd name="T15" fmla="*/ 99 h 141"/>
                <a:gd name="T16" fmla="*/ 153 w 285"/>
                <a:gd name="T17" fmla="*/ 91 h 141"/>
                <a:gd name="T18" fmla="*/ 145 w 285"/>
                <a:gd name="T19" fmla="*/ 107 h 141"/>
                <a:gd name="T20" fmla="*/ 125 w 285"/>
                <a:gd name="T21" fmla="*/ 107 h 141"/>
                <a:gd name="T22" fmla="*/ 124 w 285"/>
                <a:gd name="T23" fmla="*/ 125 h 141"/>
                <a:gd name="T24" fmla="*/ 113 w 285"/>
                <a:gd name="T25" fmla="*/ 139 h 141"/>
                <a:gd name="T26" fmla="*/ 97 w 285"/>
                <a:gd name="T27" fmla="*/ 141 h 141"/>
                <a:gd name="T28" fmla="*/ 88 w 285"/>
                <a:gd name="T29" fmla="*/ 124 h 141"/>
                <a:gd name="T30" fmla="*/ 79 w 285"/>
                <a:gd name="T31" fmla="*/ 122 h 141"/>
                <a:gd name="T32" fmla="*/ 77 w 285"/>
                <a:gd name="T33" fmla="*/ 105 h 141"/>
                <a:gd name="T34" fmla="*/ 71 w 285"/>
                <a:gd name="T35" fmla="*/ 100 h 141"/>
                <a:gd name="T36" fmla="*/ 63 w 285"/>
                <a:gd name="T37" fmla="*/ 97 h 141"/>
                <a:gd name="T38" fmla="*/ 45 w 285"/>
                <a:gd name="T39" fmla="*/ 99 h 141"/>
                <a:gd name="T40" fmla="*/ 15 w 285"/>
                <a:gd name="T41" fmla="*/ 77 h 141"/>
                <a:gd name="T42" fmla="*/ 0 w 285"/>
                <a:gd name="T43" fmla="*/ 73 h 141"/>
                <a:gd name="T44" fmla="*/ 11 w 285"/>
                <a:gd name="T45" fmla="*/ 63 h 141"/>
                <a:gd name="T46" fmla="*/ 11 w 285"/>
                <a:gd name="T47" fmla="*/ 49 h 141"/>
                <a:gd name="T48" fmla="*/ 48 w 285"/>
                <a:gd name="T49" fmla="*/ 20 h 141"/>
                <a:gd name="T50" fmla="*/ 51 w 285"/>
                <a:gd name="T51" fmla="*/ 10 h 141"/>
                <a:gd name="T52" fmla="*/ 79 w 285"/>
                <a:gd name="T53" fmla="*/ 7 h 141"/>
                <a:gd name="T54" fmla="*/ 124 w 285"/>
                <a:gd name="T55" fmla="*/ 10 h 141"/>
                <a:gd name="T56" fmla="*/ 168 w 285"/>
                <a:gd name="T57" fmla="*/ 0 h 141"/>
                <a:gd name="T58" fmla="*/ 176 w 285"/>
                <a:gd name="T59" fmla="*/ 6 h 141"/>
                <a:gd name="T60" fmla="*/ 204 w 285"/>
                <a:gd name="T61" fmla="*/ 1 h 141"/>
                <a:gd name="T62" fmla="*/ 246 w 285"/>
                <a:gd name="T63" fmla="*/ 14 h 141"/>
                <a:gd name="T64" fmla="*/ 277 w 285"/>
                <a:gd name="T65" fmla="*/ 32 h 141"/>
                <a:gd name="T66" fmla="*/ 285 w 285"/>
                <a:gd name="T67" fmla="*/ 4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5" h="141">
                  <a:moveTo>
                    <a:pt x="285" y="46"/>
                  </a:moveTo>
                  <a:lnTo>
                    <a:pt x="275" y="46"/>
                  </a:lnTo>
                  <a:lnTo>
                    <a:pt x="239" y="65"/>
                  </a:lnTo>
                  <a:lnTo>
                    <a:pt x="224" y="63"/>
                  </a:lnTo>
                  <a:lnTo>
                    <a:pt x="213" y="56"/>
                  </a:lnTo>
                  <a:lnTo>
                    <a:pt x="199" y="82"/>
                  </a:lnTo>
                  <a:lnTo>
                    <a:pt x="192" y="82"/>
                  </a:lnTo>
                  <a:lnTo>
                    <a:pt x="170" y="99"/>
                  </a:lnTo>
                  <a:lnTo>
                    <a:pt x="153" y="91"/>
                  </a:lnTo>
                  <a:lnTo>
                    <a:pt x="145" y="107"/>
                  </a:lnTo>
                  <a:lnTo>
                    <a:pt x="125" y="107"/>
                  </a:lnTo>
                  <a:lnTo>
                    <a:pt x="124" y="125"/>
                  </a:lnTo>
                  <a:lnTo>
                    <a:pt x="113" y="139"/>
                  </a:lnTo>
                  <a:lnTo>
                    <a:pt x="97" y="141"/>
                  </a:lnTo>
                  <a:lnTo>
                    <a:pt x="88" y="124"/>
                  </a:lnTo>
                  <a:lnTo>
                    <a:pt x="79" y="122"/>
                  </a:lnTo>
                  <a:lnTo>
                    <a:pt x="77" y="105"/>
                  </a:lnTo>
                  <a:lnTo>
                    <a:pt x="71" y="100"/>
                  </a:lnTo>
                  <a:lnTo>
                    <a:pt x="63" y="97"/>
                  </a:lnTo>
                  <a:lnTo>
                    <a:pt x="45" y="99"/>
                  </a:lnTo>
                  <a:lnTo>
                    <a:pt x="15" y="77"/>
                  </a:lnTo>
                  <a:lnTo>
                    <a:pt x="0" y="73"/>
                  </a:lnTo>
                  <a:lnTo>
                    <a:pt x="11" y="63"/>
                  </a:lnTo>
                  <a:lnTo>
                    <a:pt x="11" y="49"/>
                  </a:lnTo>
                  <a:lnTo>
                    <a:pt x="48" y="20"/>
                  </a:lnTo>
                  <a:lnTo>
                    <a:pt x="51" y="10"/>
                  </a:lnTo>
                  <a:lnTo>
                    <a:pt x="79" y="7"/>
                  </a:lnTo>
                  <a:lnTo>
                    <a:pt x="124" y="10"/>
                  </a:lnTo>
                  <a:lnTo>
                    <a:pt x="168" y="0"/>
                  </a:lnTo>
                  <a:lnTo>
                    <a:pt x="176" y="6"/>
                  </a:lnTo>
                  <a:lnTo>
                    <a:pt x="204" y="1"/>
                  </a:lnTo>
                  <a:lnTo>
                    <a:pt x="246" y="14"/>
                  </a:lnTo>
                  <a:lnTo>
                    <a:pt x="277" y="32"/>
                  </a:lnTo>
                  <a:lnTo>
                    <a:pt x="285" y="46"/>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70" name="Freeform 174">
              <a:extLst>
                <a:ext uri="{FF2B5EF4-FFF2-40B4-BE49-F238E27FC236}">
                  <a16:creationId xmlns:a16="http://schemas.microsoft.com/office/drawing/2014/main" id="{5D616961-1A7C-8A46-A4EF-88B23E8F2C90}"/>
                </a:ext>
              </a:extLst>
            </p:cNvPr>
            <p:cNvSpPr>
              <a:spLocks noChangeAspect="1"/>
            </p:cNvSpPr>
            <p:nvPr/>
          </p:nvSpPr>
          <p:spPr bwMode="gray">
            <a:xfrm>
              <a:off x="2704659" y="3963163"/>
              <a:ext cx="73280" cy="78717"/>
            </a:xfrm>
            <a:custGeom>
              <a:avLst/>
              <a:gdLst>
                <a:gd name="T0" fmla="*/ 130 w 150"/>
                <a:gd name="T1" fmla="*/ 132 h 132"/>
                <a:gd name="T2" fmla="*/ 136 w 150"/>
                <a:gd name="T3" fmla="*/ 124 h 132"/>
                <a:gd name="T4" fmla="*/ 144 w 150"/>
                <a:gd name="T5" fmla="*/ 98 h 132"/>
                <a:gd name="T6" fmla="*/ 135 w 150"/>
                <a:gd name="T7" fmla="*/ 91 h 132"/>
                <a:gd name="T8" fmla="*/ 136 w 150"/>
                <a:gd name="T9" fmla="*/ 79 h 132"/>
                <a:gd name="T10" fmla="*/ 142 w 150"/>
                <a:gd name="T11" fmla="*/ 73 h 132"/>
                <a:gd name="T12" fmla="*/ 150 w 150"/>
                <a:gd name="T13" fmla="*/ 73 h 132"/>
                <a:gd name="T14" fmla="*/ 118 w 150"/>
                <a:gd name="T15" fmla="*/ 45 h 132"/>
                <a:gd name="T16" fmla="*/ 99 w 150"/>
                <a:gd name="T17" fmla="*/ 12 h 132"/>
                <a:gd name="T18" fmla="*/ 79 w 150"/>
                <a:gd name="T19" fmla="*/ 19 h 132"/>
                <a:gd name="T20" fmla="*/ 59 w 150"/>
                <a:gd name="T21" fmla="*/ 7 h 132"/>
                <a:gd name="T22" fmla="*/ 40 w 150"/>
                <a:gd name="T23" fmla="*/ 8 h 132"/>
                <a:gd name="T24" fmla="*/ 14 w 150"/>
                <a:gd name="T25" fmla="*/ 0 h 132"/>
                <a:gd name="T26" fmla="*/ 3 w 150"/>
                <a:gd name="T27" fmla="*/ 5 h 132"/>
                <a:gd name="T28" fmla="*/ 0 w 150"/>
                <a:gd name="T29" fmla="*/ 34 h 132"/>
                <a:gd name="T30" fmla="*/ 8 w 150"/>
                <a:gd name="T31" fmla="*/ 56 h 132"/>
                <a:gd name="T32" fmla="*/ 37 w 150"/>
                <a:gd name="T33" fmla="*/ 71 h 132"/>
                <a:gd name="T34" fmla="*/ 40 w 150"/>
                <a:gd name="T35" fmla="*/ 57 h 132"/>
                <a:gd name="T36" fmla="*/ 32 w 150"/>
                <a:gd name="T37" fmla="*/ 53 h 132"/>
                <a:gd name="T38" fmla="*/ 42 w 150"/>
                <a:gd name="T39" fmla="*/ 51 h 132"/>
                <a:gd name="T40" fmla="*/ 62 w 150"/>
                <a:gd name="T41" fmla="*/ 78 h 132"/>
                <a:gd name="T42" fmla="*/ 97 w 150"/>
                <a:gd name="T43" fmla="*/ 96 h 132"/>
                <a:gd name="T44" fmla="*/ 101 w 150"/>
                <a:gd name="T45" fmla="*/ 122 h 132"/>
                <a:gd name="T46" fmla="*/ 114 w 150"/>
                <a:gd name="T47" fmla="*/ 127 h 132"/>
                <a:gd name="T48" fmla="*/ 113 w 150"/>
                <a:gd name="T49" fmla="*/ 115 h 132"/>
                <a:gd name="T50" fmla="*/ 118 w 150"/>
                <a:gd name="T51" fmla="*/ 115 h 132"/>
                <a:gd name="T52" fmla="*/ 130 w 150"/>
                <a:gd name="T53"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0" h="132">
                  <a:moveTo>
                    <a:pt x="130" y="132"/>
                  </a:moveTo>
                  <a:lnTo>
                    <a:pt x="136" y="124"/>
                  </a:lnTo>
                  <a:lnTo>
                    <a:pt x="144" y="98"/>
                  </a:lnTo>
                  <a:lnTo>
                    <a:pt x="135" y="91"/>
                  </a:lnTo>
                  <a:lnTo>
                    <a:pt x="136" y="79"/>
                  </a:lnTo>
                  <a:lnTo>
                    <a:pt x="142" y="73"/>
                  </a:lnTo>
                  <a:lnTo>
                    <a:pt x="150" y="73"/>
                  </a:lnTo>
                  <a:lnTo>
                    <a:pt x="118" y="45"/>
                  </a:lnTo>
                  <a:lnTo>
                    <a:pt x="99" y="12"/>
                  </a:lnTo>
                  <a:lnTo>
                    <a:pt x="79" y="19"/>
                  </a:lnTo>
                  <a:lnTo>
                    <a:pt x="59" y="7"/>
                  </a:lnTo>
                  <a:lnTo>
                    <a:pt x="40" y="8"/>
                  </a:lnTo>
                  <a:lnTo>
                    <a:pt x="14" y="0"/>
                  </a:lnTo>
                  <a:lnTo>
                    <a:pt x="3" y="5"/>
                  </a:lnTo>
                  <a:lnTo>
                    <a:pt x="0" y="34"/>
                  </a:lnTo>
                  <a:lnTo>
                    <a:pt x="8" y="56"/>
                  </a:lnTo>
                  <a:lnTo>
                    <a:pt x="37" y="71"/>
                  </a:lnTo>
                  <a:lnTo>
                    <a:pt x="40" y="57"/>
                  </a:lnTo>
                  <a:lnTo>
                    <a:pt x="32" y="53"/>
                  </a:lnTo>
                  <a:lnTo>
                    <a:pt x="42" y="51"/>
                  </a:lnTo>
                  <a:lnTo>
                    <a:pt x="62" y="78"/>
                  </a:lnTo>
                  <a:lnTo>
                    <a:pt x="97" y="96"/>
                  </a:lnTo>
                  <a:lnTo>
                    <a:pt x="101" y="122"/>
                  </a:lnTo>
                  <a:lnTo>
                    <a:pt x="114" y="127"/>
                  </a:lnTo>
                  <a:lnTo>
                    <a:pt x="113" y="115"/>
                  </a:lnTo>
                  <a:lnTo>
                    <a:pt x="118" y="115"/>
                  </a:lnTo>
                  <a:lnTo>
                    <a:pt x="130" y="132"/>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71" name="Freeform 175">
              <a:extLst>
                <a:ext uri="{FF2B5EF4-FFF2-40B4-BE49-F238E27FC236}">
                  <a16:creationId xmlns:a16="http://schemas.microsoft.com/office/drawing/2014/main" id="{85974046-6F4F-6B4B-A7FF-45A0D43D5404}"/>
                </a:ext>
              </a:extLst>
            </p:cNvPr>
            <p:cNvSpPr>
              <a:spLocks noChangeAspect="1"/>
            </p:cNvSpPr>
            <p:nvPr/>
          </p:nvSpPr>
          <p:spPr bwMode="gray">
            <a:xfrm>
              <a:off x="2628194" y="3761564"/>
              <a:ext cx="25488" cy="71039"/>
            </a:xfrm>
            <a:custGeom>
              <a:avLst/>
              <a:gdLst>
                <a:gd name="T0" fmla="*/ 15 w 51"/>
                <a:gd name="T1" fmla="*/ 119 h 119"/>
                <a:gd name="T2" fmla="*/ 0 w 51"/>
                <a:gd name="T3" fmla="*/ 118 h 119"/>
                <a:gd name="T4" fmla="*/ 1 w 51"/>
                <a:gd name="T5" fmla="*/ 27 h 119"/>
                <a:gd name="T6" fmla="*/ 17 w 51"/>
                <a:gd name="T7" fmla="*/ 25 h 119"/>
                <a:gd name="T8" fmla="*/ 30 w 51"/>
                <a:gd name="T9" fmla="*/ 2 h 119"/>
                <a:gd name="T10" fmla="*/ 37 w 51"/>
                <a:gd name="T11" fmla="*/ 0 h 119"/>
                <a:gd name="T12" fmla="*/ 51 w 51"/>
                <a:gd name="T13" fmla="*/ 10 h 119"/>
                <a:gd name="T14" fmla="*/ 43 w 51"/>
                <a:gd name="T15" fmla="*/ 34 h 119"/>
                <a:gd name="T16" fmla="*/ 42 w 51"/>
                <a:gd name="T17" fmla="*/ 74 h 119"/>
                <a:gd name="T18" fmla="*/ 37 w 51"/>
                <a:gd name="T19" fmla="*/ 91 h 119"/>
                <a:gd name="T20" fmla="*/ 17 w 51"/>
                <a:gd name="T21" fmla="*/ 110 h 119"/>
                <a:gd name="T22" fmla="*/ 15 w 51"/>
                <a:gd name="T23"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119">
                  <a:moveTo>
                    <a:pt x="15" y="119"/>
                  </a:moveTo>
                  <a:lnTo>
                    <a:pt x="0" y="118"/>
                  </a:lnTo>
                  <a:lnTo>
                    <a:pt x="1" y="27"/>
                  </a:lnTo>
                  <a:lnTo>
                    <a:pt x="17" y="25"/>
                  </a:lnTo>
                  <a:lnTo>
                    <a:pt x="30" y="2"/>
                  </a:lnTo>
                  <a:lnTo>
                    <a:pt x="37" y="0"/>
                  </a:lnTo>
                  <a:lnTo>
                    <a:pt x="51" y="10"/>
                  </a:lnTo>
                  <a:lnTo>
                    <a:pt x="43" y="34"/>
                  </a:lnTo>
                  <a:lnTo>
                    <a:pt x="42" y="74"/>
                  </a:lnTo>
                  <a:lnTo>
                    <a:pt x="37" y="91"/>
                  </a:lnTo>
                  <a:lnTo>
                    <a:pt x="17" y="110"/>
                  </a:lnTo>
                  <a:lnTo>
                    <a:pt x="15" y="119"/>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72" name="Freeform 176">
              <a:extLst>
                <a:ext uri="{FF2B5EF4-FFF2-40B4-BE49-F238E27FC236}">
                  <a16:creationId xmlns:a16="http://schemas.microsoft.com/office/drawing/2014/main" id="{7B97C289-D2AE-964C-A345-DE091217A7F5}"/>
                </a:ext>
              </a:extLst>
            </p:cNvPr>
            <p:cNvSpPr>
              <a:spLocks noChangeAspect="1"/>
            </p:cNvSpPr>
            <p:nvPr/>
          </p:nvSpPr>
          <p:spPr bwMode="gray">
            <a:xfrm>
              <a:off x="2873523" y="3755803"/>
              <a:ext cx="46198" cy="24961"/>
            </a:xfrm>
            <a:custGeom>
              <a:avLst/>
              <a:gdLst>
                <a:gd name="T0" fmla="*/ 55 w 95"/>
                <a:gd name="T1" fmla="*/ 6 h 38"/>
                <a:gd name="T2" fmla="*/ 72 w 95"/>
                <a:gd name="T3" fmla="*/ 16 h 38"/>
                <a:gd name="T4" fmla="*/ 89 w 95"/>
                <a:gd name="T5" fmla="*/ 16 h 38"/>
                <a:gd name="T6" fmla="*/ 95 w 95"/>
                <a:gd name="T7" fmla="*/ 31 h 38"/>
                <a:gd name="T8" fmla="*/ 75 w 95"/>
                <a:gd name="T9" fmla="*/ 29 h 38"/>
                <a:gd name="T10" fmla="*/ 58 w 95"/>
                <a:gd name="T11" fmla="*/ 33 h 38"/>
                <a:gd name="T12" fmla="*/ 55 w 95"/>
                <a:gd name="T13" fmla="*/ 38 h 38"/>
                <a:gd name="T14" fmla="*/ 30 w 95"/>
                <a:gd name="T15" fmla="*/ 33 h 38"/>
                <a:gd name="T16" fmla="*/ 0 w 95"/>
                <a:gd name="T17" fmla="*/ 11 h 38"/>
                <a:gd name="T18" fmla="*/ 21 w 95"/>
                <a:gd name="T19" fmla="*/ 0 h 38"/>
                <a:gd name="T20" fmla="*/ 55 w 95"/>
                <a:gd name="T21" fmla="*/ 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38">
                  <a:moveTo>
                    <a:pt x="55" y="6"/>
                  </a:moveTo>
                  <a:lnTo>
                    <a:pt x="72" y="16"/>
                  </a:lnTo>
                  <a:lnTo>
                    <a:pt x="89" y="16"/>
                  </a:lnTo>
                  <a:lnTo>
                    <a:pt x="95" y="31"/>
                  </a:lnTo>
                  <a:lnTo>
                    <a:pt x="75" y="29"/>
                  </a:lnTo>
                  <a:lnTo>
                    <a:pt x="58" y="33"/>
                  </a:lnTo>
                  <a:lnTo>
                    <a:pt x="55" y="38"/>
                  </a:lnTo>
                  <a:lnTo>
                    <a:pt x="30" y="33"/>
                  </a:lnTo>
                  <a:lnTo>
                    <a:pt x="0" y="11"/>
                  </a:lnTo>
                  <a:lnTo>
                    <a:pt x="21" y="0"/>
                  </a:lnTo>
                  <a:lnTo>
                    <a:pt x="55" y="6"/>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73" name="Freeform 177">
              <a:extLst>
                <a:ext uri="{FF2B5EF4-FFF2-40B4-BE49-F238E27FC236}">
                  <a16:creationId xmlns:a16="http://schemas.microsoft.com/office/drawing/2014/main" id="{D52C254C-CBDB-7344-B8D9-AD5893698549}"/>
                </a:ext>
              </a:extLst>
            </p:cNvPr>
            <p:cNvSpPr>
              <a:spLocks noChangeAspect="1"/>
            </p:cNvSpPr>
            <p:nvPr/>
          </p:nvSpPr>
          <p:spPr bwMode="gray">
            <a:xfrm>
              <a:off x="3123631" y="3759643"/>
              <a:ext cx="33454" cy="15359"/>
            </a:xfrm>
            <a:custGeom>
              <a:avLst/>
              <a:gdLst>
                <a:gd name="T0" fmla="*/ 64 w 70"/>
                <a:gd name="T1" fmla="*/ 2 h 25"/>
                <a:gd name="T2" fmla="*/ 70 w 70"/>
                <a:gd name="T3" fmla="*/ 13 h 25"/>
                <a:gd name="T4" fmla="*/ 58 w 70"/>
                <a:gd name="T5" fmla="*/ 22 h 25"/>
                <a:gd name="T6" fmla="*/ 42 w 70"/>
                <a:gd name="T7" fmla="*/ 25 h 25"/>
                <a:gd name="T8" fmla="*/ 7 w 70"/>
                <a:gd name="T9" fmla="*/ 25 h 25"/>
                <a:gd name="T10" fmla="*/ 0 w 70"/>
                <a:gd name="T11" fmla="*/ 8 h 25"/>
                <a:gd name="T12" fmla="*/ 5 w 70"/>
                <a:gd name="T13" fmla="*/ 0 h 25"/>
                <a:gd name="T14" fmla="*/ 64 w 70"/>
                <a:gd name="T15" fmla="*/ 2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
                  <a:moveTo>
                    <a:pt x="64" y="2"/>
                  </a:moveTo>
                  <a:lnTo>
                    <a:pt x="70" y="13"/>
                  </a:lnTo>
                  <a:lnTo>
                    <a:pt x="58" y="22"/>
                  </a:lnTo>
                  <a:lnTo>
                    <a:pt x="42" y="25"/>
                  </a:lnTo>
                  <a:lnTo>
                    <a:pt x="7" y="25"/>
                  </a:lnTo>
                  <a:lnTo>
                    <a:pt x="0" y="8"/>
                  </a:lnTo>
                  <a:lnTo>
                    <a:pt x="5" y="0"/>
                  </a:lnTo>
                  <a:lnTo>
                    <a:pt x="64" y="2"/>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74" name="Freeform 178">
              <a:extLst>
                <a:ext uri="{FF2B5EF4-FFF2-40B4-BE49-F238E27FC236}">
                  <a16:creationId xmlns:a16="http://schemas.microsoft.com/office/drawing/2014/main" id="{7F0787D5-66CF-4D40-B754-12BD44C41E23}"/>
                </a:ext>
              </a:extLst>
            </p:cNvPr>
            <p:cNvSpPr>
              <a:spLocks noChangeAspect="1" noEditPoints="1"/>
            </p:cNvSpPr>
            <p:nvPr/>
          </p:nvSpPr>
          <p:spPr bwMode="gray">
            <a:xfrm>
              <a:off x="3381705" y="1432635"/>
              <a:ext cx="767846" cy="808310"/>
            </a:xfrm>
            <a:custGeom>
              <a:avLst/>
              <a:gdLst>
                <a:gd name="T0" fmla="*/ 27 w 1573"/>
                <a:gd name="T1" fmla="*/ 49 h 1377"/>
                <a:gd name="T2" fmla="*/ 1401 w 1573"/>
                <a:gd name="T3" fmla="*/ 168 h 1377"/>
                <a:gd name="T4" fmla="*/ 581 w 1573"/>
                <a:gd name="T5" fmla="*/ 1353 h 1377"/>
                <a:gd name="T6" fmla="*/ 544 w 1573"/>
                <a:gd name="T7" fmla="*/ 1364 h 1377"/>
                <a:gd name="T8" fmla="*/ 114 w 1573"/>
                <a:gd name="T9" fmla="*/ 348 h 1377"/>
                <a:gd name="T10" fmla="*/ 69 w 1573"/>
                <a:gd name="T11" fmla="*/ 270 h 1377"/>
                <a:gd name="T12" fmla="*/ 116 w 1573"/>
                <a:gd name="T13" fmla="*/ 0 h 1377"/>
                <a:gd name="T14" fmla="*/ 1542 w 1573"/>
                <a:gd name="T15" fmla="*/ 57 h 1377"/>
                <a:gd name="T16" fmla="*/ 1567 w 1573"/>
                <a:gd name="T17" fmla="*/ 176 h 1377"/>
                <a:gd name="T18" fmla="*/ 1489 w 1573"/>
                <a:gd name="T19" fmla="*/ 191 h 1377"/>
                <a:gd name="T20" fmla="*/ 1296 w 1573"/>
                <a:gd name="T21" fmla="*/ 3 h 1377"/>
                <a:gd name="T22" fmla="*/ 1390 w 1573"/>
                <a:gd name="T23" fmla="*/ 89 h 1377"/>
                <a:gd name="T24" fmla="*/ 1267 w 1573"/>
                <a:gd name="T25" fmla="*/ 126 h 1377"/>
                <a:gd name="T26" fmla="*/ 1347 w 1573"/>
                <a:gd name="T27" fmla="*/ 211 h 1377"/>
                <a:gd name="T28" fmla="*/ 1474 w 1573"/>
                <a:gd name="T29" fmla="*/ 244 h 1377"/>
                <a:gd name="T30" fmla="*/ 1478 w 1573"/>
                <a:gd name="T31" fmla="*/ 304 h 1377"/>
                <a:gd name="T32" fmla="*/ 1415 w 1573"/>
                <a:gd name="T33" fmla="*/ 377 h 1377"/>
                <a:gd name="T34" fmla="*/ 1288 w 1573"/>
                <a:gd name="T35" fmla="*/ 456 h 1377"/>
                <a:gd name="T36" fmla="*/ 1183 w 1573"/>
                <a:gd name="T37" fmla="*/ 493 h 1377"/>
                <a:gd name="T38" fmla="*/ 1140 w 1573"/>
                <a:gd name="T39" fmla="*/ 509 h 1377"/>
                <a:gd name="T40" fmla="*/ 1078 w 1573"/>
                <a:gd name="T41" fmla="*/ 445 h 1377"/>
                <a:gd name="T42" fmla="*/ 1087 w 1573"/>
                <a:gd name="T43" fmla="*/ 509 h 1377"/>
                <a:gd name="T44" fmla="*/ 1030 w 1573"/>
                <a:gd name="T45" fmla="*/ 590 h 1377"/>
                <a:gd name="T46" fmla="*/ 993 w 1573"/>
                <a:gd name="T47" fmla="*/ 678 h 1377"/>
                <a:gd name="T48" fmla="*/ 946 w 1573"/>
                <a:gd name="T49" fmla="*/ 719 h 1377"/>
                <a:gd name="T50" fmla="*/ 889 w 1573"/>
                <a:gd name="T51" fmla="*/ 744 h 1377"/>
                <a:gd name="T52" fmla="*/ 857 w 1573"/>
                <a:gd name="T53" fmla="*/ 711 h 1377"/>
                <a:gd name="T54" fmla="*/ 818 w 1573"/>
                <a:gd name="T55" fmla="*/ 744 h 1377"/>
                <a:gd name="T56" fmla="*/ 787 w 1573"/>
                <a:gd name="T57" fmla="*/ 793 h 1377"/>
                <a:gd name="T58" fmla="*/ 728 w 1573"/>
                <a:gd name="T59" fmla="*/ 812 h 1377"/>
                <a:gd name="T60" fmla="*/ 697 w 1573"/>
                <a:gd name="T61" fmla="*/ 917 h 1377"/>
                <a:gd name="T62" fmla="*/ 702 w 1573"/>
                <a:gd name="T63" fmla="*/ 991 h 1377"/>
                <a:gd name="T64" fmla="*/ 669 w 1573"/>
                <a:gd name="T65" fmla="*/ 1037 h 1377"/>
                <a:gd name="T66" fmla="*/ 630 w 1573"/>
                <a:gd name="T67" fmla="*/ 1053 h 1377"/>
                <a:gd name="T68" fmla="*/ 613 w 1573"/>
                <a:gd name="T69" fmla="*/ 1109 h 1377"/>
                <a:gd name="T70" fmla="*/ 542 w 1573"/>
                <a:gd name="T71" fmla="*/ 1345 h 1377"/>
                <a:gd name="T72" fmla="*/ 485 w 1573"/>
                <a:gd name="T73" fmla="*/ 1298 h 1377"/>
                <a:gd name="T74" fmla="*/ 445 w 1573"/>
                <a:gd name="T75" fmla="*/ 1282 h 1377"/>
                <a:gd name="T76" fmla="*/ 335 w 1573"/>
                <a:gd name="T77" fmla="*/ 1245 h 1377"/>
                <a:gd name="T78" fmla="*/ 295 w 1573"/>
                <a:gd name="T79" fmla="*/ 1177 h 1377"/>
                <a:gd name="T80" fmla="*/ 273 w 1573"/>
                <a:gd name="T81" fmla="*/ 1142 h 1377"/>
                <a:gd name="T82" fmla="*/ 217 w 1573"/>
                <a:gd name="T83" fmla="*/ 1042 h 1377"/>
                <a:gd name="T84" fmla="*/ 221 w 1573"/>
                <a:gd name="T85" fmla="*/ 942 h 1377"/>
                <a:gd name="T86" fmla="*/ 233 w 1573"/>
                <a:gd name="T87" fmla="*/ 880 h 1377"/>
                <a:gd name="T88" fmla="*/ 171 w 1573"/>
                <a:gd name="T89" fmla="*/ 881 h 1377"/>
                <a:gd name="T90" fmla="*/ 165 w 1573"/>
                <a:gd name="T91" fmla="*/ 813 h 1377"/>
                <a:gd name="T92" fmla="*/ 131 w 1573"/>
                <a:gd name="T93" fmla="*/ 728 h 1377"/>
                <a:gd name="T94" fmla="*/ 125 w 1573"/>
                <a:gd name="T95" fmla="*/ 663 h 1377"/>
                <a:gd name="T96" fmla="*/ 94 w 1573"/>
                <a:gd name="T97" fmla="*/ 583 h 1377"/>
                <a:gd name="T98" fmla="*/ 222 w 1573"/>
                <a:gd name="T99" fmla="*/ 502 h 1377"/>
                <a:gd name="T100" fmla="*/ 136 w 1573"/>
                <a:gd name="T101" fmla="*/ 485 h 1377"/>
                <a:gd name="T102" fmla="*/ 212 w 1573"/>
                <a:gd name="T103" fmla="*/ 399 h 1377"/>
                <a:gd name="T104" fmla="*/ 221 w 1573"/>
                <a:gd name="T105" fmla="*/ 349 h 1377"/>
                <a:gd name="T106" fmla="*/ 246 w 1573"/>
                <a:gd name="T107" fmla="*/ 269 h 1377"/>
                <a:gd name="T108" fmla="*/ 136 w 1573"/>
                <a:gd name="T109" fmla="*/ 154 h 1377"/>
                <a:gd name="T110" fmla="*/ 219 w 1573"/>
                <a:gd name="T111" fmla="*/ 174 h 1377"/>
                <a:gd name="T112" fmla="*/ 199 w 1573"/>
                <a:gd name="T113" fmla="*/ 109 h 1377"/>
                <a:gd name="T114" fmla="*/ 128 w 1573"/>
                <a:gd name="T115" fmla="*/ 61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73" h="1377">
                  <a:moveTo>
                    <a:pt x="13" y="0"/>
                  </a:moveTo>
                  <a:lnTo>
                    <a:pt x="101" y="0"/>
                  </a:lnTo>
                  <a:lnTo>
                    <a:pt x="72" y="30"/>
                  </a:lnTo>
                  <a:lnTo>
                    <a:pt x="81" y="40"/>
                  </a:lnTo>
                  <a:lnTo>
                    <a:pt x="81" y="53"/>
                  </a:lnTo>
                  <a:lnTo>
                    <a:pt x="56" y="67"/>
                  </a:lnTo>
                  <a:lnTo>
                    <a:pt x="27" y="49"/>
                  </a:lnTo>
                  <a:lnTo>
                    <a:pt x="18" y="60"/>
                  </a:lnTo>
                  <a:lnTo>
                    <a:pt x="5" y="35"/>
                  </a:lnTo>
                  <a:lnTo>
                    <a:pt x="0" y="21"/>
                  </a:lnTo>
                  <a:lnTo>
                    <a:pt x="9" y="7"/>
                  </a:lnTo>
                  <a:lnTo>
                    <a:pt x="13" y="0"/>
                  </a:lnTo>
                  <a:close/>
                  <a:moveTo>
                    <a:pt x="1398" y="138"/>
                  </a:moveTo>
                  <a:lnTo>
                    <a:pt x="1401" y="168"/>
                  </a:lnTo>
                  <a:lnTo>
                    <a:pt x="1390" y="177"/>
                  </a:lnTo>
                  <a:lnTo>
                    <a:pt x="1277" y="196"/>
                  </a:lnTo>
                  <a:lnTo>
                    <a:pt x="1280" y="170"/>
                  </a:lnTo>
                  <a:lnTo>
                    <a:pt x="1319" y="140"/>
                  </a:lnTo>
                  <a:lnTo>
                    <a:pt x="1376" y="112"/>
                  </a:lnTo>
                  <a:lnTo>
                    <a:pt x="1398" y="138"/>
                  </a:lnTo>
                  <a:close/>
                  <a:moveTo>
                    <a:pt x="581" y="1353"/>
                  </a:moveTo>
                  <a:lnTo>
                    <a:pt x="544" y="1352"/>
                  </a:lnTo>
                  <a:lnTo>
                    <a:pt x="558" y="1362"/>
                  </a:lnTo>
                  <a:lnTo>
                    <a:pt x="581" y="1353"/>
                  </a:lnTo>
                  <a:close/>
                  <a:moveTo>
                    <a:pt x="544" y="1364"/>
                  </a:moveTo>
                  <a:lnTo>
                    <a:pt x="542" y="1377"/>
                  </a:lnTo>
                  <a:lnTo>
                    <a:pt x="559" y="1369"/>
                  </a:lnTo>
                  <a:lnTo>
                    <a:pt x="544" y="1364"/>
                  </a:lnTo>
                  <a:close/>
                  <a:moveTo>
                    <a:pt x="64" y="213"/>
                  </a:moveTo>
                  <a:lnTo>
                    <a:pt x="119" y="233"/>
                  </a:lnTo>
                  <a:lnTo>
                    <a:pt x="148" y="278"/>
                  </a:lnTo>
                  <a:lnTo>
                    <a:pt x="178" y="294"/>
                  </a:lnTo>
                  <a:lnTo>
                    <a:pt x="178" y="309"/>
                  </a:lnTo>
                  <a:lnTo>
                    <a:pt x="162" y="331"/>
                  </a:lnTo>
                  <a:lnTo>
                    <a:pt x="114" y="348"/>
                  </a:lnTo>
                  <a:lnTo>
                    <a:pt x="75" y="338"/>
                  </a:lnTo>
                  <a:lnTo>
                    <a:pt x="105" y="323"/>
                  </a:lnTo>
                  <a:lnTo>
                    <a:pt x="43" y="311"/>
                  </a:lnTo>
                  <a:lnTo>
                    <a:pt x="41" y="299"/>
                  </a:lnTo>
                  <a:lnTo>
                    <a:pt x="64" y="301"/>
                  </a:lnTo>
                  <a:lnTo>
                    <a:pt x="41" y="278"/>
                  </a:lnTo>
                  <a:lnTo>
                    <a:pt x="69" y="270"/>
                  </a:lnTo>
                  <a:lnTo>
                    <a:pt x="46" y="239"/>
                  </a:lnTo>
                  <a:lnTo>
                    <a:pt x="46" y="224"/>
                  </a:lnTo>
                  <a:lnTo>
                    <a:pt x="64" y="213"/>
                  </a:lnTo>
                  <a:close/>
                  <a:moveTo>
                    <a:pt x="116" y="0"/>
                  </a:moveTo>
                  <a:lnTo>
                    <a:pt x="120" y="0"/>
                  </a:lnTo>
                  <a:lnTo>
                    <a:pt x="117" y="3"/>
                  </a:lnTo>
                  <a:lnTo>
                    <a:pt x="116" y="0"/>
                  </a:lnTo>
                  <a:close/>
                  <a:moveTo>
                    <a:pt x="128" y="0"/>
                  </a:moveTo>
                  <a:lnTo>
                    <a:pt x="1531" y="0"/>
                  </a:lnTo>
                  <a:lnTo>
                    <a:pt x="1533" y="7"/>
                  </a:lnTo>
                  <a:lnTo>
                    <a:pt x="1553" y="16"/>
                  </a:lnTo>
                  <a:lnTo>
                    <a:pt x="1529" y="55"/>
                  </a:lnTo>
                  <a:lnTo>
                    <a:pt x="1529" y="80"/>
                  </a:lnTo>
                  <a:lnTo>
                    <a:pt x="1542" y="57"/>
                  </a:lnTo>
                  <a:lnTo>
                    <a:pt x="1567" y="50"/>
                  </a:lnTo>
                  <a:lnTo>
                    <a:pt x="1562" y="104"/>
                  </a:lnTo>
                  <a:lnTo>
                    <a:pt x="1551" y="111"/>
                  </a:lnTo>
                  <a:lnTo>
                    <a:pt x="1565" y="120"/>
                  </a:lnTo>
                  <a:lnTo>
                    <a:pt x="1567" y="140"/>
                  </a:lnTo>
                  <a:lnTo>
                    <a:pt x="1562" y="145"/>
                  </a:lnTo>
                  <a:lnTo>
                    <a:pt x="1567" y="176"/>
                  </a:lnTo>
                  <a:lnTo>
                    <a:pt x="1573" y="179"/>
                  </a:lnTo>
                  <a:lnTo>
                    <a:pt x="1573" y="194"/>
                  </a:lnTo>
                  <a:lnTo>
                    <a:pt x="1542" y="191"/>
                  </a:lnTo>
                  <a:lnTo>
                    <a:pt x="1534" y="146"/>
                  </a:lnTo>
                  <a:lnTo>
                    <a:pt x="1529" y="145"/>
                  </a:lnTo>
                  <a:lnTo>
                    <a:pt x="1526" y="196"/>
                  </a:lnTo>
                  <a:lnTo>
                    <a:pt x="1489" y="191"/>
                  </a:lnTo>
                  <a:lnTo>
                    <a:pt x="1460" y="155"/>
                  </a:lnTo>
                  <a:lnTo>
                    <a:pt x="1452" y="109"/>
                  </a:lnTo>
                  <a:lnTo>
                    <a:pt x="1429" y="72"/>
                  </a:lnTo>
                  <a:lnTo>
                    <a:pt x="1412" y="74"/>
                  </a:lnTo>
                  <a:lnTo>
                    <a:pt x="1353" y="32"/>
                  </a:lnTo>
                  <a:lnTo>
                    <a:pt x="1330" y="37"/>
                  </a:lnTo>
                  <a:lnTo>
                    <a:pt x="1296" y="3"/>
                  </a:lnTo>
                  <a:lnTo>
                    <a:pt x="1301" y="26"/>
                  </a:lnTo>
                  <a:lnTo>
                    <a:pt x="1287" y="30"/>
                  </a:lnTo>
                  <a:lnTo>
                    <a:pt x="1313" y="41"/>
                  </a:lnTo>
                  <a:lnTo>
                    <a:pt x="1311" y="52"/>
                  </a:lnTo>
                  <a:lnTo>
                    <a:pt x="1376" y="52"/>
                  </a:lnTo>
                  <a:lnTo>
                    <a:pt x="1389" y="67"/>
                  </a:lnTo>
                  <a:lnTo>
                    <a:pt x="1390" y="89"/>
                  </a:lnTo>
                  <a:lnTo>
                    <a:pt x="1376" y="80"/>
                  </a:lnTo>
                  <a:lnTo>
                    <a:pt x="1384" y="94"/>
                  </a:lnTo>
                  <a:lnTo>
                    <a:pt x="1341" y="126"/>
                  </a:lnTo>
                  <a:lnTo>
                    <a:pt x="1305" y="126"/>
                  </a:lnTo>
                  <a:lnTo>
                    <a:pt x="1293" y="112"/>
                  </a:lnTo>
                  <a:lnTo>
                    <a:pt x="1291" y="129"/>
                  </a:lnTo>
                  <a:lnTo>
                    <a:pt x="1267" y="126"/>
                  </a:lnTo>
                  <a:lnTo>
                    <a:pt x="1265" y="133"/>
                  </a:lnTo>
                  <a:lnTo>
                    <a:pt x="1276" y="148"/>
                  </a:lnTo>
                  <a:lnTo>
                    <a:pt x="1268" y="170"/>
                  </a:lnTo>
                  <a:lnTo>
                    <a:pt x="1234" y="194"/>
                  </a:lnTo>
                  <a:lnTo>
                    <a:pt x="1274" y="208"/>
                  </a:lnTo>
                  <a:lnTo>
                    <a:pt x="1339" y="201"/>
                  </a:lnTo>
                  <a:lnTo>
                    <a:pt x="1347" y="211"/>
                  </a:lnTo>
                  <a:lnTo>
                    <a:pt x="1250" y="252"/>
                  </a:lnTo>
                  <a:lnTo>
                    <a:pt x="1280" y="255"/>
                  </a:lnTo>
                  <a:lnTo>
                    <a:pt x="1310" y="256"/>
                  </a:lnTo>
                  <a:lnTo>
                    <a:pt x="1318" y="235"/>
                  </a:lnTo>
                  <a:lnTo>
                    <a:pt x="1353" y="233"/>
                  </a:lnTo>
                  <a:lnTo>
                    <a:pt x="1398" y="205"/>
                  </a:lnTo>
                  <a:lnTo>
                    <a:pt x="1474" y="244"/>
                  </a:lnTo>
                  <a:lnTo>
                    <a:pt x="1550" y="238"/>
                  </a:lnTo>
                  <a:lnTo>
                    <a:pt x="1537" y="265"/>
                  </a:lnTo>
                  <a:lnTo>
                    <a:pt x="1504" y="267"/>
                  </a:lnTo>
                  <a:lnTo>
                    <a:pt x="1499" y="275"/>
                  </a:lnTo>
                  <a:lnTo>
                    <a:pt x="1495" y="277"/>
                  </a:lnTo>
                  <a:lnTo>
                    <a:pt x="1469" y="294"/>
                  </a:lnTo>
                  <a:lnTo>
                    <a:pt x="1478" y="304"/>
                  </a:lnTo>
                  <a:lnTo>
                    <a:pt x="1474" y="320"/>
                  </a:lnTo>
                  <a:lnTo>
                    <a:pt x="1446" y="316"/>
                  </a:lnTo>
                  <a:lnTo>
                    <a:pt x="1457" y="335"/>
                  </a:lnTo>
                  <a:lnTo>
                    <a:pt x="1444" y="329"/>
                  </a:lnTo>
                  <a:lnTo>
                    <a:pt x="1424" y="360"/>
                  </a:lnTo>
                  <a:lnTo>
                    <a:pt x="1415" y="363"/>
                  </a:lnTo>
                  <a:lnTo>
                    <a:pt x="1415" y="377"/>
                  </a:lnTo>
                  <a:lnTo>
                    <a:pt x="1387" y="377"/>
                  </a:lnTo>
                  <a:lnTo>
                    <a:pt x="1395" y="394"/>
                  </a:lnTo>
                  <a:lnTo>
                    <a:pt x="1358" y="417"/>
                  </a:lnTo>
                  <a:lnTo>
                    <a:pt x="1356" y="428"/>
                  </a:lnTo>
                  <a:lnTo>
                    <a:pt x="1330" y="429"/>
                  </a:lnTo>
                  <a:lnTo>
                    <a:pt x="1324" y="443"/>
                  </a:lnTo>
                  <a:lnTo>
                    <a:pt x="1288" y="456"/>
                  </a:lnTo>
                  <a:lnTo>
                    <a:pt x="1279" y="445"/>
                  </a:lnTo>
                  <a:lnTo>
                    <a:pt x="1211" y="484"/>
                  </a:lnTo>
                  <a:lnTo>
                    <a:pt x="1191" y="463"/>
                  </a:lnTo>
                  <a:lnTo>
                    <a:pt x="1184" y="473"/>
                  </a:lnTo>
                  <a:lnTo>
                    <a:pt x="1187" y="485"/>
                  </a:lnTo>
                  <a:lnTo>
                    <a:pt x="1175" y="485"/>
                  </a:lnTo>
                  <a:lnTo>
                    <a:pt x="1183" y="493"/>
                  </a:lnTo>
                  <a:lnTo>
                    <a:pt x="1175" y="502"/>
                  </a:lnTo>
                  <a:lnTo>
                    <a:pt x="1169" y="485"/>
                  </a:lnTo>
                  <a:lnTo>
                    <a:pt x="1152" y="480"/>
                  </a:lnTo>
                  <a:lnTo>
                    <a:pt x="1163" y="504"/>
                  </a:lnTo>
                  <a:lnTo>
                    <a:pt x="1138" y="490"/>
                  </a:lnTo>
                  <a:lnTo>
                    <a:pt x="1133" y="499"/>
                  </a:lnTo>
                  <a:lnTo>
                    <a:pt x="1140" y="509"/>
                  </a:lnTo>
                  <a:lnTo>
                    <a:pt x="1111" y="509"/>
                  </a:lnTo>
                  <a:lnTo>
                    <a:pt x="1101" y="487"/>
                  </a:lnTo>
                  <a:lnTo>
                    <a:pt x="1109" y="484"/>
                  </a:lnTo>
                  <a:lnTo>
                    <a:pt x="1093" y="479"/>
                  </a:lnTo>
                  <a:lnTo>
                    <a:pt x="1084" y="453"/>
                  </a:lnTo>
                  <a:lnTo>
                    <a:pt x="1079" y="463"/>
                  </a:lnTo>
                  <a:lnTo>
                    <a:pt x="1078" y="445"/>
                  </a:lnTo>
                  <a:lnTo>
                    <a:pt x="1069" y="436"/>
                  </a:lnTo>
                  <a:lnTo>
                    <a:pt x="1070" y="446"/>
                  </a:lnTo>
                  <a:lnTo>
                    <a:pt x="1061" y="448"/>
                  </a:lnTo>
                  <a:lnTo>
                    <a:pt x="1079" y="485"/>
                  </a:lnTo>
                  <a:lnTo>
                    <a:pt x="1073" y="488"/>
                  </a:lnTo>
                  <a:lnTo>
                    <a:pt x="1094" y="505"/>
                  </a:lnTo>
                  <a:lnTo>
                    <a:pt x="1087" y="509"/>
                  </a:lnTo>
                  <a:lnTo>
                    <a:pt x="1084" y="529"/>
                  </a:lnTo>
                  <a:lnTo>
                    <a:pt x="1072" y="524"/>
                  </a:lnTo>
                  <a:lnTo>
                    <a:pt x="1055" y="546"/>
                  </a:lnTo>
                  <a:lnTo>
                    <a:pt x="1038" y="550"/>
                  </a:lnTo>
                  <a:lnTo>
                    <a:pt x="1038" y="566"/>
                  </a:lnTo>
                  <a:lnTo>
                    <a:pt x="1031" y="569"/>
                  </a:lnTo>
                  <a:lnTo>
                    <a:pt x="1030" y="590"/>
                  </a:lnTo>
                  <a:lnTo>
                    <a:pt x="1022" y="590"/>
                  </a:lnTo>
                  <a:lnTo>
                    <a:pt x="1027" y="604"/>
                  </a:lnTo>
                  <a:lnTo>
                    <a:pt x="1022" y="626"/>
                  </a:lnTo>
                  <a:lnTo>
                    <a:pt x="1002" y="641"/>
                  </a:lnTo>
                  <a:lnTo>
                    <a:pt x="1006" y="656"/>
                  </a:lnTo>
                  <a:lnTo>
                    <a:pt x="999" y="651"/>
                  </a:lnTo>
                  <a:lnTo>
                    <a:pt x="993" y="678"/>
                  </a:lnTo>
                  <a:lnTo>
                    <a:pt x="984" y="663"/>
                  </a:lnTo>
                  <a:lnTo>
                    <a:pt x="969" y="708"/>
                  </a:lnTo>
                  <a:lnTo>
                    <a:pt x="955" y="710"/>
                  </a:lnTo>
                  <a:lnTo>
                    <a:pt x="952" y="699"/>
                  </a:lnTo>
                  <a:lnTo>
                    <a:pt x="946" y="710"/>
                  </a:lnTo>
                  <a:lnTo>
                    <a:pt x="952" y="720"/>
                  </a:lnTo>
                  <a:lnTo>
                    <a:pt x="946" y="719"/>
                  </a:lnTo>
                  <a:lnTo>
                    <a:pt x="918" y="700"/>
                  </a:lnTo>
                  <a:lnTo>
                    <a:pt x="917" y="708"/>
                  </a:lnTo>
                  <a:lnTo>
                    <a:pt x="926" y="724"/>
                  </a:lnTo>
                  <a:lnTo>
                    <a:pt x="909" y="759"/>
                  </a:lnTo>
                  <a:lnTo>
                    <a:pt x="892" y="756"/>
                  </a:lnTo>
                  <a:lnTo>
                    <a:pt x="894" y="744"/>
                  </a:lnTo>
                  <a:lnTo>
                    <a:pt x="889" y="744"/>
                  </a:lnTo>
                  <a:lnTo>
                    <a:pt x="881" y="768"/>
                  </a:lnTo>
                  <a:lnTo>
                    <a:pt x="855" y="737"/>
                  </a:lnTo>
                  <a:lnTo>
                    <a:pt x="853" y="759"/>
                  </a:lnTo>
                  <a:lnTo>
                    <a:pt x="847" y="754"/>
                  </a:lnTo>
                  <a:lnTo>
                    <a:pt x="852" y="770"/>
                  </a:lnTo>
                  <a:lnTo>
                    <a:pt x="828" y="747"/>
                  </a:lnTo>
                  <a:lnTo>
                    <a:pt x="857" y="711"/>
                  </a:lnTo>
                  <a:lnTo>
                    <a:pt x="835" y="716"/>
                  </a:lnTo>
                  <a:lnTo>
                    <a:pt x="827" y="702"/>
                  </a:lnTo>
                  <a:lnTo>
                    <a:pt x="823" y="711"/>
                  </a:lnTo>
                  <a:lnTo>
                    <a:pt x="815" y="707"/>
                  </a:lnTo>
                  <a:lnTo>
                    <a:pt x="828" y="722"/>
                  </a:lnTo>
                  <a:lnTo>
                    <a:pt x="810" y="737"/>
                  </a:lnTo>
                  <a:lnTo>
                    <a:pt x="818" y="744"/>
                  </a:lnTo>
                  <a:lnTo>
                    <a:pt x="816" y="754"/>
                  </a:lnTo>
                  <a:lnTo>
                    <a:pt x="798" y="750"/>
                  </a:lnTo>
                  <a:lnTo>
                    <a:pt x="796" y="762"/>
                  </a:lnTo>
                  <a:lnTo>
                    <a:pt x="810" y="771"/>
                  </a:lnTo>
                  <a:lnTo>
                    <a:pt x="804" y="790"/>
                  </a:lnTo>
                  <a:lnTo>
                    <a:pt x="782" y="787"/>
                  </a:lnTo>
                  <a:lnTo>
                    <a:pt x="787" y="793"/>
                  </a:lnTo>
                  <a:lnTo>
                    <a:pt x="767" y="796"/>
                  </a:lnTo>
                  <a:lnTo>
                    <a:pt x="757" y="785"/>
                  </a:lnTo>
                  <a:lnTo>
                    <a:pt x="754" y="798"/>
                  </a:lnTo>
                  <a:lnTo>
                    <a:pt x="739" y="787"/>
                  </a:lnTo>
                  <a:lnTo>
                    <a:pt x="731" y="804"/>
                  </a:lnTo>
                  <a:lnTo>
                    <a:pt x="716" y="805"/>
                  </a:lnTo>
                  <a:lnTo>
                    <a:pt x="728" y="812"/>
                  </a:lnTo>
                  <a:lnTo>
                    <a:pt x="733" y="830"/>
                  </a:lnTo>
                  <a:lnTo>
                    <a:pt x="719" y="858"/>
                  </a:lnTo>
                  <a:lnTo>
                    <a:pt x="674" y="849"/>
                  </a:lnTo>
                  <a:lnTo>
                    <a:pt x="668" y="869"/>
                  </a:lnTo>
                  <a:lnTo>
                    <a:pt x="676" y="866"/>
                  </a:lnTo>
                  <a:lnTo>
                    <a:pt x="694" y="898"/>
                  </a:lnTo>
                  <a:lnTo>
                    <a:pt x="697" y="917"/>
                  </a:lnTo>
                  <a:lnTo>
                    <a:pt x="711" y="925"/>
                  </a:lnTo>
                  <a:lnTo>
                    <a:pt x="657" y="934"/>
                  </a:lnTo>
                  <a:lnTo>
                    <a:pt x="660" y="945"/>
                  </a:lnTo>
                  <a:lnTo>
                    <a:pt x="693" y="949"/>
                  </a:lnTo>
                  <a:lnTo>
                    <a:pt x="697" y="957"/>
                  </a:lnTo>
                  <a:lnTo>
                    <a:pt x="691" y="966"/>
                  </a:lnTo>
                  <a:lnTo>
                    <a:pt x="702" y="991"/>
                  </a:lnTo>
                  <a:lnTo>
                    <a:pt x="662" y="986"/>
                  </a:lnTo>
                  <a:lnTo>
                    <a:pt x="689" y="998"/>
                  </a:lnTo>
                  <a:lnTo>
                    <a:pt x="693" y="1013"/>
                  </a:lnTo>
                  <a:lnTo>
                    <a:pt x="685" y="1027"/>
                  </a:lnTo>
                  <a:lnTo>
                    <a:pt x="672" y="1025"/>
                  </a:lnTo>
                  <a:lnTo>
                    <a:pt x="677" y="1037"/>
                  </a:lnTo>
                  <a:lnTo>
                    <a:pt x="669" y="1037"/>
                  </a:lnTo>
                  <a:lnTo>
                    <a:pt x="671" y="1045"/>
                  </a:lnTo>
                  <a:lnTo>
                    <a:pt x="654" y="1037"/>
                  </a:lnTo>
                  <a:lnTo>
                    <a:pt x="657" y="1045"/>
                  </a:lnTo>
                  <a:lnTo>
                    <a:pt x="651" y="1049"/>
                  </a:lnTo>
                  <a:lnTo>
                    <a:pt x="652" y="1056"/>
                  </a:lnTo>
                  <a:lnTo>
                    <a:pt x="664" y="1064"/>
                  </a:lnTo>
                  <a:lnTo>
                    <a:pt x="630" y="1053"/>
                  </a:lnTo>
                  <a:lnTo>
                    <a:pt x="651" y="1070"/>
                  </a:lnTo>
                  <a:lnTo>
                    <a:pt x="659" y="1069"/>
                  </a:lnTo>
                  <a:lnTo>
                    <a:pt x="659" y="1078"/>
                  </a:lnTo>
                  <a:lnTo>
                    <a:pt x="649" y="1084"/>
                  </a:lnTo>
                  <a:lnTo>
                    <a:pt x="615" y="1087"/>
                  </a:lnTo>
                  <a:lnTo>
                    <a:pt x="598" y="1103"/>
                  </a:lnTo>
                  <a:lnTo>
                    <a:pt x="613" y="1109"/>
                  </a:lnTo>
                  <a:lnTo>
                    <a:pt x="621" y="1129"/>
                  </a:lnTo>
                  <a:lnTo>
                    <a:pt x="630" y="1189"/>
                  </a:lnTo>
                  <a:lnTo>
                    <a:pt x="603" y="1239"/>
                  </a:lnTo>
                  <a:lnTo>
                    <a:pt x="596" y="1304"/>
                  </a:lnTo>
                  <a:lnTo>
                    <a:pt x="579" y="1319"/>
                  </a:lnTo>
                  <a:lnTo>
                    <a:pt x="586" y="1347"/>
                  </a:lnTo>
                  <a:lnTo>
                    <a:pt x="542" y="1345"/>
                  </a:lnTo>
                  <a:lnTo>
                    <a:pt x="541" y="1333"/>
                  </a:lnTo>
                  <a:lnTo>
                    <a:pt x="513" y="1355"/>
                  </a:lnTo>
                  <a:lnTo>
                    <a:pt x="490" y="1341"/>
                  </a:lnTo>
                  <a:lnTo>
                    <a:pt x="501" y="1307"/>
                  </a:lnTo>
                  <a:lnTo>
                    <a:pt x="487" y="1318"/>
                  </a:lnTo>
                  <a:lnTo>
                    <a:pt x="488" y="1298"/>
                  </a:lnTo>
                  <a:lnTo>
                    <a:pt x="485" y="1298"/>
                  </a:lnTo>
                  <a:lnTo>
                    <a:pt x="473" y="1315"/>
                  </a:lnTo>
                  <a:lnTo>
                    <a:pt x="462" y="1294"/>
                  </a:lnTo>
                  <a:lnTo>
                    <a:pt x="478" y="1281"/>
                  </a:lnTo>
                  <a:lnTo>
                    <a:pt x="478" y="1268"/>
                  </a:lnTo>
                  <a:lnTo>
                    <a:pt x="445" y="1291"/>
                  </a:lnTo>
                  <a:lnTo>
                    <a:pt x="442" y="1290"/>
                  </a:lnTo>
                  <a:lnTo>
                    <a:pt x="445" y="1282"/>
                  </a:lnTo>
                  <a:lnTo>
                    <a:pt x="470" y="1267"/>
                  </a:lnTo>
                  <a:lnTo>
                    <a:pt x="451" y="1268"/>
                  </a:lnTo>
                  <a:lnTo>
                    <a:pt x="454" y="1259"/>
                  </a:lnTo>
                  <a:lnTo>
                    <a:pt x="352" y="1282"/>
                  </a:lnTo>
                  <a:lnTo>
                    <a:pt x="378" y="1260"/>
                  </a:lnTo>
                  <a:lnTo>
                    <a:pt x="349" y="1242"/>
                  </a:lnTo>
                  <a:lnTo>
                    <a:pt x="335" y="1245"/>
                  </a:lnTo>
                  <a:lnTo>
                    <a:pt x="330" y="1240"/>
                  </a:lnTo>
                  <a:lnTo>
                    <a:pt x="330" y="1228"/>
                  </a:lnTo>
                  <a:lnTo>
                    <a:pt x="312" y="1228"/>
                  </a:lnTo>
                  <a:lnTo>
                    <a:pt x="349" y="1214"/>
                  </a:lnTo>
                  <a:lnTo>
                    <a:pt x="301" y="1217"/>
                  </a:lnTo>
                  <a:lnTo>
                    <a:pt x="315" y="1201"/>
                  </a:lnTo>
                  <a:lnTo>
                    <a:pt x="295" y="1177"/>
                  </a:lnTo>
                  <a:lnTo>
                    <a:pt x="313" y="1159"/>
                  </a:lnTo>
                  <a:lnTo>
                    <a:pt x="283" y="1169"/>
                  </a:lnTo>
                  <a:lnTo>
                    <a:pt x="279" y="1160"/>
                  </a:lnTo>
                  <a:lnTo>
                    <a:pt x="284" y="1155"/>
                  </a:lnTo>
                  <a:lnTo>
                    <a:pt x="281" y="1151"/>
                  </a:lnTo>
                  <a:lnTo>
                    <a:pt x="290" y="1146"/>
                  </a:lnTo>
                  <a:lnTo>
                    <a:pt x="273" y="1142"/>
                  </a:lnTo>
                  <a:lnTo>
                    <a:pt x="276" y="1127"/>
                  </a:lnTo>
                  <a:lnTo>
                    <a:pt x="258" y="1117"/>
                  </a:lnTo>
                  <a:lnTo>
                    <a:pt x="263" y="1089"/>
                  </a:lnTo>
                  <a:lnTo>
                    <a:pt x="255" y="1098"/>
                  </a:lnTo>
                  <a:lnTo>
                    <a:pt x="247" y="1073"/>
                  </a:lnTo>
                  <a:lnTo>
                    <a:pt x="233" y="1070"/>
                  </a:lnTo>
                  <a:lnTo>
                    <a:pt x="217" y="1042"/>
                  </a:lnTo>
                  <a:lnTo>
                    <a:pt x="213" y="1025"/>
                  </a:lnTo>
                  <a:lnTo>
                    <a:pt x="199" y="1007"/>
                  </a:lnTo>
                  <a:lnTo>
                    <a:pt x="207" y="993"/>
                  </a:lnTo>
                  <a:lnTo>
                    <a:pt x="199" y="996"/>
                  </a:lnTo>
                  <a:lnTo>
                    <a:pt x="200" y="974"/>
                  </a:lnTo>
                  <a:lnTo>
                    <a:pt x="196" y="957"/>
                  </a:lnTo>
                  <a:lnTo>
                    <a:pt x="221" y="942"/>
                  </a:lnTo>
                  <a:lnTo>
                    <a:pt x="224" y="929"/>
                  </a:lnTo>
                  <a:lnTo>
                    <a:pt x="258" y="917"/>
                  </a:lnTo>
                  <a:lnTo>
                    <a:pt x="230" y="908"/>
                  </a:lnTo>
                  <a:lnTo>
                    <a:pt x="239" y="894"/>
                  </a:lnTo>
                  <a:lnTo>
                    <a:pt x="264" y="900"/>
                  </a:lnTo>
                  <a:lnTo>
                    <a:pt x="259" y="886"/>
                  </a:lnTo>
                  <a:lnTo>
                    <a:pt x="233" y="880"/>
                  </a:lnTo>
                  <a:lnTo>
                    <a:pt x="227" y="894"/>
                  </a:lnTo>
                  <a:lnTo>
                    <a:pt x="210" y="895"/>
                  </a:lnTo>
                  <a:lnTo>
                    <a:pt x="188" y="939"/>
                  </a:lnTo>
                  <a:lnTo>
                    <a:pt x="171" y="942"/>
                  </a:lnTo>
                  <a:lnTo>
                    <a:pt x="170" y="898"/>
                  </a:lnTo>
                  <a:lnTo>
                    <a:pt x="182" y="880"/>
                  </a:lnTo>
                  <a:lnTo>
                    <a:pt x="171" y="881"/>
                  </a:lnTo>
                  <a:lnTo>
                    <a:pt x="168" y="860"/>
                  </a:lnTo>
                  <a:lnTo>
                    <a:pt x="159" y="855"/>
                  </a:lnTo>
                  <a:lnTo>
                    <a:pt x="165" y="839"/>
                  </a:lnTo>
                  <a:lnTo>
                    <a:pt x="162" y="827"/>
                  </a:lnTo>
                  <a:lnTo>
                    <a:pt x="154" y="839"/>
                  </a:lnTo>
                  <a:lnTo>
                    <a:pt x="151" y="827"/>
                  </a:lnTo>
                  <a:lnTo>
                    <a:pt x="165" y="813"/>
                  </a:lnTo>
                  <a:lnTo>
                    <a:pt x="142" y="805"/>
                  </a:lnTo>
                  <a:lnTo>
                    <a:pt x="140" y="779"/>
                  </a:lnTo>
                  <a:lnTo>
                    <a:pt x="122" y="788"/>
                  </a:lnTo>
                  <a:lnTo>
                    <a:pt x="136" y="761"/>
                  </a:lnTo>
                  <a:lnTo>
                    <a:pt x="122" y="768"/>
                  </a:lnTo>
                  <a:lnTo>
                    <a:pt x="111" y="747"/>
                  </a:lnTo>
                  <a:lnTo>
                    <a:pt x="131" y="728"/>
                  </a:lnTo>
                  <a:lnTo>
                    <a:pt x="105" y="728"/>
                  </a:lnTo>
                  <a:lnTo>
                    <a:pt x="114" y="717"/>
                  </a:lnTo>
                  <a:lnTo>
                    <a:pt x="102" y="710"/>
                  </a:lnTo>
                  <a:lnTo>
                    <a:pt x="105" y="688"/>
                  </a:lnTo>
                  <a:lnTo>
                    <a:pt x="120" y="691"/>
                  </a:lnTo>
                  <a:lnTo>
                    <a:pt x="108" y="678"/>
                  </a:lnTo>
                  <a:lnTo>
                    <a:pt x="125" y="663"/>
                  </a:lnTo>
                  <a:lnTo>
                    <a:pt x="128" y="646"/>
                  </a:lnTo>
                  <a:lnTo>
                    <a:pt x="100" y="648"/>
                  </a:lnTo>
                  <a:lnTo>
                    <a:pt x="102" y="635"/>
                  </a:lnTo>
                  <a:lnTo>
                    <a:pt x="86" y="624"/>
                  </a:lnTo>
                  <a:lnTo>
                    <a:pt x="86" y="604"/>
                  </a:lnTo>
                  <a:lnTo>
                    <a:pt x="97" y="592"/>
                  </a:lnTo>
                  <a:lnTo>
                    <a:pt x="94" y="583"/>
                  </a:lnTo>
                  <a:lnTo>
                    <a:pt x="112" y="570"/>
                  </a:lnTo>
                  <a:lnTo>
                    <a:pt x="98" y="566"/>
                  </a:lnTo>
                  <a:lnTo>
                    <a:pt x="106" y="555"/>
                  </a:lnTo>
                  <a:lnTo>
                    <a:pt x="103" y="529"/>
                  </a:lnTo>
                  <a:lnTo>
                    <a:pt x="128" y="519"/>
                  </a:lnTo>
                  <a:lnTo>
                    <a:pt x="108" y="501"/>
                  </a:lnTo>
                  <a:lnTo>
                    <a:pt x="222" y="502"/>
                  </a:lnTo>
                  <a:lnTo>
                    <a:pt x="196" y="480"/>
                  </a:lnTo>
                  <a:lnTo>
                    <a:pt x="208" y="471"/>
                  </a:lnTo>
                  <a:lnTo>
                    <a:pt x="210" y="460"/>
                  </a:lnTo>
                  <a:lnTo>
                    <a:pt x="195" y="458"/>
                  </a:lnTo>
                  <a:lnTo>
                    <a:pt x="202" y="473"/>
                  </a:lnTo>
                  <a:lnTo>
                    <a:pt x="157" y="487"/>
                  </a:lnTo>
                  <a:lnTo>
                    <a:pt x="136" y="485"/>
                  </a:lnTo>
                  <a:lnTo>
                    <a:pt x="132" y="467"/>
                  </a:lnTo>
                  <a:lnTo>
                    <a:pt x="149" y="445"/>
                  </a:lnTo>
                  <a:lnTo>
                    <a:pt x="212" y="442"/>
                  </a:lnTo>
                  <a:lnTo>
                    <a:pt x="222" y="419"/>
                  </a:lnTo>
                  <a:lnTo>
                    <a:pt x="207" y="416"/>
                  </a:lnTo>
                  <a:lnTo>
                    <a:pt x="217" y="406"/>
                  </a:lnTo>
                  <a:lnTo>
                    <a:pt x="212" y="399"/>
                  </a:lnTo>
                  <a:lnTo>
                    <a:pt x="213" y="374"/>
                  </a:lnTo>
                  <a:lnTo>
                    <a:pt x="247" y="380"/>
                  </a:lnTo>
                  <a:lnTo>
                    <a:pt x="239" y="372"/>
                  </a:lnTo>
                  <a:lnTo>
                    <a:pt x="255" y="361"/>
                  </a:lnTo>
                  <a:lnTo>
                    <a:pt x="247" y="348"/>
                  </a:lnTo>
                  <a:lnTo>
                    <a:pt x="232" y="360"/>
                  </a:lnTo>
                  <a:lnTo>
                    <a:pt x="221" y="349"/>
                  </a:lnTo>
                  <a:lnTo>
                    <a:pt x="222" y="329"/>
                  </a:lnTo>
                  <a:lnTo>
                    <a:pt x="232" y="324"/>
                  </a:lnTo>
                  <a:lnTo>
                    <a:pt x="227" y="307"/>
                  </a:lnTo>
                  <a:lnTo>
                    <a:pt x="239" y="301"/>
                  </a:lnTo>
                  <a:lnTo>
                    <a:pt x="236" y="287"/>
                  </a:lnTo>
                  <a:lnTo>
                    <a:pt x="250" y="282"/>
                  </a:lnTo>
                  <a:lnTo>
                    <a:pt x="246" y="269"/>
                  </a:lnTo>
                  <a:lnTo>
                    <a:pt x="247" y="255"/>
                  </a:lnTo>
                  <a:lnTo>
                    <a:pt x="156" y="247"/>
                  </a:lnTo>
                  <a:lnTo>
                    <a:pt x="136" y="222"/>
                  </a:lnTo>
                  <a:lnTo>
                    <a:pt x="85" y="204"/>
                  </a:lnTo>
                  <a:lnTo>
                    <a:pt x="58" y="163"/>
                  </a:lnTo>
                  <a:lnTo>
                    <a:pt x="83" y="146"/>
                  </a:lnTo>
                  <a:lnTo>
                    <a:pt x="136" y="154"/>
                  </a:lnTo>
                  <a:lnTo>
                    <a:pt x="188" y="197"/>
                  </a:lnTo>
                  <a:lnTo>
                    <a:pt x="236" y="211"/>
                  </a:lnTo>
                  <a:lnTo>
                    <a:pt x="233" y="193"/>
                  </a:lnTo>
                  <a:lnTo>
                    <a:pt x="217" y="199"/>
                  </a:lnTo>
                  <a:lnTo>
                    <a:pt x="207" y="176"/>
                  </a:lnTo>
                  <a:lnTo>
                    <a:pt x="222" y="182"/>
                  </a:lnTo>
                  <a:lnTo>
                    <a:pt x="219" y="174"/>
                  </a:lnTo>
                  <a:lnTo>
                    <a:pt x="229" y="165"/>
                  </a:lnTo>
                  <a:lnTo>
                    <a:pt x="233" y="163"/>
                  </a:lnTo>
                  <a:lnTo>
                    <a:pt x="229" y="150"/>
                  </a:lnTo>
                  <a:lnTo>
                    <a:pt x="178" y="111"/>
                  </a:lnTo>
                  <a:lnTo>
                    <a:pt x="202" y="121"/>
                  </a:lnTo>
                  <a:lnTo>
                    <a:pt x="204" y="116"/>
                  </a:lnTo>
                  <a:lnTo>
                    <a:pt x="199" y="109"/>
                  </a:lnTo>
                  <a:lnTo>
                    <a:pt x="202" y="97"/>
                  </a:lnTo>
                  <a:lnTo>
                    <a:pt x="165" y="103"/>
                  </a:lnTo>
                  <a:lnTo>
                    <a:pt x="188" y="72"/>
                  </a:lnTo>
                  <a:lnTo>
                    <a:pt x="149" y="95"/>
                  </a:lnTo>
                  <a:lnTo>
                    <a:pt x="161" y="66"/>
                  </a:lnTo>
                  <a:lnTo>
                    <a:pt x="178" y="55"/>
                  </a:lnTo>
                  <a:lnTo>
                    <a:pt x="128" y="61"/>
                  </a:lnTo>
                  <a:lnTo>
                    <a:pt x="179" y="23"/>
                  </a:lnTo>
                  <a:lnTo>
                    <a:pt x="122" y="18"/>
                  </a:lnTo>
                  <a:lnTo>
                    <a:pt x="128" y="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175" name="Freeform 179">
              <a:extLst>
                <a:ext uri="{FF2B5EF4-FFF2-40B4-BE49-F238E27FC236}">
                  <a16:creationId xmlns:a16="http://schemas.microsoft.com/office/drawing/2014/main" id="{D7C570B9-A26D-2546-BEC2-635FA44678C8}"/>
                </a:ext>
              </a:extLst>
            </p:cNvPr>
            <p:cNvSpPr>
              <a:spLocks noChangeAspect="1" noEditPoints="1"/>
            </p:cNvSpPr>
            <p:nvPr/>
          </p:nvSpPr>
          <p:spPr bwMode="gray">
            <a:xfrm>
              <a:off x="2857593" y="3515806"/>
              <a:ext cx="168862" cy="172798"/>
            </a:xfrm>
            <a:custGeom>
              <a:avLst/>
              <a:gdLst>
                <a:gd name="T0" fmla="*/ 52 w 343"/>
                <a:gd name="T1" fmla="*/ 105 h 293"/>
                <a:gd name="T2" fmla="*/ 43 w 343"/>
                <a:gd name="T3" fmla="*/ 124 h 293"/>
                <a:gd name="T4" fmla="*/ 32 w 343"/>
                <a:gd name="T5" fmla="*/ 83 h 293"/>
                <a:gd name="T6" fmla="*/ 41 w 343"/>
                <a:gd name="T7" fmla="*/ 88 h 293"/>
                <a:gd name="T8" fmla="*/ 318 w 343"/>
                <a:gd name="T9" fmla="*/ 240 h 293"/>
                <a:gd name="T10" fmla="*/ 320 w 343"/>
                <a:gd name="T11" fmla="*/ 245 h 293"/>
                <a:gd name="T12" fmla="*/ 313 w 343"/>
                <a:gd name="T13" fmla="*/ 243 h 293"/>
                <a:gd name="T14" fmla="*/ 284 w 343"/>
                <a:gd name="T15" fmla="*/ 220 h 293"/>
                <a:gd name="T16" fmla="*/ 288 w 343"/>
                <a:gd name="T17" fmla="*/ 225 h 293"/>
                <a:gd name="T18" fmla="*/ 273 w 343"/>
                <a:gd name="T19" fmla="*/ 286 h 293"/>
                <a:gd name="T20" fmla="*/ 247 w 343"/>
                <a:gd name="T21" fmla="*/ 282 h 293"/>
                <a:gd name="T22" fmla="*/ 275 w 343"/>
                <a:gd name="T23" fmla="*/ 271 h 293"/>
                <a:gd name="T24" fmla="*/ 204 w 343"/>
                <a:gd name="T25" fmla="*/ 143 h 293"/>
                <a:gd name="T26" fmla="*/ 212 w 343"/>
                <a:gd name="T27" fmla="*/ 134 h 293"/>
                <a:gd name="T28" fmla="*/ 171 w 343"/>
                <a:gd name="T29" fmla="*/ 163 h 293"/>
                <a:gd name="T30" fmla="*/ 178 w 343"/>
                <a:gd name="T31" fmla="*/ 186 h 293"/>
                <a:gd name="T32" fmla="*/ 227 w 343"/>
                <a:gd name="T33" fmla="*/ 210 h 293"/>
                <a:gd name="T34" fmla="*/ 232 w 343"/>
                <a:gd name="T35" fmla="*/ 208 h 293"/>
                <a:gd name="T36" fmla="*/ 219 w 343"/>
                <a:gd name="T37" fmla="*/ 231 h 293"/>
                <a:gd name="T38" fmla="*/ 227 w 343"/>
                <a:gd name="T39" fmla="*/ 214 h 293"/>
                <a:gd name="T40" fmla="*/ 165 w 343"/>
                <a:gd name="T41" fmla="*/ 126 h 293"/>
                <a:gd name="T42" fmla="*/ 159 w 343"/>
                <a:gd name="T43" fmla="*/ 134 h 293"/>
                <a:gd name="T44" fmla="*/ 148 w 343"/>
                <a:gd name="T45" fmla="*/ 103 h 293"/>
                <a:gd name="T46" fmla="*/ 54 w 343"/>
                <a:gd name="T47" fmla="*/ 143 h 293"/>
                <a:gd name="T48" fmla="*/ 63 w 343"/>
                <a:gd name="T49" fmla="*/ 152 h 293"/>
                <a:gd name="T50" fmla="*/ 54 w 343"/>
                <a:gd name="T51" fmla="*/ 143 h 293"/>
                <a:gd name="T52" fmla="*/ 51 w 343"/>
                <a:gd name="T53" fmla="*/ 138 h 293"/>
                <a:gd name="T54" fmla="*/ 56 w 343"/>
                <a:gd name="T55" fmla="*/ 127 h 293"/>
                <a:gd name="T56" fmla="*/ 129 w 343"/>
                <a:gd name="T57" fmla="*/ 107 h 293"/>
                <a:gd name="T58" fmla="*/ 128 w 343"/>
                <a:gd name="T59" fmla="*/ 81 h 293"/>
                <a:gd name="T60" fmla="*/ 78 w 343"/>
                <a:gd name="T61" fmla="*/ 87 h 293"/>
                <a:gd name="T62" fmla="*/ 66 w 343"/>
                <a:gd name="T63" fmla="*/ 90 h 293"/>
                <a:gd name="T64" fmla="*/ 86 w 343"/>
                <a:gd name="T65" fmla="*/ 24 h 293"/>
                <a:gd name="T66" fmla="*/ 75 w 343"/>
                <a:gd name="T67" fmla="*/ 37 h 293"/>
                <a:gd name="T68" fmla="*/ 83 w 343"/>
                <a:gd name="T69" fmla="*/ 11 h 293"/>
                <a:gd name="T70" fmla="*/ 43 w 343"/>
                <a:gd name="T71" fmla="*/ 0 h 293"/>
                <a:gd name="T72" fmla="*/ 41 w 343"/>
                <a:gd name="T73" fmla="*/ 5 h 293"/>
                <a:gd name="T74" fmla="*/ 4 w 343"/>
                <a:gd name="T75" fmla="*/ 11 h 293"/>
                <a:gd name="T76" fmla="*/ 43 w 343"/>
                <a:gd name="T77"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3" h="293">
                  <a:moveTo>
                    <a:pt x="41" y="88"/>
                  </a:moveTo>
                  <a:lnTo>
                    <a:pt x="52" y="105"/>
                  </a:lnTo>
                  <a:lnTo>
                    <a:pt x="47" y="124"/>
                  </a:lnTo>
                  <a:lnTo>
                    <a:pt x="43" y="124"/>
                  </a:lnTo>
                  <a:lnTo>
                    <a:pt x="27" y="105"/>
                  </a:lnTo>
                  <a:lnTo>
                    <a:pt x="32" y="83"/>
                  </a:lnTo>
                  <a:lnTo>
                    <a:pt x="39" y="81"/>
                  </a:lnTo>
                  <a:lnTo>
                    <a:pt x="41" y="88"/>
                  </a:lnTo>
                  <a:close/>
                  <a:moveTo>
                    <a:pt x="313" y="243"/>
                  </a:moveTo>
                  <a:lnTo>
                    <a:pt x="318" y="240"/>
                  </a:lnTo>
                  <a:lnTo>
                    <a:pt x="343" y="256"/>
                  </a:lnTo>
                  <a:lnTo>
                    <a:pt x="320" y="245"/>
                  </a:lnTo>
                  <a:lnTo>
                    <a:pt x="304" y="252"/>
                  </a:lnTo>
                  <a:lnTo>
                    <a:pt x="313" y="243"/>
                  </a:lnTo>
                  <a:close/>
                  <a:moveTo>
                    <a:pt x="288" y="225"/>
                  </a:moveTo>
                  <a:lnTo>
                    <a:pt x="284" y="220"/>
                  </a:lnTo>
                  <a:lnTo>
                    <a:pt x="270" y="223"/>
                  </a:lnTo>
                  <a:lnTo>
                    <a:pt x="288" y="225"/>
                  </a:lnTo>
                  <a:close/>
                  <a:moveTo>
                    <a:pt x="275" y="271"/>
                  </a:moveTo>
                  <a:lnTo>
                    <a:pt x="273" y="286"/>
                  </a:lnTo>
                  <a:lnTo>
                    <a:pt x="246" y="293"/>
                  </a:lnTo>
                  <a:lnTo>
                    <a:pt x="247" y="282"/>
                  </a:lnTo>
                  <a:lnTo>
                    <a:pt x="262" y="281"/>
                  </a:lnTo>
                  <a:lnTo>
                    <a:pt x="275" y="271"/>
                  </a:lnTo>
                  <a:close/>
                  <a:moveTo>
                    <a:pt x="207" y="134"/>
                  </a:moveTo>
                  <a:lnTo>
                    <a:pt x="204" y="143"/>
                  </a:lnTo>
                  <a:lnTo>
                    <a:pt x="208" y="143"/>
                  </a:lnTo>
                  <a:lnTo>
                    <a:pt x="212" y="134"/>
                  </a:lnTo>
                  <a:lnTo>
                    <a:pt x="207" y="134"/>
                  </a:lnTo>
                  <a:close/>
                  <a:moveTo>
                    <a:pt x="171" y="163"/>
                  </a:moveTo>
                  <a:lnTo>
                    <a:pt x="188" y="197"/>
                  </a:lnTo>
                  <a:lnTo>
                    <a:pt x="178" y="186"/>
                  </a:lnTo>
                  <a:lnTo>
                    <a:pt x="171" y="163"/>
                  </a:lnTo>
                  <a:close/>
                  <a:moveTo>
                    <a:pt x="227" y="210"/>
                  </a:moveTo>
                  <a:lnTo>
                    <a:pt x="212" y="202"/>
                  </a:lnTo>
                  <a:lnTo>
                    <a:pt x="232" y="208"/>
                  </a:lnTo>
                  <a:lnTo>
                    <a:pt x="233" y="215"/>
                  </a:lnTo>
                  <a:lnTo>
                    <a:pt x="219" y="231"/>
                  </a:lnTo>
                  <a:lnTo>
                    <a:pt x="217" y="225"/>
                  </a:lnTo>
                  <a:lnTo>
                    <a:pt x="227" y="214"/>
                  </a:lnTo>
                  <a:lnTo>
                    <a:pt x="227" y="210"/>
                  </a:lnTo>
                  <a:close/>
                  <a:moveTo>
                    <a:pt x="165" y="126"/>
                  </a:moveTo>
                  <a:lnTo>
                    <a:pt x="170" y="134"/>
                  </a:lnTo>
                  <a:lnTo>
                    <a:pt x="159" y="134"/>
                  </a:lnTo>
                  <a:lnTo>
                    <a:pt x="163" y="127"/>
                  </a:lnTo>
                  <a:lnTo>
                    <a:pt x="148" y="103"/>
                  </a:lnTo>
                  <a:lnTo>
                    <a:pt x="165" y="126"/>
                  </a:lnTo>
                  <a:close/>
                  <a:moveTo>
                    <a:pt x="54" y="143"/>
                  </a:moveTo>
                  <a:lnTo>
                    <a:pt x="61" y="132"/>
                  </a:lnTo>
                  <a:lnTo>
                    <a:pt x="63" y="152"/>
                  </a:lnTo>
                  <a:lnTo>
                    <a:pt x="56" y="151"/>
                  </a:lnTo>
                  <a:lnTo>
                    <a:pt x="54" y="143"/>
                  </a:lnTo>
                  <a:close/>
                  <a:moveTo>
                    <a:pt x="56" y="127"/>
                  </a:moveTo>
                  <a:lnTo>
                    <a:pt x="51" y="138"/>
                  </a:lnTo>
                  <a:lnTo>
                    <a:pt x="60" y="129"/>
                  </a:lnTo>
                  <a:lnTo>
                    <a:pt x="56" y="127"/>
                  </a:lnTo>
                  <a:close/>
                  <a:moveTo>
                    <a:pt x="128" y="81"/>
                  </a:moveTo>
                  <a:lnTo>
                    <a:pt x="129" y="107"/>
                  </a:lnTo>
                  <a:lnTo>
                    <a:pt x="122" y="96"/>
                  </a:lnTo>
                  <a:lnTo>
                    <a:pt x="128" y="81"/>
                  </a:lnTo>
                  <a:close/>
                  <a:moveTo>
                    <a:pt x="75" y="90"/>
                  </a:moveTo>
                  <a:lnTo>
                    <a:pt x="78" y="87"/>
                  </a:lnTo>
                  <a:lnTo>
                    <a:pt x="72" y="87"/>
                  </a:lnTo>
                  <a:lnTo>
                    <a:pt x="66" y="90"/>
                  </a:lnTo>
                  <a:lnTo>
                    <a:pt x="75" y="90"/>
                  </a:lnTo>
                  <a:close/>
                  <a:moveTo>
                    <a:pt x="86" y="24"/>
                  </a:moveTo>
                  <a:lnTo>
                    <a:pt x="81" y="45"/>
                  </a:lnTo>
                  <a:lnTo>
                    <a:pt x="75" y="37"/>
                  </a:lnTo>
                  <a:lnTo>
                    <a:pt x="78" y="25"/>
                  </a:lnTo>
                  <a:lnTo>
                    <a:pt x="83" y="11"/>
                  </a:lnTo>
                  <a:lnTo>
                    <a:pt x="86" y="24"/>
                  </a:lnTo>
                  <a:close/>
                  <a:moveTo>
                    <a:pt x="43" y="0"/>
                  </a:moveTo>
                  <a:lnTo>
                    <a:pt x="49" y="11"/>
                  </a:lnTo>
                  <a:lnTo>
                    <a:pt x="41" y="5"/>
                  </a:lnTo>
                  <a:lnTo>
                    <a:pt x="13" y="11"/>
                  </a:lnTo>
                  <a:lnTo>
                    <a:pt x="4" y="11"/>
                  </a:lnTo>
                  <a:lnTo>
                    <a:pt x="0" y="5"/>
                  </a:lnTo>
                  <a:lnTo>
                    <a:pt x="43" y="0"/>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76" name="Freeform 180">
              <a:extLst>
                <a:ext uri="{FF2B5EF4-FFF2-40B4-BE49-F238E27FC236}">
                  <a16:creationId xmlns:a16="http://schemas.microsoft.com/office/drawing/2014/main" id="{B9FF1E2D-844C-364A-B706-42161DA73125}"/>
                </a:ext>
              </a:extLst>
            </p:cNvPr>
            <p:cNvSpPr>
              <a:spLocks noChangeAspect="1" noEditPoints="1"/>
            </p:cNvSpPr>
            <p:nvPr/>
          </p:nvSpPr>
          <p:spPr bwMode="gray">
            <a:xfrm>
              <a:off x="2725370" y="3625247"/>
              <a:ext cx="240548" cy="95999"/>
            </a:xfrm>
            <a:custGeom>
              <a:avLst/>
              <a:gdLst>
                <a:gd name="T0" fmla="*/ 353 w 492"/>
                <a:gd name="T1" fmla="*/ 74 h 166"/>
                <a:gd name="T2" fmla="*/ 376 w 492"/>
                <a:gd name="T3" fmla="*/ 93 h 166"/>
                <a:gd name="T4" fmla="*/ 404 w 492"/>
                <a:gd name="T5" fmla="*/ 102 h 166"/>
                <a:gd name="T6" fmla="*/ 422 w 492"/>
                <a:gd name="T7" fmla="*/ 102 h 166"/>
                <a:gd name="T8" fmla="*/ 422 w 492"/>
                <a:gd name="T9" fmla="*/ 120 h 166"/>
                <a:gd name="T10" fmla="*/ 460 w 492"/>
                <a:gd name="T11" fmla="*/ 122 h 166"/>
                <a:gd name="T12" fmla="*/ 480 w 492"/>
                <a:gd name="T13" fmla="*/ 139 h 166"/>
                <a:gd name="T14" fmla="*/ 492 w 492"/>
                <a:gd name="T15" fmla="*/ 142 h 166"/>
                <a:gd name="T16" fmla="*/ 492 w 492"/>
                <a:gd name="T17" fmla="*/ 147 h 166"/>
                <a:gd name="T18" fmla="*/ 441 w 492"/>
                <a:gd name="T19" fmla="*/ 164 h 166"/>
                <a:gd name="T20" fmla="*/ 371 w 492"/>
                <a:gd name="T21" fmla="*/ 159 h 166"/>
                <a:gd name="T22" fmla="*/ 334 w 492"/>
                <a:gd name="T23" fmla="*/ 166 h 166"/>
                <a:gd name="T24" fmla="*/ 329 w 492"/>
                <a:gd name="T25" fmla="*/ 161 h 166"/>
                <a:gd name="T26" fmla="*/ 359 w 492"/>
                <a:gd name="T27" fmla="*/ 141 h 166"/>
                <a:gd name="T28" fmla="*/ 361 w 492"/>
                <a:gd name="T29" fmla="*/ 132 h 166"/>
                <a:gd name="T30" fmla="*/ 316 w 492"/>
                <a:gd name="T31" fmla="*/ 124 h 166"/>
                <a:gd name="T32" fmla="*/ 297 w 492"/>
                <a:gd name="T33" fmla="*/ 107 h 166"/>
                <a:gd name="T34" fmla="*/ 285 w 492"/>
                <a:gd name="T35" fmla="*/ 82 h 166"/>
                <a:gd name="T36" fmla="*/ 231 w 492"/>
                <a:gd name="T37" fmla="*/ 76 h 166"/>
                <a:gd name="T38" fmla="*/ 198 w 492"/>
                <a:gd name="T39" fmla="*/ 57 h 166"/>
                <a:gd name="T40" fmla="*/ 133 w 492"/>
                <a:gd name="T41" fmla="*/ 51 h 166"/>
                <a:gd name="T42" fmla="*/ 127 w 492"/>
                <a:gd name="T43" fmla="*/ 40 h 166"/>
                <a:gd name="T44" fmla="*/ 146 w 492"/>
                <a:gd name="T45" fmla="*/ 34 h 166"/>
                <a:gd name="T46" fmla="*/ 136 w 492"/>
                <a:gd name="T47" fmla="*/ 28 h 166"/>
                <a:gd name="T48" fmla="*/ 97 w 492"/>
                <a:gd name="T49" fmla="*/ 25 h 166"/>
                <a:gd name="T50" fmla="*/ 76 w 492"/>
                <a:gd name="T51" fmla="*/ 43 h 166"/>
                <a:gd name="T52" fmla="*/ 48 w 492"/>
                <a:gd name="T53" fmla="*/ 51 h 166"/>
                <a:gd name="T54" fmla="*/ 19 w 492"/>
                <a:gd name="T55" fmla="*/ 71 h 166"/>
                <a:gd name="T56" fmla="*/ 0 w 492"/>
                <a:gd name="T57" fmla="*/ 66 h 166"/>
                <a:gd name="T58" fmla="*/ 19 w 492"/>
                <a:gd name="T59" fmla="*/ 57 h 166"/>
                <a:gd name="T60" fmla="*/ 25 w 492"/>
                <a:gd name="T61" fmla="*/ 34 h 166"/>
                <a:gd name="T62" fmla="*/ 50 w 492"/>
                <a:gd name="T63" fmla="*/ 20 h 166"/>
                <a:gd name="T64" fmla="*/ 110 w 492"/>
                <a:gd name="T65" fmla="*/ 2 h 166"/>
                <a:gd name="T66" fmla="*/ 147 w 492"/>
                <a:gd name="T67" fmla="*/ 0 h 166"/>
                <a:gd name="T68" fmla="*/ 219 w 492"/>
                <a:gd name="T69" fmla="*/ 10 h 166"/>
                <a:gd name="T70" fmla="*/ 249 w 492"/>
                <a:gd name="T71" fmla="*/ 36 h 166"/>
                <a:gd name="T72" fmla="*/ 288 w 492"/>
                <a:gd name="T73" fmla="*/ 40 h 166"/>
                <a:gd name="T74" fmla="*/ 288 w 492"/>
                <a:gd name="T75" fmla="*/ 45 h 166"/>
                <a:gd name="T76" fmla="*/ 308 w 492"/>
                <a:gd name="T77" fmla="*/ 52 h 166"/>
                <a:gd name="T78" fmla="*/ 319 w 492"/>
                <a:gd name="T79" fmla="*/ 62 h 166"/>
                <a:gd name="T80" fmla="*/ 353 w 492"/>
                <a:gd name="T81" fmla="*/ 74 h 166"/>
                <a:gd name="T82" fmla="*/ 97 w 492"/>
                <a:gd name="T83" fmla="*/ 64 h 166"/>
                <a:gd name="T84" fmla="*/ 102 w 492"/>
                <a:gd name="T85" fmla="*/ 82 h 166"/>
                <a:gd name="T86" fmla="*/ 80 w 492"/>
                <a:gd name="T87" fmla="*/ 85 h 166"/>
                <a:gd name="T88" fmla="*/ 79 w 492"/>
                <a:gd name="T89" fmla="*/ 77 h 166"/>
                <a:gd name="T90" fmla="*/ 85 w 492"/>
                <a:gd name="T91" fmla="*/ 81 h 166"/>
                <a:gd name="T92" fmla="*/ 85 w 492"/>
                <a:gd name="T93" fmla="*/ 66 h 166"/>
                <a:gd name="T94" fmla="*/ 97 w 492"/>
                <a:gd name="T95" fmla="*/ 64 h 166"/>
                <a:gd name="T96" fmla="*/ 317 w 492"/>
                <a:gd name="T97" fmla="*/ 43 h 166"/>
                <a:gd name="T98" fmla="*/ 331 w 492"/>
                <a:gd name="T99" fmla="*/ 54 h 166"/>
                <a:gd name="T100" fmla="*/ 333 w 492"/>
                <a:gd name="T101" fmla="*/ 60 h 166"/>
                <a:gd name="T102" fmla="*/ 325 w 492"/>
                <a:gd name="T103" fmla="*/ 60 h 166"/>
                <a:gd name="T104" fmla="*/ 305 w 492"/>
                <a:gd name="T105" fmla="*/ 42 h 166"/>
                <a:gd name="T106" fmla="*/ 291 w 492"/>
                <a:gd name="T107" fmla="*/ 39 h 166"/>
                <a:gd name="T108" fmla="*/ 286 w 492"/>
                <a:gd name="T109" fmla="*/ 32 h 166"/>
                <a:gd name="T110" fmla="*/ 299 w 492"/>
                <a:gd name="T111" fmla="*/ 32 h 166"/>
                <a:gd name="T112" fmla="*/ 317 w 492"/>
                <a:gd name="T113" fmla="*/ 4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2" h="166">
                  <a:moveTo>
                    <a:pt x="353" y="74"/>
                  </a:moveTo>
                  <a:lnTo>
                    <a:pt x="376" y="93"/>
                  </a:lnTo>
                  <a:lnTo>
                    <a:pt x="404" y="102"/>
                  </a:lnTo>
                  <a:lnTo>
                    <a:pt x="422" y="102"/>
                  </a:lnTo>
                  <a:lnTo>
                    <a:pt x="422" y="120"/>
                  </a:lnTo>
                  <a:lnTo>
                    <a:pt x="460" y="122"/>
                  </a:lnTo>
                  <a:lnTo>
                    <a:pt x="480" y="139"/>
                  </a:lnTo>
                  <a:lnTo>
                    <a:pt x="492" y="142"/>
                  </a:lnTo>
                  <a:lnTo>
                    <a:pt x="492" y="147"/>
                  </a:lnTo>
                  <a:lnTo>
                    <a:pt x="441" y="164"/>
                  </a:lnTo>
                  <a:lnTo>
                    <a:pt x="371" y="159"/>
                  </a:lnTo>
                  <a:lnTo>
                    <a:pt x="334" y="166"/>
                  </a:lnTo>
                  <a:lnTo>
                    <a:pt x="329" y="161"/>
                  </a:lnTo>
                  <a:lnTo>
                    <a:pt x="359" y="141"/>
                  </a:lnTo>
                  <a:lnTo>
                    <a:pt x="361" y="132"/>
                  </a:lnTo>
                  <a:lnTo>
                    <a:pt x="316" y="124"/>
                  </a:lnTo>
                  <a:lnTo>
                    <a:pt x="297" y="107"/>
                  </a:lnTo>
                  <a:lnTo>
                    <a:pt x="285" y="82"/>
                  </a:lnTo>
                  <a:lnTo>
                    <a:pt x="231" y="76"/>
                  </a:lnTo>
                  <a:lnTo>
                    <a:pt x="198" y="57"/>
                  </a:lnTo>
                  <a:lnTo>
                    <a:pt x="133" y="51"/>
                  </a:lnTo>
                  <a:lnTo>
                    <a:pt x="127" y="40"/>
                  </a:lnTo>
                  <a:lnTo>
                    <a:pt x="146" y="34"/>
                  </a:lnTo>
                  <a:lnTo>
                    <a:pt x="136" y="28"/>
                  </a:lnTo>
                  <a:lnTo>
                    <a:pt x="97" y="25"/>
                  </a:lnTo>
                  <a:lnTo>
                    <a:pt x="76" y="43"/>
                  </a:lnTo>
                  <a:lnTo>
                    <a:pt x="48" y="51"/>
                  </a:lnTo>
                  <a:lnTo>
                    <a:pt x="19" y="71"/>
                  </a:lnTo>
                  <a:lnTo>
                    <a:pt x="0" y="66"/>
                  </a:lnTo>
                  <a:lnTo>
                    <a:pt x="19" y="57"/>
                  </a:lnTo>
                  <a:lnTo>
                    <a:pt x="25" y="34"/>
                  </a:lnTo>
                  <a:lnTo>
                    <a:pt x="50" y="20"/>
                  </a:lnTo>
                  <a:lnTo>
                    <a:pt x="110" y="2"/>
                  </a:lnTo>
                  <a:lnTo>
                    <a:pt x="147" y="0"/>
                  </a:lnTo>
                  <a:lnTo>
                    <a:pt x="219" y="10"/>
                  </a:lnTo>
                  <a:lnTo>
                    <a:pt x="249" y="36"/>
                  </a:lnTo>
                  <a:lnTo>
                    <a:pt x="288" y="40"/>
                  </a:lnTo>
                  <a:lnTo>
                    <a:pt x="288" y="45"/>
                  </a:lnTo>
                  <a:lnTo>
                    <a:pt x="308" y="52"/>
                  </a:lnTo>
                  <a:lnTo>
                    <a:pt x="319" y="62"/>
                  </a:lnTo>
                  <a:lnTo>
                    <a:pt x="353" y="74"/>
                  </a:lnTo>
                  <a:close/>
                  <a:moveTo>
                    <a:pt x="97" y="64"/>
                  </a:moveTo>
                  <a:lnTo>
                    <a:pt x="102" y="82"/>
                  </a:lnTo>
                  <a:lnTo>
                    <a:pt x="80" y="85"/>
                  </a:lnTo>
                  <a:lnTo>
                    <a:pt x="79" y="77"/>
                  </a:lnTo>
                  <a:lnTo>
                    <a:pt x="85" y="81"/>
                  </a:lnTo>
                  <a:lnTo>
                    <a:pt x="85" y="66"/>
                  </a:lnTo>
                  <a:lnTo>
                    <a:pt x="97" y="64"/>
                  </a:lnTo>
                  <a:close/>
                  <a:moveTo>
                    <a:pt x="317" y="43"/>
                  </a:moveTo>
                  <a:lnTo>
                    <a:pt x="331" y="54"/>
                  </a:lnTo>
                  <a:lnTo>
                    <a:pt x="333" y="60"/>
                  </a:lnTo>
                  <a:lnTo>
                    <a:pt x="325" y="60"/>
                  </a:lnTo>
                  <a:lnTo>
                    <a:pt x="305" y="42"/>
                  </a:lnTo>
                  <a:lnTo>
                    <a:pt x="291" y="39"/>
                  </a:lnTo>
                  <a:lnTo>
                    <a:pt x="286" y="32"/>
                  </a:lnTo>
                  <a:lnTo>
                    <a:pt x="299" y="32"/>
                  </a:lnTo>
                  <a:lnTo>
                    <a:pt x="317" y="43"/>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77" name="Freeform 181">
              <a:extLst>
                <a:ext uri="{FF2B5EF4-FFF2-40B4-BE49-F238E27FC236}">
                  <a16:creationId xmlns:a16="http://schemas.microsoft.com/office/drawing/2014/main" id="{D4FB6E16-61EC-B24A-A753-3FC0BBD115F3}"/>
                </a:ext>
              </a:extLst>
            </p:cNvPr>
            <p:cNvSpPr>
              <a:spLocks noChangeAspect="1" noEditPoints="1"/>
            </p:cNvSpPr>
            <p:nvPr/>
          </p:nvSpPr>
          <p:spPr bwMode="gray">
            <a:xfrm>
              <a:off x="2961141" y="3711644"/>
              <a:ext cx="62129" cy="61438"/>
            </a:xfrm>
            <a:custGeom>
              <a:avLst/>
              <a:gdLst>
                <a:gd name="T0" fmla="*/ 122 w 128"/>
                <a:gd name="T1" fmla="*/ 102 h 102"/>
                <a:gd name="T2" fmla="*/ 123 w 128"/>
                <a:gd name="T3" fmla="*/ 88 h 102"/>
                <a:gd name="T4" fmla="*/ 118 w 128"/>
                <a:gd name="T5" fmla="*/ 75 h 102"/>
                <a:gd name="T6" fmla="*/ 125 w 128"/>
                <a:gd name="T7" fmla="*/ 67 h 102"/>
                <a:gd name="T8" fmla="*/ 128 w 128"/>
                <a:gd name="T9" fmla="*/ 46 h 102"/>
                <a:gd name="T10" fmla="*/ 120 w 128"/>
                <a:gd name="T11" fmla="*/ 16 h 102"/>
                <a:gd name="T12" fmla="*/ 95 w 128"/>
                <a:gd name="T13" fmla="*/ 19 h 102"/>
                <a:gd name="T14" fmla="*/ 66 w 128"/>
                <a:gd name="T15" fmla="*/ 9 h 102"/>
                <a:gd name="T16" fmla="*/ 44 w 128"/>
                <a:gd name="T17" fmla="*/ 19 h 102"/>
                <a:gd name="T18" fmla="*/ 49 w 128"/>
                <a:gd name="T19" fmla="*/ 26 h 102"/>
                <a:gd name="T20" fmla="*/ 72 w 128"/>
                <a:gd name="T21" fmla="*/ 29 h 102"/>
                <a:gd name="T22" fmla="*/ 76 w 128"/>
                <a:gd name="T23" fmla="*/ 58 h 102"/>
                <a:gd name="T24" fmla="*/ 92 w 128"/>
                <a:gd name="T25" fmla="*/ 70 h 102"/>
                <a:gd name="T26" fmla="*/ 91 w 128"/>
                <a:gd name="T27" fmla="*/ 76 h 102"/>
                <a:gd name="T28" fmla="*/ 55 w 128"/>
                <a:gd name="T29" fmla="*/ 80 h 102"/>
                <a:gd name="T30" fmla="*/ 1 w 128"/>
                <a:gd name="T31" fmla="*/ 75 h 102"/>
                <a:gd name="T32" fmla="*/ 0 w 128"/>
                <a:gd name="T33" fmla="*/ 82 h 102"/>
                <a:gd name="T34" fmla="*/ 26 w 128"/>
                <a:gd name="T35" fmla="*/ 101 h 102"/>
                <a:gd name="T36" fmla="*/ 37 w 128"/>
                <a:gd name="T37" fmla="*/ 92 h 102"/>
                <a:gd name="T38" fmla="*/ 74 w 128"/>
                <a:gd name="T39" fmla="*/ 99 h 102"/>
                <a:gd name="T40" fmla="*/ 101 w 128"/>
                <a:gd name="T41" fmla="*/ 93 h 102"/>
                <a:gd name="T42" fmla="*/ 122 w 128"/>
                <a:gd name="T43" fmla="*/ 102 h 102"/>
                <a:gd name="T44" fmla="*/ 72 w 128"/>
                <a:gd name="T45" fmla="*/ 0 h 102"/>
                <a:gd name="T46" fmla="*/ 78 w 128"/>
                <a:gd name="T47" fmla="*/ 8 h 102"/>
                <a:gd name="T48" fmla="*/ 69 w 128"/>
                <a:gd name="T49" fmla="*/ 6 h 102"/>
                <a:gd name="T50" fmla="*/ 72 w 128"/>
                <a:gd name="T51" fmla="*/ 0 h 102"/>
                <a:gd name="T52" fmla="*/ 63 w 128"/>
                <a:gd name="T53" fmla="*/ 58 h 102"/>
                <a:gd name="T54" fmla="*/ 69 w 128"/>
                <a:gd name="T55" fmla="*/ 62 h 102"/>
                <a:gd name="T56" fmla="*/ 71 w 128"/>
                <a:gd name="T57" fmla="*/ 68 h 102"/>
                <a:gd name="T58" fmla="*/ 54 w 128"/>
                <a:gd name="T59" fmla="*/ 65 h 102"/>
                <a:gd name="T60" fmla="*/ 50 w 128"/>
                <a:gd name="T61" fmla="*/ 58 h 102"/>
                <a:gd name="T62" fmla="*/ 63 w 128"/>
                <a:gd name="T63" fmla="*/ 5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8" h="102">
                  <a:moveTo>
                    <a:pt x="122" y="102"/>
                  </a:moveTo>
                  <a:lnTo>
                    <a:pt x="123" y="88"/>
                  </a:lnTo>
                  <a:lnTo>
                    <a:pt x="118" y="75"/>
                  </a:lnTo>
                  <a:lnTo>
                    <a:pt x="125" y="67"/>
                  </a:lnTo>
                  <a:lnTo>
                    <a:pt x="128" y="46"/>
                  </a:lnTo>
                  <a:lnTo>
                    <a:pt x="120" y="16"/>
                  </a:lnTo>
                  <a:lnTo>
                    <a:pt x="95" y="19"/>
                  </a:lnTo>
                  <a:lnTo>
                    <a:pt x="66" y="9"/>
                  </a:lnTo>
                  <a:lnTo>
                    <a:pt x="44" y="19"/>
                  </a:lnTo>
                  <a:lnTo>
                    <a:pt x="49" y="26"/>
                  </a:lnTo>
                  <a:lnTo>
                    <a:pt x="72" y="29"/>
                  </a:lnTo>
                  <a:lnTo>
                    <a:pt x="76" y="58"/>
                  </a:lnTo>
                  <a:lnTo>
                    <a:pt x="92" y="70"/>
                  </a:lnTo>
                  <a:lnTo>
                    <a:pt x="91" y="76"/>
                  </a:lnTo>
                  <a:lnTo>
                    <a:pt x="55" y="80"/>
                  </a:lnTo>
                  <a:lnTo>
                    <a:pt x="1" y="75"/>
                  </a:lnTo>
                  <a:lnTo>
                    <a:pt x="0" y="82"/>
                  </a:lnTo>
                  <a:lnTo>
                    <a:pt x="26" y="101"/>
                  </a:lnTo>
                  <a:lnTo>
                    <a:pt x="37" y="92"/>
                  </a:lnTo>
                  <a:lnTo>
                    <a:pt x="74" y="99"/>
                  </a:lnTo>
                  <a:lnTo>
                    <a:pt x="101" y="93"/>
                  </a:lnTo>
                  <a:lnTo>
                    <a:pt x="122" y="102"/>
                  </a:lnTo>
                  <a:close/>
                  <a:moveTo>
                    <a:pt x="72" y="0"/>
                  </a:moveTo>
                  <a:lnTo>
                    <a:pt x="78" y="8"/>
                  </a:lnTo>
                  <a:lnTo>
                    <a:pt x="69" y="6"/>
                  </a:lnTo>
                  <a:lnTo>
                    <a:pt x="72" y="0"/>
                  </a:lnTo>
                  <a:close/>
                  <a:moveTo>
                    <a:pt x="63" y="58"/>
                  </a:moveTo>
                  <a:lnTo>
                    <a:pt x="69" y="62"/>
                  </a:lnTo>
                  <a:lnTo>
                    <a:pt x="71" y="68"/>
                  </a:lnTo>
                  <a:lnTo>
                    <a:pt x="54" y="65"/>
                  </a:lnTo>
                  <a:lnTo>
                    <a:pt x="50" y="58"/>
                  </a:lnTo>
                  <a:lnTo>
                    <a:pt x="63" y="58"/>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78" name="Freeform 182">
              <a:extLst>
                <a:ext uri="{FF2B5EF4-FFF2-40B4-BE49-F238E27FC236}">
                  <a16:creationId xmlns:a16="http://schemas.microsoft.com/office/drawing/2014/main" id="{CABF5A70-94C4-6F44-87D7-614A07F1DD52}"/>
                </a:ext>
              </a:extLst>
            </p:cNvPr>
            <p:cNvSpPr>
              <a:spLocks noChangeAspect="1" noEditPoints="1"/>
            </p:cNvSpPr>
            <p:nvPr/>
          </p:nvSpPr>
          <p:spPr bwMode="gray">
            <a:xfrm>
              <a:off x="3220806" y="3790364"/>
              <a:ext cx="44606" cy="101759"/>
            </a:xfrm>
            <a:custGeom>
              <a:avLst/>
              <a:gdLst>
                <a:gd name="T0" fmla="*/ 89 w 92"/>
                <a:gd name="T1" fmla="*/ 164 h 178"/>
                <a:gd name="T2" fmla="*/ 86 w 92"/>
                <a:gd name="T3" fmla="*/ 177 h 178"/>
                <a:gd name="T4" fmla="*/ 89 w 92"/>
                <a:gd name="T5" fmla="*/ 178 h 178"/>
                <a:gd name="T6" fmla="*/ 89 w 92"/>
                <a:gd name="T7" fmla="*/ 164 h 178"/>
                <a:gd name="T8" fmla="*/ 4 w 92"/>
                <a:gd name="T9" fmla="*/ 0 h 178"/>
                <a:gd name="T10" fmla="*/ 0 w 92"/>
                <a:gd name="T11" fmla="*/ 0 h 178"/>
                <a:gd name="T12" fmla="*/ 3 w 92"/>
                <a:gd name="T13" fmla="*/ 8 h 178"/>
                <a:gd name="T14" fmla="*/ 4 w 92"/>
                <a:gd name="T15" fmla="*/ 0 h 178"/>
                <a:gd name="T16" fmla="*/ 49 w 92"/>
                <a:gd name="T17" fmla="*/ 14 h 178"/>
                <a:gd name="T18" fmla="*/ 49 w 92"/>
                <a:gd name="T19" fmla="*/ 23 h 178"/>
                <a:gd name="T20" fmla="*/ 54 w 92"/>
                <a:gd name="T21" fmla="*/ 17 h 178"/>
                <a:gd name="T22" fmla="*/ 49 w 92"/>
                <a:gd name="T23" fmla="*/ 14 h 178"/>
                <a:gd name="T24" fmla="*/ 67 w 92"/>
                <a:gd name="T25" fmla="*/ 45 h 178"/>
                <a:gd name="T26" fmla="*/ 60 w 92"/>
                <a:gd name="T27" fmla="*/ 53 h 178"/>
                <a:gd name="T28" fmla="*/ 52 w 92"/>
                <a:gd name="T29" fmla="*/ 51 h 178"/>
                <a:gd name="T30" fmla="*/ 51 w 92"/>
                <a:gd name="T31" fmla="*/ 68 h 178"/>
                <a:gd name="T32" fmla="*/ 57 w 92"/>
                <a:gd name="T33" fmla="*/ 68 h 178"/>
                <a:gd name="T34" fmla="*/ 63 w 92"/>
                <a:gd name="T35" fmla="*/ 60 h 178"/>
                <a:gd name="T36" fmla="*/ 74 w 92"/>
                <a:gd name="T37" fmla="*/ 57 h 178"/>
                <a:gd name="T38" fmla="*/ 67 w 92"/>
                <a:gd name="T39" fmla="*/ 45 h 178"/>
                <a:gd name="T40" fmla="*/ 72 w 92"/>
                <a:gd name="T41" fmla="*/ 87 h 178"/>
                <a:gd name="T42" fmla="*/ 69 w 92"/>
                <a:gd name="T43" fmla="*/ 101 h 178"/>
                <a:gd name="T44" fmla="*/ 75 w 92"/>
                <a:gd name="T45" fmla="*/ 105 h 178"/>
                <a:gd name="T46" fmla="*/ 75 w 92"/>
                <a:gd name="T47" fmla="*/ 90 h 178"/>
                <a:gd name="T48" fmla="*/ 72 w 92"/>
                <a:gd name="T49" fmla="*/ 87 h 178"/>
                <a:gd name="T50" fmla="*/ 77 w 92"/>
                <a:gd name="T51" fmla="*/ 121 h 178"/>
                <a:gd name="T52" fmla="*/ 86 w 92"/>
                <a:gd name="T53" fmla="*/ 128 h 178"/>
                <a:gd name="T54" fmla="*/ 92 w 92"/>
                <a:gd name="T55" fmla="*/ 143 h 178"/>
                <a:gd name="T56" fmla="*/ 84 w 92"/>
                <a:gd name="T57" fmla="*/ 141 h 178"/>
                <a:gd name="T58" fmla="*/ 77 w 92"/>
                <a:gd name="T59" fmla="*/ 121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2" h="178">
                  <a:moveTo>
                    <a:pt x="89" y="164"/>
                  </a:moveTo>
                  <a:lnTo>
                    <a:pt x="86" y="177"/>
                  </a:lnTo>
                  <a:lnTo>
                    <a:pt x="89" y="178"/>
                  </a:lnTo>
                  <a:lnTo>
                    <a:pt x="89" y="164"/>
                  </a:lnTo>
                  <a:close/>
                  <a:moveTo>
                    <a:pt x="4" y="0"/>
                  </a:moveTo>
                  <a:lnTo>
                    <a:pt x="0" y="0"/>
                  </a:lnTo>
                  <a:lnTo>
                    <a:pt x="3" y="8"/>
                  </a:lnTo>
                  <a:lnTo>
                    <a:pt x="4" y="0"/>
                  </a:lnTo>
                  <a:close/>
                  <a:moveTo>
                    <a:pt x="49" y="14"/>
                  </a:moveTo>
                  <a:lnTo>
                    <a:pt x="49" y="23"/>
                  </a:lnTo>
                  <a:lnTo>
                    <a:pt x="54" y="17"/>
                  </a:lnTo>
                  <a:lnTo>
                    <a:pt x="49" y="14"/>
                  </a:lnTo>
                  <a:close/>
                  <a:moveTo>
                    <a:pt x="67" y="45"/>
                  </a:moveTo>
                  <a:lnTo>
                    <a:pt x="60" y="53"/>
                  </a:lnTo>
                  <a:lnTo>
                    <a:pt x="52" y="51"/>
                  </a:lnTo>
                  <a:lnTo>
                    <a:pt x="51" y="68"/>
                  </a:lnTo>
                  <a:lnTo>
                    <a:pt x="57" y="68"/>
                  </a:lnTo>
                  <a:lnTo>
                    <a:pt x="63" y="60"/>
                  </a:lnTo>
                  <a:lnTo>
                    <a:pt x="74" y="57"/>
                  </a:lnTo>
                  <a:lnTo>
                    <a:pt x="67" y="45"/>
                  </a:lnTo>
                  <a:close/>
                  <a:moveTo>
                    <a:pt x="72" y="87"/>
                  </a:moveTo>
                  <a:lnTo>
                    <a:pt x="69" y="101"/>
                  </a:lnTo>
                  <a:lnTo>
                    <a:pt x="75" y="105"/>
                  </a:lnTo>
                  <a:lnTo>
                    <a:pt x="75" y="90"/>
                  </a:lnTo>
                  <a:lnTo>
                    <a:pt x="72" y="87"/>
                  </a:lnTo>
                  <a:close/>
                  <a:moveTo>
                    <a:pt x="77" y="121"/>
                  </a:moveTo>
                  <a:lnTo>
                    <a:pt x="86" y="128"/>
                  </a:lnTo>
                  <a:lnTo>
                    <a:pt x="92" y="143"/>
                  </a:lnTo>
                  <a:lnTo>
                    <a:pt x="84" y="141"/>
                  </a:lnTo>
                  <a:lnTo>
                    <a:pt x="77" y="121"/>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79" name="Freeform 183">
              <a:extLst>
                <a:ext uri="{FF2B5EF4-FFF2-40B4-BE49-F238E27FC236}">
                  <a16:creationId xmlns:a16="http://schemas.microsoft.com/office/drawing/2014/main" id="{87BE7DA5-39A8-5643-8D32-C2C1BA02F6FC}"/>
                </a:ext>
              </a:extLst>
            </p:cNvPr>
            <p:cNvSpPr>
              <a:spLocks noChangeAspect="1" noEditPoints="1"/>
            </p:cNvSpPr>
            <p:nvPr/>
          </p:nvSpPr>
          <p:spPr bwMode="gray">
            <a:xfrm>
              <a:off x="2768381" y="4005400"/>
              <a:ext cx="129037" cy="67200"/>
            </a:xfrm>
            <a:custGeom>
              <a:avLst/>
              <a:gdLst>
                <a:gd name="T0" fmla="*/ 235 w 267"/>
                <a:gd name="T1" fmla="*/ 107 h 111"/>
                <a:gd name="T2" fmla="*/ 244 w 267"/>
                <a:gd name="T3" fmla="*/ 91 h 111"/>
                <a:gd name="T4" fmla="*/ 252 w 267"/>
                <a:gd name="T5" fmla="*/ 93 h 111"/>
                <a:gd name="T6" fmla="*/ 267 w 267"/>
                <a:gd name="T7" fmla="*/ 74 h 111"/>
                <a:gd name="T8" fmla="*/ 255 w 267"/>
                <a:gd name="T9" fmla="*/ 54 h 111"/>
                <a:gd name="T10" fmla="*/ 258 w 267"/>
                <a:gd name="T11" fmla="*/ 46 h 111"/>
                <a:gd name="T12" fmla="*/ 225 w 267"/>
                <a:gd name="T13" fmla="*/ 15 h 111"/>
                <a:gd name="T14" fmla="*/ 176 w 267"/>
                <a:gd name="T15" fmla="*/ 0 h 111"/>
                <a:gd name="T16" fmla="*/ 153 w 267"/>
                <a:gd name="T17" fmla="*/ 1 h 111"/>
                <a:gd name="T18" fmla="*/ 149 w 267"/>
                <a:gd name="T19" fmla="*/ 22 h 111"/>
                <a:gd name="T20" fmla="*/ 141 w 267"/>
                <a:gd name="T21" fmla="*/ 25 h 111"/>
                <a:gd name="T22" fmla="*/ 139 w 267"/>
                <a:gd name="T23" fmla="*/ 17 h 111"/>
                <a:gd name="T24" fmla="*/ 132 w 267"/>
                <a:gd name="T25" fmla="*/ 17 h 111"/>
                <a:gd name="T26" fmla="*/ 85 w 267"/>
                <a:gd name="T27" fmla="*/ 37 h 111"/>
                <a:gd name="T28" fmla="*/ 60 w 267"/>
                <a:gd name="T29" fmla="*/ 29 h 111"/>
                <a:gd name="T30" fmla="*/ 40 w 267"/>
                <a:gd name="T31" fmla="*/ 29 h 111"/>
                <a:gd name="T32" fmla="*/ 32 w 267"/>
                <a:gd name="T33" fmla="*/ 6 h 111"/>
                <a:gd name="T34" fmla="*/ 20 w 267"/>
                <a:gd name="T35" fmla="*/ 0 h 111"/>
                <a:gd name="T36" fmla="*/ 12 w 267"/>
                <a:gd name="T37" fmla="*/ 0 h 111"/>
                <a:gd name="T38" fmla="*/ 6 w 267"/>
                <a:gd name="T39" fmla="*/ 6 h 111"/>
                <a:gd name="T40" fmla="*/ 5 w 267"/>
                <a:gd name="T41" fmla="*/ 18 h 111"/>
                <a:gd name="T42" fmla="*/ 14 w 267"/>
                <a:gd name="T43" fmla="*/ 25 h 111"/>
                <a:gd name="T44" fmla="*/ 6 w 267"/>
                <a:gd name="T45" fmla="*/ 51 h 111"/>
                <a:gd name="T46" fmla="*/ 0 w 267"/>
                <a:gd name="T47" fmla="*/ 59 h 111"/>
                <a:gd name="T48" fmla="*/ 5 w 267"/>
                <a:gd name="T49" fmla="*/ 68 h 111"/>
                <a:gd name="T50" fmla="*/ 12 w 267"/>
                <a:gd name="T51" fmla="*/ 59 h 111"/>
                <a:gd name="T52" fmla="*/ 57 w 267"/>
                <a:gd name="T53" fmla="*/ 68 h 111"/>
                <a:gd name="T54" fmla="*/ 77 w 267"/>
                <a:gd name="T55" fmla="*/ 93 h 111"/>
                <a:gd name="T56" fmla="*/ 93 w 267"/>
                <a:gd name="T57" fmla="*/ 86 h 111"/>
                <a:gd name="T58" fmla="*/ 100 w 267"/>
                <a:gd name="T59" fmla="*/ 111 h 111"/>
                <a:gd name="T60" fmla="*/ 115 w 267"/>
                <a:gd name="T61" fmla="*/ 111 h 111"/>
                <a:gd name="T62" fmla="*/ 134 w 267"/>
                <a:gd name="T63" fmla="*/ 98 h 111"/>
                <a:gd name="T64" fmla="*/ 119 w 267"/>
                <a:gd name="T65" fmla="*/ 77 h 111"/>
                <a:gd name="T66" fmla="*/ 119 w 267"/>
                <a:gd name="T67" fmla="*/ 68 h 111"/>
                <a:gd name="T68" fmla="*/ 142 w 267"/>
                <a:gd name="T69" fmla="*/ 56 h 111"/>
                <a:gd name="T70" fmla="*/ 161 w 267"/>
                <a:gd name="T71" fmla="*/ 34 h 111"/>
                <a:gd name="T72" fmla="*/ 174 w 267"/>
                <a:gd name="T73" fmla="*/ 29 h 111"/>
                <a:gd name="T74" fmla="*/ 203 w 267"/>
                <a:gd name="T75" fmla="*/ 43 h 111"/>
                <a:gd name="T76" fmla="*/ 212 w 267"/>
                <a:gd name="T77" fmla="*/ 54 h 111"/>
                <a:gd name="T78" fmla="*/ 225 w 267"/>
                <a:gd name="T79" fmla="*/ 52 h 111"/>
                <a:gd name="T80" fmla="*/ 230 w 267"/>
                <a:gd name="T81" fmla="*/ 56 h 111"/>
                <a:gd name="T82" fmla="*/ 218 w 267"/>
                <a:gd name="T83" fmla="*/ 66 h 111"/>
                <a:gd name="T84" fmla="*/ 216 w 267"/>
                <a:gd name="T85" fmla="*/ 77 h 111"/>
                <a:gd name="T86" fmla="*/ 221 w 267"/>
                <a:gd name="T87" fmla="*/ 93 h 111"/>
                <a:gd name="T88" fmla="*/ 235 w 267"/>
                <a:gd name="T89" fmla="*/ 107 h 111"/>
                <a:gd name="T90" fmla="*/ 57 w 267"/>
                <a:gd name="T91" fmla="*/ 88 h 111"/>
                <a:gd name="T92" fmla="*/ 52 w 267"/>
                <a:gd name="T93" fmla="*/ 100 h 111"/>
                <a:gd name="T94" fmla="*/ 59 w 267"/>
                <a:gd name="T95" fmla="*/ 107 h 111"/>
                <a:gd name="T96" fmla="*/ 60 w 267"/>
                <a:gd name="T97" fmla="*/ 90 h 111"/>
                <a:gd name="T98" fmla="*/ 57 w 267"/>
                <a:gd name="T9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7" h="111">
                  <a:moveTo>
                    <a:pt x="235" y="107"/>
                  </a:moveTo>
                  <a:lnTo>
                    <a:pt x="244" y="91"/>
                  </a:lnTo>
                  <a:lnTo>
                    <a:pt x="252" y="93"/>
                  </a:lnTo>
                  <a:lnTo>
                    <a:pt x="267" y="74"/>
                  </a:lnTo>
                  <a:lnTo>
                    <a:pt x="255" y="54"/>
                  </a:lnTo>
                  <a:lnTo>
                    <a:pt x="258" y="46"/>
                  </a:lnTo>
                  <a:lnTo>
                    <a:pt x="225" y="15"/>
                  </a:lnTo>
                  <a:lnTo>
                    <a:pt x="176" y="0"/>
                  </a:lnTo>
                  <a:lnTo>
                    <a:pt x="153" y="1"/>
                  </a:lnTo>
                  <a:lnTo>
                    <a:pt x="149" y="22"/>
                  </a:lnTo>
                  <a:lnTo>
                    <a:pt x="141" y="25"/>
                  </a:lnTo>
                  <a:lnTo>
                    <a:pt x="139" y="17"/>
                  </a:lnTo>
                  <a:lnTo>
                    <a:pt x="132" y="17"/>
                  </a:lnTo>
                  <a:lnTo>
                    <a:pt x="85" y="37"/>
                  </a:lnTo>
                  <a:lnTo>
                    <a:pt x="60" y="29"/>
                  </a:lnTo>
                  <a:lnTo>
                    <a:pt x="40" y="29"/>
                  </a:lnTo>
                  <a:lnTo>
                    <a:pt x="32" y="6"/>
                  </a:lnTo>
                  <a:lnTo>
                    <a:pt x="20" y="0"/>
                  </a:lnTo>
                  <a:lnTo>
                    <a:pt x="12" y="0"/>
                  </a:lnTo>
                  <a:lnTo>
                    <a:pt x="6" y="6"/>
                  </a:lnTo>
                  <a:lnTo>
                    <a:pt x="5" y="18"/>
                  </a:lnTo>
                  <a:lnTo>
                    <a:pt x="14" y="25"/>
                  </a:lnTo>
                  <a:lnTo>
                    <a:pt x="6" y="51"/>
                  </a:lnTo>
                  <a:lnTo>
                    <a:pt x="0" y="59"/>
                  </a:lnTo>
                  <a:lnTo>
                    <a:pt x="5" y="68"/>
                  </a:lnTo>
                  <a:lnTo>
                    <a:pt x="12" y="59"/>
                  </a:lnTo>
                  <a:lnTo>
                    <a:pt x="57" y="68"/>
                  </a:lnTo>
                  <a:lnTo>
                    <a:pt x="77" y="93"/>
                  </a:lnTo>
                  <a:lnTo>
                    <a:pt x="93" y="86"/>
                  </a:lnTo>
                  <a:lnTo>
                    <a:pt x="100" y="111"/>
                  </a:lnTo>
                  <a:lnTo>
                    <a:pt x="115" y="111"/>
                  </a:lnTo>
                  <a:lnTo>
                    <a:pt x="134" y="98"/>
                  </a:lnTo>
                  <a:lnTo>
                    <a:pt x="119" y="77"/>
                  </a:lnTo>
                  <a:lnTo>
                    <a:pt x="119" y="68"/>
                  </a:lnTo>
                  <a:lnTo>
                    <a:pt x="142" y="56"/>
                  </a:lnTo>
                  <a:lnTo>
                    <a:pt x="161" y="34"/>
                  </a:lnTo>
                  <a:lnTo>
                    <a:pt x="174" y="29"/>
                  </a:lnTo>
                  <a:lnTo>
                    <a:pt x="203" y="43"/>
                  </a:lnTo>
                  <a:lnTo>
                    <a:pt x="212" y="54"/>
                  </a:lnTo>
                  <a:lnTo>
                    <a:pt x="225" y="52"/>
                  </a:lnTo>
                  <a:lnTo>
                    <a:pt x="230" y="56"/>
                  </a:lnTo>
                  <a:lnTo>
                    <a:pt x="218" y="66"/>
                  </a:lnTo>
                  <a:lnTo>
                    <a:pt x="216" y="77"/>
                  </a:lnTo>
                  <a:lnTo>
                    <a:pt x="221" y="93"/>
                  </a:lnTo>
                  <a:lnTo>
                    <a:pt x="235" y="107"/>
                  </a:lnTo>
                  <a:close/>
                  <a:moveTo>
                    <a:pt x="57" y="88"/>
                  </a:moveTo>
                  <a:lnTo>
                    <a:pt x="52" y="100"/>
                  </a:lnTo>
                  <a:lnTo>
                    <a:pt x="59" y="107"/>
                  </a:lnTo>
                  <a:lnTo>
                    <a:pt x="60" y="90"/>
                  </a:lnTo>
                  <a:lnTo>
                    <a:pt x="57" y="88"/>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80" name="Freeform 184">
              <a:extLst>
                <a:ext uri="{FF2B5EF4-FFF2-40B4-BE49-F238E27FC236}">
                  <a16:creationId xmlns:a16="http://schemas.microsoft.com/office/drawing/2014/main" id="{73FF287C-52D7-EE46-839E-5CD6F6E7C371}"/>
                </a:ext>
              </a:extLst>
            </p:cNvPr>
            <p:cNvSpPr>
              <a:spLocks noChangeAspect="1" noEditPoints="1"/>
            </p:cNvSpPr>
            <p:nvPr/>
          </p:nvSpPr>
          <p:spPr bwMode="gray">
            <a:xfrm>
              <a:off x="1976638" y="3335330"/>
              <a:ext cx="707312" cy="533752"/>
            </a:xfrm>
            <a:custGeom>
              <a:avLst/>
              <a:gdLst>
                <a:gd name="T0" fmla="*/ 238 w 1450"/>
                <a:gd name="T1" fmla="*/ 82 h 908"/>
                <a:gd name="T2" fmla="*/ 280 w 1450"/>
                <a:gd name="T3" fmla="*/ 184 h 908"/>
                <a:gd name="T4" fmla="*/ 361 w 1450"/>
                <a:gd name="T5" fmla="*/ 285 h 908"/>
                <a:gd name="T6" fmla="*/ 412 w 1450"/>
                <a:gd name="T7" fmla="*/ 356 h 908"/>
                <a:gd name="T8" fmla="*/ 463 w 1450"/>
                <a:gd name="T9" fmla="*/ 390 h 908"/>
                <a:gd name="T10" fmla="*/ 537 w 1450"/>
                <a:gd name="T11" fmla="*/ 477 h 908"/>
                <a:gd name="T12" fmla="*/ 607 w 1450"/>
                <a:gd name="T13" fmla="*/ 590 h 908"/>
                <a:gd name="T14" fmla="*/ 597 w 1450"/>
                <a:gd name="T15" fmla="*/ 661 h 908"/>
                <a:gd name="T16" fmla="*/ 739 w 1450"/>
                <a:gd name="T17" fmla="*/ 749 h 908"/>
                <a:gd name="T18" fmla="*/ 930 w 1450"/>
                <a:gd name="T19" fmla="*/ 837 h 908"/>
                <a:gd name="T20" fmla="*/ 1071 w 1450"/>
                <a:gd name="T21" fmla="*/ 832 h 908"/>
                <a:gd name="T22" fmla="*/ 1203 w 1450"/>
                <a:gd name="T23" fmla="*/ 883 h 908"/>
                <a:gd name="T24" fmla="*/ 1230 w 1450"/>
                <a:gd name="T25" fmla="*/ 775 h 908"/>
                <a:gd name="T26" fmla="*/ 1354 w 1450"/>
                <a:gd name="T27" fmla="*/ 749 h 908"/>
                <a:gd name="T28" fmla="*/ 1389 w 1450"/>
                <a:gd name="T29" fmla="*/ 721 h 908"/>
                <a:gd name="T30" fmla="*/ 1408 w 1450"/>
                <a:gd name="T31" fmla="*/ 676 h 908"/>
                <a:gd name="T32" fmla="*/ 1443 w 1450"/>
                <a:gd name="T33" fmla="*/ 607 h 908"/>
                <a:gd name="T34" fmla="*/ 1403 w 1450"/>
                <a:gd name="T35" fmla="*/ 569 h 908"/>
                <a:gd name="T36" fmla="*/ 1276 w 1450"/>
                <a:gd name="T37" fmla="*/ 644 h 908"/>
                <a:gd name="T38" fmla="*/ 1215 w 1450"/>
                <a:gd name="T39" fmla="*/ 721 h 908"/>
                <a:gd name="T40" fmla="*/ 1125 w 1450"/>
                <a:gd name="T41" fmla="*/ 726 h 908"/>
                <a:gd name="T42" fmla="*/ 1037 w 1450"/>
                <a:gd name="T43" fmla="*/ 704 h 908"/>
                <a:gd name="T44" fmla="*/ 966 w 1450"/>
                <a:gd name="T45" fmla="*/ 594 h 908"/>
                <a:gd name="T46" fmla="*/ 950 w 1450"/>
                <a:gd name="T47" fmla="*/ 481 h 908"/>
                <a:gd name="T48" fmla="*/ 975 w 1450"/>
                <a:gd name="T49" fmla="*/ 376 h 908"/>
                <a:gd name="T50" fmla="*/ 961 w 1450"/>
                <a:gd name="T51" fmla="*/ 356 h 908"/>
                <a:gd name="T52" fmla="*/ 869 w 1450"/>
                <a:gd name="T53" fmla="*/ 308 h 908"/>
                <a:gd name="T54" fmla="*/ 805 w 1450"/>
                <a:gd name="T55" fmla="*/ 189 h 908"/>
                <a:gd name="T56" fmla="*/ 692 w 1450"/>
                <a:gd name="T57" fmla="*/ 198 h 908"/>
                <a:gd name="T58" fmla="*/ 586 w 1450"/>
                <a:gd name="T59" fmla="*/ 93 h 908"/>
                <a:gd name="T60" fmla="*/ 498 w 1450"/>
                <a:gd name="T61" fmla="*/ 45 h 908"/>
                <a:gd name="T62" fmla="*/ 268 w 1450"/>
                <a:gd name="T63" fmla="*/ 45 h 908"/>
                <a:gd name="T64" fmla="*/ 92 w 1450"/>
                <a:gd name="T65" fmla="*/ 6 h 908"/>
                <a:gd name="T66" fmla="*/ 109 w 1450"/>
                <a:gd name="T67" fmla="*/ 124 h 908"/>
                <a:gd name="T68" fmla="*/ 197 w 1450"/>
                <a:gd name="T69" fmla="*/ 224 h 908"/>
                <a:gd name="T70" fmla="*/ 173 w 1450"/>
                <a:gd name="T71" fmla="*/ 261 h 908"/>
                <a:gd name="T72" fmla="*/ 181 w 1450"/>
                <a:gd name="T73" fmla="*/ 289 h 908"/>
                <a:gd name="T74" fmla="*/ 244 w 1450"/>
                <a:gd name="T75" fmla="*/ 319 h 908"/>
                <a:gd name="T76" fmla="*/ 282 w 1450"/>
                <a:gd name="T77" fmla="*/ 416 h 908"/>
                <a:gd name="T78" fmla="*/ 311 w 1450"/>
                <a:gd name="T79" fmla="*/ 427 h 908"/>
                <a:gd name="T80" fmla="*/ 405 w 1450"/>
                <a:gd name="T81" fmla="*/ 495 h 908"/>
                <a:gd name="T82" fmla="*/ 367 w 1450"/>
                <a:gd name="T83" fmla="*/ 446 h 908"/>
                <a:gd name="T84" fmla="*/ 341 w 1450"/>
                <a:gd name="T85" fmla="*/ 379 h 908"/>
                <a:gd name="T86" fmla="*/ 305 w 1450"/>
                <a:gd name="T87" fmla="*/ 325 h 908"/>
                <a:gd name="T88" fmla="*/ 261 w 1450"/>
                <a:gd name="T89" fmla="*/ 258 h 908"/>
                <a:gd name="T90" fmla="*/ 217 w 1450"/>
                <a:gd name="T91" fmla="*/ 182 h 908"/>
                <a:gd name="T92" fmla="*/ 163 w 1450"/>
                <a:gd name="T93" fmla="*/ 84 h 908"/>
                <a:gd name="T94" fmla="*/ 1450 w 1450"/>
                <a:gd name="T95" fmla="*/ 619 h 908"/>
                <a:gd name="T96" fmla="*/ 269 w 1450"/>
                <a:gd name="T97" fmla="*/ 207 h 908"/>
                <a:gd name="T98" fmla="*/ 241 w 1450"/>
                <a:gd name="T99" fmla="*/ 198 h 908"/>
                <a:gd name="T100" fmla="*/ 144 w 1450"/>
                <a:gd name="T101" fmla="*/ 248 h 908"/>
                <a:gd name="T102" fmla="*/ 967 w 1450"/>
                <a:gd name="T103" fmla="*/ 39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50" h="908">
                  <a:moveTo>
                    <a:pt x="159" y="45"/>
                  </a:moveTo>
                  <a:lnTo>
                    <a:pt x="190" y="63"/>
                  </a:lnTo>
                  <a:lnTo>
                    <a:pt x="207" y="63"/>
                  </a:lnTo>
                  <a:lnTo>
                    <a:pt x="214" y="74"/>
                  </a:lnTo>
                  <a:lnTo>
                    <a:pt x="238" y="82"/>
                  </a:lnTo>
                  <a:lnTo>
                    <a:pt x="243" y="110"/>
                  </a:lnTo>
                  <a:lnTo>
                    <a:pt x="258" y="148"/>
                  </a:lnTo>
                  <a:lnTo>
                    <a:pt x="268" y="156"/>
                  </a:lnTo>
                  <a:lnTo>
                    <a:pt x="274" y="177"/>
                  </a:lnTo>
                  <a:lnTo>
                    <a:pt x="280" y="184"/>
                  </a:lnTo>
                  <a:lnTo>
                    <a:pt x="297" y="214"/>
                  </a:lnTo>
                  <a:lnTo>
                    <a:pt x="334" y="249"/>
                  </a:lnTo>
                  <a:lnTo>
                    <a:pt x="356" y="257"/>
                  </a:lnTo>
                  <a:lnTo>
                    <a:pt x="354" y="272"/>
                  </a:lnTo>
                  <a:lnTo>
                    <a:pt x="361" y="285"/>
                  </a:lnTo>
                  <a:lnTo>
                    <a:pt x="382" y="299"/>
                  </a:lnTo>
                  <a:lnTo>
                    <a:pt x="395" y="317"/>
                  </a:lnTo>
                  <a:lnTo>
                    <a:pt x="407" y="317"/>
                  </a:lnTo>
                  <a:lnTo>
                    <a:pt x="422" y="333"/>
                  </a:lnTo>
                  <a:lnTo>
                    <a:pt x="412" y="356"/>
                  </a:lnTo>
                  <a:lnTo>
                    <a:pt x="418" y="373"/>
                  </a:lnTo>
                  <a:lnTo>
                    <a:pt x="433" y="368"/>
                  </a:lnTo>
                  <a:lnTo>
                    <a:pt x="433" y="382"/>
                  </a:lnTo>
                  <a:lnTo>
                    <a:pt x="455" y="392"/>
                  </a:lnTo>
                  <a:lnTo>
                    <a:pt x="463" y="390"/>
                  </a:lnTo>
                  <a:lnTo>
                    <a:pt x="480" y="405"/>
                  </a:lnTo>
                  <a:lnTo>
                    <a:pt x="481" y="426"/>
                  </a:lnTo>
                  <a:lnTo>
                    <a:pt x="526" y="460"/>
                  </a:lnTo>
                  <a:lnTo>
                    <a:pt x="531" y="473"/>
                  </a:lnTo>
                  <a:lnTo>
                    <a:pt x="537" y="477"/>
                  </a:lnTo>
                  <a:lnTo>
                    <a:pt x="551" y="498"/>
                  </a:lnTo>
                  <a:lnTo>
                    <a:pt x="583" y="526"/>
                  </a:lnTo>
                  <a:lnTo>
                    <a:pt x="590" y="558"/>
                  </a:lnTo>
                  <a:lnTo>
                    <a:pt x="597" y="565"/>
                  </a:lnTo>
                  <a:lnTo>
                    <a:pt x="607" y="590"/>
                  </a:lnTo>
                  <a:lnTo>
                    <a:pt x="605" y="602"/>
                  </a:lnTo>
                  <a:lnTo>
                    <a:pt x="597" y="612"/>
                  </a:lnTo>
                  <a:lnTo>
                    <a:pt x="603" y="624"/>
                  </a:lnTo>
                  <a:lnTo>
                    <a:pt x="586" y="634"/>
                  </a:lnTo>
                  <a:lnTo>
                    <a:pt x="597" y="661"/>
                  </a:lnTo>
                  <a:lnTo>
                    <a:pt x="627" y="688"/>
                  </a:lnTo>
                  <a:lnTo>
                    <a:pt x="647" y="693"/>
                  </a:lnTo>
                  <a:lnTo>
                    <a:pt x="668" y="709"/>
                  </a:lnTo>
                  <a:lnTo>
                    <a:pt x="688" y="734"/>
                  </a:lnTo>
                  <a:lnTo>
                    <a:pt x="739" y="749"/>
                  </a:lnTo>
                  <a:lnTo>
                    <a:pt x="756" y="751"/>
                  </a:lnTo>
                  <a:lnTo>
                    <a:pt x="803" y="786"/>
                  </a:lnTo>
                  <a:lnTo>
                    <a:pt x="894" y="819"/>
                  </a:lnTo>
                  <a:lnTo>
                    <a:pt x="902" y="817"/>
                  </a:lnTo>
                  <a:lnTo>
                    <a:pt x="930" y="837"/>
                  </a:lnTo>
                  <a:lnTo>
                    <a:pt x="958" y="848"/>
                  </a:lnTo>
                  <a:lnTo>
                    <a:pt x="981" y="849"/>
                  </a:lnTo>
                  <a:lnTo>
                    <a:pt x="1004" y="859"/>
                  </a:lnTo>
                  <a:lnTo>
                    <a:pt x="1021" y="859"/>
                  </a:lnTo>
                  <a:lnTo>
                    <a:pt x="1071" y="832"/>
                  </a:lnTo>
                  <a:lnTo>
                    <a:pt x="1100" y="835"/>
                  </a:lnTo>
                  <a:lnTo>
                    <a:pt x="1139" y="852"/>
                  </a:lnTo>
                  <a:lnTo>
                    <a:pt x="1199" y="908"/>
                  </a:lnTo>
                  <a:lnTo>
                    <a:pt x="1205" y="890"/>
                  </a:lnTo>
                  <a:lnTo>
                    <a:pt x="1203" y="883"/>
                  </a:lnTo>
                  <a:lnTo>
                    <a:pt x="1232" y="835"/>
                  </a:lnTo>
                  <a:lnTo>
                    <a:pt x="1278" y="834"/>
                  </a:lnTo>
                  <a:lnTo>
                    <a:pt x="1279" y="822"/>
                  </a:lnTo>
                  <a:lnTo>
                    <a:pt x="1265" y="803"/>
                  </a:lnTo>
                  <a:lnTo>
                    <a:pt x="1230" y="775"/>
                  </a:lnTo>
                  <a:lnTo>
                    <a:pt x="1259" y="775"/>
                  </a:lnTo>
                  <a:lnTo>
                    <a:pt x="1259" y="751"/>
                  </a:lnTo>
                  <a:lnTo>
                    <a:pt x="1303" y="751"/>
                  </a:lnTo>
                  <a:lnTo>
                    <a:pt x="1338" y="751"/>
                  </a:lnTo>
                  <a:lnTo>
                    <a:pt x="1354" y="749"/>
                  </a:lnTo>
                  <a:lnTo>
                    <a:pt x="1367" y="726"/>
                  </a:lnTo>
                  <a:lnTo>
                    <a:pt x="1375" y="724"/>
                  </a:lnTo>
                  <a:lnTo>
                    <a:pt x="1386" y="705"/>
                  </a:lnTo>
                  <a:lnTo>
                    <a:pt x="1391" y="707"/>
                  </a:lnTo>
                  <a:lnTo>
                    <a:pt x="1389" y="721"/>
                  </a:lnTo>
                  <a:lnTo>
                    <a:pt x="1396" y="724"/>
                  </a:lnTo>
                  <a:lnTo>
                    <a:pt x="1396" y="744"/>
                  </a:lnTo>
                  <a:lnTo>
                    <a:pt x="1400" y="741"/>
                  </a:lnTo>
                  <a:lnTo>
                    <a:pt x="1414" y="684"/>
                  </a:lnTo>
                  <a:lnTo>
                    <a:pt x="1408" y="676"/>
                  </a:lnTo>
                  <a:lnTo>
                    <a:pt x="1414" y="671"/>
                  </a:lnTo>
                  <a:lnTo>
                    <a:pt x="1414" y="667"/>
                  </a:lnTo>
                  <a:lnTo>
                    <a:pt x="1408" y="662"/>
                  </a:lnTo>
                  <a:lnTo>
                    <a:pt x="1426" y="624"/>
                  </a:lnTo>
                  <a:lnTo>
                    <a:pt x="1443" y="607"/>
                  </a:lnTo>
                  <a:lnTo>
                    <a:pt x="1447" y="590"/>
                  </a:lnTo>
                  <a:lnTo>
                    <a:pt x="1440" y="573"/>
                  </a:lnTo>
                  <a:lnTo>
                    <a:pt x="1414" y="569"/>
                  </a:lnTo>
                  <a:lnTo>
                    <a:pt x="1403" y="580"/>
                  </a:lnTo>
                  <a:lnTo>
                    <a:pt x="1403" y="569"/>
                  </a:lnTo>
                  <a:lnTo>
                    <a:pt x="1389" y="566"/>
                  </a:lnTo>
                  <a:lnTo>
                    <a:pt x="1352" y="578"/>
                  </a:lnTo>
                  <a:lnTo>
                    <a:pt x="1312" y="582"/>
                  </a:lnTo>
                  <a:lnTo>
                    <a:pt x="1284" y="594"/>
                  </a:lnTo>
                  <a:lnTo>
                    <a:pt x="1276" y="644"/>
                  </a:lnTo>
                  <a:lnTo>
                    <a:pt x="1262" y="681"/>
                  </a:lnTo>
                  <a:lnTo>
                    <a:pt x="1241" y="696"/>
                  </a:lnTo>
                  <a:lnTo>
                    <a:pt x="1242" y="712"/>
                  </a:lnTo>
                  <a:lnTo>
                    <a:pt x="1227" y="721"/>
                  </a:lnTo>
                  <a:lnTo>
                    <a:pt x="1215" y="721"/>
                  </a:lnTo>
                  <a:lnTo>
                    <a:pt x="1211" y="712"/>
                  </a:lnTo>
                  <a:lnTo>
                    <a:pt x="1190" y="710"/>
                  </a:lnTo>
                  <a:lnTo>
                    <a:pt x="1186" y="712"/>
                  </a:lnTo>
                  <a:lnTo>
                    <a:pt x="1165" y="721"/>
                  </a:lnTo>
                  <a:lnTo>
                    <a:pt x="1125" y="726"/>
                  </a:lnTo>
                  <a:lnTo>
                    <a:pt x="1106" y="735"/>
                  </a:lnTo>
                  <a:lnTo>
                    <a:pt x="1094" y="735"/>
                  </a:lnTo>
                  <a:lnTo>
                    <a:pt x="1071" y="713"/>
                  </a:lnTo>
                  <a:lnTo>
                    <a:pt x="1057" y="713"/>
                  </a:lnTo>
                  <a:lnTo>
                    <a:pt x="1037" y="704"/>
                  </a:lnTo>
                  <a:lnTo>
                    <a:pt x="1018" y="687"/>
                  </a:lnTo>
                  <a:lnTo>
                    <a:pt x="1004" y="650"/>
                  </a:lnTo>
                  <a:lnTo>
                    <a:pt x="981" y="622"/>
                  </a:lnTo>
                  <a:lnTo>
                    <a:pt x="969" y="602"/>
                  </a:lnTo>
                  <a:lnTo>
                    <a:pt x="966" y="594"/>
                  </a:lnTo>
                  <a:lnTo>
                    <a:pt x="971" y="583"/>
                  </a:lnTo>
                  <a:lnTo>
                    <a:pt x="969" y="574"/>
                  </a:lnTo>
                  <a:lnTo>
                    <a:pt x="954" y="558"/>
                  </a:lnTo>
                  <a:lnTo>
                    <a:pt x="947" y="541"/>
                  </a:lnTo>
                  <a:lnTo>
                    <a:pt x="950" y="481"/>
                  </a:lnTo>
                  <a:lnTo>
                    <a:pt x="942" y="418"/>
                  </a:lnTo>
                  <a:lnTo>
                    <a:pt x="953" y="402"/>
                  </a:lnTo>
                  <a:lnTo>
                    <a:pt x="954" y="385"/>
                  </a:lnTo>
                  <a:lnTo>
                    <a:pt x="969" y="384"/>
                  </a:lnTo>
                  <a:lnTo>
                    <a:pt x="975" y="376"/>
                  </a:lnTo>
                  <a:lnTo>
                    <a:pt x="978" y="363"/>
                  </a:lnTo>
                  <a:lnTo>
                    <a:pt x="969" y="371"/>
                  </a:lnTo>
                  <a:lnTo>
                    <a:pt x="975" y="356"/>
                  </a:lnTo>
                  <a:lnTo>
                    <a:pt x="976" y="354"/>
                  </a:lnTo>
                  <a:lnTo>
                    <a:pt x="961" y="356"/>
                  </a:lnTo>
                  <a:lnTo>
                    <a:pt x="945" y="348"/>
                  </a:lnTo>
                  <a:lnTo>
                    <a:pt x="922" y="346"/>
                  </a:lnTo>
                  <a:lnTo>
                    <a:pt x="899" y="337"/>
                  </a:lnTo>
                  <a:lnTo>
                    <a:pt x="885" y="329"/>
                  </a:lnTo>
                  <a:lnTo>
                    <a:pt x="869" y="308"/>
                  </a:lnTo>
                  <a:lnTo>
                    <a:pt x="857" y="266"/>
                  </a:lnTo>
                  <a:lnTo>
                    <a:pt x="842" y="257"/>
                  </a:lnTo>
                  <a:lnTo>
                    <a:pt x="835" y="241"/>
                  </a:lnTo>
                  <a:lnTo>
                    <a:pt x="822" y="228"/>
                  </a:lnTo>
                  <a:lnTo>
                    <a:pt x="805" y="189"/>
                  </a:lnTo>
                  <a:lnTo>
                    <a:pt x="778" y="160"/>
                  </a:lnTo>
                  <a:lnTo>
                    <a:pt x="769" y="152"/>
                  </a:lnTo>
                  <a:lnTo>
                    <a:pt x="724" y="150"/>
                  </a:lnTo>
                  <a:lnTo>
                    <a:pt x="713" y="155"/>
                  </a:lnTo>
                  <a:lnTo>
                    <a:pt x="692" y="198"/>
                  </a:lnTo>
                  <a:lnTo>
                    <a:pt x="673" y="192"/>
                  </a:lnTo>
                  <a:lnTo>
                    <a:pt x="636" y="167"/>
                  </a:lnTo>
                  <a:lnTo>
                    <a:pt x="624" y="150"/>
                  </a:lnTo>
                  <a:lnTo>
                    <a:pt x="611" y="108"/>
                  </a:lnTo>
                  <a:lnTo>
                    <a:pt x="586" y="93"/>
                  </a:lnTo>
                  <a:lnTo>
                    <a:pt x="563" y="67"/>
                  </a:lnTo>
                  <a:lnTo>
                    <a:pt x="552" y="62"/>
                  </a:lnTo>
                  <a:lnTo>
                    <a:pt x="548" y="51"/>
                  </a:lnTo>
                  <a:lnTo>
                    <a:pt x="534" y="45"/>
                  </a:lnTo>
                  <a:lnTo>
                    <a:pt x="498" y="45"/>
                  </a:lnTo>
                  <a:lnTo>
                    <a:pt x="459" y="45"/>
                  </a:lnTo>
                  <a:lnTo>
                    <a:pt x="458" y="70"/>
                  </a:lnTo>
                  <a:lnTo>
                    <a:pt x="382" y="70"/>
                  </a:lnTo>
                  <a:lnTo>
                    <a:pt x="334" y="70"/>
                  </a:lnTo>
                  <a:lnTo>
                    <a:pt x="268" y="45"/>
                  </a:lnTo>
                  <a:lnTo>
                    <a:pt x="202" y="21"/>
                  </a:lnTo>
                  <a:lnTo>
                    <a:pt x="158" y="4"/>
                  </a:lnTo>
                  <a:lnTo>
                    <a:pt x="158" y="0"/>
                  </a:lnTo>
                  <a:lnTo>
                    <a:pt x="126" y="3"/>
                  </a:lnTo>
                  <a:lnTo>
                    <a:pt x="92" y="6"/>
                  </a:lnTo>
                  <a:lnTo>
                    <a:pt x="53" y="8"/>
                  </a:lnTo>
                  <a:lnTo>
                    <a:pt x="79" y="46"/>
                  </a:lnTo>
                  <a:lnTo>
                    <a:pt x="79" y="60"/>
                  </a:lnTo>
                  <a:lnTo>
                    <a:pt x="102" y="99"/>
                  </a:lnTo>
                  <a:lnTo>
                    <a:pt x="109" y="124"/>
                  </a:lnTo>
                  <a:lnTo>
                    <a:pt x="114" y="122"/>
                  </a:lnTo>
                  <a:lnTo>
                    <a:pt x="122" y="156"/>
                  </a:lnTo>
                  <a:lnTo>
                    <a:pt x="148" y="175"/>
                  </a:lnTo>
                  <a:lnTo>
                    <a:pt x="155" y="175"/>
                  </a:lnTo>
                  <a:lnTo>
                    <a:pt x="197" y="224"/>
                  </a:lnTo>
                  <a:lnTo>
                    <a:pt x="198" y="248"/>
                  </a:lnTo>
                  <a:lnTo>
                    <a:pt x="192" y="252"/>
                  </a:lnTo>
                  <a:lnTo>
                    <a:pt x="193" y="260"/>
                  </a:lnTo>
                  <a:lnTo>
                    <a:pt x="187" y="257"/>
                  </a:lnTo>
                  <a:lnTo>
                    <a:pt x="173" y="261"/>
                  </a:lnTo>
                  <a:lnTo>
                    <a:pt x="155" y="260"/>
                  </a:lnTo>
                  <a:lnTo>
                    <a:pt x="155" y="265"/>
                  </a:lnTo>
                  <a:lnTo>
                    <a:pt x="159" y="265"/>
                  </a:lnTo>
                  <a:lnTo>
                    <a:pt x="176" y="275"/>
                  </a:lnTo>
                  <a:lnTo>
                    <a:pt x="181" y="289"/>
                  </a:lnTo>
                  <a:lnTo>
                    <a:pt x="197" y="294"/>
                  </a:lnTo>
                  <a:lnTo>
                    <a:pt x="221" y="312"/>
                  </a:lnTo>
                  <a:lnTo>
                    <a:pt x="231" y="314"/>
                  </a:lnTo>
                  <a:lnTo>
                    <a:pt x="241" y="303"/>
                  </a:lnTo>
                  <a:lnTo>
                    <a:pt x="244" y="319"/>
                  </a:lnTo>
                  <a:lnTo>
                    <a:pt x="254" y="333"/>
                  </a:lnTo>
                  <a:lnTo>
                    <a:pt x="275" y="342"/>
                  </a:lnTo>
                  <a:lnTo>
                    <a:pt x="286" y="365"/>
                  </a:lnTo>
                  <a:lnTo>
                    <a:pt x="288" y="390"/>
                  </a:lnTo>
                  <a:lnTo>
                    <a:pt x="282" y="416"/>
                  </a:lnTo>
                  <a:lnTo>
                    <a:pt x="286" y="410"/>
                  </a:lnTo>
                  <a:lnTo>
                    <a:pt x="288" y="416"/>
                  </a:lnTo>
                  <a:lnTo>
                    <a:pt x="299" y="418"/>
                  </a:lnTo>
                  <a:lnTo>
                    <a:pt x="302" y="426"/>
                  </a:lnTo>
                  <a:lnTo>
                    <a:pt x="311" y="427"/>
                  </a:lnTo>
                  <a:lnTo>
                    <a:pt x="319" y="439"/>
                  </a:lnTo>
                  <a:lnTo>
                    <a:pt x="363" y="472"/>
                  </a:lnTo>
                  <a:lnTo>
                    <a:pt x="373" y="481"/>
                  </a:lnTo>
                  <a:lnTo>
                    <a:pt x="385" y="509"/>
                  </a:lnTo>
                  <a:lnTo>
                    <a:pt x="405" y="495"/>
                  </a:lnTo>
                  <a:lnTo>
                    <a:pt x="410" y="483"/>
                  </a:lnTo>
                  <a:lnTo>
                    <a:pt x="407" y="477"/>
                  </a:lnTo>
                  <a:lnTo>
                    <a:pt x="393" y="455"/>
                  </a:lnTo>
                  <a:lnTo>
                    <a:pt x="375" y="439"/>
                  </a:lnTo>
                  <a:lnTo>
                    <a:pt x="367" y="446"/>
                  </a:lnTo>
                  <a:lnTo>
                    <a:pt x="358" y="439"/>
                  </a:lnTo>
                  <a:lnTo>
                    <a:pt x="351" y="424"/>
                  </a:lnTo>
                  <a:lnTo>
                    <a:pt x="351" y="410"/>
                  </a:lnTo>
                  <a:lnTo>
                    <a:pt x="341" y="393"/>
                  </a:lnTo>
                  <a:lnTo>
                    <a:pt x="341" y="379"/>
                  </a:lnTo>
                  <a:lnTo>
                    <a:pt x="325" y="363"/>
                  </a:lnTo>
                  <a:lnTo>
                    <a:pt x="322" y="339"/>
                  </a:lnTo>
                  <a:lnTo>
                    <a:pt x="312" y="317"/>
                  </a:lnTo>
                  <a:lnTo>
                    <a:pt x="300" y="311"/>
                  </a:lnTo>
                  <a:lnTo>
                    <a:pt x="305" y="325"/>
                  </a:lnTo>
                  <a:lnTo>
                    <a:pt x="299" y="319"/>
                  </a:lnTo>
                  <a:lnTo>
                    <a:pt x="294" y="300"/>
                  </a:lnTo>
                  <a:lnTo>
                    <a:pt x="283" y="292"/>
                  </a:lnTo>
                  <a:lnTo>
                    <a:pt x="278" y="275"/>
                  </a:lnTo>
                  <a:lnTo>
                    <a:pt x="261" y="258"/>
                  </a:lnTo>
                  <a:lnTo>
                    <a:pt x="254" y="229"/>
                  </a:lnTo>
                  <a:lnTo>
                    <a:pt x="246" y="224"/>
                  </a:lnTo>
                  <a:lnTo>
                    <a:pt x="238" y="206"/>
                  </a:lnTo>
                  <a:lnTo>
                    <a:pt x="226" y="203"/>
                  </a:lnTo>
                  <a:lnTo>
                    <a:pt x="217" y="182"/>
                  </a:lnTo>
                  <a:lnTo>
                    <a:pt x="192" y="158"/>
                  </a:lnTo>
                  <a:lnTo>
                    <a:pt x="185" y="158"/>
                  </a:lnTo>
                  <a:lnTo>
                    <a:pt x="173" y="136"/>
                  </a:lnTo>
                  <a:lnTo>
                    <a:pt x="168" y="96"/>
                  </a:lnTo>
                  <a:lnTo>
                    <a:pt x="163" y="84"/>
                  </a:lnTo>
                  <a:lnTo>
                    <a:pt x="159" y="45"/>
                  </a:lnTo>
                  <a:close/>
                  <a:moveTo>
                    <a:pt x="1450" y="619"/>
                  </a:moveTo>
                  <a:lnTo>
                    <a:pt x="1443" y="620"/>
                  </a:lnTo>
                  <a:lnTo>
                    <a:pt x="1439" y="633"/>
                  </a:lnTo>
                  <a:lnTo>
                    <a:pt x="1450" y="619"/>
                  </a:lnTo>
                  <a:close/>
                  <a:moveTo>
                    <a:pt x="269" y="195"/>
                  </a:moveTo>
                  <a:lnTo>
                    <a:pt x="271" y="187"/>
                  </a:lnTo>
                  <a:lnTo>
                    <a:pt x="277" y="189"/>
                  </a:lnTo>
                  <a:lnTo>
                    <a:pt x="280" y="209"/>
                  </a:lnTo>
                  <a:lnTo>
                    <a:pt x="269" y="207"/>
                  </a:lnTo>
                  <a:lnTo>
                    <a:pt x="269" y="195"/>
                  </a:lnTo>
                  <a:close/>
                  <a:moveTo>
                    <a:pt x="241" y="198"/>
                  </a:moveTo>
                  <a:lnTo>
                    <a:pt x="238" y="198"/>
                  </a:lnTo>
                  <a:lnTo>
                    <a:pt x="221" y="170"/>
                  </a:lnTo>
                  <a:lnTo>
                    <a:pt x="241" y="198"/>
                  </a:lnTo>
                  <a:close/>
                  <a:moveTo>
                    <a:pt x="0" y="198"/>
                  </a:moveTo>
                  <a:lnTo>
                    <a:pt x="2" y="190"/>
                  </a:lnTo>
                  <a:lnTo>
                    <a:pt x="3" y="206"/>
                  </a:lnTo>
                  <a:lnTo>
                    <a:pt x="0" y="198"/>
                  </a:lnTo>
                  <a:close/>
                  <a:moveTo>
                    <a:pt x="144" y="248"/>
                  </a:moveTo>
                  <a:lnTo>
                    <a:pt x="139" y="243"/>
                  </a:lnTo>
                  <a:lnTo>
                    <a:pt x="146" y="231"/>
                  </a:lnTo>
                  <a:lnTo>
                    <a:pt x="144" y="248"/>
                  </a:lnTo>
                  <a:close/>
                  <a:moveTo>
                    <a:pt x="964" y="387"/>
                  </a:moveTo>
                  <a:lnTo>
                    <a:pt x="967" y="396"/>
                  </a:lnTo>
                  <a:lnTo>
                    <a:pt x="962" y="401"/>
                  </a:lnTo>
                  <a:lnTo>
                    <a:pt x="961" y="393"/>
                  </a:lnTo>
                  <a:lnTo>
                    <a:pt x="964" y="387"/>
                  </a:lnTo>
                  <a:close/>
                </a:path>
              </a:pathLst>
            </a:custGeom>
            <a:solidFill>
              <a:schemeClr val="accent1"/>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81" name="Freeform 185">
              <a:extLst>
                <a:ext uri="{FF2B5EF4-FFF2-40B4-BE49-F238E27FC236}">
                  <a16:creationId xmlns:a16="http://schemas.microsoft.com/office/drawing/2014/main" id="{B6F2A8BD-C105-7A42-8B97-10C0E806D537}"/>
                </a:ext>
              </a:extLst>
            </p:cNvPr>
            <p:cNvSpPr>
              <a:spLocks noChangeAspect="1" noEditPoints="1"/>
            </p:cNvSpPr>
            <p:nvPr/>
          </p:nvSpPr>
          <p:spPr bwMode="gray">
            <a:xfrm>
              <a:off x="1462084" y="1432635"/>
              <a:ext cx="1986526" cy="1585900"/>
            </a:xfrm>
            <a:custGeom>
              <a:avLst/>
              <a:gdLst>
                <a:gd name="T0" fmla="*/ 2734 w 4073"/>
                <a:gd name="T1" fmla="*/ 2596 h 2696"/>
                <a:gd name="T2" fmla="*/ 2599 w 4073"/>
                <a:gd name="T3" fmla="*/ 2376 h 2696"/>
                <a:gd name="T4" fmla="*/ 1705 w 4073"/>
                <a:gd name="T5" fmla="*/ 2239 h 2696"/>
                <a:gd name="T6" fmla="*/ 744 w 4073"/>
                <a:gd name="T7" fmla="*/ 2138 h 2696"/>
                <a:gd name="T8" fmla="*/ 563 w 4073"/>
                <a:gd name="T9" fmla="*/ 1965 h 2696"/>
                <a:gd name="T10" fmla="*/ 404 w 4073"/>
                <a:gd name="T11" fmla="*/ 1728 h 2696"/>
                <a:gd name="T12" fmla="*/ 249 w 4073"/>
                <a:gd name="T13" fmla="*/ 1502 h 2696"/>
                <a:gd name="T14" fmla="*/ 0 w 4073"/>
                <a:gd name="T15" fmla="*/ 1163 h 2696"/>
                <a:gd name="T16" fmla="*/ 456 w 4073"/>
                <a:gd name="T17" fmla="*/ 267 h 2696"/>
                <a:gd name="T18" fmla="*/ 701 w 4073"/>
                <a:gd name="T19" fmla="*/ 340 h 2696"/>
                <a:gd name="T20" fmla="*/ 1244 w 4073"/>
                <a:gd name="T21" fmla="*/ 453 h 2696"/>
                <a:gd name="T22" fmla="*/ 1532 w 4073"/>
                <a:gd name="T23" fmla="*/ 641 h 2696"/>
                <a:gd name="T24" fmla="*/ 1533 w 4073"/>
                <a:gd name="T25" fmla="*/ 426 h 2696"/>
                <a:gd name="T26" fmla="*/ 1980 w 4073"/>
                <a:gd name="T27" fmla="*/ 529 h 2696"/>
                <a:gd name="T28" fmla="*/ 2136 w 4073"/>
                <a:gd name="T29" fmla="*/ 504 h 2696"/>
                <a:gd name="T30" fmla="*/ 2062 w 4073"/>
                <a:gd name="T31" fmla="*/ 109 h 2696"/>
                <a:gd name="T32" fmla="*/ 2313 w 4073"/>
                <a:gd name="T33" fmla="*/ 320 h 2696"/>
                <a:gd name="T34" fmla="*/ 2597 w 4073"/>
                <a:gd name="T35" fmla="*/ 382 h 2696"/>
                <a:gd name="T36" fmla="*/ 2667 w 4073"/>
                <a:gd name="T37" fmla="*/ 703 h 2696"/>
                <a:gd name="T38" fmla="*/ 2361 w 4073"/>
                <a:gd name="T39" fmla="*/ 973 h 2696"/>
                <a:gd name="T40" fmla="*/ 2191 w 4073"/>
                <a:gd name="T41" fmla="*/ 1177 h 2696"/>
                <a:gd name="T42" fmla="*/ 2539 w 4073"/>
                <a:gd name="T43" fmla="*/ 1734 h 2696"/>
                <a:gd name="T44" fmla="*/ 2890 w 4073"/>
                <a:gd name="T45" fmla="*/ 2000 h 2696"/>
                <a:gd name="T46" fmla="*/ 2913 w 4073"/>
                <a:gd name="T47" fmla="*/ 1296 h 2696"/>
                <a:gd name="T48" fmla="*/ 3190 w 4073"/>
                <a:gd name="T49" fmla="*/ 1222 h 2696"/>
                <a:gd name="T50" fmla="*/ 3369 w 4073"/>
                <a:gd name="T51" fmla="*/ 1508 h 2696"/>
                <a:gd name="T52" fmla="*/ 3574 w 4073"/>
                <a:gd name="T53" fmla="*/ 1428 h 2696"/>
                <a:gd name="T54" fmla="*/ 3660 w 4073"/>
                <a:gd name="T55" fmla="*/ 1683 h 2696"/>
                <a:gd name="T56" fmla="*/ 3701 w 4073"/>
                <a:gd name="T57" fmla="*/ 1881 h 2696"/>
                <a:gd name="T58" fmla="*/ 3789 w 4073"/>
                <a:gd name="T59" fmla="*/ 2088 h 2696"/>
                <a:gd name="T60" fmla="*/ 3498 w 4073"/>
                <a:gd name="T61" fmla="*/ 2300 h 2696"/>
                <a:gd name="T62" fmla="*/ 3552 w 4073"/>
                <a:gd name="T63" fmla="*/ 2539 h 2696"/>
                <a:gd name="T64" fmla="*/ 3391 w 4073"/>
                <a:gd name="T65" fmla="*/ 2486 h 2696"/>
                <a:gd name="T66" fmla="*/ 3550 w 4073"/>
                <a:gd name="T67" fmla="*/ 2404 h 2696"/>
                <a:gd name="T68" fmla="*/ 401 w 4073"/>
                <a:gd name="T69" fmla="*/ 1856 h 2696"/>
                <a:gd name="T70" fmla="*/ 397 w 4073"/>
                <a:gd name="T71" fmla="*/ 1754 h 2696"/>
                <a:gd name="T72" fmla="*/ 221 w 4073"/>
                <a:gd name="T73" fmla="*/ 1539 h 2696"/>
                <a:gd name="T74" fmla="*/ 322 w 4073"/>
                <a:gd name="T75" fmla="*/ 1683 h 2696"/>
                <a:gd name="T76" fmla="*/ 266 w 4073"/>
                <a:gd name="T77" fmla="*/ 1616 h 2696"/>
                <a:gd name="T78" fmla="*/ 812 w 4073"/>
                <a:gd name="T79" fmla="*/ 2259 h 2696"/>
                <a:gd name="T80" fmla="*/ 1841 w 4073"/>
                <a:gd name="T81" fmla="*/ 1358 h 2696"/>
                <a:gd name="T82" fmla="*/ 2684 w 4073"/>
                <a:gd name="T83" fmla="*/ 1138 h 2696"/>
                <a:gd name="T84" fmla="*/ 2878 w 4073"/>
                <a:gd name="T85" fmla="*/ 341 h 2696"/>
                <a:gd name="T86" fmla="*/ 2582 w 4073"/>
                <a:gd name="T87" fmla="*/ 129 h 2696"/>
                <a:gd name="T88" fmla="*/ 3322 w 4073"/>
                <a:gd name="T89" fmla="*/ 265 h 2696"/>
                <a:gd name="T90" fmla="*/ 3544 w 4073"/>
                <a:gd name="T91" fmla="*/ 611 h 2696"/>
                <a:gd name="T92" fmla="*/ 3393 w 4073"/>
                <a:gd name="T93" fmla="*/ 688 h 2696"/>
                <a:gd name="T94" fmla="*/ 3529 w 4073"/>
                <a:gd name="T95" fmla="*/ 1042 h 2696"/>
                <a:gd name="T96" fmla="*/ 3342 w 4073"/>
                <a:gd name="T97" fmla="*/ 1140 h 2696"/>
                <a:gd name="T98" fmla="*/ 3031 w 4073"/>
                <a:gd name="T99" fmla="*/ 918 h 2696"/>
                <a:gd name="T100" fmla="*/ 3054 w 4073"/>
                <a:gd name="T101" fmla="*/ 400 h 2696"/>
                <a:gd name="T102" fmla="*/ 2485 w 4073"/>
                <a:gd name="T103" fmla="*/ 219 h 2696"/>
                <a:gd name="T104" fmla="*/ 2717 w 4073"/>
                <a:gd name="T105" fmla="*/ 996 h 2696"/>
                <a:gd name="T106" fmla="*/ 1518 w 4073"/>
                <a:gd name="T107" fmla="*/ 24 h 2696"/>
                <a:gd name="T108" fmla="*/ 1757 w 4073"/>
                <a:gd name="T109" fmla="*/ 416 h 2696"/>
                <a:gd name="T110" fmla="*/ 1055 w 4073"/>
                <a:gd name="T111" fmla="*/ 67 h 2696"/>
                <a:gd name="T112" fmla="*/ 2115 w 4073"/>
                <a:gd name="T113" fmla="*/ 411 h 2696"/>
                <a:gd name="T114" fmla="*/ 1140 w 4073"/>
                <a:gd name="T115" fmla="*/ 1262 h 2696"/>
                <a:gd name="T116" fmla="*/ 3920 w 4073"/>
                <a:gd name="T117" fmla="*/ 2158 h 2696"/>
                <a:gd name="T118" fmla="*/ 3806 w 4073"/>
                <a:gd name="T119" fmla="*/ 2271 h 2696"/>
                <a:gd name="T120" fmla="*/ 4070 w 4073"/>
                <a:gd name="T121" fmla="*/ 2324 h 2696"/>
                <a:gd name="T122" fmla="*/ 3711 w 4073"/>
                <a:gd name="T123" fmla="*/ 2374 h 2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73" h="2696">
                  <a:moveTo>
                    <a:pt x="3056" y="2508"/>
                  </a:moveTo>
                  <a:lnTo>
                    <a:pt x="3044" y="2508"/>
                  </a:lnTo>
                  <a:lnTo>
                    <a:pt x="3015" y="2528"/>
                  </a:lnTo>
                  <a:lnTo>
                    <a:pt x="3000" y="2547"/>
                  </a:lnTo>
                  <a:lnTo>
                    <a:pt x="2956" y="2565"/>
                  </a:lnTo>
                  <a:lnTo>
                    <a:pt x="2955" y="2559"/>
                  </a:lnTo>
                  <a:lnTo>
                    <a:pt x="2942" y="2560"/>
                  </a:lnTo>
                  <a:lnTo>
                    <a:pt x="2953" y="2576"/>
                  </a:lnTo>
                  <a:lnTo>
                    <a:pt x="2927" y="2571"/>
                  </a:lnTo>
                  <a:lnTo>
                    <a:pt x="2902" y="2571"/>
                  </a:lnTo>
                  <a:lnTo>
                    <a:pt x="2853" y="2584"/>
                  </a:lnTo>
                  <a:lnTo>
                    <a:pt x="2824" y="2615"/>
                  </a:lnTo>
                  <a:lnTo>
                    <a:pt x="2842" y="2619"/>
                  </a:lnTo>
                  <a:lnTo>
                    <a:pt x="2851" y="2619"/>
                  </a:lnTo>
                  <a:lnTo>
                    <a:pt x="2859" y="2618"/>
                  </a:lnTo>
                  <a:lnTo>
                    <a:pt x="2868" y="2644"/>
                  </a:lnTo>
                  <a:lnTo>
                    <a:pt x="2849" y="2640"/>
                  </a:lnTo>
                  <a:lnTo>
                    <a:pt x="2829" y="2640"/>
                  </a:lnTo>
                  <a:lnTo>
                    <a:pt x="2803" y="2647"/>
                  </a:lnTo>
                  <a:lnTo>
                    <a:pt x="2790" y="2659"/>
                  </a:lnTo>
                  <a:lnTo>
                    <a:pt x="2763" y="2652"/>
                  </a:lnTo>
                  <a:lnTo>
                    <a:pt x="2743" y="2661"/>
                  </a:lnTo>
                  <a:lnTo>
                    <a:pt x="2732" y="2676"/>
                  </a:lnTo>
                  <a:lnTo>
                    <a:pt x="2721" y="2678"/>
                  </a:lnTo>
                  <a:lnTo>
                    <a:pt x="2702" y="2696"/>
                  </a:lnTo>
                  <a:lnTo>
                    <a:pt x="2670" y="2695"/>
                  </a:lnTo>
                  <a:lnTo>
                    <a:pt x="2672" y="2686"/>
                  </a:lnTo>
                  <a:lnTo>
                    <a:pt x="2680" y="2670"/>
                  </a:lnTo>
                  <a:lnTo>
                    <a:pt x="2690" y="2676"/>
                  </a:lnTo>
                  <a:lnTo>
                    <a:pt x="2700" y="2673"/>
                  </a:lnTo>
                  <a:lnTo>
                    <a:pt x="2702" y="2667"/>
                  </a:lnTo>
                  <a:lnTo>
                    <a:pt x="2697" y="2655"/>
                  </a:lnTo>
                  <a:lnTo>
                    <a:pt x="2704" y="2627"/>
                  </a:lnTo>
                  <a:lnTo>
                    <a:pt x="2710" y="2627"/>
                  </a:lnTo>
                  <a:lnTo>
                    <a:pt x="2731" y="2610"/>
                  </a:lnTo>
                  <a:lnTo>
                    <a:pt x="2734" y="2596"/>
                  </a:lnTo>
                  <a:lnTo>
                    <a:pt x="2732" y="2560"/>
                  </a:lnTo>
                  <a:lnTo>
                    <a:pt x="2751" y="2523"/>
                  </a:lnTo>
                  <a:lnTo>
                    <a:pt x="2748" y="2506"/>
                  </a:lnTo>
                  <a:lnTo>
                    <a:pt x="2738" y="2489"/>
                  </a:lnTo>
                  <a:lnTo>
                    <a:pt x="2752" y="2491"/>
                  </a:lnTo>
                  <a:lnTo>
                    <a:pt x="2760" y="2514"/>
                  </a:lnTo>
                  <a:lnTo>
                    <a:pt x="2768" y="2508"/>
                  </a:lnTo>
                  <a:lnTo>
                    <a:pt x="2766" y="2520"/>
                  </a:lnTo>
                  <a:lnTo>
                    <a:pt x="2769" y="2520"/>
                  </a:lnTo>
                  <a:lnTo>
                    <a:pt x="2771" y="2532"/>
                  </a:lnTo>
                  <a:lnTo>
                    <a:pt x="2780" y="2523"/>
                  </a:lnTo>
                  <a:lnTo>
                    <a:pt x="2788" y="2532"/>
                  </a:lnTo>
                  <a:lnTo>
                    <a:pt x="2811" y="2537"/>
                  </a:lnTo>
                  <a:lnTo>
                    <a:pt x="2814" y="2532"/>
                  </a:lnTo>
                  <a:lnTo>
                    <a:pt x="2811" y="2515"/>
                  </a:lnTo>
                  <a:lnTo>
                    <a:pt x="2829" y="2518"/>
                  </a:lnTo>
                  <a:lnTo>
                    <a:pt x="2829" y="2514"/>
                  </a:lnTo>
                  <a:lnTo>
                    <a:pt x="2812" y="2498"/>
                  </a:lnTo>
                  <a:lnTo>
                    <a:pt x="2812" y="2483"/>
                  </a:lnTo>
                  <a:lnTo>
                    <a:pt x="2802" y="2480"/>
                  </a:lnTo>
                  <a:lnTo>
                    <a:pt x="2790" y="2466"/>
                  </a:lnTo>
                  <a:lnTo>
                    <a:pt x="2785" y="2450"/>
                  </a:lnTo>
                  <a:lnTo>
                    <a:pt x="2777" y="2446"/>
                  </a:lnTo>
                  <a:lnTo>
                    <a:pt x="2743" y="2444"/>
                  </a:lnTo>
                  <a:lnTo>
                    <a:pt x="2741" y="2435"/>
                  </a:lnTo>
                  <a:lnTo>
                    <a:pt x="2687" y="2427"/>
                  </a:lnTo>
                  <a:lnTo>
                    <a:pt x="2673" y="2430"/>
                  </a:lnTo>
                  <a:lnTo>
                    <a:pt x="2639" y="2418"/>
                  </a:lnTo>
                  <a:lnTo>
                    <a:pt x="2624" y="2421"/>
                  </a:lnTo>
                  <a:lnTo>
                    <a:pt x="2614" y="2401"/>
                  </a:lnTo>
                  <a:lnTo>
                    <a:pt x="2613" y="2408"/>
                  </a:lnTo>
                  <a:lnTo>
                    <a:pt x="2605" y="2408"/>
                  </a:lnTo>
                  <a:lnTo>
                    <a:pt x="2607" y="2393"/>
                  </a:lnTo>
                  <a:lnTo>
                    <a:pt x="2604" y="2390"/>
                  </a:lnTo>
                  <a:lnTo>
                    <a:pt x="2608" y="2382"/>
                  </a:lnTo>
                  <a:lnTo>
                    <a:pt x="2599" y="2376"/>
                  </a:lnTo>
                  <a:lnTo>
                    <a:pt x="2596" y="2364"/>
                  </a:lnTo>
                  <a:lnTo>
                    <a:pt x="2599" y="2353"/>
                  </a:lnTo>
                  <a:lnTo>
                    <a:pt x="2583" y="2330"/>
                  </a:lnTo>
                  <a:lnTo>
                    <a:pt x="2588" y="2307"/>
                  </a:lnTo>
                  <a:lnTo>
                    <a:pt x="2550" y="2310"/>
                  </a:lnTo>
                  <a:lnTo>
                    <a:pt x="2539" y="2303"/>
                  </a:lnTo>
                  <a:lnTo>
                    <a:pt x="2519" y="2256"/>
                  </a:lnTo>
                  <a:lnTo>
                    <a:pt x="2486" y="2251"/>
                  </a:lnTo>
                  <a:lnTo>
                    <a:pt x="2486" y="2285"/>
                  </a:lnTo>
                  <a:lnTo>
                    <a:pt x="2472" y="2248"/>
                  </a:lnTo>
                  <a:lnTo>
                    <a:pt x="2443" y="2237"/>
                  </a:lnTo>
                  <a:lnTo>
                    <a:pt x="2438" y="2242"/>
                  </a:lnTo>
                  <a:lnTo>
                    <a:pt x="2438" y="2259"/>
                  </a:lnTo>
                  <a:lnTo>
                    <a:pt x="2426" y="2274"/>
                  </a:lnTo>
                  <a:lnTo>
                    <a:pt x="2421" y="2269"/>
                  </a:lnTo>
                  <a:lnTo>
                    <a:pt x="2426" y="2249"/>
                  </a:lnTo>
                  <a:lnTo>
                    <a:pt x="2412" y="2280"/>
                  </a:lnTo>
                  <a:lnTo>
                    <a:pt x="2406" y="2282"/>
                  </a:lnTo>
                  <a:lnTo>
                    <a:pt x="2406" y="2266"/>
                  </a:lnTo>
                  <a:lnTo>
                    <a:pt x="2384" y="2300"/>
                  </a:lnTo>
                  <a:lnTo>
                    <a:pt x="2365" y="2308"/>
                  </a:lnTo>
                  <a:lnTo>
                    <a:pt x="2314" y="2296"/>
                  </a:lnTo>
                  <a:lnTo>
                    <a:pt x="2288" y="2302"/>
                  </a:lnTo>
                  <a:lnTo>
                    <a:pt x="2225" y="2263"/>
                  </a:lnTo>
                  <a:lnTo>
                    <a:pt x="2187" y="2266"/>
                  </a:lnTo>
                  <a:lnTo>
                    <a:pt x="2163" y="2256"/>
                  </a:lnTo>
                  <a:lnTo>
                    <a:pt x="2143" y="2256"/>
                  </a:lnTo>
                  <a:lnTo>
                    <a:pt x="2124" y="2210"/>
                  </a:lnTo>
                  <a:lnTo>
                    <a:pt x="2115" y="2209"/>
                  </a:lnTo>
                  <a:lnTo>
                    <a:pt x="2115" y="2239"/>
                  </a:lnTo>
                  <a:lnTo>
                    <a:pt x="2018" y="2239"/>
                  </a:lnTo>
                  <a:lnTo>
                    <a:pt x="1960" y="2239"/>
                  </a:lnTo>
                  <a:lnTo>
                    <a:pt x="1891" y="2239"/>
                  </a:lnTo>
                  <a:lnTo>
                    <a:pt x="1828" y="2239"/>
                  </a:lnTo>
                  <a:lnTo>
                    <a:pt x="1765" y="2239"/>
                  </a:lnTo>
                  <a:lnTo>
                    <a:pt x="1705" y="2239"/>
                  </a:lnTo>
                  <a:lnTo>
                    <a:pt x="1652" y="2239"/>
                  </a:lnTo>
                  <a:lnTo>
                    <a:pt x="1570" y="2239"/>
                  </a:lnTo>
                  <a:lnTo>
                    <a:pt x="1496" y="2239"/>
                  </a:lnTo>
                  <a:lnTo>
                    <a:pt x="1428" y="2237"/>
                  </a:lnTo>
                  <a:lnTo>
                    <a:pt x="1371" y="2237"/>
                  </a:lnTo>
                  <a:lnTo>
                    <a:pt x="1301" y="2237"/>
                  </a:lnTo>
                  <a:lnTo>
                    <a:pt x="1242" y="2237"/>
                  </a:lnTo>
                  <a:lnTo>
                    <a:pt x="1195" y="2237"/>
                  </a:lnTo>
                  <a:lnTo>
                    <a:pt x="1151" y="2237"/>
                  </a:lnTo>
                  <a:lnTo>
                    <a:pt x="1105" y="2237"/>
                  </a:lnTo>
                  <a:lnTo>
                    <a:pt x="1051" y="2237"/>
                  </a:lnTo>
                  <a:lnTo>
                    <a:pt x="988" y="2237"/>
                  </a:lnTo>
                  <a:lnTo>
                    <a:pt x="930" y="2237"/>
                  </a:lnTo>
                  <a:lnTo>
                    <a:pt x="895" y="2237"/>
                  </a:lnTo>
                  <a:lnTo>
                    <a:pt x="843" y="2237"/>
                  </a:lnTo>
                  <a:lnTo>
                    <a:pt x="832" y="2232"/>
                  </a:lnTo>
                  <a:lnTo>
                    <a:pt x="832" y="2227"/>
                  </a:lnTo>
                  <a:lnTo>
                    <a:pt x="851" y="2223"/>
                  </a:lnTo>
                  <a:lnTo>
                    <a:pt x="851" y="2218"/>
                  </a:lnTo>
                  <a:lnTo>
                    <a:pt x="826" y="2217"/>
                  </a:lnTo>
                  <a:lnTo>
                    <a:pt x="826" y="2186"/>
                  </a:lnTo>
                  <a:lnTo>
                    <a:pt x="820" y="2184"/>
                  </a:lnTo>
                  <a:lnTo>
                    <a:pt x="809" y="2205"/>
                  </a:lnTo>
                  <a:lnTo>
                    <a:pt x="803" y="2203"/>
                  </a:lnTo>
                  <a:lnTo>
                    <a:pt x="803" y="2186"/>
                  </a:lnTo>
                  <a:lnTo>
                    <a:pt x="798" y="2186"/>
                  </a:lnTo>
                  <a:lnTo>
                    <a:pt x="789" y="2163"/>
                  </a:lnTo>
                  <a:lnTo>
                    <a:pt x="789" y="2175"/>
                  </a:lnTo>
                  <a:lnTo>
                    <a:pt x="783" y="2167"/>
                  </a:lnTo>
                  <a:lnTo>
                    <a:pt x="777" y="2178"/>
                  </a:lnTo>
                  <a:lnTo>
                    <a:pt x="766" y="2178"/>
                  </a:lnTo>
                  <a:lnTo>
                    <a:pt x="751" y="2163"/>
                  </a:lnTo>
                  <a:lnTo>
                    <a:pt x="749" y="2159"/>
                  </a:lnTo>
                  <a:lnTo>
                    <a:pt x="758" y="2150"/>
                  </a:lnTo>
                  <a:lnTo>
                    <a:pt x="756" y="2133"/>
                  </a:lnTo>
                  <a:lnTo>
                    <a:pt x="744" y="2138"/>
                  </a:lnTo>
                  <a:lnTo>
                    <a:pt x="739" y="2125"/>
                  </a:lnTo>
                  <a:lnTo>
                    <a:pt x="727" y="2130"/>
                  </a:lnTo>
                  <a:lnTo>
                    <a:pt x="709" y="2125"/>
                  </a:lnTo>
                  <a:lnTo>
                    <a:pt x="704" y="2130"/>
                  </a:lnTo>
                  <a:lnTo>
                    <a:pt x="676" y="2127"/>
                  </a:lnTo>
                  <a:lnTo>
                    <a:pt x="673" y="2124"/>
                  </a:lnTo>
                  <a:lnTo>
                    <a:pt x="696" y="2115"/>
                  </a:lnTo>
                  <a:lnTo>
                    <a:pt x="687" y="2113"/>
                  </a:lnTo>
                  <a:lnTo>
                    <a:pt x="688" y="2107"/>
                  </a:lnTo>
                  <a:lnTo>
                    <a:pt x="675" y="2102"/>
                  </a:lnTo>
                  <a:lnTo>
                    <a:pt x="685" y="2098"/>
                  </a:lnTo>
                  <a:lnTo>
                    <a:pt x="682" y="2093"/>
                  </a:lnTo>
                  <a:lnTo>
                    <a:pt x="668" y="2091"/>
                  </a:lnTo>
                  <a:lnTo>
                    <a:pt x="664" y="2098"/>
                  </a:lnTo>
                  <a:lnTo>
                    <a:pt x="644" y="2093"/>
                  </a:lnTo>
                  <a:lnTo>
                    <a:pt x="647" y="2100"/>
                  </a:lnTo>
                  <a:lnTo>
                    <a:pt x="641" y="2102"/>
                  </a:lnTo>
                  <a:lnTo>
                    <a:pt x="616" y="2083"/>
                  </a:lnTo>
                  <a:lnTo>
                    <a:pt x="614" y="2073"/>
                  </a:lnTo>
                  <a:lnTo>
                    <a:pt x="630" y="2070"/>
                  </a:lnTo>
                  <a:lnTo>
                    <a:pt x="614" y="2066"/>
                  </a:lnTo>
                  <a:lnTo>
                    <a:pt x="614" y="2062"/>
                  </a:lnTo>
                  <a:lnTo>
                    <a:pt x="636" y="2057"/>
                  </a:lnTo>
                  <a:lnTo>
                    <a:pt x="625" y="2053"/>
                  </a:lnTo>
                  <a:lnTo>
                    <a:pt x="631" y="2044"/>
                  </a:lnTo>
                  <a:lnTo>
                    <a:pt x="625" y="2036"/>
                  </a:lnTo>
                  <a:lnTo>
                    <a:pt x="617" y="2048"/>
                  </a:lnTo>
                  <a:lnTo>
                    <a:pt x="611" y="2048"/>
                  </a:lnTo>
                  <a:lnTo>
                    <a:pt x="611" y="2020"/>
                  </a:lnTo>
                  <a:lnTo>
                    <a:pt x="607" y="2017"/>
                  </a:lnTo>
                  <a:lnTo>
                    <a:pt x="608" y="2003"/>
                  </a:lnTo>
                  <a:lnTo>
                    <a:pt x="604" y="1986"/>
                  </a:lnTo>
                  <a:lnTo>
                    <a:pt x="588" y="1992"/>
                  </a:lnTo>
                  <a:lnTo>
                    <a:pt x="588" y="1978"/>
                  </a:lnTo>
                  <a:lnTo>
                    <a:pt x="566" y="1980"/>
                  </a:lnTo>
                  <a:lnTo>
                    <a:pt x="563" y="1965"/>
                  </a:lnTo>
                  <a:lnTo>
                    <a:pt x="548" y="1943"/>
                  </a:lnTo>
                  <a:lnTo>
                    <a:pt x="553" y="1929"/>
                  </a:lnTo>
                  <a:lnTo>
                    <a:pt x="553" y="1909"/>
                  </a:lnTo>
                  <a:lnTo>
                    <a:pt x="541" y="1910"/>
                  </a:lnTo>
                  <a:lnTo>
                    <a:pt x="506" y="1870"/>
                  </a:lnTo>
                  <a:lnTo>
                    <a:pt x="506" y="1859"/>
                  </a:lnTo>
                  <a:lnTo>
                    <a:pt x="512" y="1855"/>
                  </a:lnTo>
                  <a:lnTo>
                    <a:pt x="512" y="1850"/>
                  </a:lnTo>
                  <a:lnTo>
                    <a:pt x="497" y="1848"/>
                  </a:lnTo>
                  <a:lnTo>
                    <a:pt x="489" y="1834"/>
                  </a:lnTo>
                  <a:lnTo>
                    <a:pt x="489" y="1822"/>
                  </a:lnTo>
                  <a:lnTo>
                    <a:pt x="494" y="1813"/>
                  </a:lnTo>
                  <a:lnTo>
                    <a:pt x="506" y="1813"/>
                  </a:lnTo>
                  <a:lnTo>
                    <a:pt x="503" y="1804"/>
                  </a:lnTo>
                  <a:lnTo>
                    <a:pt x="507" y="1791"/>
                  </a:lnTo>
                  <a:lnTo>
                    <a:pt x="504" y="1783"/>
                  </a:lnTo>
                  <a:lnTo>
                    <a:pt x="507" y="1773"/>
                  </a:lnTo>
                  <a:lnTo>
                    <a:pt x="504" y="1782"/>
                  </a:lnTo>
                  <a:lnTo>
                    <a:pt x="497" y="1780"/>
                  </a:lnTo>
                  <a:lnTo>
                    <a:pt x="486" y="1796"/>
                  </a:lnTo>
                  <a:lnTo>
                    <a:pt x="475" y="1802"/>
                  </a:lnTo>
                  <a:lnTo>
                    <a:pt x="472" y="1796"/>
                  </a:lnTo>
                  <a:lnTo>
                    <a:pt x="467" y="1804"/>
                  </a:lnTo>
                  <a:lnTo>
                    <a:pt x="464" y="1785"/>
                  </a:lnTo>
                  <a:lnTo>
                    <a:pt x="483" y="1777"/>
                  </a:lnTo>
                  <a:lnTo>
                    <a:pt x="480" y="1760"/>
                  </a:lnTo>
                  <a:lnTo>
                    <a:pt x="469" y="1760"/>
                  </a:lnTo>
                  <a:lnTo>
                    <a:pt x="467" y="1728"/>
                  </a:lnTo>
                  <a:lnTo>
                    <a:pt x="455" y="1711"/>
                  </a:lnTo>
                  <a:lnTo>
                    <a:pt x="456" y="1695"/>
                  </a:lnTo>
                  <a:lnTo>
                    <a:pt x="441" y="1711"/>
                  </a:lnTo>
                  <a:lnTo>
                    <a:pt x="426" y="1714"/>
                  </a:lnTo>
                  <a:lnTo>
                    <a:pt x="422" y="1731"/>
                  </a:lnTo>
                  <a:lnTo>
                    <a:pt x="412" y="1745"/>
                  </a:lnTo>
                  <a:lnTo>
                    <a:pt x="409" y="1742"/>
                  </a:lnTo>
                  <a:lnTo>
                    <a:pt x="404" y="1728"/>
                  </a:lnTo>
                  <a:lnTo>
                    <a:pt x="412" y="1719"/>
                  </a:lnTo>
                  <a:lnTo>
                    <a:pt x="418" y="1694"/>
                  </a:lnTo>
                  <a:lnTo>
                    <a:pt x="436" y="1687"/>
                  </a:lnTo>
                  <a:lnTo>
                    <a:pt x="407" y="1672"/>
                  </a:lnTo>
                  <a:lnTo>
                    <a:pt x="402" y="1649"/>
                  </a:lnTo>
                  <a:lnTo>
                    <a:pt x="376" y="1632"/>
                  </a:lnTo>
                  <a:lnTo>
                    <a:pt x="368" y="1618"/>
                  </a:lnTo>
                  <a:lnTo>
                    <a:pt x="382" y="1629"/>
                  </a:lnTo>
                  <a:lnTo>
                    <a:pt x="379" y="1613"/>
                  </a:lnTo>
                  <a:lnTo>
                    <a:pt x="367" y="1616"/>
                  </a:lnTo>
                  <a:lnTo>
                    <a:pt x="348" y="1606"/>
                  </a:lnTo>
                  <a:lnTo>
                    <a:pt x="348" y="1599"/>
                  </a:lnTo>
                  <a:lnTo>
                    <a:pt x="364" y="1592"/>
                  </a:lnTo>
                  <a:lnTo>
                    <a:pt x="350" y="1590"/>
                  </a:lnTo>
                  <a:lnTo>
                    <a:pt x="347" y="1577"/>
                  </a:lnTo>
                  <a:lnTo>
                    <a:pt x="342" y="1573"/>
                  </a:lnTo>
                  <a:lnTo>
                    <a:pt x="342" y="1564"/>
                  </a:lnTo>
                  <a:lnTo>
                    <a:pt x="368" y="1581"/>
                  </a:lnTo>
                  <a:lnTo>
                    <a:pt x="345" y="1550"/>
                  </a:lnTo>
                  <a:lnTo>
                    <a:pt x="339" y="1543"/>
                  </a:lnTo>
                  <a:lnTo>
                    <a:pt x="336" y="1553"/>
                  </a:lnTo>
                  <a:lnTo>
                    <a:pt x="331" y="1538"/>
                  </a:lnTo>
                  <a:lnTo>
                    <a:pt x="336" y="1533"/>
                  </a:lnTo>
                  <a:lnTo>
                    <a:pt x="342" y="1519"/>
                  </a:lnTo>
                  <a:lnTo>
                    <a:pt x="326" y="1534"/>
                  </a:lnTo>
                  <a:lnTo>
                    <a:pt x="316" y="1514"/>
                  </a:lnTo>
                  <a:lnTo>
                    <a:pt x="285" y="1500"/>
                  </a:lnTo>
                  <a:lnTo>
                    <a:pt x="255" y="1412"/>
                  </a:lnTo>
                  <a:lnTo>
                    <a:pt x="251" y="1420"/>
                  </a:lnTo>
                  <a:lnTo>
                    <a:pt x="255" y="1435"/>
                  </a:lnTo>
                  <a:lnTo>
                    <a:pt x="251" y="1431"/>
                  </a:lnTo>
                  <a:lnTo>
                    <a:pt x="271" y="1497"/>
                  </a:lnTo>
                  <a:lnTo>
                    <a:pt x="266" y="1514"/>
                  </a:lnTo>
                  <a:lnTo>
                    <a:pt x="258" y="1516"/>
                  </a:lnTo>
                  <a:lnTo>
                    <a:pt x="249" y="1494"/>
                  </a:lnTo>
                  <a:lnTo>
                    <a:pt x="249" y="1502"/>
                  </a:lnTo>
                  <a:lnTo>
                    <a:pt x="235" y="1500"/>
                  </a:lnTo>
                  <a:lnTo>
                    <a:pt x="237" y="1485"/>
                  </a:lnTo>
                  <a:lnTo>
                    <a:pt x="224" y="1455"/>
                  </a:lnTo>
                  <a:lnTo>
                    <a:pt x="215" y="1469"/>
                  </a:lnTo>
                  <a:lnTo>
                    <a:pt x="201" y="1452"/>
                  </a:lnTo>
                  <a:lnTo>
                    <a:pt x="197" y="1457"/>
                  </a:lnTo>
                  <a:lnTo>
                    <a:pt x="186" y="1446"/>
                  </a:lnTo>
                  <a:lnTo>
                    <a:pt x="189" y="1452"/>
                  </a:lnTo>
                  <a:lnTo>
                    <a:pt x="182" y="1459"/>
                  </a:lnTo>
                  <a:lnTo>
                    <a:pt x="199" y="1463"/>
                  </a:lnTo>
                  <a:lnTo>
                    <a:pt x="223" y="1492"/>
                  </a:lnTo>
                  <a:lnTo>
                    <a:pt x="223" y="1505"/>
                  </a:lnTo>
                  <a:lnTo>
                    <a:pt x="206" y="1502"/>
                  </a:lnTo>
                  <a:lnTo>
                    <a:pt x="207" y="1511"/>
                  </a:lnTo>
                  <a:lnTo>
                    <a:pt x="199" y="1514"/>
                  </a:lnTo>
                  <a:lnTo>
                    <a:pt x="153" y="1485"/>
                  </a:lnTo>
                  <a:lnTo>
                    <a:pt x="158" y="1476"/>
                  </a:lnTo>
                  <a:lnTo>
                    <a:pt x="148" y="1477"/>
                  </a:lnTo>
                  <a:lnTo>
                    <a:pt x="126" y="1448"/>
                  </a:lnTo>
                  <a:lnTo>
                    <a:pt x="130" y="1420"/>
                  </a:lnTo>
                  <a:lnTo>
                    <a:pt x="133" y="1417"/>
                  </a:lnTo>
                  <a:lnTo>
                    <a:pt x="147" y="1401"/>
                  </a:lnTo>
                  <a:lnTo>
                    <a:pt x="133" y="1391"/>
                  </a:lnTo>
                  <a:lnTo>
                    <a:pt x="143" y="1401"/>
                  </a:lnTo>
                  <a:lnTo>
                    <a:pt x="128" y="1409"/>
                  </a:lnTo>
                  <a:lnTo>
                    <a:pt x="87" y="1358"/>
                  </a:lnTo>
                  <a:lnTo>
                    <a:pt x="82" y="1353"/>
                  </a:lnTo>
                  <a:lnTo>
                    <a:pt x="85" y="1330"/>
                  </a:lnTo>
                  <a:lnTo>
                    <a:pt x="57" y="1330"/>
                  </a:lnTo>
                  <a:lnTo>
                    <a:pt x="47" y="1344"/>
                  </a:lnTo>
                  <a:lnTo>
                    <a:pt x="30" y="1332"/>
                  </a:lnTo>
                  <a:lnTo>
                    <a:pt x="17" y="1341"/>
                  </a:lnTo>
                  <a:lnTo>
                    <a:pt x="0" y="1332"/>
                  </a:lnTo>
                  <a:lnTo>
                    <a:pt x="0" y="1276"/>
                  </a:lnTo>
                  <a:lnTo>
                    <a:pt x="0" y="1220"/>
                  </a:lnTo>
                  <a:lnTo>
                    <a:pt x="0" y="1163"/>
                  </a:lnTo>
                  <a:lnTo>
                    <a:pt x="0" y="1104"/>
                  </a:lnTo>
                  <a:lnTo>
                    <a:pt x="0" y="1044"/>
                  </a:lnTo>
                  <a:lnTo>
                    <a:pt x="0" y="983"/>
                  </a:lnTo>
                  <a:lnTo>
                    <a:pt x="0" y="922"/>
                  </a:lnTo>
                  <a:lnTo>
                    <a:pt x="0" y="858"/>
                  </a:lnTo>
                  <a:lnTo>
                    <a:pt x="0" y="793"/>
                  </a:lnTo>
                  <a:lnTo>
                    <a:pt x="0" y="727"/>
                  </a:lnTo>
                  <a:lnTo>
                    <a:pt x="0" y="660"/>
                  </a:lnTo>
                  <a:lnTo>
                    <a:pt x="0" y="589"/>
                  </a:lnTo>
                  <a:lnTo>
                    <a:pt x="0" y="518"/>
                  </a:lnTo>
                  <a:lnTo>
                    <a:pt x="0" y="445"/>
                  </a:lnTo>
                  <a:lnTo>
                    <a:pt x="0" y="370"/>
                  </a:lnTo>
                  <a:lnTo>
                    <a:pt x="0" y="292"/>
                  </a:lnTo>
                  <a:lnTo>
                    <a:pt x="77" y="311"/>
                  </a:lnTo>
                  <a:lnTo>
                    <a:pt x="111" y="355"/>
                  </a:lnTo>
                  <a:lnTo>
                    <a:pt x="123" y="353"/>
                  </a:lnTo>
                  <a:lnTo>
                    <a:pt x="161" y="394"/>
                  </a:lnTo>
                  <a:lnTo>
                    <a:pt x="214" y="397"/>
                  </a:lnTo>
                  <a:lnTo>
                    <a:pt x="209" y="402"/>
                  </a:lnTo>
                  <a:lnTo>
                    <a:pt x="232" y="403"/>
                  </a:lnTo>
                  <a:lnTo>
                    <a:pt x="260" y="429"/>
                  </a:lnTo>
                  <a:lnTo>
                    <a:pt x="271" y="429"/>
                  </a:lnTo>
                  <a:lnTo>
                    <a:pt x="254" y="400"/>
                  </a:lnTo>
                  <a:lnTo>
                    <a:pt x="287" y="402"/>
                  </a:lnTo>
                  <a:lnTo>
                    <a:pt x="314" y="443"/>
                  </a:lnTo>
                  <a:lnTo>
                    <a:pt x="319" y="436"/>
                  </a:lnTo>
                  <a:lnTo>
                    <a:pt x="316" y="420"/>
                  </a:lnTo>
                  <a:lnTo>
                    <a:pt x="294" y="378"/>
                  </a:lnTo>
                  <a:lnTo>
                    <a:pt x="330" y="343"/>
                  </a:lnTo>
                  <a:lnTo>
                    <a:pt x="364" y="332"/>
                  </a:lnTo>
                  <a:lnTo>
                    <a:pt x="370" y="324"/>
                  </a:lnTo>
                  <a:lnTo>
                    <a:pt x="370" y="307"/>
                  </a:lnTo>
                  <a:lnTo>
                    <a:pt x="390" y="290"/>
                  </a:lnTo>
                  <a:lnTo>
                    <a:pt x="407" y="294"/>
                  </a:lnTo>
                  <a:lnTo>
                    <a:pt x="441" y="262"/>
                  </a:lnTo>
                  <a:lnTo>
                    <a:pt x="456" y="267"/>
                  </a:lnTo>
                  <a:lnTo>
                    <a:pt x="467" y="244"/>
                  </a:lnTo>
                  <a:lnTo>
                    <a:pt x="483" y="233"/>
                  </a:lnTo>
                  <a:lnTo>
                    <a:pt x="503" y="245"/>
                  </a:lnTo>
                  <a:lnTo>
                    <a:pt x="523" y="222"/>
                  </a:lnTo>
                  <a:lnTo>
                    <a:pt x="532" y="247"/>
                  </a:lnTo>
                  <a:lnTo>
                    <a:pt x="524" y="258"/>
                  </a:lnTo>
                  <a:lnTo>
                    <a:pt x="461" y="314"/>
                  </a:lnTo>
                  <a:lnTo>
                    <a:pt x="421" y="320"/>
                  </a:lnTo>
                  <a:lnTo>
                    <a:pt x="387" y="365"/>
                  </a:lnTo>
                  <a:lnTo>
                    <a:pt x="382" y="357"/>
                  </a:lnTo>
                  <a:lnTo>
                    <a:pt x="372" y="372"/>
                  </a:lnTo>
                  <a:lnTo>
                    <a:pt x="372" y="380"/>
                  </a:lnTo>
                  <a:lnTo>
                    <a:pt x="379" y="378"/>
                  </a:lnTo>
                  <a:lnTo>
                    <a:pt x="407" y="363"/>
                  </a:lnTo>
                  <a:lnTo>
                    <a:pt x="424" y="343"/>
                  </a:lnTo>
                  <a:lnTo>
                    <a:pt x="424" y="335"/>
                  </a:lnTo>
                  <a:lnTo>
                    <a:pt x="436" y="331"/>
                  </a:lnTo>
                  <a:lnTo>
                    <a:pt x="435" y="343"/>
                  </a:lnTo>
                  <a:lnTo>
                    <a:pt x="441" y="332"/>
                  </a:lnTo>
                  <a:lnTo>
                    <a:pt x="443" y="341"/>
                  </a:lnTo>
                  <a:lnTo>
                    <a:pt x="458" y="324"/>
                  </a:lnTo>
                  <a:lnTo>
                    <a:pt x="461" y="329"/>
                  </a:lnTo>
                  <a:lnTo>
                    <a:pt x="458" y="360"/>
                  </a:lnTo>
                  <a:lnTo>
                    <a:pt x="490" y="298"/>
                  </a:lnTo>
                  <a:lnTo>
                    <a:pt x="558" y="260"/>
                  </a:lnTo>
                  <a:lnTo>
                    <a:pt x="557" y="275"/>
                  </a:lnTo>
                  <a:lnTo>
                    <a:pt x="546" y="294"/>
                  </a:lnTo>
                  <a:lnTo>
                    <a:pt x="582" y="262"/>
                  </a:lnTo>
                  <a:lnTo>
                    <a:pt x="587" y="239"/>
                  </a:lnTo>
                  <a:lnTo>
                    <a:pt x="616" y="224"/>
                  </a:lnTo>
                  <a:lnTo>
                    <a:pt x="597" y="214"/>
                  </a:lnTo>
                  <a:lnTo>
                    <a:pt x="588" y="201"/>
                  </a:lnTo>
                  <a:lnTo>
                    <a:pt x="597" y="182"/>
                  </a:lnTo>
                  <a:lnTo>
                    <a:pt x="633" y="214"/>
                  </a:lnTo>
                  <a:lnTo>
                    <a:pt x="664" y="306"/>
                  </a:lnTo>
                  <a:lnTo>
                    <a:pt x="701" y="340"/>
                  </a:lnTo>
                  <a:lnTo>
                    <a:pt x="707" y="331"/>
                  </a:lnTo>
                  <a:lnTo>
                    <a:pt x="730" y="318"/>
                  </a:lnTo>
                  <a:lnTo>
                    <a:pt x="718" y="304"/>
                  </a:lnTo>
                  <a:lnTo>
                    <a:pt x="732" y="294"/>
                  </a:lnTo>
                  <a:lnTo>
                    <a:pt x="729" y="284"/>
                  </a:lnTo>
                  <a:lnTo>
                    <a:pt x="734" y="265"/>
                  </a:lnTo>
                  <a:lnTo>
                    <a:pt x="730" y="255"/>
                  </a:lnTo>
                  <a:lnTo>
                    <a:pt x="746" y="248"/>
                  </a:lnTo>
                  <a:lnTo>
                    <a:pt x="752" y="260"/>
                  </a:lnTo>
                  <a:lnTo>
                    <a:pt x="763" y="252"/>
                  </a:lnTo>
                  <a:lnTo>
                    <a:pt x="751" y="239"/>
                  </a:lnTo>
                  <a:lnTo>
                    <a:pt x="764" y="238"/>
                  </a:lnTo>
                  <a:lnTo>
                    <a:pt x="766" y="248"/>
                  </a:lnTo>
                  <a:lnTo>
                    <a:pt x="763" y="292"/>
                  </a:lnTo>
                  <a:lnTo>
                    <a:pt x="783" y="294"/>
                  </a:lnTo>
                  <a:lnTo>
                    <a:pt x="761" y="326"/>
                  </a:lnTo>
                  <a:lnTo>
                    <a:pt x="761" y="340"/>
                  </a:lnTo>
                  <a:lnTo>
                    <a:pt x="792" y="341"/>
                  </a:lnTo>
                  <a:lnTo>
                    <a:pt x="811" y="335"/>
                  </a:lnTo>
                  <a:lnTo>
                    <a:pt x="820" y="320"/>
                  </a:lnTo>
                  <a:lnTo>
                    <a:pt x="828" y="282"/>
                  </a:lnTo>
                  <a:lnTo>
                    <a:pt x="887" y="282"/>
                  </a:lnTo>
                  <a:lnTo>
                    <a:pt x="933" y="307"/>
                  </a:lnTo>
                  <a:lnTo>
                    <a:pt x="947" y="329"/>
                  </a:lnTo>
                  <a:lnTo>
                    <a:pt x="1029" y="357"/>
                  </a:lnTo>
                  <a:lnTo>
                    <a:pt x="1078" y="392"/>
                  </a:lnTo>
                  <a:lnTo>
                    <a:pt x="1144" y="399"/>
                  </a:lnTo>
                  <a:lnTo>
                    <a:pt x="1153" y="409"/>
                  </a:lnTo>
                  <a:lnTo>
                    <a:pt x="1156" y="402"/>
                  </a:lnTo>
                  <a:lnTo>
                    <a:pt x="1140" y="389"/>
                  </a:lnTo>
                  <a:lnTo>
                    <a:pt x="1190" y="392"/>
                  </a:lnTo>
                  <a:lnTo>
                    <a:pt x="1198" y="409"/>
                  </a:lnTo>
                  <a:lnTo>
                    <a:pt x="1207" y="406"/>
                  </a:lnTo>
                  <a:lnTo>
                    <a:pt x="1237" y="443"/>
                  </a:lnTo>
                  <a:lnTo>
                    <a:pt x="1237" y="462"/>
                  </a:lnTo>
                  <a:lnTo>
                    <a:pt x="1244" y="453"/>
                  </a:lnTo>
                  <a:lnTo>
                    <a:pt x="1244" y="475"/>
                  </a:lnTo>
                  <a:lnTo>
                    <a:pt x="1198" y="475"/>
                  </a:lnTo>
                  <a:lnTo>
                    <a:pt x="1185" y="485"/>
                  </a:lnTo>
                  <a:lnTo>
                    <a:pt x="1185" y="507"/>
                  </a:lnTo>
                  <a:lnTo>
                    <a:pt x="1173" y="516"/>
                  </a:lnTo>
                  <a:lnTo>
                    <a:pt x="1196" y="529"/>
                  </a:lnTo>
                  <a:lnTo>
                    <a:pt x="1211" y="539"/>
                  </a:lnTo>
                  <a:lnTo>
                    <a:pt x="1346" y="544"/>
                  </a:lnTo>
                  <a:lnTo>
                    <a:pt x="1347" y="535"/>
                  </a:lnTo>
                  <a:lnTo>
                    <a:pt x="1366" y="539"/>
                  </a:lnTo>
                  <a:lnTo>
                    <a:pt x="1369" y="526"/>
                  </a:lnTo>
                  <a:lnTo>
                    <a:pt x="1380" y="522"/>
                  </a:lnTo>
                  <a:lnTo>
                    <a:pt x="1377" y="539"/>
                  </a:lnTo>
                  <a:lnTo>
                    <a:pt x="1386" y="539"/>
                  </a:lnTo>
                  <a:lnTo>
                    <a:pt x="1427" y="505"/>
                  </a:lnTo>
                  <a:lnTo>
                    <a:pt x="1434" y="516"/>
                  </a:lnTo>
                  <a:lnTo>
                    <a:pt x="1430" y="522"/>
                  </a:lnTo>
                  <a:lnTo>
                    <a:pt x="1439" y="521"/>
                  </a:lnTo>
                  <a:lnTo>
                    <a:pt x="1444" y="533"/>
                  </a:lnTo>
                  <a:lnTo>
                    <a:pt x="1440" y="539"/>
                  </a:lnTo>
                  <a:lnTo>
                    <a:pt x="1478" y="539"/>
                  </a:lnTo>
                  <a:lnTo>
                    <a:pt x="1476" y="555"/>
                  </a:lnTo>
                  <a:lnTo>
                    <a:pt x="1481" y="563"/>
                  </a:lnTo>
                  <a:lnTo>
                    <a:pt x="1478" y="573"/>
                  </a:lnTo>
                  <a:lnTo>
                    <a:pt x="1482" y="580"/>
                  </a:lnTo>
                  <a:lnTo>
                    <a:pt x="1490" y="553"/>
                  </a:lnTo>
                  <a:lnTo>
                    <a:pt x="1496" y="563"/>
                  </a:lnTo>
                  <a:lnTo>
                    <a:pt x="1494" y="580"/>
                  </a:lnTo>
                  <a:lnTo>
                    <a:pt x="1505" y="577"/>
                  </a:lnTo>
                  <a:lnTo>
                    <a:pt x="1511" y="590"/>
                  </a:lnTo>
                  <a:lnTo>
                    <a:pt x="1518" y="590"/>
                  </a:lnTo>
                  <a:lnTo>
                    <a:pt x="1528" y="614"/>
                  </a:lnTo>
                  <a:lnTo>
                    <a:pt x="1502" y="620"/>
                  </a:lnTo>
                  <a:lnTo>
                    <a:pt x="1516" y="644"/>
                  </a:lnTo>
                  <a:lnTo>
                    <a:pt x="1530" y="658"/>
                  </a:lnTo>
                  <a:lnTo>
                    <a:pt x="1532" y="641"/>
                  </a:lnTo>
                  <a:lnTo>
                    <a:pt x="1558" y="637"/>
                  </a:lnTo>
                  <a:lnTo>
                    <a:pt x="1549" y="623"/>
                  </a:lnTo>
                  <a:lnTo>
                    <a:pt x="1558" y="615"/>
                  </a:lnTo>
                  <a:lnTo>
                    <a:pt x="1549" y="614"/>
                  </a:lnTo>
                  <a:lnTo>
                    <a:pt x="1533" y="581"/>
                  </a:lnTo>
                  <a:lnTo>
                    <a:pt x="1536" y="563"/>
                  </a:lnTo>
                  <a:lnTo>
                    <a:pt x="1533" y="553"/>
                  </a:lnTo>
                  <a:lnTo>
                    <a:pt x="1518" y="539"/>
                  </a:lnTo>
                  <a:lnTo>
                    <a:pt x="1536" y="518"/>
                  </a:lnTo>
                  <a:lnTo>
                    <a:pt x="1530" y="514"/>
                  </a:lnTo>
                  <a:lnTo>
                    <a:pt x="1535" y="502"/>
                  </a:lnTo>
                  <a:lnTo>
                    <a:pt x="1595" y="482"/>
                  </a:lnTo>
                  <a:lnTo>
                    <a:pt x="1592" y="468"/>
                  </a:lnTo>
                  <a:lnTo>
                    <a:pt x="1600" y="475"/>
                  </a:lnTo>
                  <a:lnTo>
                    <a:pt x="1608" y="456"/>
                  </a:lnTo>
                  <a:lnTo>
                    <a:pt x="1606" y="448"/>
                  </a:lnTo>
                  <a:lnTo>
                    <a:pt x="1618" y="443"/>
                  </a:lnTo>
                  <a:lnTo>
                    <a:pt x="1613" y="442"/>
                  </a:lnTo>
                  <a:lnTo>
                    <a:pt x="1620" y="426"/>
                  </a:lnTo>
                  <a:lnTo>
                    <a:pt x="1584" y="436"/>
                  </a:lnTo>
                  <a:lnTo>
                    <a:pt x="1591" y="446"/>
                  </a:lnTo>
                  <a:lnTo>
                    <a:pt x="1578" y="448"/>
                  </a:lnTo>
                  <a:lnTo>
                    <a:pt x="1583" y="462"/>
                  </a:lnTo>
                  <a:lnTo>
                    <a:pt x="1583" y="475"/>
                  </a:lnTo>
                  <a:lnTo>
                    <a:pt x="1576" y="462"/>
                  </a:lnTo>
                  <a:lnTo>
                    <a:pt x="1558" y="473"/>
                  </a:lnTo>
                  <a:lnTo>
                    <a:pt x="1541" y="463"/>
                  </a:lnTo>
                  <a:lnTo>
                    <a:pt x="1524" y="471"/>
                  </a:lnTo>
                  <a:lnTo>
                    <a:pt x="1536" y="485"/>
                  </a:lnTo>
                  <a:lnTo>
                    <a:pt x="1522" y="492"/>
                  </a:lnTo>
                  <a:lnTo>
                    <a:pt x="1499" y="487"/>
                  </a:lnTo>
                  <a:lnTo>
                    <a:pt x="1494" y="480"/>
                  </a:lnTo>
                  <a:lnTo>
                    <a:pt x="1485" y="479"/>
                  </a:lnTo>
                  <a:lnTo>
                    <a:pt x="1484" y="465"/>
                  </a:lnTo>
                  <a:lnTo>
                    <a:pt x="1507" y="429"/>
                  </a:lnTo>
                  <a:lnTo>
                    <a:pt x="1533" y="426"/>
                  </a:lnTo>
                  <a:lnTo>
                    <a:pt x="1604" y="386"/>
                  </a:lnTo>
                  <a:lnTo>
                    <a:pt x="1635" y="417"/>
                  </a:lnTo>
                  <a:lnTo>
                    <a:pt x="1628" y="422"/>
                  </a:lnTo>
                  <a:lnTo>
                    <a:pt x="1643" y="448"/>
                  </a:lnTo>
                  <a:lnTo>
                    <a:pt x="1632" y="453"/>
                  </a:lnTo>
                  <a:lnTo>
                    <a:pt x="1674" y="480"/>
                  </a:lnTo>
                  <a:lnTo>
                    <a:pt x="1674" y="497"/>
                  </a:lnTo>
                  <a:lnTo>
                    <a:pt x="1708" y="504"/>
                  </a:lnTo>
                  <a:lnTo>
                    <a:pt x="1714" y="507"/>
                  </a:lnTo>
                  <a:lnTo>
                    <a:pt x="1714" y="499"/>
                  </a:lnTo>
                  <a:lnTo>
                    <a:pt x="1725" y="496"/>
                  </a:lnTo>
                  <a:lnTo>
                    <a:pt x="1725" y="487"/>
                  </a:lnTo>
                  <a:lnTo>
                    <a:pt x="1740" y="493"/>
                  </a:lnTo>
                  <a:lnTo>
                    <a:pt x="1740" y="507"/>
                  </a:lnTo>
                  <a:lnTo>
                    <a:pt x="1765" y="539"/>
                  </a:lnTo>
                  <a:lnTo>
                    <a:pt x="1784" y="550"/>
                  </a:lnTo>
                  <a:lnTo>
                    <a:pt x="1799" y="539"/>
                  </a:lnTo>
                  <a:lnTo>
                    <a:pt x="1819" y="547"/>
                  </a:lnTo>
                  <a:lnTo>
                    <a:pt x="1836" y="539"/>
                  </a:lnTo>
                  <a:lnTo>
                    <a:pt x="1853" y="544"/>
                  </a:lnTo>
                  <a:lnTo>
                    <a:pt x="1875" y="527"/>
                  </a:lnTo>
                  <a:lnTo>
                    <a:pt x="1914" y="530"/>
                  </a:lnTo>
                  <a:lnTo>
                    <a:pt x="1935" y="544"/>
                  </a:lnTo>
                  <a:lnTo>
                    <a:pt x="1965" y="539"/>
                  </a:lnTo>
                  <a:lnTo>
                    <a:pt x="1951" y="507"/>
                  </a:lnTo>
                  <a:lnTo>
                    <a:pt x="1959" y="502"/>
                  </a:lnTo>
                  <a:lnTo>
                    <a:pt x="1977" y="539"/>
                  </a:lnTo>
                  <a:lnTo>
                    <a:pt x="2014" y="556"/>
                  </a:lnTo>
                  <a:lnTo>
                    <a:pt x="2023" y="547"/>
                  </a:lnTo>
                  <a:lnTo>
                    <a:pt x="2021" y="518"/>
                  </a:lnTo>
                  <a:lnTo>
                    <a:pt x="2010" y="524"/>
                  </a:lnTo>
                  <a:lnTo>
                    <a:pt x="2006" y="512"/>
                  </a:lnTo>
                  <a:lnTo>
                    <a:pt x="1988" y="514"/>
                  </a:lnTo>
                  <a:lnTo>
                    <a:pt x="1984" y="522"/>
                  </a:lnTo>
                  <a:lnTo>
                    <a:pt x="1988" y="533"/>
                  </a:lnTo>
                  <a:lnTo>
                    <a:pt x="1980" y="529"/>
                  </a:lnTo>
                  <a:lnTo>
                    <a:pt x="1963" y="496"/>
                  </a:lnTo>
                  <a:lnTo>
                    <a:pt x="1971" y="499"/>
                  </a:lnTo>
                  <a:lnTo>
                    <a:pt x="1971" y="487"/>
                  </a:lnTo>
                  <a:lnTo>
                    <a:pt x="1952" y="462"/>
                  </a:lnTo>
                  <a:lnTo>
                    <a:pt x="1963" y="470"/>
                  </a:lnTo>
                  <a:lnTo>
                    <a:pt x="1967" y="462"/>
                  </a:lnTo>
                  <a:lnTo>
                    <a:pt x="1997" y="463"/>
                  </a:lnTo>
                  <a:lnTo>
                    <a:pt x="1982" y="445"/>
                  </a:lnTo>
                  <a:lnTo>
                    <a:pt x="1989" y="442"/>
                  </a:lnTo>
                  <a:lnTo>
                    <a:pt x="2010" y="462"/>
                  </a:lnTo>
                  <a:lnTo>
                    <a:pt x="2006" y="448"/>
                  </a:lnTo>
                  <a:lnTo>
                    <a:pt x="2018" y="450"/>
                  </a:lnTo>
                  <a:lnTo>
                    <a:pt x="2036" y="468"/>
                  </a:lnTo>
                  <a:lnTo>
                    <a:pt x="2031" y="475"/>
                  </a:lnTo>
                  <a:lnTo>
                    <a:pt x="2051" y="471"/>
                  </a:lnTo>
                  <a:lnTo>
                    <a:pt x="2042" y="502"/>
                  </a:lnTo>
                  <a:lnTo>
                    <a:pt x="2045" y="507"/>
                  </a:lnTo>
                  <a:lnTo>
                    <a:pt x="2055" y="509"/>
                  </a:lnTo>
                  <a:lnTo>
                    <a:pt x="2055" y="492"/>
                  </a:lnTo>
                  <a:lnTo>
                    <a:pt x="2076" y="480"/>
                  </a:lnTo>
                  <a:lnTo>
                    <a:pt x="2073" y="512"/>
                  </a:lnTo>
                  <a:lnTo>
                    <a:pt x="2068" y="539"/>
                  </a:lnTo>
                  <a:lnTo>
                    <a:pt x="2073" y="553"/>
                  </a:lnTo>
                  <a:lnTo>
                    <a:pt x="2059" y="563"/>
                  </a:lnTo>
                  <a:lnTo>
                    <a:pt x="2062" y="577"/>
                  </a:lnTo>
                  <a:lnTo>
                    <a:pt x="2073" y="577"/>
                  </a:lnTo>
                  <a:lnTo>
                    <a:pt x="2073" y="597"/>
                  </a:lnTo>
                  <a:lnTo>
                    <a:pt x="2099" y="581"/>
                  </a:lnTo>
                  <a:lnTo>
                    <a:pt x="2094" y="595"/>
                  </a:lnTo>
                  <a:lnTo>
                    <a:pt x="2106" y="604"/>
                  </a:lnTo>
                  <a:lnTo>
                    <a:pt x="2110" y="590"/>
                  </a:lnTo>
                  <a:lnTo>
                    <a:pt x="2107" y="563"/>
                  </a:lnTo>
                  <a:lnTo>
                    <a:pt x="2092" y="544"/>
                  </a:lnTo>
                  <a:lnTo>
                    <a:pt x="2099" y="512"/>
                  </a:lnTo>
                  <a:lnTo>
                    <a:pt x="2094" y="501"/>
                  </a:lnTo>
                  <a:lnTo>
                    <a:pt x="2136" y="504"/>
                  </a:lnTo>
                  <a:lnTo>
                    <a:pt x="2155" y="482"/>
                  </a:lnTo>
                  <a:lnTo>
                    <a:pt x="2161" y="462"/>
                  </a:lnTo>
                  <a:lnTo>
                    <a:pt x="2189" y="436"/>
                  </a:lnTo>
                  <a:lnTo>
                    <a:pt x="2180" y="433"/>
                  </a:lnTo>
                  <a:lnTo>
                    <a:pt x="2177" y="391"/>
                  </a:lnTo>
                  <a:lnTo>
                    <a:pt x="2167" y="385"/>
                  </a:lnTo>
                  <a:lnTo>
                    <a:pt x="2163" y="406"/>
                  </a:lnTo>
                  <a:lnTo>
                    <a:pt x="2172" y="397"/>
                  </a:lnTo>
                  <a:lnTo>
                    <a:pt x="2161" y="417"/>
                  </a:lnTo>
                  <a:lnTo>
                    <a:pt x="2135" y="420"/>
                  </a:lnTo>
                  <a:lnTo>
                    <a:pt x="2140" y="394"/>
                  </a:lnTo>
                  <a:lnTo>
                    <a:pt x="2150" y="392"/>
                  </a:lnTo>
                  <a:lnTo>
                    <a:pt x="2155" y="375"/>
                  </a:lnTo>
                  <a:lnTo>
                    <a:pt x="2150" y="368"/>
                  </a:lnTo>
                  <a:lnTo>
                    <a:pt x="2158" y="341"/>
                  </a:lnTo>
                  <a:lnTo>
                    <a:pt x="2177" y="332"/>
                  </a:lnTo>
                  <a:lnTo>
                    <a:pt x="2172" y="358"/>
                  </a:lnTo>
                  <a:lnTo>
                    <a:pt x="2182" y="352"/>
                  </a:lnTo>
                  <a:lnTo>
                    <a:pt x="2186" y="338"/>
                  </a:lnTo>
                  <a:lnTo>
                    <a:pt x="2182" y="321"/>
                  </a:lnTo>
                  <a:lnTo>
                    <a:pt x="2150" y="329"/>
                  </a:lnTo>
                  <a:lnTo>
                    <a:pt x="2133" y="303"/>
                  </a:lnTo>
                  <a:lnTo>
                    <a:pt x="2130" y="314"/>
                  </a:lnTo>
                  <a:lnTo>
                    <a:pt x="2109" y="298"/>
                  </a:lnTo>
                  <a:lnTo>
                    <a:pt x="2107" y="287"/>
                  </a:lnTo>
                  <a:lnTo>
                    <a:pt x="2073" y="281"/>
                  </a:lnTo>
                  <a:lnTo>
                    <a:pt x="2070" y="275"/>
                  </a:lnTo>
                  <a:lnTo>
                    <a:pt x="2073" y="269"/>
                  </a:lnTo>
                  <a:lnTo>
                    <a:pt x="2050" y="245"/>
                  </a:lnTo>
                  <a:lnTo>
                    <a:pt x="2048" y="202"/>
                  </a:lnTo>
                  <a:lnTo>
                    <a:pt x="2065" y="177"/>
                  </a:lnTo>
                  <a:lnTo>
                    <a:pt x="2070" y="182"/>
                  </a:lnTo>
                  <a:lnTo>
                    <a:pt x="2073" y="165"/>
                  </a:lnTo>
                  <a:lnTo>
                    <a:pt x="2070" y="170"/>
                  </a:lnTo>
                  <a:lnTo>
                    <a:pt x="2055" y="142"/>
                  </a:lnTo>
                  <a:lnTo>
                    <a:pt x="2062" y="109"/>
                  </a:lnTo>
                  <a:lnTo>
                    <a:pt x="2062" y="80"/>
                  </a:lnTo>
                  <a:lnTo>
                    <a:pt x="2077" y="64"/>
                  </a:lnTo>
                  <a:lnTo>
                    <a:pt x="2096" y="83"/>
                  </a:lnTo>
                  <a:lnTo>
                    <a:pt x="2098" y="52"/>
                  </a:lnTo>
                  <a:lnTo>
                    <a:pt x="2085" y="35"/>
                  </a:lnTo>
                  <a:lnTo>
                    <a:pt x="2104" y="0"/>
                  </a:lnTo>
                  <a:lnTo>
                    <a:pt x="2142" y="0"/>
                  </a:lnTo>
                  <a:lnTo>
                    <a:pt x="2141" y="4"/>
                  </a:lnTo>
                  <a:lnTo>
                    <a:pt x="2149" y="4"/>
                  </a:lnTo>
                  <a:lnTo>
                    <a:pt x="2150" y="20"/>
                  </a:lnTo>
                  <a:lnTo>
                    <a:pt x="2160" y="6"/>
                  </a:lnTo>
                  <a:lnTo>
                    <a:pt x="2167" y="16"/>
                  </a:lnTo>
                  <a:lnTo>
                    <a:pt x="2182" y="10"/>
                  </a:lnTo>
                  <a:lnTo>
                    <a:pt x="2178" y="32"/>
                  </a:lnTo>
                  <a:lnTo>
                    <a:pt x="2182" y="41"/>
                  </a:lnTo>
                  <a:lnTo>
                    <a:pt x="2212" y="75"/>
                  </a:lnTo>
                  <a:lnTo>
                    <a:pt x="2217" y="103"/>
                  </a:lnTo>
                  <a:lnTo>
                    <a:pt x="2216" y="145"/>
                  </a:lnTo>
                  <a:lnTo>
                    <a:pt x="2225" y="148"/>
                  </a:lnTo>
                  <a:lnTo>
                    <a:pt x="2228" y="165"/>
                  </a:lnTo>
                  <a:lnTo>
                    <a:pt x="2246" y="172"/>
                  </a:lnTo>
                  <a:lnTo>
                    <a:pt x="2259" y="218"/>
                  </a:lnTo>
                  <a:lnTo>
                    <a:pt x="2265" y="210"/>
                  </a:lnTo>
                  <a:lnTo>
                    <a:pt x="2282" y="238"/>
                  </a:lnTo>
                  <a:lnTo>
                    <a:pt x="2242" y="233"/>
                  </a:lnTo>
                  <a:lnTo>
                    <a:pt x="2238" y="245"/>
                  </a:lnTo>
                  <a:lnTo>
                    <a:pt x="2262" y="260"/>
                  </a:lnTo>
                  <a:lnTo>
                    <a:pt x="2234" y="278"/>
                  </a:lnTo>
                  <a:lnTo>
                    <a:pt x="2228" y="290"/>
                  </a:lnTo>
                  <a:lnTo>
                    <a:pt x="2228" y="299"/>
                  </a:lnTo>
                  <a:lnTo>
                    <a:pt x="2245" y="299"/>
                  </a:lnTo>
                  <a:lnTo>
                    <a:pt x="2265" y="323"/>
                  </a:lnTo>
                  <a:lnTo>
                    <a:pt x="2291" y="306"/>
                  </a:lnTo>
                  <a:lnTo>
                    <a:pt x="2287" y="320"/>
                  </a:lnTo>
                  <a:lnTo>
                    <a:pt x="2309" y="328"/>
                  </a:lnTo>
                  <a:lnTo>
                    <a:pt x="2313" y="320"/>
                  </a:lnTo>
                  <a:lnTo>
                    <a:pt x="2314" y="332"/>
                  </a:lnTo>
                  <a:lnTo>
                    <a:pt x="2307" y="348"/>
                  </a:lnTo>
                  <a:lnTo>
                    <a:pt x="2288" y="341"/>
                  </a:lnTo>
                  <a:lnTo>
                    <a:pt x="2316" y="374"/>
                  </a:lnTo>
                  <a:lnTo>
                    <a:pt x="2333" y="411"/>
                  </a:lnTo>
                  <a:lnTo>
                    <a:pt x="2325" y="448"/>
                  </a:lnTo>
                  <a:lnTo>
                    <a:pt x="2338" y="475"/>
                  </a:lnTo>
                  <a:lnTo>
                    <a:pt x="2345" y="468"/>
                  </a:lnTo>
                  <a:lnTo>
                    <a:pt x="2353" y="448"/>
                  </a:lnTo>
                  <a:lnTo>
                    <a:pt x="2355" y="426"/>
                  </a:lnTo>
                  <a:lnTo>
                    <a:pt x="2359" y="426"/>
                  </a:lnTo>
                  <a:lnTo>
                    <a:pt x="2359" y="382"/>
                  </a:lnTo>
                  <a:lnTo>
                    <a:pt x="2376" y="355"/>
                  </a:lnTo>
                  <a:lnTo>
                    <a:pt x="2398" y="352"/>
                  </a:lnTo>
                  <a:lnTo>
                    <a:pt x="2412" y="382"/>
                  </a:lnTo>
                  <a:lnTo>
                    <a:pt x="2436" y="403"/>
                  </a:lnTo>
                  <a:lnTo>
                    <a:pt x="2452" y="476"/>
                  </a:lnTo>
                  <a:lnTo>
                    <a:pt x="2436" y="480"/>
                  </a:lnTo>
                  <a:lnTo>
                    <a:pt x="2435" y="462"/>
                  </a:lnTo>
                  <a:lnTo>
                    <a:pt x="2426" y="482"/>
                  </a:lnTo>
                  <a:lnTo>
                    <a:pt x="2427" y="496"/>
                  </a:lnTo>
                  <a:lnTo>
                    <a:pt x="2426" y="518"/>
                  </a:lnTo>
                  <a:lnTo>
                    <a:pt x="2475" y="606"/>
                  </a:lnTo>
                  <a:lnTo>
                    <a:pt x="2485" y="600"/>
                  </a:lnTo>
                  <a:lnTo>
                    <a:pt x="2489" y="586"/>
                  </a:lnTo>
                  <a:lnTo>
                    <a:pt x="2509" y="586"/>
                  </a:lnTo>
                  <a:lnTo>
                    <a:pt x="2514" y="544"/>
                  </a:lnTo>
                  <a:lnTo>
                    <a:pt x="2531" y="516"/>
                  </a:lnTo>
                  <a:lnTo>
                    <a:pt x="2546" y="470"/>
                  </a:lnTo>
                  <a:lnTo>
                    <a:pt x="2548" y="431"/>
                  </a:lnTo>
                  <a:lnTo>
                    <a:pt x="2565" y="417"/>
                  </a:lnTo>
                  <a:lnTo>
                    <a:pt x="2597" y="417"/>
                  </a:lnTo>
                  <a:lnTo>
                    <a:pt x="2577" y="406"/>
                  </a:lnTo>
                  <a:lnTo>
                    <a:pt x="2585" y="389"/>
                  </a:lnTo>
                  <a:lnTo>
                    <a:pt x="2599" y="389"/>
                  </a:lnTo>
                  <a:lnTo>
                    <a:pt x="2597" y="382"/>
                  </a:lnTo>
                  <a:lnTo>
                    <a:pt x="2573" y="370"/>
                  </a:lnTo>
                  <a:lnTo>
                    <a:pt x="2563" y="349"/>
                  </a:lnTo>
                  <a:lnTo>
                    <a:pt x="2565" y="338"/>
                  </a:lnTo>
                  <a:lnTo>
                    <a:pt x="2560" y="303"/>
                  </a:lnTo>
                  <a:lnTo>
                    <a:pt x="2563" y="282"/>
                  </a:lnTo>
                  <a:lnTo>
                    <a:pt x="2605" y="277"/>
                  </a:lnTo>
                  <a:lnTo>
                    <a:pt x="2650" y="301"/>
                  </a:lnTo>
                  <a:lnTo>
                    <a:pt x="2692" y="295"/>
                  </a:lnTo>
                  <a:lnTo>
                    <a:pt x="2697" y="324"/>
                  </a:lnTo>
                  <a:lnTo>
                    <a:pt x="2690" y="328"/>
                  </a:lnTo>
                  <a:lnTo>
                    <a:pt x="2706" y="341"/>
                  </a:lnTo>
                  <a:lnTo>
                    <a:pt x="2712" y="353"/>
                  </a:lnTo>
                  <a:lnTo>
                    <a:pt x="2709" y="358"/>
                  </a:lnTo>
                  <a:lnTo>
                    <a:pt x="2734" y="358"/>
                  </a:lnTo>
                  <a:lnTo>
                    <a:pt x="2752" y="374"/>
                  </a:lnTo>
                  <a:lnTo>
                    <a:pt x="2726" y="406"/>
                  </a:lnTo>
                  <a:lnTo>
                    <a:pt x="2751" y="411"/>
                  </a:lnTo>
                  <a:lnTo>
                    <a:pt x="2757" y="433"/>
                  </a:lnTo>
                  <a:lnTo>
                    <a:pt x="2727" y="463"/>
                  </a:lnTo>
                  <a:lnTo>
                    <a:pt x="2718" y="446"/>
                  </a:lnTo>
                  <a:lnTo>
                    <a:pt x="2698" y="448"/>
                  </a:lnTo>
                  <a:lnTo>
                    <a:pt x="2697" y="456"/>
                  </a:lnTo>
                  <a:lnTo>
                    <a:pt x="2709" y="473"/>
                  </a:lnTo>
                  <a:lnTo>
                    <a:pt x="2704" y="480"/>
                  </a:lnTo>
                  <a:lnTo>
                    <a:pt x="2710" y="480"/>
                  </a:lnTo>
                  <a:lnTo>
                    <a:pt x="2709" y="493"/>
                  </a:lnTo>
                  <a:lnTo>
                    <a:pt x="2724" y="487"/>
                  </a:lnTo>
                  <a:lnTo>
                    <a:pt x="2718" y="526"/>
                  </a:lnTo>
                  <a:lnTo>
                    <a:pt x="2754" y="577"/>
                  </a:lnTo>
                  <a:lnTo>
                    <a:pt x="2751" y="587"/>
                  </a:lnTo>
                  <a:lnTo>
                    <a:pt x="2754" y="607"/>
                  </a:lnTo>
                  <a:lnTo>
                    <a:pt x="2749" y="620"/>
                  </a:lnTo>
                  <a:lnTo>
                    <a:pt x="2732" y="631"/>
                  </a:lnTo>
                  <a:lnTo>
                    <a:pt x="2693" y="680"/>
                  </a:lnTo>
                  <a:lnTo>
                    <a:pt x="2678" y="685"/>
                  </a:lnTo>
                  <a:lnTo>
                    <a:pt x="2667" y="703"/>
                  </a:lnTo>
                  <a:lnTo>
                    <a:pt x="2629" y="666"/>
                  </a:lnTo>
                  <a:lnTo>
                    <a:pt x="2624" y="674"/>
                  </a:lnTo>
                  <a:lnTo>
                    <a:pt x="2624" y="682"/>
                  </a:lnTo>
                  <a:lnTo>
                    <a:pt x="2634" y="697"/>
                  </a:lnTo>
                  <a:lnTo>
                    <a:pt x="2641" y="727"/>
                  </a:lnTo>
                  <a:lnTo>
                    <a:pt x="2610" y="703"/>
                  </a:lnTo>
                  <a:lnTo>
                    <a:pt x="2607" y="703"/>
                  </a:lnTo>
                  <a:lnTo>
                    <a:pt x="2607" y="724"/>
                  </a:lnTo>
                  <a:lnTo>
                    <a:pt x="2577" y="717"/>
                  </a:lnTo>
                  <a:lnTo>
                    <a:pt x="2568" y="682"/>
                  </a:lnTo>
                  <a:lnTo>
                    <a:pt x="2546" y="691"/>
                  </a:lnTo>
                  <a:lnTo>
                    <a:pt x="2516" y="682"/>
                  </a:lnTo>
                  <a:lnTo>
                    <a:pt x="2503" y="697"/>
                  </a:lnTo>
                  <a:lnTo>
                    <a:pt x="2508" y="705"/>
                  </a:lnTo>
                  <a:lnTo>
                    <a:pt x="2534" y="716"/>
                  </a:lnTo>
                  <a:lnTo>
                    <a:pt x="2537" y="724"/>
                  </a:lnTo>
                  <a:lnTo>
                    <a:pt x="2536" y="739"/>
                  </a:lnTo>
                  <a:lnTo>
                    <a:pt x="2486" y="817"/>
                  </a:lnTo>
                  <a:lnTo>
                    <a:pt x="2446" y="821"/>
                  </a:lnTo>
                  <a:lnTo>
                    <a:pt x="2412" y="781"/>
                  </a:lnTo>
                  <a:lnTo>
                    <a:pt x="2376" y="761"/>
                  </a:lnTo>
                  <a:lnTo>
                    <a:pt x="2350" y="758"/>
                  </a:lnTo>
                  <a:lnTo>
                    <a:pt x="2347" y="768"/>
                  </a:lnTo>
                  <a:lnTo>
                    <a:pt x="2361" y="778"/>
                  </a:lnTo>
                  <a:lnTo>
                    <a:pt x="2398" y="821"/>
                  </a:lnTo>
                  <a:lnTo>
                    <a:pt x="2497" y="835"/>
                  </a:lnTo>
                  <a:lnTo>
                    <a:pt x="2491" y="861"/>
                  </a:lnTo>
                  <a:lnTo>
                    <a:pt x="2465" y="906"/>
                  </a:lnTo>
                  <a:lnTo>
                    <a:pt x="2455" y="912"/>
                  </a:lnTo>
                  <a:lnTo>
                    <a:pt x="2455" y="923"/>
                  </a:lnTo>
                  <a:lnTo>
                    <a:pt x="2441" y="948"/>
                  </a:lnTo>
                  <a:lnTo>
                    <a:pt x="2416" y="966"/>
                  </a:lnTo>
                  <a:lnTo>
                    <a:pt x="2398" y="960"/>
                  </a:lnTo>
                  <a:lnTo>
                    <a:pt x="2395" y="968"/>
                  </a:lnTo>
                  <a:lnTo>
                    <a:pt x="2359" y="949"/>
                  </a:lnTo>
                  <a:lnTo>
                    <a:pt x="2361" y="973"/>
                  </a:lnTo>
                  <a:lnTo>
                    <a:pt x="2351" y="968"/>
                  </a:lnTo>
                  <a:lnTo>
                    <a:pt x="2351" y="977"/>
                  </a:lnTo>
                  <a:lnTo>
                    <a:pt x="2355" y="985"/>
                  </a:lnTo>
                  <a:lnTo>
                    <a:pt x="2350" y="999"/>
                  </a:lnTo>
                  <a:lnTo>
                    <a:pt x="2324" y="1019"/>
                  </a:lnTo>
                  <a:lnTo>
                    <a:pt x="2285" y="994"/>
                  </a:lnTo>
                  <a:lnTo>
                    <a:pt x="2284" y="983"/>
                  </a:lnTo>
                  <a:lnTo>
                    <a:pt x="2253" y="991"/>
                  </a:lnTo>
                  <a:lnTo>
                    <a:pt x="2194" y="962"/>
                  </a:lnTo>
                  <a:lnTo>
                    <a:pt x="2187" y="973"/>
                  </a:lnTo>
                  <a:lnTo>
                    <a:pt x="2195" y="983"/>
                  </a:lnTo>
                  <a:lnTo>
                    <a:pt x="2203" y="979"/>
                  </a:lnTo>
                  <a:lnTo>
                    <a:pt x="2200" y="971"/>
                  </a:lnTo>
                  <a:lnTo>
                    <a:pt x="2233" y="986"/>
                  </a:lnTo>
                  <a:lnTo>
                    <a:pt x="2234" y="996"/>
                  </a:lnTo>
                  <a:lnTo>
                    <a:pt x="2240" y="990"/>
                  </a:lnTo>
                  <a:lnTo>
                    <a:pt x="2257" y="994"/>
                  </a:lnTo>
                  <a:lnTo>
                    <a:pt x="2248" y="1010"/>
                  </a:lnTo>
                  <a:lnTo>
                    <a:pt x="2271" y="996"/>
                  </a:lnTo>
                  <a:lnTo>
                    <a:pt x="2304" y="1022"/>
                  </a:lnTo>
                  <a:lnTo>
                    <a:pt x="2313" y="1020"/>
                  </a:lnTo>
                  <a:lnTo>
                    <a:pt x="2321" y="1041"/>
                  </a:lnTo>
                  <a:lnTo>
                    <a:pt x="2324" y="1069"/>
                  </a:lnTo>
                  <a:lnTo>
                    <a:pt x="2319" y="1079"/>
                  </a:lnTo>
                  <a:lnTo>
                    <a:pt x="2287" y="1089"/>
                  </a:lnTo>
                  <a:lnTo>
                    <a:pt x="2242" y="1087"/>
                  </a:lnTo>
                  <a:lnTo>
                    <a:pt x="2238" y="1093"/>
                  </a:lnTo>
                  <a:lnTo>
                    <a:pt x="2246" y="1106"/>
                  </a:lnTo>
                  <a:lnTo>
                    <a:pt x="2262" y="1112"/>
                  </a:lnTo>
                  <a:lnTo>
                    <a:pt x="2233" y="1113"/>
                  </a:lnTo>
                  <a:lnTo>
                    <a:pt x="2229" y="1138"/>
                  </a:lnTo>
                  <a:lnTo>
                    <a:pt x="2234" y="1164"/>
                  </a:lnTo>
                  <a:lnTo>
                    <a:pt x="2221" y="1147"/>
                  </a:lnTo>
                  <a:lnTo>
                    <a:pt x="2214" y="1151"/>
                  </a:lnTo>
                  <a:lnTo>
                    <a:pt x="2204" y="1177"/>
                  </a:lnTo>
                  <a:lnTo>
                    <a:pt x="2191" y="1177"/>
                  </a:lnTo>
                  <a:lnTo>
                    <a:pt x="2197" y="1189"/>
                  </a:lnTo>
                  <a:lnTo>
                    <a:pt x="2191" y="1205"/>
                  </a:lnTo>
                  <a:lnTo>
                    <a:pt x="2167" y="1225"/>
                  </a:lnTo>
                  <a:lnTo>
                    <a:pt x="2141" y="1230"/>
                  </a:lnTo>
                  <a:lnTo>
                    <a:pt x="2160" y="1250"/>
                  </a:lnTo>
                  <a:lnTo>
                    <a:pt x="2153" y="1276"/>
                  </a:lnTo>
                  <a:lnTo>
                    <a:pt x="2144" y="1279"/>
                  </a:lnTo>
                  <a:lnTo>
                    <a:pt x="2143" y="1310"/>
                  </a:lnTo>
                  <a:lnTo>
                    <a:pt x="2135" y="1315"/>
                  </a:lnTo>
                  <a:lnTo>
                    <a:pt x="2135" y="1358"/>
                  </a:lnTo>
                  <a:lnTo>
                    <a:pt x="2132" y="1431"/>
                  </a:lnTo>
                  <a:lnTo>
                    <a:pt x="2124" y="1446"/>
                  </a:lnTo>
                  <a:lnTo>
                    <a:pt x="2132" y="1448"/>
                  </a:lnTo>
                  <a:lnTo>
                    <a:pt x="2146" y="1472"/>
                  </a:lnTo>
                  <a:lnTo>
                    <a:pt x="2152" y="1469"/>
                  </a:lnTo>
                  <a:lnTo>
                    <a:pt x="2155" y="1492"/>
                  </a:lnTo>
                  <a:lnTo>
                    <a:pt x="2160" y="1469"/>
                  </a:lnTo>
                  <a:lnTo>
                    <a:pt x="2206" y="1474"/>
                  </a:lnTo>
                  <a:lnTo>
                    <a:pt x="2211" y="1500"/>
                  </a:lnTo>
                  <a:lnTo>
                    <a:pt x="2226" y="1538"/>
                  </a:lnTo>
                  <a:lnTo>
                    <a:pt x="2228" y="1568"/>
                  </a:lnTo>
                  <a:lnTo>
                    <a:pt x="2238" y="1584"/>
                  </a:lnTo>
                  <a:lnTo>
                    <a:pt x="2238" y="1613"/>
                  </a:lnTo>
                  <a:lnTo>
                    <a:pt x="2226" y="1633"/>
                  </a:lnTo>
                  <a:lnTo>
                    <a:pt x="2243" y="1623"/>
                  </a:lnTo>
                  <a:lnTo>
                    <a:pt x="2246" y="1629"/>
                  </a:lnTo>
                  <a:lnTo>
                    <a:pt x="2299" y="1601"/>
                  </a:lnTo>
                  <a:lnTo>
                    <a:pt x="2317" y="1606"/>
                  </a:lnTo>
                  <a:lnTo>
                    <a:pt x="2338" y="1623"/>
                  </a:lnTo>
                  <a:lnTo>
                    <a:pt x="2373" y="1640"/>
                  </a:lnTo>
                  <a:lnTo>
                    <a:pt x="2393" y="1643"/>
                  </a:lnTo>
                  <a:lnTo>
                    <a:pt x="2438" y="1670"/>
                  </a:lnTo>
                  <a:lnTo>
                    <a:pt x="2461" y="1708"/>
                  </a:lnTo>
                  <a:lnTo>
                    <a:pt x="2463" y="1711"/>
                  </a:lnTo>
                  <a:lnTo>
                    <a:pt x="2495" y="1716"/>
                  </a:lnTo>
                  <a:lnTo>
                    <a:pt x="2539" y="1734"/>
                  </a:lnTo>
                  <a:lnTo>
                    <a:pt x="2567" y="1757"/>
                  </a:lnTo>
                  <a:lnTo>
                    <a:pt x="2551" y="1802"/>
                  </a:lnTo>
                  <a:lnTo>
                    <a:pt x="2570" y="1766"/>
                  </a:lnTo>
                  <a:lnTo>
                    <a:pt x="2668" y="1766"/>
                  </a:lnTo>
                  <a:lnTo>
                    <a:pt x="2700" y="1782"/>
                  </a:lnTo>
                  <a:lnTo>
                    <a:pt x="2706" y="1779"/>
                  </a:lnTo>
                  <a:lnTo>
                    <a:pt x="2709" y="1799"/>
                  </a:lnTo>
                  <a:lnTo>
                    <a:pt x="2704" y="1858"/>
                  </a:lnTo>
                  <a:lnTo>
                    <a:pt x="2710" y="1876"/>
                  </a:lnTo>
                  <a:lnTo>
                    <a:pt x="2712" y="1924"/>
                  </a:lnTo>
                  <a:lnTo>
                    <a:pt x="2709" y="1931"/>
                  </a:lnTo>
                  <a:lnTo>
                    <a:pt x="2707" y="1946"/>
                  </a:lnTo>
                  <a:lnTo>
                    <a:pt x="2748" y="1999"/>
                  </a:lnTo>
                  <a:lnTo>
                    <a:pt x="2715" y="2016"/>
                  </a:lnTo>
                  <a:lnTo>
                    <a:pt x="2751" y="2011"/>
                  </a:lnTo>
                  <a:lnTo>
                    <a:pt x="2782" y="2037"/>
                  </a:lnTo>
                  <a:lnTo>
                    <a:pt x="2790" y="2061"/>
                  </a:lnTo>
                  <a:lnTo>
                    <a:pt x="2766" y="2091"/>
                  </a:lnTo>
                  <a:lnTo>
                    <a:pt x="2795" y="2070"/>
                  </a:lnTo>
                  <a:lnTo>
                    <a:pt x="2825" y="2090"/>
                  </a:lnTo>
                  <a:lnTo>
                    <a:pt x="2829" y="2088"/>
                  </a:lnTo>
                  <a:lnTo>
                    <a:pt x="2825" y="2065"/>
                  </a:lnTo>
                  <a:lnTo>
                    <a:pt x="2834" y="2059"/>
                  </a:lnTo>
                  <a:lnTo>
                    <a:pt x="2836" y="2049"/>
                  </a:lnTo>
                  <a:lnTo>
                    <a:pt x="2848" y="2048"/>
                  </a:lnTo>
                  <a:lnTo>
                    <a:pt x="2859" y="2059"/>
                  </a:lnTo>
                  <a:lnTo>
                    <a:pt x="2861" y="2076"/>
                  </a:lnTo>
                  <a:lnTo>
                    <a:pt x="2866" y="2074"/>
                  </a:lnTo>
                  <a:lnTo>
                    <a:pt x="2873" y="2070"/>
                  </a:lnTo>
                  <a:lnTo>
                    <a:pt x="2876" y="2054"/>
                  </a:lnTo>
                  <a:lnTo>
                    <a:pt x="2859" y="2033"/>
                  </a:lnTo>
                  <a:lnTo>
                    <a:pt x="2870" y="2031"/>
                  </a:lnTo>
                  <a:lnTo>
                    <a:pt x="2888" y="2003"/>
                  </a:lnTo>
                  <a:lnTo>
                    <a:pt x="2905" y="2005"/>
                  </a:lnTo>
                  <a:lnTo>
                    <a:pt x="2910" y="2000"/>
                  </a:lnTo>
                  <a:lnTo>
                    <a:pt x="2890" y="2000"/>
                  </a:lnTo>
                  <a:lnTo>
                    <a:pt x="2874" y="1982"/>
                  </a:lnTo>
                  <a:lnTo>
                    <a:pt x="2870" y="1966"/>
                  </a:lnTo>
                  <a:lnTo>
                    <a:pt x="2873" y="1958"/>
                  </a:lnTo>
                  <a:lnTo>
                    <a:pt x="2870" y="1957"/>
                  </a:lnTo>
                  <a:lnTo>
                    <a:pt x="2861" y="1872"/>
                  </a:lnTo>
                  <a:lnTo>
                    <a:pt x="2842" y="1833"/>
                  </a:lnTo>
                  <a:lnTo>
                    <a:pt x="2828" y="1824"/>
                  </a:lnTo>
                  <a:lnTo>
                    <a:pt x="2912" y="1771"/>
                  </a:lnTo>
                  <a:lnTo>
                    <a:pt x="2924" y="1754"/>
                  </a:lnTo>
                  <a:lnTo>
                    <a:pt x="2959" y="1694"/>
                  </a:lnTo>
                  <a:lnTo>
                    <a:pt x="2978" y="1697"/>
                  </a:lnTo>
                  <a:lnTo>
                    <a:pt x="2990" y="1687"/>
                  </a:lnTo>
                  <a:lnTo>
                    <a:pt x="2984" y="1686"/>
                  </a:lnTo>
                  <a:lnTo>
                    <a:pt x="2978" y="1660"/>
                  </a:lnTo>
                  <a:lnTo>
                    <a:pt x="2964" y="1682"/>
                  </a:lnTo>
                  <a:lnTo>
                    <a:pt x="2959" y="1626"/>
                  </a:lnTo>
                  <a:lnTo>
                    <a:pt x="2929" y="1513"/>
                  </a:lnTo>
                  <a:lnTo>
                    <a:pt x="2905" y="1505"/>
                  </a:lnTo>
                  <a:lnTo>
                    <a:pt x="2870" y="1467"/>
                  </a:lnTo>
                  <a:lnTo>
                    <a:pt x="2873" y="1463"/>
                  </a:lnTo>
                  <a:lnTo>
                    <a:pt x="2871" y="1442"/>
                  </a:lnTo>
                  <a:lnTo>
                    <a:pt x="2919" y="1426"/>
                  </a:lnTo>
                  <a:lnTo>
                    <a:pt x="2913" y="1403"/>
                  </a:lnTo>
                  <a:lnTo>
                    <a:pt x="2919" y="1392"/>
                  </a:lnTo>
                  <a:lnTo>
                    <a:pt x="2933" y="1401"/>
                  </a:lnTo>
                  <a:lnTo>
                    <a:pt x="2949" y="1395"/>
                  </a:lnTo>
                  <a:lnTo>
                    <a:pt x="2932" y="1387"/>
                  </a:lnTo>
                  <a:lnTo>
                    <a:pt x="2933" y="1372"/>
                  </a:lnTo>
                  <a:lnTo>
                    <a:pt x="2944" y="1361"/>
                  </a:lnTo>
                  <a:lnTo>
                    <a:pt x="2919" y="1361"/>
                  </a:lnTo>
                  <a:lnTo>
                    <a:pt x="2919" y="1353"/>
                  </a:lnTo>
                  <a:lnTo>
                    <a:pt x="2929" y="1352"/>
                  </a:lnTo>
                  <a:lnTo>
                    <a:pt x="2930" y="1345"/>
                  </a:lnTo>
                  <a:lnTo>
                    <a:pt x="2915" y="1321"/>
                  </a:lnTo>
                  <a:lnTo>
                    <a:pt x="2921" y="1304"/>
                  </a:lnTo>
                  <a:lnTo>
                    <a:pt x="2913" y="1296"/>
                  </a:lnTo>
                  <a:lnTo>
                    <a:pt x="2929" y="1291"/>
                  </a:lnTo>
                  <a:lnTo>
                    <a:pt x="2904" y="1290"/>
                  </a:lnTo>
                  <a:lnTo>
                    <a:pt x="2899" y="1282"/>
                  </a:lnTo>
                  <a:lnTo>
                    <a:pt x="2899" y="1273"/>
                  </a:lnTo>
                  <a:lnTo>
                    <a:pt x="2917" y="1239"/>
                  </a:lnTo>
                  <a:lnTo>
                    <a:pt x="2915" y="1228"/>
                  </a:lnTo>
                  <a:lnTo>
                    <a:pt x="2930" y="1209"/>
                  </a:lnTo>
                  <a:lnTo>
                    <a:pt x="2932" y="1194"/>
                  </a:lnTo>
                  <a:lnTo>
                    <a:pt x="2921" y="1203"/>
                  </a:lnTo>
                  <a:lnTo>
                    <a:pt x="2902" y="1189"/>
                  </a:lnTo>
                  <a:lnTo>
                    <a:pt x="2895" y="1171"/>
                  </a:lnTo>
                  <a:lnTo>
                    <a:pt x="2895" y="1149"/>
                  </a:lnTo>
                  <a:lnTo>
                    <a:pt x="2927" y="1112"/>
                  </a:lnTo>
                  <a:lnTo>
                    <a:pt x="2929" y="1118"/>
                  </a:lnTo>
                  <a:lnTo>
                    <a:pt x="2983" y="1123"/>
                  </a:lnTo>
                  <a:lnTo>
                    <a:pt x="3017" y="1138"/>
                  </a:lnTo>
                  <a:lnTo>
                    <a:pt x="3015" y="1147"/>
                  </a:lnTo>
                  <a:lnTo>
                    <a:pt x="3039" y="1140"/>
                  </a:lnTo>
                  <a:lnTo>
                    <a:pt x="3043" y="1146"/>
                  </a:lnTo>
                  <a:lnTo>
                    <a:pt x="3039" y="1152"/>
                  </a:lnTo>
                  <a:lnTo>
                    <a:pt x="3056" y="1152"/>
                  </a:lnTo>
                  <a:lnTo>
                    <a:pt x="3060" y="1142"/>
                  </a:lnTo>
                  <a:lnTo>
                    <a:pt x="3097" y="1121"/>
                  </a:lnTo>
                  <a:lnTo>
                    <a:pt x="3153" y="1154"/>
                  </a:lnTo>
                  <a:lnTo>
                    <a:pt x="3156" y="1166"/>
                  </a:lnTo>
                  <a:lnTo>
                    <a:pt x="3145" y="1188"/>
                  </a:lnTo>
                  <a:lnTo>
                    <a:pt x="3154" y="1186"/>
                  </a:lnTo>
                  <a:lnTo>
                    <a:pt x="3157" y="1174"/>
                  </a:lnTo>
                  <a:lnTo>
                    <a:pt x="3170" y="1176"/>
                  </a:lnTo>
                  <a:lnTo>
                    <a:pt x="3170" y="1189"/>
                  </a:lnTo>
                  <a:lnTo>
                    <a:pt x="3178" y="1201"/>
                  </a:lnTo>
                  <a:lnTo>
                    <a:pt x="3171" y="1206"/>
                  </a:lnTo>
                  <a:lnTo>
                    <a:pt x="3173" y="1213"/>
                  </a:lnTo>
                  <a:lnTo>
                    <a:pt x="3190" y="1203"/>
                  </a:lnTo>
                  <a:lnTo>
                    <a:pt x="3201" y="1208"/>
                  </a:lnTo>
                  <a:lnTo>
                    <a:pt x="3190" y="1222"/>
                  </a:lnTo>
                  <a:lnTo>
                    <a:pt x="3191" y="1235"/>
                  </a:lnTo>
                  <a:lnTo>
                    <a:pt x="3204" y="1242"/>
                  </a:lnTo>
                  <a:lnTo>
                    <a:pt x="3201" y="1251"/>
                  </a:lnTo>
                  <a:lnTo>
                    <a:pt x="3225" y="1250"/>
                  </a:lnTo>
                  <a:lnTo>
                    <a:pt x="3232" y="1265"/>
                  </a:lnTo>
                  <a:lnTo>
                    <a:pt x="3261" y="1259"/>
                  </a:lnTo>
                  <a:lnTo>
                    <a:pt x="3271" y="1277"/>
                  </a:lnTo>
                  <a:lnTo>
                    <a:pt x="3288" y="1268"/>
                  </a:lnTo>
                  <a:lnTo>
                    <a:pt x="3286" y="1264"/>
                  </a:lnTo>
                  <a:lnTo>
                    <a:pt x="3293" y="1260"/>
                  </a:lnTo>
                  <a:lnTo>
                    <a:pt x="3303" y="1279"/>
                  </a:lnTo>
                  <a:lnTo>
                    <a:pt x="3289" y="1296"/>
                  </a:lnTo>
                  <a:lnTo>
                    <a:pt x="3289" y="1321"/>
                  </a:lnTo>
                  <a:lnTo>
                    <a:pt x="3303" y="1350"/>
                  </a:lnTo>
                  <a:lnTo>
                    <a:pt x="3286" y="1358"/>
                  </a:lnTo>
                  <a:lnTo>
                    <a:pt x="3280" y="1364"/>
                  </a:lnTo>
                  <a:lnTo>
                    <a:pt x="3301" y="1377"/>
                  </a:lnTo>
                  <a:lnTo>
                    <a:pt x="3303" y="1392"/>
                  </a:lnTo>
                  <a:lnTo>
                    <a:pt x="3292" y="1418"/>
                  </a:lnTo>
                  <a:lnTo>
                    <a:pt x="3312" y="1421"/>
                  </a:lnTo>
                  <a:lnTo>
                    <a:pt x="3300" y="1434"/>
                  </a:lnTo>
                  <a:lnTo>
                    <a:pt x="3310" y="1438"/>
                  </a:lnTo>
                  <a:lnTo>
                    <a:pt x="3312" y="1448"/>
                  </a:lnTo>
                  <a:lnTo>
                    <a:pt x="3292" y="1462"/>
                  </a:lnTo>
                  <a:lnTo>
                    <a:pt x="3283" y="1448"/>
                  </a:lnTo>
                  <a:lnTo>
                    <a:pt x="3275" y="1451"/>
                  </a:lnTo>
                  <a:lnTo>
                    <a:pt x="3280" y="1467"/>
                  </a:lnTo>
                  <a:lnTo>
                    <a:pt x="3264" y="1471"/>
                  </a:lnTo>
                  <a:lnTo>
                    <a:pt x="3286" y="1480"/>
                  </a:lnTo>
                  <a:lnTo>
                    <a:pt x="3306" y="1462"/>
                  </a:lnTo>
                  <a:lnTo>
                    <a:pt x="3348" y="1462"/>
                  </a:lnTo>
                  <a:lnTo>
                    <a:pt x="3357" y="1499"/>
                  </a:lnTo>
                  <a:lnTo>
                    <a:pt x="3354" y="1523"/>
                  </a:lnTo>
                  <a:lnTo>
                    <a:pt x="3354" y="1528"/>
                  </a:lnTo>
                  <a:lnTo>
                    <a:pt x="3371" y="1483"/>
                  </a:lnTo>
                  <a:lnTo>
                    <a:pt x="3369" y="1508"/>
                  </a:lnTo>
                  <a:lnTo>
                    <a:pt x="3377" y="1497"/>
                  </a:lnTo>
                  <a:lnTo>
                    <a:pt x="3382" y="1528"/>
                  </a:lnTo>
                  <a:lnTo>
                    <a:pt x="3386" y="1514"/>
                  </a:lnTo>
                  <a:lnTo>
                    <a:pt x="3430" y="1494"/>
                  </a:lnTo>
                  <a:lnTo>
                    <a:pt x="3440" y="1463"/>
                  </a:lnTo>
                  <a:lnTo>
                    <a:pt x="3459" y="1476"/>
                  </a:lnTo>
                  <a:lnTo>
                    <a:pt x="3461" y="1483"/>
                  </a:lnTo>
                  <a:lnTo>
                    <a:pt x="3457" y="1499"/>
                  </a:lnTo>
                  <a:lnTo>
                    <a:pt x="3467" y="1477"/>
                  </a:lnTo>
                  <a:lnTo>
                    <a:pt x="3454" y="1457"/>
                  </a:lnTo>
                  <a:lnTo>
                    <a:pt x="3462" y="1463"/>
                  </a:lnTo>
                  <a:lnTo>
                    <a:pt x="3471" y="1457"/>
                  </a:lnTo>
                  <a:lnTo>
                    <a:pt x="3467" y="1454"/>
                  </a:lnTo>
                  <a:lnTo>
                    <a:pt x="3469" y="1446"/>
                  </a:lnTo>
                  <a:lnTo>
                    <a:pt x="3476" y="1446"/>
                  </a:lnTo>
                  <a:lnTo>
                    <a:pt x="3479" y="1435"/>
                  </a:lnTo>
                  <a:lnTo>
                    <a:pt x="3474" y="1423"/>
                  </a:lnTo>
                  <a:lnTo>
                    <a:pt x="3479" y="1429"/>
                  </a:lnTo>
                  <a:lnTo>
                    <a:pt x="3498" y="1406"/>
                  </a:lnTo>
                  <a:lnTo>
                    <a:pt x="3481" y="1383"/>
                  </a:lnTo>
                  <a:lnTo>
                    <a:pt x="3513" y="1330"/>
                  </a:lnTo>
                  <a:lnTo>
                    <a:pt x="3529" y="1332"/>
                  </a:lnTo>
                  <a:lnTo>
                    <a:pt x="3532" y="1336"/>
                  </a:lnTo>
                  <a:lnTo>
                    <a:pt x="3527" y="1340"/>
                  </a:lnTo>
                  <a:lnTo>
                    <a:pt x="3533" y="1341"/>
                  </a:lnTo>
                  <a:lnTo>
                    <a:pt x="3535" y="1355"/>
                  </a:lnTo>
                  <a:lnTo>
                    <a:pt x="3532" y="1370"/>
                  </a:lnTo>
                  <a:lnTo>
                    <a:pt x="3544" y="1370"/>
                  </a:lnTo>
                  <a:lnTo>
                    <a:pt x="3542" y="1389"/>
                  </a:lnTo>
                  <a:lnTo>
                    <a:pt x="3552" y="1391"/>
                  </a:lnTo>
                  <a:lnTo>
                    <a:pt x="3549" y="1400"/>
                  </a:lnTo>
                  <a:lnTo>
                    <a:pt x="3566" y="1401"/>
                  </a:lnTo>
                  <a:lnTo>
                    <a:pt x="3554" y="1415"/>
                  </a:lnTo>
                  <a:lnTo>
                    <a:pt x="3566" y="1423"/>
                  </a:lnTo>
                  <a:lnTo>
                    <a:pt x="3574" y="1418"/>
                  </a:lnTo>
                  <a:lnTo>
                    <a:pt x="3574" y="1428"/>
                  </a:lnTo>
                  <a:lnTo>
                    <a:pt x="3583" y="1428"/>
                  </a:lnTo>
                  <a:lnTo>
                    <a:pt x="3583" y="1437"/>
                  </a:lnTo>
                  <a:lnTo>
                    <a:pt x="3572" y="1442"/>
                  </a:lnTo>
                  <a:lnTo>
                    <a:pt x="3555" y="1442"/>
                  </a:lnTo>
                  <a:lnTo>
                    <a:pt x="3542" y="1452"/>
                  </a:lnTo>
                  <a:lnTo>
                    <a:pt x="3591" y="1443"/>
                  </a:lnTo>
                  <a:lnTo>
                    <a:pt x="3588" y="1467"/>
                  </a:lnTo>
                  <a:lnTo>
                    <a:pt x="3601" y="1467"/>
                  </a:lnTo>
                  <a:lnTo>
                    <a:pt x="3600" y="1476"/>
                  </a:lnTo>
                  <a:lnTo>
                    <a:pt x="3608" y="1480"/>
                  </a:lnTo>
                  <a:lnTo>
                    <a:pt x="3575" y="1494"/>
                  </a:lnTo>
                  <a:lnTo>
                    <a:pt x="3618" y="1494"/>
                  </a:lnTo>
                  <a:lnTo>
                    <a:pt x="3620" y="1505"/>
                  </a:lnTo>
                  <a:lnTo>
                    <a:pt x="3611" y="1513"/>
                  </a:lnTo>
                  <a:lnTo>
                    <a:pt x="3617" y="1514"/>
                  </a:lnTo>
                  <a:lnTo>
                    <a:pt x="3591" y="1534"/>
                  </a:lnTo>
                  <a:lnTo>
                    <a:pt x="3620" y="1523"/>
                  </a:lnTo>
                  <a:lnTo>
                    <a:pt x="3630" y="1534"/>
                  </a:lnTo>
                  <a:lnTo>
                    <a:pt x="3620" y="1547"/>
                  </a:lnTo>
                  <a:lnTo>
                    <a:pt x="3635" y="1547"/>
                  </a:lnTo>
                  <a:lnTo>
                    <a:pt x="3652" y="1570"/>
                  </a:lnTo>
                  <a:lnTo>
                    <a:pt x="3626" y="1587"/>
                  </a:lnTo>
                  <a:lnTo>
                    <a:pt x="3651" y="1587"/>
                  </a:lnTo>
                  <a:lnTo>
                    <a:pt x="3656" y="1593"/>
                  </a:lnTo>
                  <a:lnTo>
                    <a:pt x="3652" y="1602"/>
                  </a:lnTo>
                  <a:lnTo>
                    <a:pt x="3671" y="1609"/>
                  </a:lnTo>
                  <a:lnTo>
                    <a:pt x="3674" y="1621"/>
                  </a:lnTo>
                  <a:lnTo>
                    <a:pt x="3656" y="1638"/>
                  </a:lnTo>
                  <a:lnTo>
                    <a:pt x="3659" y="1649"/>
                  </a:lnTo>
                  <a:lnTo>
                    <a:pt x="3630" y="1636"/>
                  </a:lnTo>
                  <a:lnTo>
                    <a:pt x="3626" y="1641"/>
                  </a:lnTo>
                  <a:lnTo>
                    <a:pt x="3639" y="1649"/>
                  </a:lnTo>
                  <a:lnTo>
                    <a:pt x="3657" y="1658"/>
                  </a:lnTo>
                  <a:lnTo>
                    <a:pt x="3659" y="1661"/>
                  </a:lnTo>
                  <a:lnTo>
                    <a:pt x="3645" y="1669"/>
                  </a:lnTo>
                  <a:lnTo>
                    <a:pt x="3660" y="1683"/>
                  </a:lnTo>
                  <a:lnTo>
                    <a:pt x="3652" y="1682"/>
                  </a:lnTo>
                  <a:lnTo>
                    <a:pt x="3648" y="1691"/>
                  </a:lnTo>
                  <a:lnTo>
                    <a:pt x="3676" y="1687"/>
                  </a:lnTo>
                  <a:lnTo>
                    <a:pt x="3682" y="1711"/>
                  </a:lnTo>
                  <a:lnTo>
                    <a:pt x="3679" y="1714"/>
                  </a:lnTo>
                  <a:lnTo>
                    <a:pt x="3705" y="1717"/>
                  </a:lnTo>
                  <a:lnTo>
                    <a:pt x="3711" y="1729"/>
                  </a:lnTo>
                  <a:lnTo>
                    <a:pt x="3723" y="1726"/>
                  </a:lnTo>
                  <a:lnTo>
                    <a:pt x="3722" y="1742"/>
                  </a:lnTo>
                  <a:lnTo>
                    <a:pt x="3728" y="1753"/>
                  </a:lnTo>
                  <a:lnTo>
                    <a:pt x="3718" y="1765"/>
                  </a:lnTo>
                  <a:lnTo>
                    <a:pt x="3728" y="1760"/>
                  </a:lnTo>
                  <a:lnTo>
                    <a:pt x="3740" y="1768"/>
                  </a:lnTo>
                  <a:lnTo>
                    <a:pt x="3753" y="1760"/>
                  </a:lnTo>
                  <a:lnTo>
                    <a:pt x="3753" y="1768"/>
                  </a:lnTo>
                  <a:lnTo>
                    <a:pt x="3762" y="1770"/>
                  </a:lnTo>
                  <a:lnTo>
                    <a:pt x="3752" y="1796"/>
                  </a:lnTo>
                  <a:lnTo>
                    <a:pt x="3778" y="1770"/>
                  </a:lnTo>
                  <a:lnTo>
                    <a:pt x="3776" y="1780"/>
                  </a:lnTo>
                  <a:lnTo>
                    <a:pt x="3784" y="1775"/>
                  </a:lnTo>
                  <a:lnTo>
                    <a:pt x="3789" y="1794"/>
                  </a:lnTo>
                  <a:lnTo>
                    <a:pt x="3795" y="1797"/>
                  </a:lnTo>
                  <a:lnTo>
                    <a:pt x="3815" y="1805"/>
                  </a:lnTo>
                  <a:lnTo>
                    <a:pt x="3829" y="1790"/>
                  </a:lnTo>
                  <a:lnTo>
                    <a:pt x="3835" y="1799"/>
                  </a:lnTo>
                  <a:lnTo>
                    <a:pt x="3833" y="1805"/>
                  </a:lnTo>
                  <a:lnTo>
                    <a:pt x="3854" y="1814"/>
                  </a:lnTo>
                  <a:lnTo>
                    <a:pt x="3858" y="1821"/>
                  </a:lnTo>
                  <a:lnTo>
                    <a:pt x="3854" y="1833"/>
                  </a:lnTo>
                  <a:lnTo>
                    <a:pt x="3833" y="1834"/>
                  </a:lnTo>
                  <a:lnTo>
                    <a:pt x="3804" y="1851"/>
                  </a:lnTo>
                  <a:lnTo>
                    <a:pt x="3765" y="1859"/>
                  </a:lnTo>
                  <a:lnTo>
                    <a:pt x="3759" y="1867"/>
                  </a:lnTo>
                  <a:lnTo>
                    <a:pt x="3745" y="1875"/>
                  </a:lnTo>
                  <a:lnTo>
                    <a:pt x="3731" y="1895"/>
                  </a:lnTo>
                  <a:lnTo>
                    <a:pt x="3701" y="1881"/>
                  </a:lnTo>
                  <a:lnTo>
                    <a:pt x="3689" y="1881"/>
                  </a:lnTo>
                  <a:lnTo>
                    <a:pt x="3689" y="1889"/>
                  </a:lnTo>
                  <a:lnTo>
                    <a:pt x="3727" y="1902"/>
                  </a:lnTo>
                  <a:lnTo>
                    <a:pt x="3723" y="1924"/>
                  </a:lnTo>
                  <a:lnTo>
                    <a:pt x="3801" y="1865"/>
                  </a:lnTo>
                  <a:lnTo>
                    <a:pt x="3809" y="1856"/>
                  </a:lnTo>
                  <a:lnTo>
                    <a:pt x="3832" y="1850"/>
                  </a:lnTo>
                  <a:lnTo>
                    <a:pt x="3864" y="1851"/>
                  </a:lnTo>
                  <a:lnTo>
                    <a:pt x="3867" y="1881"/>
                  </a:lnTo>
                  <a:lnTo>
                    <a:pt x="3862" y="1890"/>
                  </a:lnTo>
                  <a:lnTo>
                    <a:pt x="3864" y="1912"/>
                  </a:lnTo>
                  <a:lnTo>
                    <a:pt x="3883" y="1885"/>
                  </a:lnTo>
                  <a:lnTo>
                    <a:pt x="3900" y="1885"/>
                  </a:lnTo>
                  <a:lnTo>
                    <a:pt x="3897" y="1890"/>
                  </a:lnTo>
                  <a:lnTo>
                    <a:pt x="3928" y="1901"/>
                  </a:lnTo>
                  <a:lnTo>
                    <a:pt x="3922" y="1907"/>
                  </a:lnTo>
                  <a:lnTo>
                    <a:pt x="3937" y="1924"/>
                  </a:lnTo>
                  <a:lnTo>
                    <a:pt x="3937" y="1931"/>
                  </a:lnTo>
                  <a:lnTo>
                    <a:pt x="3928" y="1938"/>
                  </a:lnTo>
                  <a:lnTo>
                    <a:pt x="3909" y="1929"/>
                  </a:lnTo>
                  <a:lnTo>
                    <a:pt x="3916" y="1941"/>
                  </a:lnTo>
                  <a:lnTo>
                    <a:pt x="3926" y="1943"/>
                  </a:lnTo>
                  <a:lnTo>
                    <a:pt x="3929" y="1952"/>
                  </a:lnTo>
                  <a:lnTo>
                    <a:pt x="3926" y="1960"/>
                  </a:lnTo>
                  <a:lnTo>
                    <a:pt x="3934" y="1974"/>
                  </a:lnTo>
                  <a:lnTo>
                    <a:pt x="3923" y="1977"/>
                  </a:lnTo>
                  <a:lnTo>
                    <a:pt x="3937" y="1982"/>
                  </a:lnTo>
                  <a:lnTo>
                    <a:pt x="3942" y="1992"/>
                  </a:lnTo>
                  <a:lnTo>
                    <a:pt x="3923" y="1988"/>
                  </a:lnTo>
                  <a:lnTo>
                    <a:pt x="3940" y="2007"/>
                  </a:lnTo>
                  <a:lnTo>
                    <a:pt x="3896" y="2054"/>
                  </a:lnTo>
                  <a:lnTo>
                    <a:pt x="3883" y="2059"/>
                  </a:lnTo>
                  <a:lnTo>
                    <a:pt x="3871" y="2059"/>
                  </a:lnTo>
                  <a:lnTo>
                    <a:pt x="3813" y="2070"/>
                  </a:lnTo>
                  <a:lnTo>
                    <a:pt x="3795" y="2090"/>
                  </a:lnTo>
                  <a:lnTo>
                    <a:pt x="3789" y="2088"/>
                  </a:lnTo>
                  <a:lnTo>
                    <a:pt x="3765" y="2125"/>
                  </a:lnTo>
                  <a:lnTo>
                    <a:pt x="3757" y="2130"/>
                  </a:lnTo>
                  <a:lnTo>
                    <a:pt x="3739" y="2147"/>
                  </a:lnTo>
                  <a:lnTo>
                    <a:pt x="3728" y="2142"/>
                  </a:lnTo>
                  <a:lnTo>
                    <a:pt x="3733" y="2133"/>
                  </a:lnTo>
                  <a:lnTo>
                    <a:pt x="3722" y="2146"/>
                  </a:lnTo>
                  <a:lnTo>
                    <a:pt x="3665" y="2158"/>
                  </a:lnTo>
                  <a:lnTo>
                    <a:pt x="3652" y="2146"/>
                  </a:lnTo>
                  <a:lnTo>
                    <a:pt x="3533" y="2141"/>
                  </a:lnTo>
                  <a:lnTo>
                    <a:pt x="3448" y="2147"/>
                  </a:lnTo>
                  <a:lnTo>
                    <a:pt x="3444" y="2156"/>
                  </a:lnTo>
                  <a:lnTo>
                    <a:pt x="3433" y="2158"/>
                  </a:lnTo>
                  <a:lnTo>
                    <a:pt x="3427" y="2161"/>
                  </a:lnTo>
                  <a:lnTo>
                    <a:pt x="3413" y="2178"/>
                  </a:lnTo>
                  <a:lnTo>
                    <a:pt x="3403" y="2210"/>
                  </a:lnTo>
                  <a:lnTo>
                    <a:pt x="3368" y="2214"/>
                  </a:lnTo>
                  <a:lnTo>
                    <a:pt x="3354" y="2223"/>
                  </a:lnTo>
                  <a:lnTo>
                    <a:pt x="3329" y="2246"/>
                  </a:lnTo>
                  <a:lnTo>
                    <a:pt x="3305" y="2283"/>
                  </a:lnTo>
                  <a:lnTo>
                    <a:pt x="3286" y="2291"/>
                  </a:lnTo>
                  <a:lnTo>
                    <a:pt x="3288" y="2307"/>
                  </a:lnTo>
                  <a:lnTo>
                    <a:pt x="3269" y="2340"/>
                  </a:lnTo>
                  <a:lnTo>
                    <a:pt x="3225" y="2382"/>
                  </a:lnTo>
                  <a:lnTo>
                    <a:pt x="3246" y="2374"/>
                  </a:lnTo>
                  <a:lnTo>
                    <a:pt x="3286" y="2327"/>
                  </a:lnTo>
                  <a:lnTo>
                    <a:pt x="3298" y="2307"/>
                  </a:lnTo>
                  <a:lnTo>
                    <a:pt x="3329" y="2277"/>
                  </a:lnTo>
                  <a:lnTo>
                    <a:pt x="3436" y="2223"/>
                  </a:lnTo>
                  <a:lnTo>
                    <a:pt x="3481" y="2215"/>
                  </a:lnTo>
                  <a:lnTo>
                    <a:pt x="3507" y="2218"/>
                  </a:lnTo>
                  <a:lnTo>
                    <a:pt x="3538" y="2235"/>
                  </a:lnTo>
                  <a:lnTo>
                    <a:pt x="3546" y="2249"/>
                  </a:lnTo>
                  <a:lnTo>
                    <a:pt x="3537" y="2248"/>
                  </a:lnTo>
                  <a:lnTo>
                    <a:pt x="3542" y="2254"/>
                  </a:lnTo>
                  <a:lnTo>
                    <a:pt x="3542" y="2268"/>
                  </a:lnTo>
                  <a:lnTo>
                    <a:pt x="3498" y="2300"/>
                  </a:lnTo>
                  <a:lnTo>
                    <a:pt x="3471" y="2291"/>
                  </a:lnTo>
                  <a:lnTo>
                    <a:pt x="3471" y="2310"/>
                  </a:lnTo>
                  <a:lnTo>
                    <a:pt x="3479" y="2325"/>
                  </a:lnTo>
                  <a:lnTo>
                    <a:pt x="3504" y="2311"/>
                  </a:lnTo>
                  <a:lnTo>
                    <a:pt x="3518" y="2322"/>
                  </a:lnTo>
                  <a:lnTo>
                    <a:pt x="3518" y="2330"/>
                  </a:lnTo>
                  <a:lnTo>
                    <a:pt x="3510" y="2350"/>
                  </a:lnTo>
                  <a:lnTo>
                    <a:pt x="3496" y="2365"/>
                  </a:lnTo>
                  <a:lnTo>
                    <a:pt x="3516" y="2367"/>
                  </a:lnTo>
                  <a:lnTo>
                    <a:pt x="3516" y="2391"/>
                  </a:lnTo>
                  <a:lnTo>
                    <a:pt x="3532" y="2421"/>
                  </a:lnTo>
                  <a:lnTo>
                    <a:pt x="3564" y="2430"/>
                  </a:lnTo>
                  <a:lnTo>
                    <a:pt x="3567" y="2433"/>
                  </a:lnTo>
                  <a:lnTo>
                    <a:pt x="3558" y="2438"/>
                  </a:lnTo>
                  <a:lnTo>
                    <a:pt x="3557" y="2444"/>
                  </a:lnTo>
                  <a:lnTo>
                    <a:pt x="3611" y="2455"/>
                  </a:lnTo>
                  <a:lnTo>
                    <a:pt x="3615" y="2461"/>
                  </a:lnTo>
                  <a:lnTo>
                    <a:pt x="3634" y="2458"/>
                  </a:lnTo>
                  <a:lnTo>
                    <a:pt x="3651" y="2447"/>
                  </a:lnTo>
                  <a:lnTo>
                    <a:pt x="3654" y="2455"/>
                  </a:lnTo>
                  <a:lnTo>
                    <a:pt x="3652" y="2463"/>
                  </a:lnTo>
                  <a:lnTo>
                    <a:pt x="3674" y="2461"/>
                  </a:lnTo>
                  <a:lnTo>
                    <a:pt x="3679" y="2467"/>
                  </a:lnTo>
                  <a:lnTo>
                    <a:pt x="3682" y="2472"/>
                  </a:lnTo>
                  <a:lnTo>
                    <a:pt x="3676" y="2481"/>
                  </a:lnTo>
                  <a:lnTo>
                    <a:pt x="3689" y="2481"/>
                  </a:lnTo>
                  <a:lnTo>
                    <a:pt x="3693" y="2484"/>
                  </a:lnTo>
                  <a:lnTo>
                    <a:pt x="3688" y="2488"/>
                  </a:lnTo>
                  <a:lnTo>
                    <a:pt x="3665" y="2489"/>
                  </a:lnTo>
                  <a:lnTo>
                    <a:pt x="3608" y="2522"/>
                  </a:lnTo>
                  <a:lnTo>
                    <a:pt x="3584" y="2528"/>
                  </a:lnTo>
                  <a:lnTo>
                    <a:pt x="3574" y="2523"/>
                  </a:lnTo>
                  <a:lnTo>
                    <a:pt x="3575" y="2539"/>
                  </a:lnTo>
                  <a:lnTo>
                    <a:pt x="3566" y="2539"/>
                  </a:lnTo>
                  <a:lnTo>
                    <a:pt x="3558" y="2526"/>
                  </a:lnTo>
                  <a:lnTo>
                    <a:pt x="3552" y="2539"/>
                  </a:lnTo>
                  <a:lnTo>
                    <a:pt x="3550" y="2532"/>
                  </a:lnTo>
                  <a:lnTo>
                    <a:pt x="3544" y="2551"/>
                  </a:lnTo>
                  <a:lnTo>
                    <a:pt x="3507" y="2588"/>
                  </a:lnTo>
                  <a:lnTo>
                    <a:pt x="3496" y="2588"/>
                  </a:lnTo>
                  <a:lnTo>
                    <a:pt x="3490" y="2601"/>
                  </a:lnTo>
                  <a:lnTo>
                    <a:pt x="3478" y="2598"/>
                  </a:lnTo>
                  <a:lnTo>
                    <a:pt x="3469" y="2581"/>
                  </a:lnTo>
                  <a:lnTo>
                    <a:pt x="3462" y="2581"/>
                  </a:lnTo>
                  <a:lnTo>
                    <a:pt x="3457" y="2568"/>
                  </a:lnTo>
                  <a:lnTo>
                    <a:pt x="3459" y="2547"/>
                  </a:lnTo>
                  <a:lnTo>
                    <a:pt x="3469" y="2532"/>
                  </a:lnTo>
                  <a:lnTo>
                    <a:pt x="3456" y="2542"/>
                  </a:lnTo>
                  <a:lnTo>
                    <a:pt x="3471" y="2525"/>
                  </a:lnTo>
                  <a:lnTo>
                    <a:pt x="3484" y="2522"/>
                  </a:lnTo>
                  <a:lnTo>
                    <a:pt x="3484" y="2518"/>
                  </a:lnTo>
                  <a:lnTo>
                    <a:pt x="3535" y="2486"/>
                  </a:lnTo>
                  <a:lnTo>
                    <a:pt x="3547" y="2500"/>
                  </a:lnTo>
                  <a:lnTo>
                    <a:pt x="3564" y="2486"/>
                  </a:lnTo>
                  <a:lnTo>
                    <a:pt x="3584" y="2483"/>
                  </a:lnTo>
                  <a:lnTo>
                    <a:pt x="3584" y="2478"/>
                  </a:lnTo>
                  <a:lnTo>
                    <a:pt x="3538" y="2475"/>
                  </a:lnTo>
                  <a:lnTo>
                    <a:pt x="3518" y="2483"/>
                  </a:lnTo>
                  <a:lnTo>
                    <a:pt x="3516" y="2472"/>
                  </a:lnTo>
                  <a:lnTo>
                    <a:pt x="3538" y="2452"/>
                  </a:lnTo>
                  <a:lnTo>
                    <a:pt x="3532" y="2452"/>
                  </a:lnTo>
                  <a:lnTo>
                    <a:pt x="3530" y="2446"/>
                  </a:lnTo>
                  <a:lnTo>
                    <a:pt x="3521" y="2461"/>
                  </a:lnTo>
                  <a:lnTo>
                    <a:pt x="3478" y="2488"/>
                  </a:lnTo>
                  <a:lnTo>
                    <a:pt x="3462" y="2486"/>
                  </a:lnTo>
                  <a:lnTo>
                    <a:pt x="3457" y="2492"/>
                  </a:lnTo>
                  <a:lnTo>
                    <a:pt x="3450" y="2497"/>
                  </a:lnTo>
                  <a:lnTo>
                    <a:pt x="3431" y="2500"/>
                  </a:lnTo>
                  <a:lnTo>
                    <a:pt x="3413" y="2492"/>
                  </a:lnTo>
                  <a:lnTo>
                    <a:pt x="3408" y="2497"/>
                  </a:lnTo>
                  <a:lnTo>
                    <a:pt x="3402" y="2494"/>
                  </a:lnTo>
                  <a:lnTo>
                    <a:pt x="3391" y="2486"/>
                  </a:lnTo>
                  <a:lnTo>
                    <a:pt x="3391" y="2469"/>
                  </a:lnTo>
                  <a:lnTo>
                    <a:pt x="3377" y="2463"/>
                  </a:lnTo>
                  <a:lnTo>
                    <a:pt x="3377" y="2416"/>
                  </a:lnTo>
                  <a:lnTo>
                    <a:pt x="3377" y="2373"/>
                  </a:lnTo>
                  <a:lnTo>
                    <a:pt x="3356" y="2350"/>
                  </a:lnTo>
                  <a:lnTo>
                    <a:pt x="3331" y="2362"/>
                  </a:lnTo>
                  <a:lnTo>
                    <a:pt x="3318" y="2359"/>
                  </a:lnTo>
                  <a:lnTo>
                    <a:pt x="3317" y="2356"/>
                  </a:lnTo>
                  <a:lnTo>
                    <a:pt x="3308" y="2345"/>
                  </a:lnTo>
                  <a:lnTo>
                    <a:pt x="3298" y="2347"/>
                  </a:lnTo>
                  <a:lnTo>
                    <a:pt x="3276" y="2386"/>
                  </a:lnTo>
                  <a:lnTo>
                    <a:pt x="3272" y="2404"/>
                  </a:lnTo>
                  <a:lnTo>
                    <a:pt x="3261" y="2435"/>
                  </a:lnTo>
                  <a:lnTo>
                    <a:pt x="3258" y="2464"/>
                  </a:lnTo>
                  <a:lnTo>
                    <a:pt x="3247" y="2474"/>
                  </a:lnTo>
                  <a:lnTo>
                    <a:pt x="3247" y="2486"/>
                  </a:lnTo>
                  <a:lnTo>
                    <a:pt x="3225" y="2489"/>
                  </a:lnTo>
                  <a:lnTo>
                    <a:pt x="3212" y="2491"/>
                  </a:lnTo>
                  <a:lnTo>
                    <a:pt x="3204" y="2508"/>
                  </a:lnTo>
                  <a:lnTo>
                    <a:pt x="3159" y="2508"/>
                  </a:lnTo>
                  <a:lnTo>
                    <a:pt x="3056" y="2508"/>
                  </a:lnTo>
                  <a:close/>
                  <a:moveTo>
                    <a:pt x="3555" y="2378"/>
                  </a:moveTo>
                  <a:lnTo>
                    <a:pt x="3552" y="2388"/>
                  </a:lnTo>
                  <a:lnTo>
                    <a:pt x="3566" y="2404"/>
                  </a:lnTo>
                  <a:lnTo>
                    <a:pt x="3580" y="2404"/>
                  </a:lnTo>
                  <a:lnTo>
                    <a:pt x="3603" y="2413"/>
                  </a:lnTo>
                  <a:lnTo>
                    <a:pt x="3643" y="2408"/>
                  </a:lnTo>
                  <a:lnTo>
                    <a:pt x="3645" y="2413"/>
                  </a:lnTo>
                  <a:lnTo>
                    <a:pt x="3626" y="2424"/>
                  </a:lnTo>
                  <a:lnTo>
                    <a:pt x="3626" y="2438"/>
                  </a:lnTo>
                  <a:lnTo>
                    <a:pt x="3618" y="2440"/>
                  </a:lnTo>
                  <a:lnTo>
                    <a:pt x="3608" y="2437"/>
                  </a:lnTo>
                  <a:lnTo>
                    <a:pt x="3598" y="2421"/>
                  </a:lnTo>
                  <a:lnTo>
                    <a:pt x="3588" y="2427"/>
                  </a:lnTo>
                  <a:lnTo>
                    <a:pt x="3557" y="2412"/>
                  </a:lnTo>
                  <a:lnTo>
                    <a:pt x="3550" y="2404"/>
                  </a:lnTo>
                  <a:lnTo>
                    <a:pt x="3552" y="2399"/>
                  </a:lnTo>
                  <a:lnTo>
                    <a:pt x="3540" y="2395"/>
                  </a:lnTo>
                  <a:lnTo>
                    <a:pt x="3538" y="2386"/>
                  </a:lnTo>
                  <a:lnTo>
                    <a:pt x="3557" y="2367"/>
                  </a:lnTo>
                  <a:lnTo>
                    <a:pt x="3555" y="2378"/>
                  </a:lnTo>
                  <a:close/>
                  <a:moveTo>
                    <a:pt x="410" y="1963"/>
                  </a:moveTo>
                  <a:lnTo>
                    <a:pt x="410" y="1946"/>
                  </a:lnTo>
                  <a:lnTo>
                    <a:pt x="405" y="1952"/>
                  </a:lnTo>
                  <a:lnTo>
                    <a:pt x="402" y="1949"/>
                  </a:lnTo>
                  <a:lnTo>
                    <a:pt x="405" y="1940"/>
                  </a:lnTo>
                  <a:lnTo>
                    <a:pt x="397" y="1938"/>
                  </a:lnTo>
                  <a:lnTo>
                    <a:pt x="424" y="1924"/>
                  </a:lnTo>
                  <a:lnTo>
                    <a:pt x="430" y="1935"/>
                  </a:lnTo>
                  <a:lnTo>
                    <a:pt x="419" y="1938"/>
                  </a:lnTo>
                  <a:lnTo>
                    <a:pt x="433" y="1948"/>
                  </a:lnTo>
                  <a:lnTo>
                    <a:pt x="421" y="1951"/>
                  </a:lnTo>
                  <a:lnTo>
                    <a:pt x="419" y="1966"/>
                  </a:lnTo>
                  <a:lnTo>
                    <a:pt x="439" y="1983"/>
                  </a:lnTo>
                  <a:lnTo>
                    <a:pt x="452" y="2007"/>
                  </a:lnTo>
                  <a:lnTo>
                    <a:pt x="410" y="1963"/>
                  </a:lnTo>
                  <a:close/>
                  <a:moveTo>
                    <a:pt x="414" y="1863"/>
                  </a:moveTo>
                  <a:lnTo>
                    <a:pt x="426" y="1855"/>
                  </a:lnTo>
                  <a:lnTo>
                    <a:pt x="429" y="1867"/>
                  </a:lnTo>
                  <a:lnTo>
                    <a:pt x="419" y="1915"/>
                  </a:lnTo>
                  <a:lnTo>
                    <a:pt x="414" y="1926"/>
                  </a:lnTo>
                  <a:lnTo>
                    <a:pt x="404" y="1921"/>
                  </a:lnTo>
                  <a:lnTo>
                    <a:pt x="399" y="1932"/>
                  </a:lnTo>
                  <a:lnTo>
                    <a:pt x="390" y="1914"/>
                  </a:lnTo>
                  <a:lnTo>
                    <a:pt x="397" y="1912"/>
                  </a:lnTo>
                  <a:lnTo>
                    <a:pt x="397" y="1906"/>
                  </a:lnTo>
                  <a:lnTo>
                    <a:pt x="376" y="1895"/>
                  </a:lnTo>
                  <a:lnTo>
                    <a:pt x="365" y="1868"/>
                  </a:lnTo>
                  <a:lnTo>
                    <a:pt x="365" y="1853"/>
                  </a:lnTo>
                  <a:lnTo>
                    <a:pt x="387" y="1855"/>
                  </a:lnTo>
                  <a:lnTo>
                    <a:pt x="385" y="1868"/>
                  </a:lnTo>
                  <a:lnTo>
                    <a:pt x="401" y="1856"/>
                  </a:lnTo>
                  <a:lnTo>
                    <a:pt x="405" y="1878"/>
                  </a:lnTo>
                  <a:lnTo>
                    <a:pt x="387" y="1890"/>
                  </a:lnTo>
                  <a:lnTo>
                    <a:pt x="401" y="1895"/>
                  </a:lnTo>
                  <a:lnTo>
                    <a:pt x="414" y="1863"/>
                  </a:lnTo>
                  <a:close/>
                  <a:moveTo>
                    <a:pt x="435" y="1762"/>
                  </a:moveTo>
                  <a:lnTo>
                    <a:pt x="444" y="1783"/>
                  </a:lnTo>
                  <a:lnTo>
                    <a:pt x="436" y="1775"/>
                  </a:lnTo>
                  <a:lnTo>
                    <a:pt x="435" y="1762"/>
                  </a:lnTo>
                  <a:close/>
                  <a:moveTo>
                    <a:pt x="368" y="1785"/>
                  </a:moveTo>
                  <a:lnTo>
                    <a:pt x="381" y="1805"/>
                  </a:lnTo>
                  <a:lnTo>
                    <a:pt x="372" y="1804"/>
                  </a:lnTo>
                  <a:lnTo>
                    <a:pt x="362" y="1785"/>
                  </a:lnTo>
                  <a:lnTo>
                    <a:pt x="360" y="1766"/>
                  </a:lnTo>
                  <a:lnTo>
                    <a:pt x="368" y="1785"/>
                  </a:lnTo>
                  <a:close/>
                  <a:moveTo>
                    <a:pt x="443" y="1762"/>
                  </a:moveTo>
                  <a:lnTo>
                    <a:pt x="450" y="1757"/>
                  </a:lnTo>
                  <a:lnTo>
                    <a:pt x="453" y="1770"/>
                  </a:lnTo>
                  <a:lnTo>
                    <a:pt x="464" y="1773"/>
                  </a:lnTo>
                  <a:lnTo>
                    <a:pt x="461" y="1754"/>
                  </a:lnTo>
                  <a:lnTo>
                    <a:pt x="463" y="1737"/>
                  </a:lnTo>
                  <a:lnTo>
                    <a:pt x="453" y="1711"/>
                  </a:lnTo>
                  <a:lnTo>
                    <a:pt x="433" y="1721"/>
                  </a:lnTo>
                  <a:lnTo>
                    <a:pt x="435" y="1728"/>
                  </a:lnTo>
                  <a:lnTo>
                    <a:pt x="426" y="1751"/>
                  </a:lnTo>
                  <a:lnTo>
                    <a:pt x="435" y="1760"/>
                  </a:lnTo>
                  <a:lnTo>
                    <a:pt x="438" y="1746"/>
                  </a:lnTo>
                  <a:lnTo>
                    <a:pt x="444" y="1750"/>
                  </a:lnTo>
                  <a:lnTo>
                    <a:pt x="444" y="1736"/>
                  </a:lnTo>
                  <a:lnTo>
                    <a:pt x="447" y="1750"/>
                  </a:lnTo>
                  <a:lnTo>
                    <a:pt x="443" y="1762"/>
                  </a:lnTo>
                  <a:close/>
                  <a:moveTo>
                    <a:pt x="381" y="1704"/>
                  </a:moveTo>
                  <a:lnTo>
                    <a:pt x="393" y="1723"/>
                  </a:lnTo>
                  <a:lnTo>
                    <a:pt x="390" y="1731"/>
                  </a:lnTo>
                  <a:lnTo>
                    <a:pt x="405" y="1748"/>
                  </a:lnTo>
                  <a:lnTo>
                    <a:pt x="390" y="1737"/>
                  </a:lnTo>
                  <a:lnTo>
                    <a:pt x="397" y="1754"/>
                  </a:lnTo>
                  <a:lnTo>
                    <a:pt x="416" y="1770"/>
                  </a:lnTo>
                  <a:lnTo>
                    <a:pt x="409" y="1788"/>
                  </a:lnTo>
                  <a:lnTo>
                    <a:pt x="416" y="1788"/>
                  </a:lnTo>
                  <a:lnTo>
                    <a:pt x="414" y="1807"/>
                  </a:lnTo>
                  <a:lnTo>
                    <a:pt x="404" y="1808"/>
                  </a:lnTo>
                  <a:lnTo>
                    <a:pt x="399" y="1785"/>
                  </a:lnTo>
                  <a:lnTo>
                    <a:pt x="392" y="1787"/>
                  </a:lnTo>
                  <a:lnTo>
                    <a:pt x="385" y="1770"/>
                  </a:lnTo>
                  <a:lnTo>
                    <a:pt x="360" y="1758"/>
                  </a:lnTo>
                  <a:lnTo>
                    <a:pt x="370" y="1754"/>
                  </a:lnTo>
                  <a:lnTo>
                    <a:pt x="368" y="1745"/>
                  </a:lnTo>
                  <a:lnTo>
                    <a:pt x="372" y="1740"/>
                  </a:lnTo>
                  <a:lnTo>
                    <a:pt x="351" y="1733"/>
                  </a:lnTo>
                  <a:lnTo>
                    <a:pt x="358" y="1721"/>
                  </a:lnTo>
                  <a:lnTo>
                    <a:pt x="358" y="1694"/>
                  </a:lnTo>
                  <a:lnTo>
                    <a:pt x="334" y="1711"/>
                  </a:lnTo>
                  <a:lnTo>
                    <a:pt x="345" y="1689"/>
                  </a:lnTo>
                  <a:lnTo>
                    <a:pt x="342" y="1677"/>
                  </a:lnTo>
                  <a:lnTo>
                    <a:pt x="360" y="1678"/>
                  </a:lnTo>
                  <a:lnTo>
                    <a:pt x="365" y="1683"/>
                  </a:lnTo>
                  <a:lnTo>
                    <a:pt x="365" y="1699"/>
                  </a:lnTo>
                  <a:lnTo>
                    <a:pt x="381" y="1704"/>
                  </a:lnTo>
                  <a:close/>
                  <a:moveTo>
                    <a:pt x="272" y="1530"/>
                  </a:moveTo>
                  <a:lnTo>
                    <a:pt x="277" y="1543"/>
                  </a:lnTo>
                  <a:lnTo>
                    <a:pt x="266" y="1539"/>
                  </a:lnTo>
                  <a:lnTo>
                    <a:pt x="274" y="1553"/>
                  </a:lnTo>
                  <a:lnTo>
                    <a:pt x="277" y="1560"/>
                  </a:lnTo>
                  <a:lnTo>
                    <a:pt x="277" y="1582"/>
                  </a:lnTo>
                  <a:lnTo>
                    <a:pt x="241" y="1555"/>
                  </a:lnTo>
                  <a:lnTo>
                    <a:pt x="246" y="1581"/>
                  </a:lnTo>
                  <a:lnTo>
                    <a:pt x="241" y="1587"/>
                  </a:lnTo>
                  <a:lnTo>
                    <a:pt x="231" y="1582"/>
                  </a:lnTo>
                  <a:lnTo>
                    <a:pt x="235" y="1577"/>
                  </a:lnTo>
                  <a:lnTo>
                    <a:pt x="215" y="1551"/>
                  </a:lnTo>
                  <a:lnTo>
                    <a:pt x="214" y="1539"/>
                  </a:lnTo>
                  <a:lnTo>
                    <a:pt x="221" y="1539"/>
                  </a:lnTo>
                  <a:lnTo>
                    <a:pt x="212" y="1523"/>
                  </a:lnTo>
                  <a:lnTo>
                    <a:pt x="214" y="1517"/>
                  </a:lnTo>
                  <a:lnTo>
                    <a:pt x="218" y="1526"/>
                  </a:lnTo>
                  <a:lnTo>
                    <a:pt x="235" y="1509"/>
                  </a:lnTo>
                  <a:lnTo>
                    <a:pt x="251" y="1525"/>
                  </a:lnTo>
                  <a:lnTo>
                    <a:pt x="272" y="1530"/>
                  </a:lnTo>
                  <a:close/>
                  <a:moveTo>
                    <a:pt x="382" y="1670"/>
                  </a:moveTo>
                  <a:lnTo>
                    <a:pt x="384" y="1680"/>
                  </a:lnTo>
                  <a:lnTo>
                    <a:pt x="381" y="1682"/>
                  </a:lnTo>
                  <a:lnTo>
                    <a:pt x="367" y="1674"/>
                  </a:lnTo>
                  <a:lnTo>
                    <a:pt x="382" y="1670"/>
                  </a:lnTo>
                  <a:close/>
                  <a:moveTo>
                    <a:pt x="376" y="1640"/>
                  </a:moveTo>
                  <a:lnTo>
                    <a:pt x="387" y="1658"/>
                  </a:lnTo>
                  <a:lnTo>
                    <a:pt x="375" y="1657"/>
                  </a:lnTo>
                  <a:lnTo>
                    <a:pt x="373" y="1638"/>
                  </a:lnTo>
                  <a:lnTo>
                    <a:pt x="376" y="1640"/>
                  </a:lnTo>
                  <a:close/>
                  <a:moveTo>
                    <a:pt x="325" y="1618"/>
                  </a:moveTo>
                  <a:lnTo>
                    <a:pt x="328" y="1613"/>
                  </a:lnTo>
                  <a:lnTo>
                    <a:pt x="364" y="1623"/>
                  </a:lnTo>
                  <a:lnTo>
                    <a:pt x="368" y="1650"/>
                  </a:lnTo>
                  <a:lnTo>
                    <a:pt x="353" y="1636"/>
                  </a:lnTo>
                  <a:lnTo>
                    <a:pt x="362" y="1665"/>
                  </a:lnTo>
                  <a:lnTo>
                    <a:pt x="343" y="1667"/>
                  </a:lnTo>
                  <a:lnTo>
                    <a:pt x="338" y="1633"/>
                  </a:lnTo>
                  <a:lnTo>
                    <a:pt x="330" y="1632"/>
                  </a:lnTo>
                  <a:lnTo>
                    <a:pt x="325" y="1618"/>
                  </a:lnTo>
                  <a:close/>
                  <a:moveTo>
                    <a:pt x="316" y="1653"/>
                  </a:moveTo>
                  <a:lnTo>
                    <a:pt x="304" y="1643"/>
                  </a:lnTo>
                  <a:lnTo>
                    <a:pt x="304" y="1633"/>
                  </a:lnTo>
                  <a:lnTo>
                    <a:pt x="314" y="1629"/>
                  </a:lnTo>
                  <a:lnTo>
                    <a:pt x="322" y="1641"/>
                  </a:lnTo>
                  <a:lnTo>
                    <a:pt x="331" y="1640"/>
                  </a:lnTo>
                  <a:lnTo>
                    <a:pt x="333" y="1653"/>
                  </a:lnTo>
                  <a:lnTo>
                    <a:pt x="325" y="1652"/>
                  </a:lnTo>
                  <a:lnTo>
                    <a:pt x="325" y="1695"/>
                  </a:lnTo>
                  <a:lnTo>
                    <a:pt x="322" y="1683"/>
                  </a:lnTo>
                  <a:lnTo>
                    <a:pt x="314" y="1682"/>
                  </a:lnTo>
                  <a:lnTo>
                    <a:pt x="313" y="1669"/>
                  </a:lnTo>
                  <a:lnTo>
                    <a:pt x="321" y="1661"/>
                  </a:lnTo>
                  <a:lnTo>
                    <a:pt x="313" y="1655"/>
                  </a:lnTo>
                  <a:lnTo>
                    <a:pt x="316" y="1653"/>
                  </a:lnTo>
                  <a:close/>
                  <a:moveTo>
                    <a:pt x="296" y="1570"/>
                  </a:moveTo>
                  <a:lnTo>
                    <a:pt x="287" y="1531"/>
                  </a:lnTo>
                  <a:lnTo>
                    <a:pt x="291" y="1523"/>
                  </a:lnTo>
                  <a:lnTo>
                    <a:pt x="304" y="1521"/>
                  </a:lnTo>
                  <a:lnTo>
                    <a:pt x="313" y="1523"/>
                  </a:lnTo>
                  <a:lnTo>
                    <a:pt x="325" y="1547"/>
                  </a:lnTo>
                  <a:lnTo>
                    <a:pt x="331" y="1573"/>
                  </a:lnTo>
                  <a:lnTo>
                    <a:pt x="311" y="1531"/>
                  </a:lnTo>
                  <a:lnTo>
                    <a:pt x="311" y="1550"/>
                  </a:lnTo>
                  <a:lnTo>
                    <a:pt x="328" y="1579"/>
                  </a:lnTo>
                  <a:lnTo>
                    <a:pt x="321" y="1582"/>
                  </a:lnTo>
                  <a:lnTo>
                    <a:pt x="326" y="1592"/>
                  </a:lnTo>
                  <a:lnTo>
                    <a:pt x="316" y="1589"/>
                  </a:lnTo>
                  <a:lnTo>
                    <a:pt x="316" y="1604"/>
                  </a:lnTo>
                  <a:lnTo>
                    <a:pt x="311" y="1599"/>
                  </a:lnTo>
                  <a:lnTo>
                    <a:pt x="299" y="1616"/>
                  </a:lnTo>
                  <a:lnTo>
                    <a:pt x="294" y="1610"/>
                  </a:lnTo>
                  <a:lnTo>
                    <a:pt x="297" y="1592"/>
                  </a:lnTo>
                  <a:lnTo>
                    <a:pt x="305" y="1587"/>
                  </a:lnTo>
                  <a:lnTo>
                    <a:pt x="299" y="1581"/>
                  </a:lnTo>
                  <a:lnTo>
                    <a:pt x="308" y="1572"/>
                  </a:lnTo>
                  <a:lnTo>
                    <a:pt x="296" y="1570"/>
                  </a:lnTo>
                  <a:close/>
                  <a:moveTo>
                    <a:pt x="282" y="1599"/>
                  </a:moveTo>
                  <a:lnTo>
                    <a:pt x="292" y="1657"/>
                  </a:lnTo>
                  <a:lnTo>
                    <a:pt x="289" y="1687"/>
                  </a:lnTo>
                  <a:lnTo>
                    <a:pt x="285" y="1687"/>
                  </a:lnTo>
                  <a:lnTo>
                    <a:pt x="275" y="1658"/>
                  </a:lnTo>
                  <a:lnTo>
                    <a:pt x="282" y="1636"/>
                  </a:lnTo>
                  <a:lnTo>
                    <a:pt x="274" y="1646"/>
                  </a:lnTo>
                  <a:lnTo>
                    <a:pt x="262" y="1632"/>
                  </a:lnTo>
                  <a:lnTo>
                    <a:pt x="266" y="1616"/>
                  </a:lnTo>
                  <a:lnTo>
                    <a:pt x="248" y="1592"/>
                  </a:lnTo>
                  <a:lnTo>
                    <a:pt x="255" y="1577"/>
                  </a:lnTo>
                  <a:lnTo>
                    <a:pt x="282" y="1599"/>
                  </a:lnTo>
                  <a:close/>
                  <a:moveTo>
                    <a:pt x="545" y="1955"/>
                  </a:moveTo>
                  <a:lnTo>
                    <a:pt x="554" y="1978"/>
                  </a:lnTo>
                  <a:lnTo>
                    <a:pt x="543" y="1961"/>
                  </a:lnTo>
                  <a:lnTo>
                    <a:pt x="545" y="1955"/>
                  </a:lnTo>
                  <a:close/>
                  <a:moveTo>
                    <a:pt x="517" y="1893"/>
                  </a:moveTo>
                  <a:lnTo>
                    <a:pt x="531" y="1909"/>
                  </a:lnTo>
                  <a:lnTo>
                    <a:pt x="528" y="1927"/>
                  </a:lnTo>
                  <a:lnTo>
                    <a:pt x="507" y="1885"/>
                  </a:lnTo>
                  <a:lnTo>
                    <a:pt x="497" y="1876"/>
                  </a:lnTo>
                  <a:lnTo>
                    <a:pt x="503" y="1875"/>
                  </a:lnTo>
                  <a:lnTo>
                    <a:pt x="517" y="1893"/>
                  </a:lnTo>
                  <a:close/>
                  <a:moveTo>
                    <a:pt x="483" y="1893"/>
                  </a:moveTo>
                  <a:lnTo>
                    <a:pt x="507" y="1906"/>
                  </a:lnTo>
                  <a:lnTo>
                    <a:pt x="517" y="1929"/>
                  </a:lnTo>
                  <a:lnTo>
                    <a:pt x="483" y="1893"/>
                  </a:lnTo>
                  <a:close/>
                  <a:moveTo>
                    <a:pt x="478" y="1868"/>
                  </a:moveTo>
                  <a:lnTo>
                    <a:pt x="489" y="1858"/>
                  </a:lnTo>
                  <a:lnTo>
                    <a:pt x="495" y="1872"/>
                  </a:lnTo>
                  <a:lnTo>
                    <a:pt x="490" y="1876"/>
                  </a:lnTo>
                  <a:lnTo>
                    <a:pt x="478" y="1868"/>
                  </a:lnTo>
                  <a:close/>
                  <a:moveTo>
                    <a:pt x="624" y="2136"/>
                  </a:moveTo>
                  <a:lnTo>
                    <a:pt x="624" y="2119"/>
                  </a:lnTo>
                  <a:lnTo>
                    <a:pt x="602" y="2113"/>
                  </a:lnTo>
                  <a:lnTo>
                    <a:pt x="597" y="2124"/>
                  </a:lnTo>
                  <a:lnTo>
                    <a:pt x="585" y="2115"/>
                  </a:lnTo>
                  <a:lnTo>
                    <a:pt x="588" y="2107"/>
                  </a:lnTo>
                  <a:lnTo>
                    <a:pt x="600" y="2102"/>
                  </a:lnTo>
                  <a:lnTo>
                    <a:pt x="710" y="2139"/>
                  </a:lnTo>
                  <a:lnTo>
                    <a:pt x="744" y="2183"/>
                  </a:lnTo>
                  <a:lnTo>
                    <a:pt x="749" y="2198"/>
                  </a:lnTo>
                  <a:lnTo>
                    <a:pt x="797" y="2229"/>
                  </a:lnTo>
                  <a:lnTo>
                    <a:pt x="807" y="2259"/>
                  </a:lnTo>
                  <a:lnTo>
                    <a:pt x="812" y="2259"/>
                  </a:lnTo>
                  <a:lnTo>
                    <a:pt x="817" y="2269"/>
                  </a:lnTo>
                  <a:lnTo>
                    <a:pt x="802" y="2282"/>
                  </a:lnTo>
                  <a:lnTo>
                    <a:pt x="751" y="2259"/>
                  </a:lnTo>
                  <a:lnTo>
                    <a:pt x="756" y="2248"/>
                  </a:lnTo>
                  <a:lnTo>
                    <a:pt x="746" y="2254"/>
                  </a:lnTo>
                  <a:lnTo>
                    <a:pt x="738" y="2246"/>
                  </a:lnTo>
                  <a:lnTo>
                    <a:pt x="746" y="2235"/>
                  </a:lnTo>
                  <a:lnTo>
                    <a:pt x="715" y="2237"/>
                  </a:lnTo>
                  <a:lnTo>
                    <a:pt x="707" y="2231"/>
                  </a:lnTo>
                  <a:lnTo>
                    <a:pt x="719" y="2229"/>
                  </a:lnTo>
                  <a:lnTo>
                    <a:pt x="707" y="2215"/>
                  </a:lnTo>
                  <a:lnTo>
                    <a:pt x="673" y="2205"/>
                  </a:lnTo>
                  <a:lnTo>
                    <a:pt x="670" y="2195"/>
                  </a:lnTo>
                  <a:lnTo>
                    <a:pt x="693" y="2188"/>
                  </a:lnTo>
                  <a:lnTo>
                    <a:pt x="678" y="2186"/>
                  </a:lnTo>
                  <a:lnTo>
                    <a:pt x="675" y="2180"/>
                  </a:lnTo>
                  <a:lnTo>
                    <a:pt x="670" y="2183"/>
                  </a:lnTo>
                  <a:lnTo>
                    <a:pt x="653" y="2167"/>
                  </a:lnTo>
                  <a:lnTo>
                    <a:pt x="647" y="2173"/>
                  </a:lnTo>
                  <a:lnTo>
                    <a:pt x="641" y="2167"/>
                  </a:lnTo>
                  <a:lnTo>
                    <a:pt x="644" y="2156"/>
                  </a:lnTo>
                  <a:lnTo>
                    <a:pt x="636" y="2150"/>
                  </a:lnTo>
                  <a:lnTo>
                    <a:pt x="633" y="2159"/>
                  </a:lnTo>
                  <a:lnTo>
                    <a:pt x="628" y="2150"/>
                  </a:lnTo>
                  <a:lnTo>
                    <a:pt x="611" y="2155"/>
                  </a:lnTo>
                  <a:lnTo>
                    <a:pt x="611" y="2141"/>
                  </a:lnTo>
                  <a:lnTo>
                    <a:pt x="605" y="2132"/>
                  </a:lnTo>
                  <a:lnTo>
                    <a:pt x="624" y="2136"/>
                  </a:lnTo>
                  <a:close/>
                  <a:moveTo>
                    <a:pt x="2135" y="1358"/>
                  </a:moveTo>
                  <a:lnTo>
                    <a:pt x="2094" y="1358"/>
                  </a:lnTo>
                  <a:lnTo>
                    <a:pt x="2051" y="1358"/>
                  </a:lnTo>
                  <a:lnTo>
                    <a:pt x="2008" y="1358"/>
                  </a:lnTo>
                  <a:lnTo>
                    <a:pt x="1965" y="1358"/>
                  </a:lnTo>
                  <a:lnTo>
                    <a:pt x="1926" y="1358"/>
                  </a:lnTo>
                  <a:lnTo>
                    <a:pt x="1886" y="1358"/>
                  </a:lnTo>
                  <a:lnTo>
                    <a:pt x="1841" y="1358"/>
                  </a:lnTo>
                  <a:lnTo>
                    <a:pt x="1799" y="1358"/>
                  </a:lnTo>
                  <a:lnTo>
                    <a:pt x="2135" y="1358"/>
                  </a:lnTo>
                  <a:close/>
                  <a:moveTo>
                    <a:pt x="3359" y="1315"/>
                  </a:moveTo>
                  <a:lnTo>
                    <a:pt x="3356" y="1333"/>
                  </a:lnTo>
                  <a:lnTo>
                    <a:pt x="3376" y="1316"/>
                  </a:lnTo>
                  <a:lnTo>
                    <a:pt x="3374" y="1304"/>
                  </a:lnTo>
                  <a:lnTo>
                    <a:pt x="3359" y="1315"/>
                  </a:lnTo>
                  <a:close/>
                  <a:moveTo>
                    <a:pt x="2723" y="1935"/>
                  </a:moveTo>
                  <a:lnTo>
                    <a:pt x="2744" y="1931"/>
                  </a:lnTo>
                  <a:lnTo>
                    <a:pt x="2765" y="1935"/>
                  </a:lnTo>
                  <a:lnTo>
                    <a:pt x="2780" y="1968"/>
                  </a:lnTo>
                  <a:lnTo>
                    <a:pt x="2763" y="1966"/>
                  </a:lnTo>
                  <a:lnTo>
                    <a:pt x="2744" y="1952"/>
                  </a:lnTo>
                  <a:lnTo>
                    <a:pt x="2717" y="1944"/>
                  </a:lnTo>
                  <a:lnTo>
                    <a:pt x="2723" y="1935"/>
                  </a:lnTo>
                  <a:close/>
                  <a:moveTo>
                    <a:pt x="3229" y="1092"/>
                  </a:moveTo>
                  <a:lnTo>
                    <a:pt x="3258" y="1106"/>
                  </a:lnTo>
                  <a:lnTo>
                    <a:pt x="3246" y="1113"/>
                  </a:lnTo>
                  <a:lnTo>
                    <a:pt x="3229" y="1092"/>
                  </a:lnTo>
                  <a:close/>
                  <a:moveTo>
                    <a:pt x="3503" y="1197"/>
                  </a:moveTo>
                  <a:lnTo>
                    <a:pt x="3518" y="1209"/>
                  </a:lnTo>
                  <a:lnTo>
                    <a:pt x="3516" y="1230"/>
                  </a:lnTo>
                  <a:lnTo>
                    <a:pt x="3482" y="1213"/>
                  </a:lnTo>
                  <a:lnTo>
                    <a:pt x="3482" y="1205"/>
                  </a:lnTo>
                  <a:lnTo>
                    <a:pt x="3503" y="1197"/>
                  </a:lnTo>
                  <a:close/>
                  <a:moveTo>
                    <a:pt x="2812" y="1135"/>
                  </a:moveTo>
                  <a:lnTo>
                    <a:pt x="2803" y="1143"/>
                  </a:lnTo>
                  <a:lnTo>
                    <a:pt x="2799" y="1191"/>
                  </a:lnTo>
                  <a:lnTo>
                    <a:pt x="2820" y="1213"/>
                  </a:lnTo>
                  <a:lnTo>
                    <a:pt x="2842" y="1142"/>
                  </a:lnTo>
                  <a:lnTo>
                    <a:pt x="2812" y="1135"/>
                  </a:lnTo>
                  <a:close/>
                  <a:moveTo>
                    <a:pt x="2697" y="1078"/>
                  </a:moveTo>
                  <a:lnTo>
                    <a:pt x="2663" y="1096"/>
                  </a:lnTo>
                  <a:lnTo>
                    <a:pt x="2638" y="1159"/>
                  </a:lnTo>
                  <a:lnTo>
                    <a:pt x="2667" y="1151"/>
                  </a:lnTo>
                  <a:lnTo>
                    <a:pt x="2684" y="1138"/>
                  </a:lnTo>
                  <a:lnTo>
                    <a:pt x="2689" y="1120"/>
                  </a:lnTo>
                  <a:lnTo>
                    <a:pt x="2715" y="1101"/>
                  </a:lnTo>
                  <a:lnTo>
                    <a:pt x="2721" y="1081"/>
                  </a:lnTo>
                  <a:lnTo>
                    <a:pt x="2697" y="1078"/>
                  </a:lnTo>
                  <a:close/>
                  <a:moveTo>
                    <a:pt x="2932" y="998"/>
                  </a:moveTo>
                  <a:lnTo>
                    <a:pt x="2963" y="1011"/>
                  </a:lnTo>
                  <a:lnTo>
                    <a:pt x="2966" y="1028"/>
                  </a:lnTo>
                  <a:lnTo>
                    <a:pt x="2947" y="1024"/>
                  </a:lnTo>
                  <a:lnTo>
                    <a:pt x="2932" y="998"/>
                  </a:lnTo>
                  <a:close/>
                  <a:moveTo>
                    <a:pt x="2885" y="1030"/>
                  </a:moveTo>
                  <a:lnTo>
                    <a:pt x="2917" y="1027"/>
                  </a:lnTo>
                  <a:lnTo>
                    <a:pt x="2927" y="1049"/>
                  </a:lnTo>
                  <a:lnTo>
                    <a:pt x="2913" y="1061"/>
                  </a:lnTo>
                  <a:lnTo>
                    <a:pt x="2885" y="1030"/>
                  </a:lnTo>
                  <a:close/>
                  <a:moveTo>
                    <a:pt x="2509" y="482"/>
                  </a:moveTo>
                  <a:lnTo>
                    <a:pt x="2514" y="529"/>
                  </a:lnTo>
                  <a:lnTo>
                    <a:pt x="2511" y="543"/>
                  </a:lnTo>
                  <a:lnTo>
                    <a:pt x="2494" y="529"/>
                  </a:lnTo>
                  <a:lnTo>
                    <a:pt x="2494" y="485"/>
                  </a:lnTo>
                  <a:lnTo>
                    <a:pt x="2500" y="475"/>
                  </a:lnTo>
                  <a:lnTo>
                    <a:pt x="2509" y="482"/>
                  </a:lnTo>
                  <a:close/>
                  <a:moveTo>
                    <a:pt x="2803" y="286"/>
                  </a:moveTo>
                  <a:lnTo>
                    <a:pt x="2841" y="294"/>
                  </a:lnTo>
                  <a:lnTo>
                    <a:pt x="2820" y="312"/>
                  </a:lnTo>
                  <a:lnTo>
                    <a:pt x="2812" y="306"/>
                  </a:lnTo>
                  <a:lnTo>
                    <a:pt x="2812" y="328"/>
                  </a:lnTo>
                  <a:lnTo>
                    <a:pt x="2790" y="287"/>
                  </a:lnTo>
                  <a:lnTo>
                    <a:pt x="2803" y="286"/>
                  </a:lnTo>
                  <a:close/>
                  <a:moveTo>
                    <a:pt x="2879" y="360"/>
                  </a:moveTo>
                  <a:lnTo>
                    <a:pt x="2868" y="392"/>
                  </a:lnTo>
                  <a:lnTo>
                    <a:pt x="2839" y="403"/>
                  </a:lnTo>
                  <a:lnTo>
                    <a:pt x="2849" y="378"/>
                  </a:lnTo>
                  <a:lnTo>
                    <a:pt x="2870" y="357"/>
                  </a:lnTo>
                  <a:lnTo>
                    <a:pt x="2888" y="361"/>
                  </a:lnTo>
                  <a:lnTo>
                    <a:pt x="2891" y="343"/>
                  </a:lnTo>
                  <a:lnTo>
                    <a:pt x="2878" y="341"/>
                  </a:lnTo>
                  <a:lnTo>
                    <a:pt x="2873" y="355"/>
                  </a:lnTo>
                  <a:lnTo>
                    <a:pt x="2879" y="360"/>
                  </a:lnTo>
                  <a:close/>
                  <a:moveTo>
                    <a:pt x="3054" y="514"/>
                  </a:moveTo>
                  <a:lnTo>
                    <a:pt x="3074" y="496"/>
                  </a:lnTo>
                  <a:lnTo>
                    <a:pt x="3105" y="518"/>
                  </a:lnTo>
                  <a:lnTo>
                    <a:pt x="3111" y="538"/>
                  </a:lnTo>
                  <a:lnTo>
                    <a:pt x="3069" y="541"/>
                  </a:lnTo>
                  <a:lnTo>
                    <a:pt x="3056" y="529"/>
                  </a:lnTo>
                  <a:lnTo>
                    <a:pt x="3054" y="514"/>
                  </a:lnTo>
                  <a:close/>
                  <a:moveTo>
                    <a:pt x="2981" y="476"/>
                  </a:moveTo>
                  <a:lnTo>
                    <a:pt x="3031" y="488"/>
                  </a:lnTo>
                  <a:lnTo>
                    <a:pt x="3039" y="516"/>
                  </a:lnTo>
                  <a:lnTo>
                    <a:pt x="3037" y="573"/>
                  </a:lnTo>
                  <a:lnTo>
                    <a:pt x="3012" y="602"/>
                  </a:lnTo>
                  <a:lnTo>
                    <a:pt x="2950" y="602"/>
                  </a:lnTo>
                  <a:lnTo>
                    <a:pt x="2939" y="566"/>
                  </a:lnTo>
                  <a:lnTo>
                    <a:pt x="2939" y="535"/>
                  </a:lnTo>
                  <a:lnTo>
                    <a:pt x="2964" y="484"/>
                  </a:lnTo>
                  <a:lnTo>
                    <a:pt x="2981" y="476"/>
                  </a:lnTo>
                  <a:close/>
                  <a:moveTo>
                    <a:pt x="2636" y="753"/>
                  </a:moveTo>
                  <a:lnTo>
                    <a:pt x="2661" y="792"/>
                  </a:lnTo>
                  <a:lnTo>
                    <a:pt x="2641" y="790"/>
                  </a:lnTo>
                  <a:lnTo>
                    <a:pt x="2625" y="771"/>
                  </a:lnTo>
                  <a:lnTo>
                    <a:pt x="2608" y="736"/>
                  </a:lnTo>
                  <a:lnTo>
                    <a:pt x="2636" y="753"/>
                  </a:lnTo>
                  <a:close/>
                  <a:moveTo>
                    <a:pt x="2353" y="0"/>
                  </a:moveTo>
                  <a:lnTo>
                    <a:pt x="2524" y="0"/>
                  </a:lnTo>
                  <a:lnTo>
                    <a:pt x="2560" y="52"/>
                  </a:lnTo>
                  <a:lnTo>
                    <a:pt x="2574" y="55"/>
                  </a:lnTo>
                  <a:lnTo>
                    <a:pt x="2582" y="80"/>
                  </a:lnTo>
                  <a:lnTo>
                    <a:pt x="2536" y="92"/>
                  </a:lnTo>
                  <a:lnTo>
                    <a:pt x="2506" y="118"/>
                  </a:lnTo>
                  <a:lnTo>
                    <a:pt x="2579" y="95"/>
                  </a:lnTo>
                  <a:lnTo>
                    <a:pt x="2582" y="101"/>
                  </a:lnTo>
                  <a:lnTo>
                    <a:pt x="2577" y="123"/>
                  </a:lnTo>
                  <a:lnTo>
                    <a:pt x="2582" y="129"/>
                  </a:lnTo>
                  <a:lnTo>
                    <a:pt x="2588" y="111"/>
                  </a:lnTo>
                  <a:lnTo>
                    <a:pt x="2588" y="69"/>
                  </a:lnTo>
                  <a:lnTo>
                    <a:pt x="2596" y="40"/>
                  </a:lnTo>
                  <a:lnTo>
                    <a:pt x="2593" y="29"/>
                  </a:lnTo>
                  <a:lnTo>
                    <a:pt x="2563" y="23"/>
                  </a:lnTo>
                  <a:lnTo>
                    <a:pt x="2549" y="0"/>
                  </a:lnTo>
                  <a:lnTo>
                    <a:pt x="3070" y="0"/>
                  </a:lnTo>
                  <a:lnTo>
                    <a:pt x="3056" y="16"/>
                  </a:lnTo>
                  <a:lnTo>
                    <a:pt x="3054" y="33"/>
                  </a:lnTo>
                  <a:lnTo>
                    <a:pt x="3074" y="10"/>
                  </a:lnTo>
                  <a:lnTo>
                    <a:pt x="3110" y="6"/>
                  </a:lnTo>
                  <a:lnTo>
                    <a:pt x="3086" y="55"/>
                  </a:lnTo>
                  <a:lnTo>
                    <a:pt x="3108" y="40"/>
                  </a:lnTo>
                  <a:lnTo>
                    <a:pt x="3105" y="60"/>
                  </a:lnTo>
                  <a:lnTo>
                    <a:pt x="3125" y="77"/>
                  </a:lnTo>
                  <a:lnTo>
                    <a:pt x="3122" y="43"/>
                  </a:lnTo>
                  <a:lnTo>
                    <a:pt x="3144" y="44"/>
                  </a:lnTo>
                  <a:lnTo>
                    <a:pt x="3157" y="20"/>
                  </a:lnTo>
                  <a:lnTo>
                    <a:pt x="3210" y="50"/>
                  </a:lnTo>
                  <a:lnTo>
                    <a:pt x="3225" y="89"/>
                  </a:lnTo>
                  <a:lnTo>
                    <a:pt x="3222" y="100"/>
                  </a:lnTo>
                  <a:lnTo>
                    <a:pt x="3178" y="114"/>
                  </a:lnTo>
                  <a:lnTo>
                    <a:pt x="3210" y="128"/>
                  </a:lnTo>
                  <a:lnTo>
                    <a:pt x="3246" y="116"/>
                  </a:lnTo>
                  <a:lnTo>
                    <a:pt x="3249" y="131"/>
                  </a:lnTo>
                  <a:lnTo>
                    <a:pt x="3235" y="170"/>
                  </a:lnTo>
                  <a:lnTo>
                    <a:pt x="3280" y="143"/>
                  </a:lnTo>
                  <a:lnTo>
                    <a:pt x="3256" y="188"/>
                  </a:lnTo>
                  <a:lnTo>
                    <a:pt x="3297" y="155"/>
                  </a:lnTo>
                  <a:lnTo>
                    <a:pt x="3346" y="179"/>
                  </a:lnTo>
                  <a:lnTo>
                    <a:pt x="3343" y="208"/>
                  </a:lnTo>
                  <a:lnTo>
                    <a:pt x="3335" y="197"/>
                  </a:lnTo>
                  <a:lnTo>
                    <a:pt x="3329" y="216"/>
                  </a:lnTo>
                  <a:lnTo>
                    <a:pt x="3292" y="236"/>
                  </a:lnTo>
                  <a:lnTo>
                    <a:pt x="3337" y="233"/>
                  </a:lnTo>
                  <a:lnTo>
                    <a:pt x="3322" y="265"/>
                  </a:lnTo>
                  <a:lnTo>
                    <a:pt x="3335" y="265"/>
                  </a:lnTo>
                  <a:lnTo>
                    <a:pt x="3356" y="244"/>
                  </a:lnTo>
                  <a:lnTo>
                    <a:pt x="3354" y="231"/>
                  </a:lnTo>
                  <a:lnTo>
                    <a:pt x="3360" y="218"/>
                  </a:lnTo>
                  <a:lnTo>
                    <a:pt x="3376" y="227"/>
                  </a:lnTo>
                  <a:lnTo>
                    <a:pt x="3406" y="269"/>
                  </a:lnTo>
                  <a:lnTo>
                    <a:pt x="3411" y="281"/>
                  </a:lnTo>
                  <a:lnTo>
                    <a:pt x="3403" y="295"/>
                  </a:lnTo>
                  <a:lnTo>
                    <a:pt x="3373" y="290"/>
                  </a:lnTo>
                  <a:lnTo>
                    <a:pt x="3329" y="320"/>
                  </a:lnTo>
                  <a:lnTo>
                    <a:pt x="3337" y="312"/>
                  </a:lnTo>
                  <a:lnTo>
                    <a:pt x="3359" y="335"/>
                  </a:lnTo>
                  <a:lnTo>
                    <a:pt x="3365" y="324"/>
                  </a:lnTo>
                  <a:lnTo>
                    <a:pt x="3413" y="332"/>
                  </a:lnTo>
                  <a:lnTo>
                    <a:pt x="3439" y="353"/>
                  </a:lnTo>
                  <a:lnTo>
                    <a:pt x="3433" y="368"/>
                  </a:lnTo>
                  <a:lnTo>
                    <a:pt x="3394" y="370"/>
                  </a:lnTo>
                  <a:lnTo>
                    <a:pt x="3366" y="353"/>
                  </a:lnTo>
                  <a:lnTo>
                    <a:pt x="3368" y="363"/>
                  </a:lnTo>
                  <a:lnTo>
                    <a:pt x="3343" y="366"/>
                  </a:lnTo>
                  <a:lnTo>
                    <a:pt x="3379" y="391"/>
                  </a:lnTo>
                  <a:lnTo>
                    <a:pt x="3360" y="403"/>
                  </a:lnTo>
                  <a:lnTo>
                    <a:pt x="3383" y="429"/>
                  </a:lnTo>
                  <a:lnTo>
                    <a:pt x="3352" y="439"/>
                  </a:lnTo>
                  <a:lnTo>
                    <a:pt x="3428" y="468"/>
                  </a:lnTo>
                  <a:lnTo>
                    <a:pt x="3420" y="487"/>
                  </a:lnTo>
                  <a:lnTo>
                    <a:pt x="3453" y="487"/>
                  </a:lnTo>
                  <a:lnTo>
                    <a:pt x="3459" y="501"/>
                  </a:lnTo>
                  <a:lnTo>
                    <a:pt x="3448" y="514"/>
                  </a:lnTo>
                  <a:lnTo>
                    <a:pt x="3462" y="527"/>
                  </a:lnTo>
                  <a:lnTo>
                    <a:pt x="3508" y="509"/>
                  </a:lnTo>
                  <a:lnTo>
                    <a:pt x="3501" y="536"/>
                  </a:lnTo>
                  <a:lnTo>
                    <a:pt x="3532" y="541"/>
                  </a:lnTo>
                  <a:lnTo>
                    <a:pt x="3557" y="587"/>
                  </a:lnTo>
                  <a:lnTo>
                    <a:pt x="3542" y="602"/>
                  </a:lnTo>
                  <a:lnTo>
                    <a:pt x="3544" y="611"/>
                  </a:lnTo>
                  <a:lnTo>
                    <a:pt x="3598" y="602"/>
                  </a:lnTo>
                  <a:lnTo>
                    <a:pt x="3584" y="648"/>
                  </a:lnTo>
                  <a:lnTo>
                    <a:pt x="3637" y="637"/>
                  </a:lnTo>
                  <a:lnTo>
                    <a:pt x="3674" y="680"/>
                  </a:lnTo>
                  <a:lnTo>
                    <a:pt x="3656" y="705"/>
                  </a:lnTo>
                  <a:lnTo>
                    <a:pt x="3664" y="716"/>
                  </a:lnTo>
                  <a:lnTo>
                    <a:pt x="3659" y="722"/>
                  </a:lnTo>
                  <a:lnTo>
                    <a:pt x="3632" y="719"/>
                  </a:lnTo>
                  <a:lnTo>
                    <a:pt x="3617" y="741"/>
                  </a:lnTo>
                  <a:lnTo>
                    <a:pt x="3635" y="739"/>
                  </a:lnTo>
                  <a:lnTo>
                    <a:pt x="3642" y="750"/>
                  </a:lnTo>
                  <a:lnTo>
                    <a:pt x="3626" y="754"/>
                  </a:lnTo>
                  <a:lnTo>
                    <a:pt x="3626" y="775"/>
                  </a:lnTo>
                  <a:lnTo>
                    <a:pt x="3617" y="778"/>
                  </a:lnTo>
                  <a:lnTo>
                    <a:pt x="3611" y="796"/>
                  </a:lnTo>
                  <a:lnTo>
                    <a:pt x="3580" y="778"/>
                  </a:lnTo>
                  <a:lnTo>
                    <a:pt x="3589" y="829"/>
                  </a:lnTo>
                  <a:lnTo>
                    <a:pt x="3581" y="829"/>
                  </a:lnTo>
                  <a:lnTo>
                    <a:pt x="3572" y="871"/>
                  </a:lnTo>
                  <a:lnTo>
                    <a:pt x="3557" y="847"/>
                  </a:lnTo>
                  <a:lnTo>
                    <a:pt x="3549" y="854"/>
                  </a:lnTo>
                  <a:lnTo>
                    <a:pt x="3542" y="834"/>
                  </a:lnTo>
                  <a:lnTo>
                    <a:pt x="3527" y="843"/>
                  </a:lnTo>
                  <a:lnTo>
                    <a:pt x="3518" y="829"/>
                  </a:lnTo>
                  <a:lnTo>
                    <a:pt x="3525" y="815"/>
                  </a:lnTo>
                  <a:lnTo>
                    <a:pt x="3523" y="807"/>
                  </a:lnTo>
                  <a:lnTo>
                    <a:pt x="3510" y="813"/>
                  </a:lnTo>
                  <a:lnTo>
                    <a:pt x="3491" y="785"/>
                  </a:lnTo>
                  <a:lnTo>
                    <a:pt x="3487" y="767"/>
                  </a:lnTo>
                  <a:lnTo>
                    <a:pt x="3491" y="751"/>
                  </a:lnTo>
                  <a:lnTo>
                    <a:pt x="3465" y="754"/>
                  </a:lnTo>
                  <a:lnTo>
                    <a:pt x="3462" y="737"/>
                  </a:lnTo>
                  <a:lnTo>
                    <a:pt x="3414" y="711"/>
                  </a:lnTo>
                  <a:lnTo>
                    <a:pt x="3420" y="690"/>
                  </a:lnTo>
                  <a:lnTo>
                    <a:pt x="3400" y="680"/>
                  </a:lnTo>
                  <a:lnTo>
                    <a:pt x="3393" y="688"/>
                  </a:lnTo>
                  <a:lnTo>
                    <a:pt x="3405" y="700"/>
                  </a:lnTo>
                  <a:lnTo>
                    <a:pt x="3397" y="699"/>
                  </a:lnTo>
                  <a:lnTo>
                    <a:pt x="3405" y="716"/>
                  </a:lnTo>
                  <a:lnTo>
                    <a:pt x="3379" y="697"/>
                  </a:lnTo>
                  <a:lnTo>
                    <a:pt x="3373" y="697"/>
                  </a:lnTo>
                  <a:lnTo>
                    <a:pt x="3376" y="707"/>
                  </a:lnTo>
                  <a:lnTo>
                    <a:pt x="3360" y="705"/>
                  </a:lnTo>
                  <a:lnTo>
                    <a:pt x="3368" y="720"/>
                  </a:lnTo>
                  <a:lnTo>
                    <a:pt x="3389" y="728"/>
                  </a:lnTo>
                  <a:lnTo>
                    <a:pt x="3408" y="754"/>
                  </a:lnTo>
                  <a:lnTo>
                    <a:pt x="3373" y="762"/>
                  </a:lnTo>
                  <a:lnTo>
                    <a:pt x="3371" y="793"/>
                  </a:lnTo>
                  <a:lnTo>
                    <a:pt x="3402" y="793"/>
                  </a:lnTo>
                  <a:lnTo>
                    <a:pt x="3400" y="809"/>
                  </a:lnTo>
                  <a:lnTo>
                    <a:pt x="3406" y="817"/>
                  </a:lnTo>
                  <a:lnTo>
                    <a:pt x="3402" y="818"/>
                  </a:lnTo>
                  <a:lnTo>
                    <a:pt x="3406" y="826"/>
                  </a:lnTo>
                  <a:lnTo>
                    <a:pt x="3403" y="835"/>
                  </a:lnTo>
                  <a:lnTo>
                    <a:pt x="3414" y="839"/>
                  </a:lnTo>
                  <a:lnTo>
                    <a:pt x="3428" y="881"/>
                  </a:lnTo>
                  <a:lnTo>
                    <a:pt x="3431" y="868"/>
                  </a:lnTo>
                  <a:lnTo>
                    <a:pt x="3456" y="868"/>
                  </a:lnTo>
                  <a:lnTo>
                    <a:pt x="3445" y="881"/>
                  </a:lnTo>
                  <a:lnTo>
                    <a:pt x="3476" y="875"/>
                  </a:lnTo>
                  <a:lnTo>
                    <a:pt x="3478" y="903"/>
                  </a:lnTo>
                  <a:lnTo>
                    <a:pt x="3491" y="891"/>
                  </a:lnTo>
                  <a:lnTo>
                    <a:pt x="3496" y="908"/>
                  </a:lnTo>
                  <a:lnTo>
                    <a:pt x="3507" y="905"/>
                  </a:lnTo>
                  <a:lnTo>
                    <a:pt x="3508" y="918"/>
                  </a:lnTo>
                  <a:lnTo>
                    <a:pt x="3504" y="932"/>
                  </a:lnTo>
                  <a:lnTo>
                    <a:pt x="3495" y="935"/>
                  </a:lnTo>
                  <a:lnTo>
                    <a:pt x="3496" y="951"/>
                  </a:lnTo>
                  <a:lnTo>
                    <a:pt x="3523" y="965"/>
                  </a:lnTo>
                  <a:lnTo>
                    <a:pt x="3533" y="998"/>
                  </a:lnTo>
                  <a:lnTo>
                    <a:pt x="3527" y="1025"/>
                  </a:lnTo>
                  <a:lnTo>
                    <a:pt x="3529" y="1042"/>
                  </a:lnTo>
                  <a:lnTo>
                    <a:pt x="3508" y="1022"/>
                  </a:lnTo>
                  <a:lnTo>
                    <a:pt x="3507" y="1044"/>
                  </a:lnTo>
                  <a:lnTo>
                    <a:pt x="3516" y="1069"/>
                  </a:lnTo>
                  <a:lnTo>
                    <a:pt x="3525" y="1067"/>
                  </a:lnTo>
                  <a:lnTo>
                    <a:pt x="3532" y="1075"/>
                  </a:lnTo>
                  <a:lnTo>
                    <a:pt x="3532" y="1086"/>
                  </a:lnTo>
                  <a:lnTo>
                    <a:pt x="3507" y="1081"/>
                  </a:lnTo>
                  <a:lnTo>
                    <a:pt x="3518" y="1113"/>
                  </a:lnTo>
                  <a:lnTo>
                    <a:pt x="3512" y="1115"/>
                  </a:lnTo>
                  <a:lnTo>
                    <a:pt x="3498" y="1103"/>
                  </a:lnTo>
                  <a:lnTo>
                    <a:pt x="3501" y="1084"/>
                  </a:lnTo>
                  <a:lnTo>
                    <a:pt x="3495" y="1089"/>
                  </a:lnTo>
                  <a:lnTo>
                    <a:pt x="3486" y="1073"/>
                  </a:lnTo>
                  <a:lnTo>
                    <a:pt x="3464" y="1081"/>
                  </a:lnTo>
                  <a:lnTo>
                    <a:pt x="3454" y="1066"/>
                  </a:lnTo>
                  <a:lnTo>
                    <a:pt x="3427" y="1066"/>
                  </a:lnTo>
                  <a:lnTo>
                    <a:pt x="3422" y="1047"/>
                  </a:lnTo>
                  <a:lnTo>
                    <a:pt x="3403" y="1042"/>
                  </a:lnTo>
                  <a:lnTo>
                    <a:pt x="3385" y="1011"/>
                  </a:lnTo>
                  <a:lnTo>
                    <a:pt x="3377" y="1013"/>
                  </a:lnTo>
                  <a:lnTo>
                    <a:pt x="3379" y="1024"/>
                  </a:lnTo>
                  <a:lnTo>
                    <a:pt x="3368" y="1022"/>
                  </a:lnTo>
                  <a:lnTo>
                    <a:pt x="3339" y="991"/>
                  </a:lnTo>
                  <a:lnTo>
                    <a:pt x="3326" y="994"/>
                  </a:lnTo>
                  <a:lnTo>
                    <a:pt x="3337" y="1013"/>
                  </a:lnTo>
                  <a:lnTo>
                    <a:pt x="3376" y="1061"/>
                  </a:lnTo>
                  <a:lnTo>
                    <a:pt x="3385" y="1059"/>
                  </a:lnTo>
                  <a:lnTo>
                    <a:pt x="3385" y="1069"/>
                  </a:lnTo>
                  <a:lnTo>
                    <a:pt x="3454" y="1137"/>
                  </a:lnTo>
                  <a:lnTo>
                    <a:pt x="3453" y="1166"/>
                  </a:lnTo>
                  <a:lnTo>
                    <a:pt x="3459" y="1179"/>
                  </a:lnTo>
                  <a:lnTo>
                    <a:pt x="3444" y="1181"/>
                  </a:lnTo>
                  <a:lnTo>
                    <a:pt x="3422" y="1157"/>
                  </a:lnTo>
                  <a:lnTo>
                    <a:pt x="3400" y="1166"/>
                  </a:lnTo>
                  <a:lnTo>
                    <a:pt x="3385" y="1151"/>
                  </a:lnTo>
                  <a:lnTo>
                    <a:pt x="3342" y="1140"/>
                  </a:lnTo>
                  <a:lnTo>
                    <a:pt x="3334" y="1132"/>
                  </a:lnTo>
                  <a:lnTo>
                    <a:pt x="3334" y="1121"/>
                  </a:lnTo>
                  <a:lnTo>
                    <a:pt x="3329" y="1132"/>
                  </a:lnTo>
                  <a:lnTo>
                    <a:pt x="3320" y="1129"/>
                  </a:lnTo>
                  <a:lnTo>
                    <a:pt x="3312" y="1110"/>
                  </a:lnTo>
                  <a:lnTo>
                    <a:pt x="3303" y="1106"/>
                  </a:lnTo>
                  <a:lnTo>
                    <a:pt x="3301" y="1087"/>
                  </a:lnTo>
                  <a:lnTo>
                    <a:pt x="3286" y="1096"/>
                  </a:lnTo>
                  <a:lnTo>
                    <a:pt x="3278" y="1093"/>
                  </a:lnTo>
                  <a:lnTo>
                    <a:pt x="3278" y="1078"/>
                  </a:lnTo>
                  <a:lnTo>
                    <a:pt x="3263" y="1093"/>
                  </a:lnTo>
                  <a:lnTo>
                    <a:pt x="3216" y="1070"/>
                  </a:lnTo>
                  <a:lnTo>
                    <a:pt x="3198" y="1053"/>
                  </a:lnTo>
                  <a:lnTo>
                    <a:pt x="3179" y="1013"/>
                  </a:lnTo>
                  <a:lnTo>
                    <a:pt x="3190" y="1025"/>
                  </a:lnTo>
                  <a:lnTo>
                    <a:pt x="3215" y="1007"/>
                  </a:lnTo>
                  <a:lnTo>
                    <a:pt x="3205" y="1007"/>
                  </a:lnTo>
                  <a:lnTo>
                    <a:pt x="3187" y="983"/>
                  </a:lnTo>
                  <a:lnTo>
                    <a:pt x="3181" y="1002"/>
                  </a:lnTo>
                  <a:lnTo>
                    <a:pt x="3170" y="985"/>
                  </a:lnTo>
                  <a:lnTo>
                    <a:pt x="3139" y="971"/>
                  </a:lnTo>
                  <a:lnTo>
                    <a:pt x="3134" y="945"/>
                  </a:lnTo>
                  <a:lnTo>
                    <a:pt x="3120" y="935"/>
                  </a:lnTo>
                  <a:lnTo>
                    <a:pt x="3114" y="901"/>
                  </a:lnTo>
                  <a:lnTo>
                    <a:pt x="3102" y="905"/>
                  </a:lnTo>
                  <a:lnTo>
                    <a:pt x="3090" y="894"/>
                  </a:lnTo>
                  <a:lnTo>
                    <a:pt x="3078" y="900"/>
                  </a:lnTo>
                  <a:lnTo>
                    <a:pt x="3069" y="886"/>
                  </a:lnTo>
                  <a:lnTo>
                    <a:pt x="3063" y="894"/>
                  </a:lnTo>
                  <a:lnTo>
                    <a:pt x="3061" y="875"/>
                  </a:lnTo>
                  <a:lnTo>
                    <a:pt x="3048" y="883"/>
                  </a:lnTo>
                  <a:lnTo>
                    <a:pt x="3048" y="895"/>
                  </a:lnTo>
                  <a:lnTo>
                    <a:pt x="3066" y="914"/>
                  </a:lnTo>
                  <a:lnTo>
                    <a:pt x="3060" y="915"/>
                  </a:lnTo>
                  <a:lnTo>
                    <a:pt x="3060" y="923"/>
                  </a:lnTo>
                  <a:lnTo>
                    <a:pt x="3031" y="918"/>
                  </a:lnTo>
                  <a:lnTo>
                    <a:pt x="3024" y="903"/>
                  </a:lnTo>
                  <a:lnTo>
                    <a:pt x="3012" y="903"/>
                  </a:lnTo>
                  <a:lnTo>
                    <a:pt x="3001" y="908"/>
                  </a:lnTo>
                  <a:lnTo>
                    <a:pt x="3003" y="925"/>
                  </a:lnTo>
                  <a:lnTo>
                    <a:pt x="2964" y="945"/>
                  </a:lnTo>
                  <a:lnTo>
                    <a:pt x="2917" y="925"/>
                  </a:lnTo>
                  <a:lnTo>
                    <a:pt x="2900" y="898"/>
                  </a:lnTo>
                  <a:lnTo>
                    <a:pt x="2900" y="871"/>
                  </a:lnTo>
                  <a:lnTo>
                    <a:pt x="2907" y="858"/>
                  </a:lnTo>
                  <a:lnTo>
                    <a:pt x="2933" y="843"/>
                  </a:lnTo>
                  <a:lnTo>
                    <a:pt x="2932" y="822"/>
                  </a:lnTo>
                  <a:lnTo>
                    <a:pt x="2941" y="822"/>
                  </a:lnTo>
                  <a:lnTo>
                    <a:pt x="2933" y="812"/>
                  </a:lnTo>
                  <a:lnTo>
                    <a:pt x="3027" y="834"/>
                  </a:lnTo>
                  <a:lnTo>
                    <a:pt x="3035" y="830"/>
                  </a:lnTo>
                  <a:lnTo>
                    <a:pt x="3037" y="818"/>
                  </a:lnTo>
                  <a:lnTo>
                    <a:pt x="3057" y="818"/>
                  </a:lnTo>
                  <a:lnTo>
                    <a:pt x="3082" y="801"/>
                  </a:lnTo>
                  <a:lnTo>
                    <a:pt x="3108" y="810"/>
                  </a:lnTo>
                  <a:lnTo>
                    <a:pt x="3108" y="790"/>
                  </a:lnTo>
                  <a:lnTo>
                    <a:pt x="3069" y="731"/>
                  </a:lnTo>
                  <a:lnTo>
                    <a:pt x="3122" y="673"/>
                  </a:lnTo>
                  <a:lnTo>
                    <a:pt x="3137" y="666"/>
                  </a:lnTo>
                  <a:lnTo>
                    <a:pt x="3137" y="637"/>
                  </a:lnTo>
                  <a:lnTo>
                    <a:pt x="3168" y="602"/>
                  </a:lnTo>
                  <a:lnTo>
                    <a:pt x="3161" y="598"/>
                  </a:lnTo>
                  <a:lnTo>
                    <a:pt x="3136" y="497"/>
                  </a:lnTo>
                  <a:lnTo>
                    <a:pt x="3123" y="479"/>
                  </a:lnTo>
                  <a:lnTo>
                    <a:pt x="3099" y="473"/>
                  </a:lnTo>
                  <a:lnTo>
                    <a:pt x="3093" y="460"/>
                  </a:lnTo>
                  <a:lnTo>
                    <a:pt x="3094" y="429"/>
                  </a:lnTo>
                  <a:lnTo>
                    <a:pt x="3078" y="425"/>
                  </a:lnTo>
                  <a:lnTo>
                    <a:pt x="3083" y="445"/>
                  </a:lnTo>
                  <a:lnTo>
                    <a:pt x="3080" y="450"/>
                  </a:lnTo>
                  <a:lnTo>
                    <a:pt x="3048" y="412"/>
                  </a:lnTo>
                  <a:lnTo>
                    <a:pt x="3054" y="400"/>
                  </a:lnTo>
                  <a:lnTo>
                    <a:pt x="3049" y="395"/>
                  </a:lnTo>
                  <a:lnTo>
                    <a:pt x="3017" y="395"/>
                  </a:lnTo>
                  <a:lnTo>
                    <a:pt x="2967" y="433"/>
                  </a:lnTo>
                  <a:lnTo>
                    <a:pt x="2970" y="403"/>
                  </a:lnTo>
                  <a:lnTo>
                    <a:pt x="2966" y="383"/>
                  </a:lnTo>
                  <a:lnTo>
                    <a:pt x="2995" y="389"/>
                  </a:lnTo>
                  <a:lnTo>
                    <a:pt x="3012" y="374"/>
                  </a:lnTo>
                  <a:lnTo>
                    <a:pt x="3007" y="355"/>
                  </a:lnTo>
                  <a:lnTo>
                    <a:pt x="2946" y="306"/>
                  </a:lnTo>
                  <a:lnTo>
                    <a:pt x="2956" y="299"/>
                  </a:lnTo>
                  <a:lnTo>
                    <a:pt x="2955" y="282"/>
                  </a:lnTo>
                  <a:lnTo>
                    <a:pt x="2922" y="282"/>
                  </a:lnTo>
                  <a:lnTo>
                    <a:pt x="2921" y="228"/>
                  </a:lnTo>
                  <a:lnTo>
                    <a:pt x="2895" y="233"/>
                  </a:lnTo>
                  <a:lnTo>
                    <a:pt x="2866" y="204"/>
                  </a:lnTo>
                  <a:lnTo>
                    <a:pt x="2854" y="213"/>
                  </a:lnTo>
                  <a:lnTo>
                    <a:pt x="2871" y="264"/>
                  </a:lnTo>
                  <a:lnTo>
                    <a:pt x="2865" y="273"/>
                  </a:lnTo>
                  <a:lnTo>
                    <a:pt x="2824" y="282"/>
                  </a:lnTo>
                  <a:lnTo>
                    <a:pt x="2814" y="260"/>
                  </a:lnTo>
                  <a:lnTo>
                    <a:pt x="2735" y="241"/>
                  </a:lnTo>
                  <a:lnTo>
                    <a:pt x="2732" y="253"/>
                  </a:lnTo>
                  <a:lnTo>
                    <a:pt x="2766" y="278"/>
                  </a:lnTo>
                  <a:lnTo>
                    <a:pt x="2771" y="290"/>
                  </a:lnTo>
                  <a:lnTo>
                    <a:pt x="2761" y="290"/>
                  </a:lnTo>
                  <a:lnTo>
                    <a:pt x="2740" y="265"/>
                  </a:lnTo>
                  <a:lnTo>
                    <a:pt x="2723" y="284"/>
                  </a:lnTo>
                  <a:lnTo>
                    <a:pt x="2668" y="256"/>
                  </a:lnTo>
                  <a:lnTo>
                    <a:pt x="2646" y="272"/>
                  </a:lnTo>
                  <a:lnTo>
                    <a:pt x="2568" y="250"/>
                  </a:lnTo>
                  <a:lnTo>
                    <a:pt x="2568" y="260"/>
                  </a:lnTo>
                  <a:lnTo>
                    <a:pt x="2536" y="253"/>
                  </a:lnTo>
                  <a:lnTo>
                    <a:pt x="2511" y="221"/>
                  </a:lnTo>
                  <a:lnTo>
                    <a:pt x="2509" y="197"/>
                  </a:lnTo>
                  <a:lnTo>
                    <a:pt x="2502" y="214"/>
                  </a:lnTo>
                  <a:lnTo>
                    <a:pt x="2485" y="219"/>
                  </a:lnTo>
                  <a:lnTo>
                    <a:pt x="2435" y="214"/>
                  </a:lnTo>
                  <a:lnTo>
                    <a:pt x="2416" y="194"/>
                  </a:lnTo>
                  <a:lnTo>
                    <a:pt x="2376" y="134"/>
                  </a:lnTo>
                  <a:lnTo>
                    <a:pt x="2375" y="111"/>
                  </a:lnTo>
                  <a:lnTo>
                    <a:pt x="2435" y="133"/>
                  </a:lnTo>
                  <a:lnTo>
                    <a:pt x="2482" y="121"/>
                  </a:lnTo>
                  <a:lnTo>
                    <a:pt x="2441" y="87"/>
                  </a:lnTo>
                  <a:lnTo>
                    <a:pt x="2355" y="74"/>
                  </a:lnTo>
                  <a:lnTo>
                    <a:pt x="2348" y="58"/>
                  </a:lnTo>
                  <a:lnTo>
                    <a:pt x="2348" y="24"/>
                  </a:lnTo>
                  <a:lnTo>
                    <a:pt x="2356" y="7"/>
                  </a:lnTo>
                  <a:lnTo>
                    <a:pt x="2353" y="0"/>
                  </a:lnTo>
                  <a:close/>
                  <a:moveTo>
                    <a:pt x="2546" y="773"/>
                  </a:moveTo>
                  <a:lnTo>
                    <a:pt x="2559" y="761"/>
                  </a:lnTo>
                  <a:lnTo>
                    <a:pt x="2560" y="770"/>
                  </a:lnTo>
                  <a:lnTo>
                    <a:pt x="2570" y="770"/>
                  </a:lnTo>
                  <a:lnTo>
                    <a:pt x="2582" y="793"/>
                  </a:lnTo>
                  <a:lnTo>
                    <a:pt x="2577" y="801"/>
                  </a:lnTo>
                  <a:lnTo>
                    <a:pt x="2582" y="829"/>
                  </a:lnTo>
                  <a:lnTo>
                    <a:pt x="2590" y="832"/>
                  </a:lnTo>
                  <a:lnTo>
                    <a:pt x="2600" y="810"/>
                  </a:lnTo>
                  <a:lnTo>
                    <a:pt x="2607" y="810"/>
                  </a:lnTo>
                  <a:lnTo>
                    <a:pt x="2624" y="822"/>
                  </a:lnTo>
                  <a:lnTo>
                    <a:pt x="2622" y="835"/>
                  </a:lnTo>
                  <a:lnTo>
                    <a:pt x="2656" y="846"/>
                  </a:lnTo>
                  <a:lnTo>
                    <a:pt x="2687" y="883"/>
                  </a:lnTo>
                  <a:lnTo>
                    <a:pt x="2723" y="897"/>
                  </a:lnTo>
                  <a:lnTo>
                    <a:pt x="2740" y="948"/>
                  </a:lnTo>
                  <a:lnTo>
                    <a:pt x="2735" y="959"/>
                  </a:lnTo>
                  <a:lnTo>
                    <a:pt x="2758" y="962"/>
                  </a:lnTo>
                  <a:lnTo>
                    <a:pt x="2769" y="951"/>
                  </a:lnTo>
                  <a:lnTo>
                    <a:pt x="2786" y="968"/>
                  </a:lnTo>
                  <a:lnTo>
                    <a:pt x="2786" y="979"/>
                  </a:lnTo>
                  <a:lnTo>
                    <a:pt x="2805" y="990"/>
                  </a:lnTo>
                  <a:lnTo>
                    <a:pt x="2763" y="1022"/>
                  </a:lnTo>
                  <a:lnTo>
                    <a:pt x="2717" y="996"/>
                  </a:lnTo>
                  <a:lnTo>
                    <a:pt x="2702" y="998"/>
                  </a:lnTo>
                  <a:lnTo>
                    <a:pt x="2702" y="974"/>
                  </a:lnTo>
                  <a:lnTo>
                    <a:pt x="2670" y="968"/>
                  </a:lnTo>
                  <a:lnTo>
                    <a:pt x="2678" y="948"/>
                  </a:lnTo>
                  <a:lnTo>
                    <a:pt x="2647" y="957"/>
                  </a:lnTo>
                  <a:lnTo>
                    <a:pt x="2646" y="991"/>
                  </a:lnTo>
                  <a:lnTo>
                    <a:pt x="2617" y="1010"/>
                  </a:lnTo>
                  <a:lnTo>
                    <a:pt x="2597" y="1042"/>
                  </a:lnTo>
                  <a:lnTo>
                    <a:pt x="2571" y="1053"/>
                  </a:lnTo>
                  <a:lnTo>
                    <a:pt x="2563" y="1053"/>
                  </a:lnTo>
                  <a:lnTo>
                    <a:pt x="2556" y="1039"/>
                  </a:lnTo>
                  <a:lnTo>
                    <a:pt x="2551" y="979"/>
                  </a:lnTo>
                  <a:lnTo>
                    <a:pt x="2546" y="996"/>
                  </a:lnTo>
                  <a:lnTo>
                    <a:pt x="2489" y="1013"/>
                  </a:lnTo>
                  <a:lnTo>
                    <a:pt x="2482" y="999"/>
                  </a:lnTo>
                  <a:lnTo>
                    <a:pt x="2492" y="976"/>
                  </a:lnTo>
                  <a:lnTo>
                    <a:pt x="2525" y="949"/>
                  </a:lnTo>
                  <a:lnTo>
                    <a:pt x="2519" y="906"/>
                  </a:lnTo>
                  <a:lnTo>
                    <a:pt x="2529" y="854"/>
                  </a:lnTo>
                  <a:lnTo>
                    <a:pt x="2531" y="810"/>
                  </a:lnTo>
                  <a:lnTo>
                    <a:pt x="2546" y="773"/>
                  </a:lnTo>
                  <a:close/>
                  <a:moveTo>
                    <a:pt x="1903" y="0"/>
                  </a:moveTo>
                  <a:lnTo>
                    <a:pt x="2055" y="0"/>
                  </a:lnTo>
                  <a:lnTo>
                    <a:pt x="2055" y="1"/>
                  </a:lnTo>
                  <a:lnTo>
                    <a:pt x="2016" y="37"/>
                  </a:lnTo>
                  <a:lnTo>
                    <a:pt x="1980" y="32"/>
                  </a:lnTo>
                  <a:lnTo>
                    <a:pt x="1989" y="58"/>
                  </a:lnTo>
                  <a:lnTo>
                    <a:pt x="1965" y="83"/>
                  </a:lnTo>
                  <a:lnTo>
                    <a:pt x="1952" y="67"/>
                  </a:lnTo>
                  <a:lnTo>
                    <a:pt x="1937" y="74"/>
                  </a:lnTo>
                  <a:lnTo>
                    <a:pt x="1921" y="18"/>
                  </a:lnTo>
                  <a:lnTo>
                    <a:pt x="1903" y="0"/>
                  </a:lnTo>
                  <a:close/>
                  <a:moveTo>
                    <a:pt x="1014" y="0"/>
                  </a:moveTo>
                  <a:lnTo>
                    <a:pt x="1505" y="0"/>
                  </a:lnTo>
                  <a:lnTo>
                    <a:pt x="1505" y="13"/>
                  </a:lnTo>
                  <a:lnTo>
                    <a:pt x="1518" y="24"/>
                  </a:lnTo>
                  <a:lnTo>
                    <a:pt x="1532" y="13"/>
                  </a:lnTo>
                  <a:lnTo>
                    <a:pt x="1541" y="0"/>
                  </a:lnTo>
                  <a:lnTo>
                    <a:pt x="1673" y="0"/>
                  </a:lnTo>
                  <a:lnTo>
                    <a:pt x="1689" y="35"/>
                  </a:lnTo>
                  <a:lnTo>
                    <a:pt x="1691" y="61"/>
                  </a:lnTo>
                  <a:lnTo>
                    <a:pt x="1683" y="66"/>
                  </a:lnTo>
                  <a:lnTo>
                    <a:pt x="1680" y="95"/>
                  </a:lnTo>
                  <a:lnTo>
                    <a:pt x="1685" y="108"/>
                  </a:lnTo>
                  <a:lnTo>
                    <a:pt x="1737" y="170"/>
                  </a:lnTo>
                  <a:lnTo>
                    <a:pt x="1765" y="167"/>
                  </a:lnTo>
                  <a:lnTo>
                    <a:pt x="1801" y="210"/>
                  </a:lnTo>
                  <a:lnTo>
                    <a:pt x="1819" y="214"/>
                  </a:lnTo>
                  <a:lnTo>
                    <a:pt x="1823" y="235"/>
                  </a:lnTo>
                  <a:lnTo>
                    <a:pt x="1849" y="235"/>
                  </a:lnTo>
                  <a:lnTo>
                    <a:pt x="1853" y="255"/>
                  </a:lnTo>
                  <a:lnTo>
                    <a:pt x="1847" y="299"/>
                  </a:lnTo>
                  <a:lnTo>
                    <a:pt x="1833" y="298"/>
                  </a:lnTo>
                  <a:lnTo>
                    <a:pt x="1827" y="282"/>
                  </a:lnTo>
                  <a:lnTo>
                    <a:pt x="1827" y="264"/>
                  </a:lnTo>
                  <a:lnTo>
                    <a:pt x="1819" y="298"/>
                  </a:lnTo>
                  <a:lnTo>
                    <a:pt x="1806" y="295"/>
                  </a:lnTo>
                  <a:lnTo>
                    <a:pt x="1798" y="265"/>
                  </a:lnTo>
                  <a:lnTo>
                    <a:pt x="1773" y="289"/>
                  </a:lnTo>
                  <a:lnTo>
                    <a:pt x="1776" y="316"/>
                  </a:lnTo>
                  <a:lnTo>
                    <a:pt x="1747" y="312"/>
                  </a:lnTo>
                  <a:lnTo>
                    <a:pt x="1751" y="353"/>
                  </a:lnTo>
                  <a:lnTo>
                    <a:pt x="1774" y="321"/>
                  </a:lnTo>
                  <a:lnTo>
                    <a:pt x="1794" y="321"/>
                  </a:lnTo>
                  <a:lnTo>
                    <a:pt x="1802" y="328"/>
                  </a:lnTo>
                  <a:lnTo>
                    <a:pt x="1791" y="346"/>
                  </a:lnTo>
                  <a:lnTo>
                    <a:pt x="1793" y="360"/>
                  </a:lnTo>
                  <a:lnTo>
                    <a:pt x="1799" y="352"/>
                  </a:lnTo>
                  <a:lnTo>
                    <a:pt x="1821" y="368"/>
                  </a:lnTo>
                  <a:lnTo>
                    <a:pt x="1806" y="391"/>
                  </a:lnTo>
                  <a:lnTo>
                    <a:pt x="1765" y="400"/>
                  </a:lnTo>
                  <a:lnTo>
                    <a:pt x="1757" y="416"/>
                  </a:lnTo>
                  <a:lnTo>
                    <a:pt x="1651" y="394"/>
                  </a:lnTo>
                  <a:lnTo>
                    <a:pt x="1662" y="374"/>
                  </a:lnTo>
                  <a:lnTo>
                    <a:pt x="1600" y="360"/>
                  </a:lnTo>
                  <a:lnTo>
                    <a:pt x="1600" y="332"/>
                  </a:lnTo>
                  <a:lnTo>
                    <a:pt x="1586" y="321"/>
                  </a:lnTo>
                  <a:lnTo>
                    <a:pt x="1567" y="340"/>
                  </a:lnTo>
                  <a:lnTo>
                    <a:pt x="1572" y="360"/>
                  </a:lnTo>
                  <a:lnTo>
                    <a:pt x="1550" y="386"/>
                  </a:lnTo>
                  <a:lnTo>
                    <a:pt x="1498" y="397"/>
                  </a:lnTo>
                  <a:lnTo>
                    <a:pt x="1490" y="411"/>
                  </a:lnTo>
                  <a:lnTo>
                    <a:pt x="1453" y="433"/>
                  </a:lnTo>
                  <a:lnTo>
                    <a:pt x="1281" y="453"/>
                  </a:lnTo>
                  <a:lnTo>
                    <a:pt x="1292" y="443"/>
                  </a:lnTo>
                  <a:lnTo>
                    <a:pt x="1269" y="420"/>
                  </a:lnTo>
                  <a:lnTo>
                    <a:pt x="1262" y="402"/>
                  </a:lnTo>
                  <a:lnTo>
                    <a:pt x="1264" y="377"/>
                  </a:lnTo>
                  <a:lnTo>
                    <a:pt x="1245" y="353"/>
                  </a:lnTo>
                  <a:lnTo>
                    <a:pt x="1207" y="349"/>
                  </a:lnTo>
                  <a:lnTo>
                    <a:pt x="1159" y="349"/>
                  </a:lnTo>
                  <a:lnTo>
                    <a:pt x="1129" y="328"/>
                  </a:lnTo>
                  <a:lnTo>
                    <a:pt x="1114" y="311"/>
                  </a:lnTo>
                  <a:lnTo>
                    <a:pt x="1089" y="253"/>
                  </a:lnTo>
                  <a:lnTo>
                    <a:pt x="1225" y="210"/>
                  </a:lnTo>
                  <a:lnTo>
                    <a:pt x="1313" y="222"/>
                  </a:lnTo>
                  <a:lnTo>
                    <a:pt x="1323" y="213"/>
                  </a:lnTo>
                  <a:lnTo>
                    <a:pt x="1320" y="202"/>
                  </a:lnTo>
                  <a:lnTo>
                    <a:pt x="1249" y="162"/>
                  </a:lnTo>
                  <a:lnTo>
                    <a:pt x="1178" y="182"/>
                  </a:lnTo>
                  <a:lnTo>
                    <a:pt x="1145" y="168"/>
                  </a:lnTo>
                  <a:lnTo>
                    <a:pt x="1083" y="168"/>
                  </a:lnTo>
                  <a:lnTo>
                    <a:pt x="1047" y="116"/>
                  </a:lnTo>
                  <a:lnTo>
                    <a:pt x="1083" y="89"/>
                  </a:lnTo>
                  <a:lnTo>
                    <a:pt x="1127" y="78"/>
                  </a:lnTo>
                  <a:lnTo>
                    <a:pt x="1162" y="69"/>
                  </a:lnTo>
                  <a:lnTo>
                    <a:pt x="1151" y="58"/>
                  </a:lnTo>
                  <a:lnTo>
                    <a:pt x="1055" y="67"/>
                  </a:lnTo>
                  <a:lnTo>
                    <a:pt x="1049" y="55"/>
                  </a:lnTo>
                  <a:lnTo>
                    <a:pt x="1071" y="43"/>
                  </a:lnTo>
                  <a:lnTo>
                    <a:pt x="1069" y="24"/>
                  </a:lnTo>
                  <a:lnTo>
                    <a:pt x="1018" y="29"/>
                  </a:lnTo>
                  <a:lnTo>
                    <a:pt x="1014" y="0"/>
                  </a:lnTo>
                  <a:close/>
                  <a:moveTo>
                    <a:pt x="748" y="0"/>
                  </a:moveTo>
                  <a:lnTo>
                    <a:pt x="750" y="0"/>
                  </a:lnTo>
                  <a:lnTo>
                    <a:pt x="749" y="1"/>
                  </a:lnTo>
                  <a:lnTo>
                    <a:pt x="748" y="0"/>
                  </a:lnTo>
                  <a:close/>
                  <a:moveTo>
                    <a:pt x="764" y="0"/>
                  </a:moveTo>
                  <a:lnTo>
                    <a:pt x="946" y="0"/>
                  </a:lnTo>
                  <a:lnTo>
                    <a:pt x="947" y="12"/>
                  </a:lnTo>
                  <a:lnTo>
                    <a:pt x="939" y="40"/>
                  </a:lnTo>
                  <a:lnTo>
                    <a:pt x="904" y="61"/>
                  </a:lnTo>
                  <a:lnTo>
                    <a:pt x="887" y="43"/>
                  </a:lnTo>
                  <a:lnTo>
                    <a:pt x="820" y="104"/>
                  </a:lnTo>
                  <a:lnTo>
                    <a:pt x="778" y="12"/>
                  </a:lnTo>
                  <a:lnTo>
                    <a:pt x="764" y="0"/>
                  </a:lnTo>
                  <a:close/>
                  <a:moveTo>
                    <a:pt x="2033" y="318"/>
                  </a:moveTo>
                  <a:lnTo>
                    <a:pt x="2014" y="301"/>
                  </a:lnTo>
                  <a:lnTo>
                    <a:pt x="2014" y="287"/>
                  </a:lnTo>
                  <a:lnTo>
                    <a:pt x="1988" y="272"/>
                  </a:lnTo>
                  <a:lnTo>
                    <a:pt x="1971" y="309"/>
                  </a:lnTo>
                  <a:lnTo>
                    <a:pt x="1976" y="321"/>
                  </a:lnTo>
                  <a:lnTo>
                    <a:pt x="1959" y="321"/>
                  </a:lnTo>
                  <a:lnTo>
                    <a:pt x="1963" y="348"/>
                  </a:lnTo>
                  <a:lnTo>
                    <a:pt x="1955" y="363"/>
                  </a:lnTo>
                  <a:lnTo>
                    <a:pt x="1918" y="377"/>
                  </a:lnTo>
                  <a:lnTo>
                    <a:pt x="1917" y="400"/>
                  </a:lnTo>
                  <a:lnTo>
                    <a:pt x="1934" y="412"/>
                  </a:lnTo>
                  <a:lnTo>
                    <a:pt x="1942" y="400"/>
                  </a:lnTo>
                  <a:lnTo>
                    <a:pt x="2008" y="442"/>
                  </a:lnTo>
                  <a:lnTo>
                    <a:pt x="2064" y="453"/>
                  </a:lnTo>
                  <a:lnTo>
                    <a:pt x="2072" y="436"/>
                  </a:lnTo>
                  <a:lnTo>
                    <a:pt x="2104" y="426"/>
                  </a:lnTo>
                  <a:lnTo>
                    <a:pt x="2115" y="411"/>
                  </a:lnTo>
                  <a:lnTo>
                    <a:pt x="2101" y="414"/>
                  </a:lnTo>
                  <a:lnTo>
                    <a:pt x="2076" y="365"/>
                  </a:lnTo>
                  <a:lnTo>
                    <a:pt x="2033" y="318"/>
                  </a:lnTo>
                  <a:close/>
                  <a:moveTo>
                    <a:pt x="275" y="338"/>
                  </a:moveTo>
                  <a:lnTo>
                    <a:pt x="282" y="336"/>
                  </a:lnTo>
                  <a:lnTo>
                    <a:pt x="277" y="328"/>
                  </a:lnTo>
                  <a:lnTo>
                    <a:pt x="299" y="328"/>
                  </a:lnTo>
                  <a:lnTo>
                    <a:pt x="294" y="321"/>
                  </a:lnTo>
                  <a:lnTo>
                    <a:pt x="302" y="304"/>
                  </a:lnTo>
                  <a:lnTo>
                    <a:pt x="297" y="290"/>
                  </a:lnTo>
                  <a:lnTo>
                    <a:pt x="302" y="289"/>
                  </a:lnTo>
                  <a:lnTo>
                    <a:pt x="313" y="316"/>
                  </a:lnTo>
                  <a:lnTo>
                    <a:pt x="330" y="314"/>
                  </a:lnTo>
                  <a:lnTo>
                    <a:pt x="328" y="331"/>
                  </a:lnTo>
                  <a:lnTo>
                    <a:pt x="291" y="382"/>
                  </a:lnTo>
                  <a:lnTo>
                    <a:pt x="275" y="378"/>
                  </a:lnTo>
                  <a:lnTo>
                    <a:pt x="283" y="370"/>
                  </a:lnTo>
                  <a:lnTo>
                    <a:pt x="272" y="361"/>
                  </a:lnTo>
                  <a:lnTo>
                    <a:pt x="262" y="332"/>
                  </a:lnTo>
                  <a:lnTo>
                    <a:pt x="275" y="338"/>
                  </a:lnTo>
                  <a:close/>
                  <a:moveTo>
                    <a:pt x="235" y="353"/>
                  </a:moveTo>
                  <a:lnTo>
                    <a:pt x="232" y="368"/>
                  </a:lnTo>
                  <a:lnTo>
                    <a:pt x="243" y="382"/>
                  </a:lnTo>
                  <a:lnTo>
                    <a:pt x="277" y="394"/>
                  </a:lnTo>
                  <a:lnTo>
                    <a:pt x="241" y="349"/>
                  </a:lnTo>
                  <a:lnTo>
                    <a:pt x="235" y="353"/>
                  </a:lnTo>
                  <a:close/>
                  <a:moveTo>
                    <a:pt x="1372" y="1104"/>
                  </a:moveTo>
                  <a:lnTo>
                    <a:pt x="1398" y="1101"/>
                  </a:lnTo>
                  <a:lnTo>
                    <a:pt x="1402" y="1110"/>
                  </a:lnTo>
                  <a:lnTo>
                    <a:pt x="1354" y="1125"/>
                  </a:lnTo>
                  <a:lnTo>
                    <a:pt x="1372" y="1104"/>
                  </a:lnTo>
                  <a:close/>
                  <a:moveTo>
                    <a:pt x="1137" y="1247"/>
                  </a:moveTo>
                  <a:lnTo>
                    <a:pt x="1149" y="1257"/>
                  </a:lnTo>
                  <a:lnTo>
                    <a:pt x="1149" y="1267"/>
                  </a:lnTo>
                  <a:lnTo>
                    <a:pt x="1145" y="1265"/>
                  </a:lnTo>
                  <a:lnTo>
                    <a:pt x="1140" y="1262"/>
                  </a:lnTo>
                  <a:lnTo>
                    <a:pt x="1127" y="1256"/>
                  </a:lnTo>
                  <a:lnTo>
                    <a:pt x="1131" y="1248"/>
                  </a:lnTo>
                  <a:lnTo>
                    <a:pt x="1132" y="1245"/>
                  </a:lnTo>
                  <a:lnTo>
                    <a:pt x="1137" y="1247"/>
                  </a:lnTo>
                  <a:close/>
                  <a:moveTo>
                    <a:pt x="1292" y="1186"/>
                  </a:moveTo>
                  <a:lnTo>
                    <a:pt x="1295" y="1183"/>
                  </a:lnTo>
                  <a:lnTo>
                    <a:pt x="1303" y="1183"/>
                  </a:lnTo>
                  <a:lnTo>
                    <a:pt x="1318" y="1177"/>
                  </a:lnTo>
                  <a:lnTo>
                    <a:pt x="1330" y="1171"/>
                  </a:lnTo>
                  <a:lnTo>
                    <a:pt x="1334" y="1171"/>
                  </a:lnTo>
                  <a:lnTo>
                    <a:pt x="1334" y="1176"/>
                  </a:lnTo>
                  <a:lnTo>
                    <a:pt x="1329" y="1179"/>
                  </a:lnTo>
                  <a:lnTo>
                    <a:pt x="1329" y="1185"/>
                  </a:lnTo>
                  <a:lnTo>
                    <a:pt x="1332" y="1188"/>
                  </a:lnTo>
                  <a:lnTo>
                    <a:pt x="1330" y="1191"/>
                  </a:lnTo>
                  <a:lnTo>
                    <a:pt x="1323" y="1192"/>
                  </a:lnTo>
                  <a:lnTo>
                    <a:pt x="1320" y="1196"/>
                  </a:lnTo>
                  <a:lnTo>
                    <a:pt x="1315" y="1197"/>
                  </a:lnTo>
                  <a:lnTo>
                    <a:pt x="1309" y="1191"/>
                  </a:lnTo>
                  <a:lnTo>
                    <a:pt x="1304" y="1192"/>
                  </a:lnTo>
                  <a:lnTo>
                    <a:pt x="1303" y="1189"/>
                  </a:lnTo>
                  <a:lnTo>
                    <a:pt x="1292" y="1186"/>
                  </a:lnTo>
                  <a:close/>
                  <a:moveTo>
                    <a:pt x="4039" y="2217"/>
                  </a:moveTo>
                  <a:lnTo>
                    <a:pt x="4036" y="2212"/>
                  </a:lnTo>
                  <a:lnTo>
                    <a:pt x="4016" y="2205"/>
                  </a:lnTo>
                  <a:lnTo>
                    <a:pt x="4001" y="2209"/>
                  </a:lnTo>
                  <a:lnTo>
                    <a:pt x="3994" y="2201"/>
                  </a:lnTo>
                  <a:lnTo>
                    <a:pt x="3954" y="2217"/>
                  </a:lnTo>
                  <a:lnTo>
                    <a:pt x="3962" y="2197"/>
                  </a:lnTo>
                  <a:lnTo>
                    <a:pt x="3951" y="2205"/>
                  </a:lnTo>
                  <a:lnTo>
                    <a:pt x="3928" y="2201"/>
                  </a:lnTo>
                  <a:lnTo>
                    <a:pt x="3928" y="2192"/>
                  </a:lnTo>
                  <a:lnTo>
                    <a:pt x="3920" y="2188"/>
                  </a:lnTo>
                  <a:lnTo>
                    <a:pt x="3945" y="2172"/>
                  </a:lnTo>
                  <a:lnTo>
                    <a:pt x="3918" y="2166"/>
                  </a:lnTo>
                  <a:lnTo>
                    <a:pt x="3920" y="2158"/>
                  </a:lnTo>
                  <a:lnTo>
                    <a:pt x="3914" y="2156"/>
                  </a:lnTo>
                  <a:lnTo>
                    <a:pt x="3889" y="2192"/>
                  </a:lnTo>
                  <a:lnTo>
                    <a:pt x="3884" y="2181"/>
                  </a:lnTo>
                  <a:lnTo>
                    <a:pt x="3889" y="2161"/>
                  </a:lnTo>
                  <a:lnTo>
                    <a:pt x="3913" y="2122"/>
                  </a:lnTo>
                  <a:lnTo>
                    <a:pt x="3914" y="2100"/>
                  </a:lnTo>
                  <a:lnTo>
                    <a:pt x="3918" y="2105"/>
                  </a:lnTo>
                  <a:lnTo>
                    <a:pt x="3926" y="2100"/>
                  </a:lnTo>
                  <a:lnTo>
                    <a:pt x="3933" y="2082"/>
                  </a:lnTo>
                  <a:lnTo>
                    <a:pt x="3925" y="2074"/>
                  </a:lnTo>
                  <a:lnTo>
                    <a:pt x="3926" y="2068"/>
                  </a:lnTo>
                  <a:lnTo>
                    <a:pt x="3937" y="2066"/>
                  </a:lnTo>
                  <a:lnTo>
                    <a:pt x="3943" y="2053"/>
                  </a:lnTo>
                  <a:lnTo>
                    <a:pt x="3943" y="2046"/>
                  </a:lnTo>
                  <a:lnTo>
                    <a:pt x="3913" y="2056"/>
                  </a:lnTo>
                  <a:lnTo>
                    <a:pt x="3892" y="2066"/>
                  </a:lnTo>
                  <a:lnTo>
                    <a:pt x="3886" y="2083"/>
                  </a:lnTo>
                  <a:lnTo>
                    <a:pt x="3877" y="2090"/>
                  </a:lnTo>
                  <a:lnTo>
                    <a:pt x="3875" y="2104"/>
                  </a:lnTo>
                  <a:lnTo>
                    <a:pt x="3858" y="2115"/>
                  </a:lnTo>
                  <a:lnTo>
                    <a:pt x="3866" y="2121"/>
                  </a:lnTo>
                  <a:lnTo>
                    <a:pt x="3855" y="2146"/>
                  </a:lnTo>
                  <a:lnTo>
                    <a:pt x="3862" y="2155"/>
                  </a:lnTo>
                  <a:lnTo>
                    <a:pt x="3847" y="2159"/>
                  </a:lnTo>
                  <a:lnTo>
                    <a:pt x="3837" y="2184"/>
                  </a:lnTo>
                  <a:lnTo>
                    <a:pt x="3838" y="2200"/>
                  </a:lnTo>
                  <a:lnTo>
                    <a:pt x="3823" y="2209"/>
                  </a:lnTo>
                  <a:lnTo>
                    <a:pt x="3820" y="2217"/>
                  </a:lnTo>
                  <a:lnTo>
                    <a:pt x="3829" y="2220"/>
                  </a:lnTo>
                  <a:lnTo>
                    <a:pt x="3829" y="2232"/>
                  </a:lnTo>
                  <a:lnTo>
                    <a:pt x="3813" y="2231"/>
                  </a:lnTo>
                  <a:lnTo>
                    <a:pt x="3801" y="2259"/>
                  </a:lnTo>
                  <a:lnTo>
                    <a:pt x="3796" y="2265"/>
                  </a:lnTo>
                  <a:lnTo>
                    <a:pt x="3793" y="2259"/>
                  </a:lnTo>
                  <a:lnTo>
                    <a:pt x="3778" y="2268"/>
                  </a:lnTo>
                  <a:lnTo>
                    <a:pt x="3806" y="2271"/>
                  </a:lnTo>
                  <a:lnTo>
                    <a:pt x="3809" y="2276"/>
                  </a:lnTo>
                  <a:lnTo>
                    <a:pt x="3770" y="2313"/>
                  </a:lnTo>
                  <a:lnTo>
                    <a:pt x="3769" y="2325"/>
                  </a:lnTo>
                  <a:lnTo>
                    <a:pt x="3773" y="2334"/>
                  </a:lnTo>
                  <a:lnTo>
                    <a:pt x="3784" y="2336"/>
                  </a:lnTo>
                  <a:lnTo>
                    <a:pt x="3826" y="2327"/>
                  </a:lnTo>
                  <a:lnTo>
                    <a:pt x="3888" y="2336"/>
                  </a:lnTo>
                  <a:lnTo>
                    <a:pt x="3914" y="2330"/>
                  </a:lnTo>
                  <a:lnTo>
                    <a:pt x="3933" y="2317"/>
                  </a:lnTo>
                  <a:lnTo>
                    <a:pt x="3931" y="2330"/>
                  </a:lnTo>
                  <a:lnTo>
                    <a:pt x="3918" y="2340"/>
                  </a:lnTo>
                  <a:lnTo>
                    <a:pt x="3946" y="2340"/>
                  </a:lnTo>
                  <a:lnTo>
                    <a:pt x="3955" y="2328"/>
                  </a:lnTo>
                  <a:lnTo>
                    <a:pt x="3977" y="2334"/>
                  </a:lnTo>
                  <a:lnTo>
                    <a:pt x="3959" y="2350"/>
                  </a:lnTo>
                  <a:lnTo>
                    <a:pt x="3948" y="2364"/>
                  </a:lnTo>
                  <a:lnTo>
                    <a:pt x="3929" y="2371"/>
                  </a:lnTo>
                  <a:lnTo>
                    <a:pt x="3928" y="2379"/>
                  </a:lnTo>
                  <a:lnTo>
                    <a:pt x="3937" y="2381"/>
                  </a:lnTo>
                  <a:lnTo>
                    <a:pt x="3957" y="2376"/>
                  </a:lnTo>
                  <a:lnTo>
                    <a:pt x="3977" y="2348"/>
                  </a:lnTo>
                  <a:lnTo>
                    <a:pt x="3994" y="2345"/>
                  </a:lnTo>
                  <a:lnTo>
                    <a:pt x="4005" y="2310"/>
                  </a:lnTo>
                  <a:lnTo>
                    <a:pt x="4013" y="2310"/>
                  </a:lnTo>
                  <a:lnTo>
                    <a:pt x="4019" y="2350"/>
                  </a:lnTo>
                  <a:lnTo>
                    <a:pt x="4010" y="2382"/>
                  </a:lnTo>
                  <a:lnTo>
                    <a:pt x="4016" y="2384"/>
                  </a:lnTo>
                  <a:lnTo>
                    <a:pt x="4033" y="2362"/>
                  </a:lnTo>
                  <a:lnTo>
                    <a:pt x="4036" y="2365"/>
                  </a:lnTo>
                  <a:lnTo>
                    <a:pt x="4035" y="2391"/>
                  </a:lnTo>
                  <a:lnTo>
                    <a:pt x="4038" y="2399"/>
                  </a:lnTo>
                  <a:lnTo>
                    <a:pt x="4047" y="2391"/>
                  </a:lnTo>
                  <a:lnTo>
                    <a:pt x="4058" y="2395"/>
                  </a:lnTo>
                  <a:lnTo>
                    <a:pt x="4073" y="2344"/>
                  </a:lnTo>
                  <a:lnTo>
                    <a:pt x="4073" y="2325"/>
                  </a:lnTo>
                  <a:lnTo>
                    <a:pt x="4070" y="2324"/>
                  </a:lnTo>
                  <a:lnTo>
                    <a:pt x="4058" y="2342"/>
                  </a:lnTo>
                  <a:lnTo>
                    <a:pt x="4055" y="2337"/>
                  </a:lnTo>
                  <a:lnTo>
                    <a:pt x="4053" y="2325"/>
                  </a:lnTo>
                  <a:lnTo>
                    <a:pt x="4065" y="2293"/>
                  </a:lnTo>
                  <a:lnTo>
                    <a:pt x="4048" y="2305"/>
                  </a:lnTo>
                  <a:lnTo>
                    <a:pt x="4036" y="2328"/>
                  </a:lnTo>
                  <a:lnTo>
                    <a:pt x="4031" y="2330"/>
                  </a:lnTo>
                  <a:lnTo>
                    <a:pt x="4025" y="2320"/>
                  </a:lnTo>
                  <a:lnTo>
                    <a:pt x="4030" y="2303"/>
                  </a:lnTo>
                  <a:lnTo>
                    <a:pt x="4019" y="2291"/>
                  </a:lnTo>
                  <a:lnTo>
                    <a:pt x="4052" y="2274"/>
                  </a:lnTo>
                  <a:lnTo>
                    <a:pt x="4055" y="2259"/>
                  </a:lnTo>
                  <a:lnTo>
                    <a:pt x="4033" y="2271"/>
                  </a:lnTo>
                  <a:lnTo>
                    <a:pt x="4014" y="2271"/>
                  </a:lnTo>
                  <a:lnTo>
                    <a:pt x="4025" y="2254"/>
                  </a:lnTo>
                  <a:lnTo>
                    <a:pt x="4016" y="2249"/>
                  </a:lnTo>
                  <a:lnTo>
                    <a:pt x="4039" y="2217"/>
                  </a:lnTo>
                  <a:close/>
                  <a:moveTo>
                    <a:pt x="3711" y="2374"/>
                  </a:moveTo>
                  <a:lnTo>
                    <a:pt x="3710" y="2371"/>
                  </a:lnTo>
                  <a:lnTo>
                    <a:pt x="3708" y="2379"/>
                  </a:lnTo>
                  <a:lnTo>
                    <a:pt x="3676" y="2429"/>
                  </a:lnTo>
                  <a:lnTo>
                    <a:pt x="3672" y="2452"/>
                  </a:lnTo>
                  <a:lnTo>
                    <a:pt x="3679" y="2464"/>
                  </a:lnTo>
                  <a:lnTo>
                    <a:pt x="3716" y="2464"/>
                  </a:lnTo>
                  <a:lnTo>
                    <a:pt x="3748" y="2440"/>
                  </a:lnTo>
                  <a:lnTo>
                    <a:pt x="3744" y="2437"/>
                  </a:lnTo>
                  <a:lnTo>
                    <a:pt x="3745" y="2425"/>
                  </a:lnTo>
                  <a:lnTo>
                    <a:pt x="3736" y="2421"/>
                  </a:lnTo>
                  <a:lnTo>
                    <a:pt x="3731" y="2432"/>
                  </a:lnTo>
                  <a:lnTo>
                    <a:pt x="3730" y="2424"/>
                  </a:lnTo>
                  <a:lnTo>
                    <a:pt x="3710" y="2432"/>
                  </a:lnTo>
                  <a:lnTo>
                    <a:pt x="3718" y="2418"/>
                  </a:lnTo>
                  <a:lnTo>
                    <a:pt x="3713" y="2416"/>
                  </a:lnTo>
                  <a:lnTo>
                    <a:pt x="3723" y="2382"/>
                  </a:lnTo>
                  <a:lnTo>
                    <a:pt x="3719" y="2373"/>
                  </a:lnTo>
                  <a:lnTo>
                    <a:pt x="3711" y="2374"/>
                  </a:lnTo>
                  <a:close/>
                  <a:moveTo>
                    <a:pt x="3554" y="2169"/>
                  </a:moveTo>
                  <a:lnTo>
                    <a:pt x="3620" y="2192"/>
                  </a:lnTo>
                  <a:lnTo>
                    <a:pt x="3635" y="2205"/>
                  </a:lnTo>
                  <a:lnTo>
                    <a:pt x="3651" y="2209"/>
                  </a:lnTo>
                  <a:lnTo>
                    <a:pt x="3659" y="2226"/>
                  </a:lnTo>
                  <a:lnTo>
                    <a:pt x="3634" y="2229"/>
                  </a:lnTo>
                  <a:lnTo>
                    <a:pt x="3581" y="2212"/>
                  </a:lnTo>
                  <a:lnTo>
                    <a:pt x="3571" y="2195"/>
                  </a:lnTo>
                  <a:lnTo>
                    <a:pt x="3533" y="2175"/>
                  </a:lnTo>
                  <a:lnTo>
                    <a:pt x="3533" y="2169"/>
                  </a:lnTo>
                  <a:lnTo>
                    <a:pt x="3554" y="2169"/>
                  </a:lnTo>
                  <a:close/>
                  <a:moveTo>
                    <a:pt x="3342" y="2083"/>
                  </a:moveTo>
                  <a:lnTo>
                    <a:pt x="3354" y="2073"/>
                  </a:lnTo>
                  <a:lnTo>
                    <a:pt x="3348" y="2070"/>
                  </a:lnTo>
                  <a:lnTo>
                    <a:pt x="3346" y="2059"/>
                  </a:lnTo>
                  <a:lnTo>
                    <a:pt x="3351" y="2062"/>
                  </a:lnTo>
                  <a:lnTo>
                    <a:pt x="3351" y="2070"/>
                  </a:lnTo>
                  <a:lnTo>
                    <a:pt x="3354" y="2068"/>
                  </a:lnTo>
                  <a:lnTo>
                    <a:pt x="3352" y="2056"/>
                  </a:lnTo>
                  <a:lnTo>
                    <a:pt x="3346" y="2049"/>
                  </a:lnTo>
                  <a:lnTo>
                    <a:pt x="3326" y="2053"/>
                  </a:lnTo>
                  <a:lnTo>
                    <a:pt x="3320" y="2066"/>
                  </a:lnTo>
                  <a:lnTo>
                    <a:pt x="3323" y="2076"/>
                  </a:lnTo>
                  <a:lnTo>
                    <a:pt x="3342" y="2083"/>
                  </a:lnTo>
                  <a:close/>
                  <a:moveTo>
                    <a:pt x="2717" y="2449"/>
                  </a:moveTo>
                  <a:lnTo>
                    <a:pt x="2670" y="2449"/>
                  </a:lnTo>
                  <a:lnTo>
                    <a:pt x="2697" y="2464"/>
                  </a:lnTo>
                  <a:lnTo>
                    <a:pt x="2727" y="2471"/>
                  </a:lnTo>
                  <a:lnTo>
                    <a:pt x="2735" y="2464"/>
                  </a:lnTo>
                  <a:lnTo>
                    <a:pt x="2740" y="2450"/>
                  </a:lnTo>
                  <a:lnTo>
                    <a:pt x="2735" y="2450"/>
                  </a:lnTo>
                  <a:lnTo>
                    <a:pt x="2731" y="2467"/>
                  </a:lnTo>
                  <a:lnTo>
                    <a:pt x="2727" y="2446"/>
                  </a:lnTo>
                  <a:lnTo>
                    <a:pt x="2717" y="2449"/>
                  </a:lnTo>
                  <a:close/>
                </a:path>
              </a:pathLst>
            </a:custGeom>
            <a:solidFill>
              <a:schemeClr val="accent1"/>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82" name="Freeform 187">
              <a:extLst>
                <a:ext uri="{FF2B5EF4-FFF2-40B4-BE49-F238E27FC236}">
                  <a16:creationId xmlns:a16="http://schemas.microsoft.com/office/drawing/2014/main" id="{FB374F64-A9CD-1340-8366-4C442248546A}"/>
                </a:ext>
              </a:extLst>
            </p:cNvPr>
            <p:cNvSpPr>
              <a:spLocks noChangeAspect="1"/>
            </p:cNvSpPr>
            <p:nvPr/>
          </p:nvSpPr>
          <p:spPr bwMode="gray">
            <a:xfrm>
              <a:off x="2817224" y="4230413"/>
              <a:ext cx="125716" cy="169090"/>
            </a:xfrm>
            <a:custGeom>
              <a:avLst/>
              <a:gdLst>
                <a:gd name="T0" fmla="*/ 254 w 260"/>
                <a:gd name="T1" fmla="*/ 66 h 289"/>
                <a:gd name="T2" fmla="*/ 220 w 260"/>
                <a:gd name="T3" fmla="*/ 46 h 289"/>
                <a:gd name="T4" fmla="*/ 209 w 260"/>
                <a:gd name="T5" fmla="*/ 52 h 289"/>
                <a:gd name="T6" fmla="*/ 164 w 260"/>
                <a:gd name="T7" fmla="*/ 52 h 289"/>
                <a:gd name="T8" fmla="*/ 156 w 260"/>
                <a:gd name="T9" fmla="*/ 37 h 289"/>
                <a:gd name="T10" fmla="*/ 147 w 260"/>
                <a:gd name="T11" fmla="*/ 29 h 289"/>
                <a:gd name="T12" fmla="*/ 119 w 260"/>
                <a:gd name="T13" fmla="*/ 15 h 289"/>
                <a:gd name="T14" fmla="*/ 89 w 260"/>
                <a:gd name="T15" fmla="*/ 0 h 289"/>
                <a:gd name="T16" fmla="*/ 56 w 260"/>
                <a:gd name="T17" fmla="*/ 23 h 289"/>
                <a:gd name="T18" fmla="*/ 37 w 260"/>
                <a:gd name="T19" fmla="*/ 23 h 289"/>
                <a:gd name="T20" fmla="*/ 34 w 260"/>
                <a:gd name="T21" fmla="*/ 29 h 289"/>
                <a:gd name="T22" fmla="*/ 35 w 260"/>
                <a:gd name="T23" fmla="*/ 55 h 289"/>
                <a:gd name="T24" fmla="*/ 22 w 260"/>
                <a:gd name="T25" fmla="*/ 76 h 289"/>
                <a:gd name="T26" fmla="*/ 18 w 260"/>
                <a:gd name="T27" fmla="*/ 94 h 289"/>
                <a:gd name="T28" fmla="*/ 0 w 260"/>
                <a:gd name="T29" fmla="*/ 110 h 289"/>
                <a:gd name="T30" fmla="*/ 0 w 260"/>
                <a:gd name="T31" fmla="*/ 167 h 289"/>
                <a:gd name="T32" fmla="*/ 23 w 260"/>
                <a:gd name="T33" fmla="*/ 182 h 289"/>
                <a:gd name="T34" fmla="*/ 42 w 260"/>
                <a:gd name="T35" fmla="*/ 162 h 289"/>
                <a:gd name="T36" fmla="*/ 47 w 260"/>
                <a:gd name="T37" fmla="*/ 181 h 289"/>
                <a:gd name="T38" fmla="*/ 42 w 260"/>
                <a:gd name="T39" fmla="*/ 204 h 289"/>
                <a:gd name="T40" fmla="*/ 20 w 260"/>
                <a:gd name="T41" fmla="*/ 219 h 289"/>
                <a:gd name="T42" fmla="*/ 25 w 260"/>
                <a:gd name="T43" fmla="*/ 240 h 289"/>
                <a:gd name="T44" fmla="*/ 9 w 260"/>
                <a:gd name="T45" fmla="*/ 250 h 289"/>
                <a:gd name="T46" fmla="*/ 15 w 260"/>
                <a:gd name="T47" fmla="*/ 270 h 289"/>
                <a:gd name="T48" fmla="*/ 34 w 260"/>
                <a:gd name="T49" fmla="*/ 266 h 289"/>
                <a:gd name="T50" fmla="*/ 40 w 260"/>
                <a:gd name="T51" fmla="*/ 270 h 289"/>
                <a:gd name="T52" fmla="*/ 54 w 260"/>
                <a:gd name="T53" fmla="*/ 270 h 289"/>
                <a:gd name="T54" fmla="*/ 64 w 260"/>
                <a:gd name="T55" fmla="*/ 289 h 289"/>
                <a:gd name="T56" fmla="*/ 79 w 260"/>
                <a:gd name="T57" fmla="*/ 287 h 289"/>
                <a:gd name="T58" fmla="*/ 94 w 260"/>
                <a:gd name="T59" fmla="*/ 275 h 289"/>
                <a:gd name="T60" fmla="*/ 99 w 260"/>
                <a:gd name="T61" fmla="*/ 242 h 289"/>
                <a:gd name="T62" fmla="*/ 111 w 260"/>
                <a:gd name="T63" fmla="*/ 224 h 289"/>
                <a:gd name="T64" fmla="*/ 122 w 260"/>
                <a:gd name="T65" fmla="*/ 225 h 289"/>
                <a:gd name="T66" fmla="*/ 128 w 260"/>
                <a:gd name="T67" fmla="*/ 207 h 289"/>
                <a:gd name="T68" fmla="*/ 193 w 260"/>
                <a:gd name="T69" fmla="*/ 181 h 289"/>
                <a:gd name="T70" fmla="*/ 233 w 260"/>
                <a:gd name="T71" fmla="*/ 140 h 289"/>
                <a:gd name="T72" fmla="*/ 252 w 260"/>
                <a:gd name="T73" fmla="*/ 106 h 289"/>
                <a:gd name="T74" fmla="*/ 260 w 260"/>
                <a:gd name="T75" fmla="*/ 106 h 289"/>
                <a:gd name="T76" fmla="*/ 241 w 260"/>
                <a:gd name="T77" fmla="*/ 74 h 289"/>
                <a:gd name="T78" fmla="*/ 243 w 260"/>
                <a:gd name="T79" fmla="*/ 68 h 289"/>
                <a:gd name="T80" fmla="*/ 254 w 260"/>
                <a:gd name="T81" fmla="*/ 6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0" h="289">
                  <a:moveTo>
                    <a:pt x="254" y="66"/>
                  </a:moveTo>
                  <a:lnTo>
                    <a:pt x="220" y="46"/>
                  </a:lnTo>
                  <a:lnTo>
                    <a:pt x="209" y="52"/>
                  </a:lnTo>
                  <a:lnTo>
                    <a:pt x="164" y="52"/>
                  </a:lnTo>
                  <a:lnTo>
                    <a:pt x="156" y="37"/>
                  </a:lnTo>
                  <a:lnTo>
                    <a:pt x="147" y="29"/>
                  </a:lnTo>
                  <a:lnTo>
                    <a:pt x="119" y="15"/>
                  </a:lnTo>
                  <a:lnTo>
                    <a:pt x="89" y="0"/>
                  </a:lnTo>
                  <a:lnTo>
                    <a:pt x="56" y="23"/>
                  </a:lnTo>
                  <a:lnTo>
                    <a:pt x="37" y="23"/>
                  </a:lnTo>
                  <a:lnTo>
                    <a:pt x="34" y="29"/>
                  </a:lnTo>
                  <a:lnTo>
                    <a:pt x="35" y="55"/>
                  </a:lnTo>
                  <a:lnTo>
                    <a:pt x="22" y="76"/>
                  </a:lnTo>
                  <a:lnTo>
                    <a:pt x="18" y="94"/>
                  </a:lnTo>
                  <a:lnTo>
                    <a:pt x="0" y="110"/>
                  </a:lnTo>
                  <a:lnTo>
                    <a:pt x="0" y="167"/>
                  </a:lnTo>
                  <a:lnTo>
                    <a:pt x="23" y="182"/>
                  </a:lnTo>
                  <a:lnTo>
                    <a:pt x="42" y="162"/>
                  </a:lnTo>
                  <a:lnTo>
                    <a:pt x="47" y="181"/>
                  </a:lnTo>
                  <a:lnTo>
                    <a:pt x="42" y="204"/>
                  </a:lnTo>
                  <a:lnTo>
                    <a:pt x="20" y="219"/>
                  </a:lnTo>
                  <a:lnTo>
                    <a:pt x="25" y="240"/>
                  </a:lnTo>
                  <a:lnTo>
                    <a:pt x="9" y="250"/>
                  </a:lnTo>
                  <a:lnTo>
                    <a:pt x="15" y="270"/>
                  </a:lnTo>
                  <a:lnTo>
                    <a:pt x="34" y="266"/>
                  </a:lnTo>
                  <a:lnTo>
                    <a:pt x="40" y="270"/>
                  </a:lnTo>
                  <a:lnTo>
                    <a:pt x="54" y="270"/>
                  </a:lnTo>
                  <a:lnTo>
                    <a:pt x="64" y="289"/>
                  </a:lnTo>
                  <a:lnTo>
                    <a:pt x="79" y="287"/>
                  </a:lnTo>
                  <a:lnTo>
                    <a:pt x="94" y="275"/>
                  </a:lnTo>
                  <a:lnTo>
                    <a:pt x="99" y="242"/>
                  </a:lnTo>
                  <a:lnTo>
                    <a:pt x="111" y="224"/>
                  </a:lnTo>
                  <a:lnTo>
                    <a:pt x="122" y="225"/>
                  </a:lnTo>
                  <a:lnTo>
                    <a:pt x="128" y="207"/>
                  </a:lnTo>
                  <a:lnTo>
                    <a:pt x="193" y="181"/>
                  </a:lnTo>
                  <a:lnTo>
                    <a:pt x="233" y="140"/>
                  </a:lnTo>
                  <a:lnTo>
                    <a:pt x="252" y="106"/>
                  </a:lnTo>
                  <a:lnTo>
                    <a:pt x="260" y="106"/>
                  </a:lnTo>
                  <a:lnTo>
                    <a:pt x="241" y="74"/>
                  </a:lnTo>
                  <a:lnTo>
                    <a:pt x="243" y="68"/>
                  </a:lnTo>
                  <a:lnTo>
                    <a:pt x="254" y="66"/>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83" name="Freeform 188">
              <a:extLst>
                <a:ext uri="{FF2B5EF4-FFF2-40B4-BE49-F238E27FC236}">
                  <a16:creationId xmlns:a16="http://schemas.microsoft.com/office/drawing/2014/main" id="{A727C750-BA27-D145-85D2-4F4F01A22E74}"/>
                </a:ext>
              </a:extLst>
            </p:cNvPr>
            <p:cNvSpPr>
              <a:spLocks noChangeAspect="1"/>
            </p:cNvSpPr>
            <p:nvPr/>
          </p:nvSpPr>
          <p:spPr bwMode="gray">
            <a:xfrm>
              <a:off x="2857011" y="3928742"/>
              <a:ext cx="273711" cy="449623"/>
            </a:xfrm>
            <a:custGeom>
              <a:avLst/>
              <a:gdLst>
                <a:gd name="T0" fmla="*/ 425 w 559"/>
                <a:gd name="T1" fmla="*/ 713 h 763"/>
                <a:gd name="T2" fmla="*/ 398 w 559"/>
                <a:gd name="T3" fmla="*/ 749 h 763"/>
                <a:gd name="T4" fmla="*/ 386 w 559"/>
                <a:gd name="T5" fmla="*/ 738 h 763"/>
                <a:gd name="T6" fmla="*/ 402 w 559"/>
                <a:gd name="T7" fmla="*/ 692 h 763"/>
                <a:gd name="T8" fmla="*/ 352 w 559"/>
                <a:gd name="T9" fmla="*/ 684 h 763"/>
                <a:gd name="T10" fmla="*/ 307 w 559"/>
                <a:gd name="T11" fmla="*/ 688 h 763"/>
                <a:gd name="T12" fmla="*/ 266 w 559"/>
                <a:gd name="T13" fmla="*/ 675 h 763"/>
                <a:gd name="T14" fmla="*/ 253 w 559"/>
                <a:gd name="T15" fmla="*/ 655 h 763"/>
                <a:gd name="T16" fmla="*/ 225 w 559"/>
                <a:gd name="T17" fmla="*/ 622 h 763"/>
                <a:gd name="T18" fmla="*/ 193 w 559"/>
                <a:gd name="T19" fmla="*/ 583 h 763"/>
                <a:gd name="T20" fmla="*/ 136 w 559"/>
                <a:gd name="T21" fmla="*/ 557 h 763"/>
                <a:gd name="T22" fmla="*/ 80 w 559"/>
                <a:gd name="T23" fmla="*/ 563 h 763"/>
                <a:gd name="T24" fmla="*/ 63 w 559"/>
                <a:gd name="T25" fmla="*/ 540 h 763"/>
                <a:gd name="T26" fmla="*/ 5 w 559"/>
                <a:gd name="T27" fmla="*/ 511 h 763"/>
                <a:gd name="T28" fmla="*/ 7 w 559"/>
                <a:gd name="T29" fmla="*/ 490 h 763"/>
                <a:gd name="T30" fmla="*/ 22 w 559"/>
                <a:gd name="T31" fmla="*/ 458 h 763"/>
                <a:gd name="T32" fmla="*/ 68 w 559"/>
                <a:gd name="T33" fmla="*/ 424 h 763"/>
                <a:gd name="T34" fmla="*/ 94 w 559"/>
                <a:gd name="T35" fmla="*/ 390 h 763"/>
                <a:gd name="T36" fmla="*/ 71 w 559"/>
                <a:gd name="T37" fmla="*/ 393 h 763"/>
                <a:gd name="T38" fmla="*/ 69 w 559"/>
                <a:gd name="T39" fmla="*/ 323 h 763"/>
                <a:gd name="T40" fmla="*/ 72 w 559"/>
                <a:gd name="T41" fmla="*/ 275 h 763"/>
                <a:gd name="T42" fmla="*/ 49 w 559"/>
                <a:gd name="T43" fmla="*/ 237 h 763"/>
                <a:gd name="T44" fmla="*/ 66 w 559"/>
                <a:gd name="T45" fmla="*/ 223 h 763"/>
                <a:gd name="T46" fmla="*/ 69 w 559"/>
                <a:gd name="T47" fmla="*/ 184 h 763"/>
                <a:gd name="T48" fmla="*/ 100 w 559"/>
                <a:gd name="T49" fmla="*/ 204 h 763"/>
                <a:gd name="T50" fmla="*/ 120 w 559"/>
                <a:gd name="T51" fmla="*/ 161 h 763"/>
                <a:gd name="T52" fmla="*/ 153 w 559"/>
                <a:gd name="T53" fmla="*/ 133 h 763"/>
                <a:gd name="T54" fmla="*/ 183 w 559"/>
                <a:gd name="T55" fmla="*/ 65 h 763"/>
                <a:gd name="T56" fmla="*/ 204 w 559"/>
                <a:gd name="T57" fmla="*/ 65 h 763"/>
                <a:gd name="T58" fmla="*/ 222 w 559"/>
                <a:gd name="T59" fmla="*/ 52 h 763"/>
                <a:gd name="T60" fmla="*/ 264 w 559"/>
                <a:gd name="T61" fmla="*/ 47 h 763"/>
                <a:gd name="T62" fmla="*/ 320 w 559"/>
                <a:gd name="T63" fmla="*/ 9 h 763"/>
                <a:gd name="T64" fmla="*/ 330 w 559"/>
                <a:gd name="T65" fmla="*/ 3 h 763"/>
                <a:gd name="T66" fmla="*/ 361 w 559"/>
                <a:gd name="T67" fmla="*/ 9 h 763"/>
                <a:gd name="T68" fmla="*/ 352 w 559"/>
                <a:gd name="T69" fmla="*/ 26 h 763"/>
                <a:gd name="T70" fmla="*/ 295 w 559"/>
                <a:gd name="T71" fmla="*/ 71 h 763"/>
                <a:gd name="T72" fmla="*/ 275 w 559"/>
                <a:gd name="T73" fmla="*/ 128 h 763"/>
                <a:gd name="T74" fmla="*/ 283 w 559"/>
                <a:gd name="T75" fmla="*/ 152 h 763"/>
                <a:gd name="T76" fmla="*/ 303 w 559"/>
                <a:gd name="T77" fmla="*/ 195 h 763"/>
                <a:gd name="T78" fmla="*/ 324 w 559"/>
                <a:gd name="T79" fmla="*/ 243 h 763"/>
                <a:gd name="T80" fmla="*/ 388 w 559"/>
                <a:gd name="T81" fmla="*/ 245 h 763"/>
                <a:gd name="T82" fmla="*/ 444 w 559"/>
                <a:gd name="T83" fmla="*/ 292 h 763"/>
                <a:gd name="T84" fmla="*/ 491 w 559"/>
                <a:gd name="T85" fmla="*/ 294 h 763"/>
                <a:gd name="T86" fmla="*/ 530 w 559"/>
                <a:gd name="T87" fmla="*/ 288 h 763"/>
                <a:gd name="T88" fmla="*/ 518 w 559"/>
                <a:gd name="T89" fmla="*/ 328 h 763"/>
                <a:gd name="T90" fmla="*/ 518 w 559"/>
                <a:gd name="T91" fmla="*/ 388 h 763"/>
                <a:gd name="T92" fmla="*/ 541 w 559"/>
                <a:gd name="T93" fmla="*/ 419 h 763"/>
                <a:gd name="T94" fmla="*/ 539 w 559"/>
                <a:gd name="T95" fmla="*/ 465 h 763"/>
                <a:gd name="T96" fmla="*/ 549 w 559"/>
                <a:gd name="T97" fmla="*/ 520 h 763"/>
                <a:gd name="T98" fmla="*/ 532 w 559"/>
                <a:gd name="T99" fmla="*/ 480 h 763"/>
                <a:gd name="T100" fmla="*/ 496 w 559"/>
                <a:gd name="T101" fmla="*/ 481 h 763"/>
                <a:gd name="T102" fmla="*/ 422 w 559"/>
                <a:gd name="T103" fmla="*/ 494 h 763"/>
                <a:gd name="T104" fmla="*/ 428 w 559"/>
                <a:gd name="T105" fmla="*/ 526 h 763"/>
                <a:gd name="T106" fmla="*/ 454 w 559"/>
                <a:gd name="T107" fmla="*/ 545 h 763"/>
                <a:gd name="T108" fmla="*/ 411 w 559"/>
                <a:gd name="T109" fmla="*/ 549 h 763"/>
                <a:gd name="T110" fmla="*/ 432 w 559"/>
                <a:gd name="T111" fmla="*/ 599 h 763"/>
                <a:gd name="T112" fmla="*/ 434 w 559"/>
                <a:gd name="T113" fmla="*/ 668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9" h="763">
                  <a:moveTo>
                    <a:pt x="434" y="668"/>
                  </a:moveTo>
                  <a:lnTo>
                    <a:pt x="425" y="713"/>
                  </a:lnTo>
                  <a:lnTo>
                    <a:pt x="415" y="763"/>
                  </a:lnTo>
                  <a:lnTo>
                    <a:pt x="398" y="749"/>
                  </a:lnTo>
                  <a:lnTo>
                    <a:pt x="386" y="746"/>
                  </a:lnTo>
                  <a:lnTo>
                    <a:pt x="386" y="738"/>
                  </a:lnTo>
                  <a:lnTo>
                    <a:pt x="410" y="705"/>
                  </a:lnTo>
                  <a:lnTo>
                    <a:pt x="402" y="692"/>
                  </a:lnTo>
                  <a:lnTo>
                    <a:pt x="368" y="676"/>
                  </a:lnTo>
                  <a:lnTo>
                    <a:pt x="352" y="684"/>
                  </a:lnTo>
                  <a:lnTo>
                    <a:pt x="327" y="676"/>
                  </a:lnTo>
                  <a:lnTo>
                    <a:pt x="307" y="688"/>
                  </a:lnTo>
                  <a:lnTo>
                    <a:pt x="275" y="684"/>
                  </a:lnTo>
                  <a:lnTo>
                    <a:pt x="266" y="675"/>
                  </a:lnTo>
                  <a:lnTo>
                    <a:pt x="266" y="658"/>
                  </a:lnTo>
                  <a:lnTo>
                    <a:pt x="253" y="655"/>
                  </a:lnTo>
                  <a:lnTo>
                    <a:pt x="244" y="628"/>
                  </a:lnTo>
                  <a:lnTo>
                    <a:pt x="225" y="622"/>
                  </a:lnTo>
                  <a:lnTo>
                    <a:pt x="210" y="597"/>
                  </a:lnTo>
                  <a:lnTo>
                    <a:pt x="193" y="583"/>
                  </a:lnTo>
                  <a:lnTo>
                    <a:pt x="170" y="577"/>
                  </a:lnTo>
                  <a:lnTo>
                    <a:pt x="136" y="557"/>
                  </a:lnTo>
                  <a:lnTo>
                    <a:pt x="125" y="563"/>
                  </a:lnTo>
                  <a:lnTo>
                    <a:pt x="80" y="563"/>
                  </a:lnTo>
                  <a:lnTo>
                    <a:pt x="72" y="548"/>
                  </a:lnTo>
                  <a:lnTo>
                    <a:pt x="63" y="540"/>
                  </a:lnTo>
                  <a:lnTo>
                    <a:pt x="35" y="526"/>
                  </a:lnTo>
                  <a:lnTo>
                    <a:pt x="5" y="511"/>
                  </a:lnTo>
                  <a:lnTo>
                    <a:pt x="0" y="498"/>
                  </a:lnTo>
                  <a:lnTo>
                    <a:pt x="7" y="490"/>
                  </a:lnTo>
                  <a:lnTo>
                    <a:pt x="17" y="489"/>
                  </a:lnTo>
                  <a:lnTo>
                    <a:pt x="22" y="458"/>
                  </a:lnTo>
                  <a:lnTo>
                    <a:pt x="61" y="447"/>
                  </a:lnTo>
                  <a:lnTo>
                    <a:pt x="68" y="424"/>
                  </a:lnTo>
                  <a:lnTo>
                    <a:pt x="94" y="396"/>
                  </a:lnTo>
                  <a:lnTo>
                    <a:pt x="94" y="390"/>
                  </a:lnTo>
                  <a:lnTo>
                    <a:pt x="83" y="396"/>
                  </a:lnTo>
                  <a:lnTo>
                    <a:pt x="71" y="393"/>
                  </a:lnTo>
                  <a:lnTo>
                    <a:pt x="77" y="367"/>
                  </a:lnTo>
                  <a:lnTo>
                    <a:pt x="69" y="323"/>
                  </a:lnTo>
                  <a:lnTo>
                    <a:pt x="75" y="311"/>
                  </a:lnTo>
                  <a:lnTo>
                    <a:pt x="72" y="275"/>
                  </a:lnTo>
                  <a:lnTo>
                    <a:pt x="60" y="260"/>
                  </a:lnTo>
                  <a:lnTo>
                    <a:pt x="49" y="237"/>
                  </a:lnTo>
                  <a:lnTo>
                    <a:pt x="58" y="221"/>
                  </a:lnTo>
                  <a:lnTo>
                    <a:pt x="66" y="223"/>
                  </a:lnTo>
                  <a:lnTo>
                    <a:pt x="81" y="204"/>
                  </a:lnTo>
                  <a:lnTo>
                    <a:pt x="69" y="184"/>
                  </a:lnTo>
                  <a:lnTo>
                    <a:pt x="72" y="176"/>
                  </a:lnTo>
                  <a:lnTo>
                    <a:pt x="100" y="204"/>
                  </a:lnTo>
                  <a:lnTo>
                    <a:pt x="98" y="176"/>
                  </a:lnTo>
                  <a:lnTo>
                    <a:pt x="120" y="161"/>
                  </a:lnTo>
                  <a:lnTo>
                    <a:pt x="134" y="142"/>
                  </a:lnTo>
                  <a:lnTo>
                    <a:pt x="153" y="133"/>
                  </a:lnTo>
                  <a:lnTo>
                    <a:pt x="156" y="89"/>
                  </a:lnTo>
                  <a:lnTo>
                    <a:pt x="183" y="65"/>
                  </a:lnTo>
                  <a:lnTo>
                    <a:pt x="196" y="68"/>
                  </a:lnTo>
                  <a:lnTo>
                    <a:pt x="204" y="65"/>
                  </a:lnTo>
                  <a:lnTo>
                    <a:pt x="208" y="76"/>
                  </a:lnTo>
                  <a:lnTo>
                    <a:pt x="222" y="52"/>
                  </a:lnTo>
                  <a:lnTo>
                    <a:pt x="244" y="54"/>
                  </a:lnTo>
                  <a:lnTo>
                    <a:pt x="264" y="47"/>
                  </a:lnTo>
                  <a:lnTo>
                    <a:pt x="309" y="28"/>
                  </a:lnTo>
                  <a:lnTo>
                    <a:pt x="320" y="9"/>
                  </a:lnTo>
                  <a:lnTo>
                    <a:pt x="330" y="9"/>
                  </a:lnTo>
                  <a:lnTo>
                    <a:pt x="330" y="3"/>
                  </a:lnTo>
                  <a:lnTo>
                    <a:pt x="340" y="0"/>
                  </a:lnTo>
                  <a:lnTo>
                    <a:pt x="361" y="9"/>
                  </a:lnTo>
                  <a:lnTo>
                    <a:pt x="361" y="17"/>
                  </a:lnTo>
                  <a:lnTo>
                    <a:pt x="352" y="26"/>
                  </a:lnTo>
                  <a:lnTo>
                    <a:pt x="327" y="34"/>
                  </a:lnTo>
                  <a:lnTo>
                    <a:pt x="295" y="71"/>
                  </a:lnTo>
                  <a:lnTo>
                    <a:pt x="284" y="89"/>
                  </a:lnTo>
                  <a:lnTo>
                    <a:pt x="275" y="128"/>
                  </a:lnTo>
                  <a:lnTo>
                    <a:pt x="261" y="150"/>
                  </a:lnTo>
                  <a:lnTo>
                    <a:pt x="283" y="152"/>
                  </a:lnTo>
                  <a:lnTo>
                    <a:pt x="288" y="172"/>
                  </a:lnTo>
                  <a:lnTo>
                    <a:pt x="303" y="195"/>
                  </a:lnTo>
                  <a:lnTo>
                    <a:pt x="307" y="232"/>
                  </a:lnTo>
                  <a:lnTo>
                    <a:pt x="324" y="243"/>
                  </a:lnTo>
                  <a:lnTo>
                    <a:pt x="351" y="250"/>
                  </a:lnTo>
                  <a:lnTo>
                    <a:pt x="388" y="245"/>
                  </a:lnTo>
                  <a:lnTo>
                    <a:pt x="411" y="254"/>
                  </a:lnTo>
                  <a:lnTo>
                    <a:pt x="444" y="292"/>
                  </a:lnTo>
                  <a:lnTo>
                    <a:pt x="464" y="289"/>
                  </a:lnTo>
                  <a:lnTo>
                    <a:pt x="491" y="294"/>
                  </a:lnTo>
                  <a:lnTo>
                    <a:pt x="516" y="286"/>
                  </a:lnTo>
                  <a:lnTo>
                    <a:pt x="530" y="288"/>
                  </a:lnTo>
                  <a:lnTo>
                    <a:pt x="533" y="299"/>
                  </a:lnTo>
                  <a:lnTo>
                    <a:pt x="518" y="328"/>
                  </a:lnTo>
                  <a:lnTo>
                    <a:pt x="513" y="362"/>
                  </a:lnTo>
                  <a:lnTo>
                    <a:pt x="518" y="388"/>
                  </a:lnTo>
                  <a:lnTo>
                    <a:pt x="533" y="401"/>
                  </a:lnTo>
                  <a:lnTo>
                    <a:pt x="541" y="419"/>
                  </a:lnTo>
                  <a:lnTo>
                    <a:pt x="518" y="444"/>
                  </a:lnTo>
                  <a:lnTo>
                    <a:pt x="539" y="465"/>
                  </a:lnTo>
                  <a:lnTo>
                    <a:pt x="559" y="512"/>
                  </a:lnTo>
                  <a:lnTo>
                    <a:pt x="549" y="520"/>
                  </a:lnTo>
                  <a:lnTo>
                    <a:pt x="544" y="494"/>
                  </a:lnTo>
                  <a:lnTo>
                    <a:pt x="532" y="480"/>
                  </a:lnTo>
                  <a:lnTo>
                    <a:pt x="508" y="489"/>
                  </a:lnTo>
                  <a:lnTo>
                    <a:pt x="496" y="481"/>
                  </a:lnTo>
                  <a:lnTo>
                    <a:pt x="490" y="494"/>
                  </a:lnTo>
                  <a:lnTo>
                    <a:pt x="422" y="494"/>
                  </a:lnTo>
                  <a:lnTo>
                    <a:pt x="422" y="523"/>
                  </a:lnTo>
                  <a:lnTo>
                    <a:pt x="428" y="526"/>
                  </a:lnTo>
                  <a:lnTo>
                    <a:pt x="445" y="524"/>
                  </a:lnTo>
                  <a:lnTo>
                    <a:pt x="454" y="545"/>
                  </a:lnTo>
                  <a:lnTo>
                    <a:pt x="436" y="543"/>
                  </a:lnTo>
                  <a:lnTo>
                    <a:pt x="411" y="549"/>
                  </a:lnTo>
                  <a:lnTo>
                    <a:pt x="411" y="580"/>
                  </a:lnTo>
                  <a:lnTo>
                    <a:pt x="432" y="599"/>
                  </a:lnTo>
                  <a:lnTo>
                    <a:pt x="440" y="630"/>
                  </a:lnTo>
                  <a:lnTo>
                    <a:pt x="434" y="668"/>
                  </a:lnTo>
                  <a:close/>
                </a:path>
              </a:pathLst>
            </a:custGeom>
            <a:solidFill>
              <a:schemeClr val="accent1"/>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84" name="Freeform 189">
              <a:extLst>
                <a:ext uri="{FF2B5EF4-FFF2-40B4-BE49-F238E27FC236}">
                  <a16:creationId xmlns:a16="http://schemas.microsoft.com/office/drawing/2014/main" id="{22DB1EA9-141E-C64F-BC5C-71975D39BB3F}"/>
                </a:ext>
              </a:extLst>
            </p:cNvPr>
            <p:cNvSpPr>
              <a:spLocks noChangeAspect="1"/>
            </p:cNvSpPr>
            <p:nvPr/>
          </p:nvSpPr>
          <p:spPr bwMode="gray">
            <a:xfrm>
              <a:off x="2806086" y="4266921"/>
              <a:ext cx="281668" cy="497660"/>
            </a:xfrm>
            <a:custGeom>
              <a:avLst/>
              <a:gdLst>
                <a:gd name="T0" fmla="*/ 504 w 575"/>
                <a:gd name="T1" fmla="*/ 834 h 843"/>
                <a:gd name="T2" fmla="*/ 538 w 575"/>
                <a:gd name="T3" fmla="*/ 811 h 843"/>
                <a:gd name="T4" fmla="*/ 563 w 575"/>
                <a:gd name="T5" fmla="*/ 760 h 843"/>
                <a:gd name="T6" fmla="*/ 546 w 575"/>
                <a:gd name="T7" fmla="*/ 732 h 843"/>
                <a:gd name="T8" fmla="*/ 557 w 575"/>
                <a:gd name="T9" fmla="*/ 698 h 843"/>
                <a:gd name="T10" fmla="*/ 563 w 575"/>
                <a:gd name="T11" fmla="*/ 664 h 843"/>
                <a:gd name="T12" fmla="*/ 575 w 575"/>
                <a:gd name="T13" fmla="*/ 567 h 843"/>
                <a:gd name="T14" fmla="*/ 506 w 575"/>
                <a:gd name="T15" fmla="*/ 503 h 843"/>
                <a:gd name="T16" fmla="*/ 495 w 575"/>
                <a:gd name="T17" fmla="*/ 421 h 843"/>
                <a:gd name="T18" fmla="*/ 442 w 575"/>
                <a:gd name="T19" fmla="*/ 453 h 843"/>
                <a:gd name="T20" fmla="*/ 408 w 575"/>
                <a:gd name="T21" fmla="*/ 430 h 843"/>
                <a:gd name="T22" fmla="*/ 385 w 575"/>
                <a:gd name="T23" fmla="*/ 407 h 843"/>
                <a:gd name="T24" fmla="*/ 343 w 575"/>
                <a:gd name="T25" fmla="*/ 342 h 843"/>
                <a:gd name="T26" fmla="*/ 377 w 575"/>
                <a:gd name="T27" fmla="*/ 296 h 843"/>
                <a:gd name="T28" fmla="*/ 404 w 575"/>
                <a:gd name="T29" fmla="*/ 228 h 843"/>
                <a:gd name="T30" fmla="*/ 497 w 575"/>
                <a:gd name="T31" fmla="*/ 189 h 843"/>
                <a:gd name="T32" fmla="*/ 519 w 575"/>
                <a:gd name="T33" fmla="*/ 186 h 843"/>
                <a:gd name="T34" fmla="*/ 490 w 575"/>
                <a:gd name="T35" fmla="*/ 169 h 843"/>
                <a:gd name="T36" fmla="*/ 514 w 575"/>
                <a:gd name="T37" fmla="*/ 128 h 843"/>
                <a:gd name="T38" fmla="*/ 472 w 575"/>
                <a:gd name="T39" fmla="*/ 99 h 843"/>
                <a:gd name="T40" fmla="*/ 431 w 575"/>
                <a:gd name="T41" fmla="*/ 99 h 843"/>
                <a:gd name="T42" fmla="*/ 379 w 575"/>
                <a:gd name="T43" fmla="*/ 107 h 843"/>
                <a:gd name="T44" fmla="*/ 370 w 575"/>
                <a:gd name="T45" fmla="*/ 81 h 843"/>
                <a:gd name="T46" fmla="*/ 348 w 575"/>
                <a:gd name="T47" fmla="*/ 51 h 843"/>
                <a:gd name="T48" fmla="*/ 314 w 575"/>
                <a:gd name="T49" fmla="*/ 20 h 843"/>
                <a:gd name="T50" fmla="*/ 274 w 575"/>
                <a:gd name="T51" fmla="*/ 0 h 843"/>
                <a:gd name="T52" fmla="*/ 261 w 575"/>
                <a:gd name="T53" fmla="*/ 8 h 843"/>
                <a:gd name="T54" fmla="*/ 272 w 575"/>
                <a:gd name="T55" fmla="*/ 40 h 843"/>
                <a:gd name="T56" fmla="*/ 213 w 575"/>
                <a:gd name="T57" fmla="*/ 115 h 843"/>
                <a:gd name="T58" fmla="*/ 142 w 575"/>
                <a:gd name="T59" fmla="*/ 159 h 843"/>
                <a:gd name="T60" fmla="*/ 119 w 575"/>
                <a:gd name="T61" fmla="*/ 176 h 843"/>
                <a:gd name="T62" fmla="*/ 99 w 575"/>
                <a:gd name="T63" fmla="*/ 221 h 843"/>
                <a:gd name="T64" fmla="*/ 74 w 575"/>
                <a:gd name="T65" fmla="*/ 204 h 843"/>
                <a:gd name="T66" fmla="*/ 54 w 575"/>
                <a:gd name="T67" fmla="*/ 200 h 843"/>
                <a:gd name="T68" fmla="*/ 29 w 575"/>
                <a:gd name="T69" fmla="*/ 184 h 843"/>
                <a:gd name="T70" fmla="*/ 40 w 575"/>
                <a:gd name="T71" fmla="*/ 153 h 843"/>
                <a:gd name="T72" fmla="*/ 6 w 575"/>
                <a:gd name="T73" fmla="*/ 237 h 843"/>
                <a:gd name="T74" fmla="*/ 8 w 575"/>
                <a:gd name="T75" fmla="*/ 266 h 843"/>
                <a:gd name="T76" fmla="*/ 72 w 575"/>
                <a:gd name="T77" fmla="*/ 323 h 843"/>
                <a:gd name="T78" fmla="*/ 109 w 575"/>
                <a:gd name="T79" fmla="*/ 379 h 843"/>
                <a:gd name="T80" fmla="*/ 156 w 575"/>
                <a:gd name="T81" fmla="*/ 484 h 843"/>
                <a:gd name="T82" fmla="*/ 181 w 575"/>
                <a:gd name="T83" fmla="*/ 537 h 843"/>
                <a:gd name="T84" fmla="*/ 224 w 575"/>
                <a:gd name="T85" fmla="*/ 610 h 843"/>
                <a:gd name="T86" fmla="*/ 223 w 575"/>
                <a:gd name="T87" fmla="*/ 641 h 843"/>
                <a:gd name="T88" fmla="*/ 278 w 575"/>
                <a:gd name="T89" fmla="*/ 706 h 843"/>
                <a:gd name="T90" fmla="*/ 411 w 575"/>
                <a:gd name="T91" fmla="*/ 775 h 843"/>
                <a:gd name="T92" fmla="*/ 470 w 575"/>
                <a:gd name="T93" fmla="*/ 829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5" h="843">
                  <a:moveTo>
                    <a:pt x="493" y="843"/>
                  </a:moveTo>
                  <a:lnTo>
                    <a:pt x="504" y="834"/>
                  </a:lnTo>
                  <a:lnTo>
                    <a:pt x="524" y="833"/>
                  </a:lnTo>
                  <a:lnTo>
                    <a:pt x="538" y="811"/>
                  </a:lnTo>
                  <a:lnTo>
                    <a:pt x="532" y="800"/>
                  </a:lnTo>
                  <a:lnTo>
                    <a:pt x="563" y="760"/>
                  </a:lnTo>
                  <a:lnTo>
                    <a:pt x="561" y="749"/>
                  </a:lnTo>
                  <a:lnTo>
                    <a:pt x="546" y="732"/>
                  </a:lnTo>
                  <a:lnTo>
                    <a:pt x="546" y="714"/>
                  </a:lnTo>
                  <a:lnTo>
                    <a:pt x="557" y="698"/>
                  </a:lnTo>
                  <a:lnTo>
                    <a:pt x="548" y="675"/>
                  </a:lnTo>
                  <a:lnTo>
                    <a:pt x="563" y="664"/>
                  </a:lnTo>
                  <a:lnTo>
                    <a:pt x="563" y="587"/>
                  </a:lnTo>
                  <a:lnTo>
                    <a:pt x="575" y="567"/>
                  </a:lnTo>
                  <a:lnTo>
                    <a:pt x="532" y="497"/>
                  </a:lnTo>
                  <a:lnTo>
                    <a:pt x="506" y="503"/>
                  </a:lnTo>
                  <a:lnTo>
                    <a:pt x="495" y="497"/>
                  </a:lnTo>
                  <a:lnTo>
                    <a:pt x="495" y="421"/>
                  </a:lnTo>
                  <a:lnTo>
                    <a:pt x="465" y="444"/>
                  </a:lnTo>
                  <a:lnTo>
                    <a:pt x="442" y="453"/>
                  </a:lnTo>
                  <a:lnTo>
                    <a:pt x="421" y="449"/>
                  </a:lnTo>
                  <a:lnTo>
                    <a:pt x="408" y="430"/>
                  </a:lnTo>
                  <a:lnTo>
                    <a:pt x="380" y="426"/>
                  </a:lnTo>
                  <a:lnTo>
                    <a:pt x="385" y="407"/>
                  </a:lnTo>
                  <a:lnTo>
                    <a:pt x="354" y="376"/>
                  </a:lnTo>
                  <a:lnTo>
                    <a:pt x="343" y="342"/>
                  </a:lnTo>
                  <a:lnTo>
                    <a:pt x="359" y="303"/>
                  </a:lnTo>
                  <a:lnTo>
                    <a:pt x="377" y="296"/>
                  </a:lnTo>
                  <a:lnTo>
                    <a:pt x="379" y="266"/>
                  </a:lnTo>
                  <a:lnTo>
                    <a:pt x="404" y="228"/>
                  </a:lnTo>
                  <a:lnTo>
                    <a:pt x="442" y="206"/>
                  </a:lnTo>
                  <a:lnTo>
                    <a:pt x="497" y="189"/>
                  </a:lnTo>
                  <a:lnTo>
                    <a:pt x="514" y="191"/>
                  </a:lnTo>
                  <a:lnTo>
                    <a:pt x="519" y="186"/>
                  </a:lnTo>
                  <a:lnTo>
                    <a:pt x="502" y="172"/>
                  </a:lnTo>
                  <a:lnTo>
                    <a:pt x="490" y="169"/>
                  </a:lnTo>
                  <a:lnTo>
                    <a:pt x="490" y="161"/>
                  </a:lnTo>
                  <a:lnTo>
                    <a:pt x="514" y="128"/>
                  </a:lnTo>
                  <a:lnTo>
                    <a:pt x="506" y="115"/>
                  </a:lnTo>
                  <a:lnTo>
                    <a:pt x="472" y="99"/>
                  </a:lnTo>
                  <a:lnTo>
                    <a:pt x="456" y="107"/>
                  </a:lnTo>
                  <a:lnTo>
                    <a:pt x="431" y="99"/>
                  </a:lnTo>
                  <a:lnTo>
                    <a:pt x="411" y="111"/>
                  </a:lnTo>
                  <a:lnTo>
                    <a:pt x="379" y="107"/>
                  </a:lnTo>
                  <a:lnTo>
                    <a:pt x="370" y="98"/>
                  </a:lnTo>
                  <a:lnTo>
                    <a:pt x="370" y="81"/>
                  </a:lnTo>
                  <a:lnTo>
                    <a:pt x="357" y="78"/>
                  </a:lnTo>
                  <a:lnTo>
                    <a:pt x="348" y="51"/>
                  </a:lnTo>
                  <a:lnTo>
                    <a:pt x="329" y="45"/>
                  </a:lnTo>
                  <a:lnTo>
                    <a:pt x="314" y="20"/>
                  </a:lnTo>
                  <a:lnTo>
                    <a:pt x="297" y="6"/>
                  </a:lnTo>
                  <a:lnTo>
                    <a:pt x="274" y="0"/>
                  </a:lnTo>
                  <a:lnTo>
                    <a:pt x="263" y="2"/>
                  </a:lnTo>
                  <a:lnTo>
                    <a:pt x="261" y="8"/>
                  </a:lnTo>
                  <a:lnTo>
                    <a:pt x="280" y="40"/>
                  </a:lnTo>
                  <a:lnTo>
                    <a:pt x="272" y="40"/>
                  </a:lnTo>
                  <a:lnTo>
                    <a:pt x="253" y="74"/>
                  </a:lnTo>
                  <a:lnTo>
                    <a:pt x="213" y="115"/>
                  </a:lnTo>
                  <a:lnTo>
                    <a:pt x="148" y="141"/>
                  </a:lnTo>
                  <a:lnTo>
                    <a:pt x="142" y="159"/>
                  </a:lnTo>
                  <a:lnTo>
                    <a:pt x="131" y="158"/>
                  </a:lnTo>
                  <a:lnTo>
                    <a:pt x="119" y="176"/>
                  </a:lnTo>
                  <a:lnTo>
                    <a:pt x="114" y="209"/>
                  </a:lnTo>
                  <a:lnTo>
                    <a:pt x="99" y="221"/>
                  </a:lnTo>
                  <a:lnTo>
                    <a:pt x="84" y="223"/>
                  </a:lnTo>
                  <a:lnTo>
                    <a:pt x="74" y="204"/>
                  </a:lnTo>
                  <a:lnTo>
                    <a:pt x="60" y="204"/>
                  </a:lnTo>
                  <a:lnTo>
                    <a:pt x="54" y="200"/>
                  </a:lnTo>
                  <a:lnTo>
                    <a:pt x="35" y="204"/>
                  </a:lnTo>
                  <a:lnTo>
                    <a:pt x="29" y="184"/>
                  </a:lnTo>
                  <a:lnTo>
                    <a:pt x="45" y="174"/>
                  </a:lnTo>
                  <a:lnTo>
                    <a:pt x="40" y="153"/>
                  </a:lnTo>
                  <a:lnTo>
                    <a:pt x="0" y="196"/>
                  </a:lnTo>
                  <a:lnTo>
                    <a:pt x="6" y="237"/>
                  </a:lnTo>
                  <a:lnTo>
                    <a:pt x="18" y="251"/>
                  </a:lnTo>
                  <a:lnTo>
                    <a:pt x="8" y="266"/>
                  </a:lnTo>
                  <a:lnTo>
                    <a:pt x="59" y="308"/>
                  </a:lnTo>
                  <a:lnTo>
                    <a:pt x="72" y="323"/>
                  </a:lnTo>
                  <a:lnTo>
                    <a:pt x="84" y="353"/>
                  </a:lnTo>
                  <a:lnTo>
                    <a:pt x="109" y="379"/>
                  </a:lnTo>
                  <a:lnTo>
                    <a:pt x="142" y="460"/>
                  </a:lnTo>
                  <a:lnTo>
                    <a:pt x="156" y="484"/>
                  </a:lnTo>
                  <a:lnTo>
                    <a:pt x="165" y="523"/>
                  </a:lnTo>
                  <a:lnTo>
                    <a:pt x="181" y="537"/>
                  </a:lnTo>
                  <a:lnTo>
                    <a:pt x="213" y="596"/>
                  </a:lnTo>
                  <a:lnTo>
                    <a:pt x="224" y="610"/>
                  </a:lnTo>
                  <a:lnTo>
                    <a:pt x="229" y="631"/>
                  </a:lnTo>
                  <a:lnTo>
                    <a:pt x="223" y="641"/>
                  </a:lnTo>
                  <a:lnTo>
                    <a:pt x="226" y="655"/>
                  </a:lnTo>
                  <a:lnTo>
                    <a:pt x="278" y="706"/>
                  </a:lnTo>
                  <a:lnTo>
                    <a:pt x="343" y="746"/>
                  </a:lnTo>
                  <a:lnTo>
                    <a:pt x="411" y="775"/>
                  </a:lnTo>
                  <a:lnTo>
                    <a:pt x="439" y="795"/>
                  </a:lnTo>
                  <a:lnTo>
                    <a:pt x="470" y="829"/>
                  </a:lnTo>
                  <a:lnTo>
                    <a:pt x="493" y="843"/>
                  </a:lnTo>
                  <a:close/>
                </a:path>
              </a:pathLst>
            </a:custGeom>
            <a:solidFill>
              <a:schemeClr val="accent1"/>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85" name="Freeform 190">
              <a:extLst>
                <a:ext uri="{FF2B5EF4-FFF2-40B4-BE49-F238E27FC236}">
                  <a16:creationId xmlns:a16="http://schemas.microsoft.com/office/drawing/2014/main" id="{8FE1E101-72ED-884F-99A6-55E6F7539C7E}"/>
                </a:ext>
              </a:extLst>
            </p:cNvPr>
            <p:cNvSpPr>
              <a:spLocks noChangeAspect="1"/>
            </p:cNvSpPr>
            <p:nvPr/>
          </p:nvSpPr>
          <p:spPr bwMode="gray">
            <a:xfrm>
              <a:off x="3224608" y="4793400"/>
              <a:ext cx="187779" cy="242105"/>
            </a:xfrm>
            <a:custGeom>
              <a:avLst/>
              <a:gdLst>
                <a:gd name="T0" fmla="*/ 0 w 388"/>
                <a:gd name="T1" fmla="*/ 151 h 411"/>
                <a:gd name="T2" fmla="*/ 17 w 388"/>
                <a:gd name="T3" fmla="*/ 105 h 411"/>
                <a:gd name="T4" fmla="*/ 17 w 388"/>
                <a:gd name="T5" fmla="*/ 71 h 411"/>
                <a:gd name="T6" fmla="*/ 34 w 388"/>
                <a:gd name="T7" fmla="*/ 43 h 411"/>
                <a:gd name="T8" fmla="*/ 40 w 388"/>
                <a:gd name="T9" fmla="*/ 26 h 411"/>
                <a:gd name="T10" fmla="*/ 129 w 388"/>
                <a:gd name="T11" fmla="*/ 0 h 411"/>
                <a:gd name="T12" fmla="*/ 168 w 388"/>
                <a:gd name="T13" fmla="*/ 0 h 411"/>
                <a:gd name="T14" fmla="*/ 188 w 388"/>
                <a:gd name="T15" fmla="*/ 10 h 411"/>
                <a:gd name="T16" fmla="*/ 215 w 388"/>
                <a:gd name="T17" fmla="*/ 43 h 411"/>
                <a:gd name="T18" fmla="*/ 213 w 388"/>
                <a:gd name="T19" fmla="*/ 49 h 411"/>
                <a:gd name="T20" fmla="*/ 221 w 388"/>
                <a:gd name="T21" fmla="*/ 63 h 411"/>
                <a:gd name="T22" fmla="*/ 221 w 388"/>
                <a:gd name="T23" fmla="*/ 131 h 411"/>
                <a:gd name="T24" fmla="*/ 224 w 388"/>
                <a:gd name="T25" fmla="*/ 137 h 411"/>
                <a:gd name="T26" fmla="*/ 263 w 388"/>
                <a:gd name="T27" fmla="*/ 149 h 411"/>
                <a:gd name="T28" fmla="*/ 294 w 388"/>
                <a:gd name="T29" fmla="*/ 142 h 411"/>
                <a:gd name="T30" fmla="*/ 318 w 388"/>
                <a:gd name="T31" fmla="*/ 152 h 411"/>
                <a:gd name="T32" fmla="val 18576000"/>
                <a:gd name="T33" fmla="*/ 164 h 411"/>
                <a:gd name="T34" fmla="*/ 329 w 388"/>
                <a:gd name="T35" fmla="*/ 215 h 411"/>
                <a:gd name="T36" fmla="*/ 335 w 388"/>
                <a:gd name="T37" fmla="*/ 225 h 411"/>
                <a:gd name="T38" fmla="*/ 348 w 388"/>
                <a:gd name="T39" fmla="*/ 232 h 411"/>
                <a:gd name="T40" fmla="*/ 378 w 388"/>
                <a:gd name="T41" fmla="*/ 227 h 411"/>
                <a:gd name="T42" fmla="*/ 383 w 388"/>
                <a:gd name="T43" fmla="*/ 232 h 411"/>
                <a:gd name="T44" fmla="*/ 388 w 388"/>
                <a:gd name="T45" fmla="*/ 259 h 411"/>
                <a:gd name="T46" fmla="*/ 380 w 388"/>
                <a:gd name="T47" fmla="*/ 315 h 411"/>
                <a:gd name="T48" fmla="*/ 371 w 388"/>
                <a:gd name="T49" fmla="*/ 360 h 411"/>
                <a:gd name="T50" fmla="*/ 326 w 388"/>
                <a:gd name="T51" fmla="*/ 403 h 411"/>
                <a:gd name="T52" fmla="*/ 273 w 388"/>
                <a:gd name="T53" fmla="*/ 411 h 411"/>
                <a:gd name="T54" fmla="*/ 246 w 388"/>
                <a:gd name="T55" fmla="*/ 399 h 411"/>
                <a:gd name="T56" fmla="*/ 201 w 388"/>
                <a:gd name="T57" fmla="*/ 394 h 411"/>
                <a:gd name="T58" fmla="*/ 201 w 388"/>
                <a:gd name="T59" fmla="*/ 383 h 411"/>
                <a:gd name="T60" fmla="*/ 202 w 388"/>
                <a:gd name="T61" fmla="*/ 371 h 411"/>
                <a:gd name="T62" fmla="*/ 230 w 388"/>
                <a:gd name="T63" fmla="*/ 321 h 411"/>
                <a:gd name="T64" fmla="*/ 227 w 388"/>
                <a:gd name="T65" fmla="*/ 301 h 411"/>
                <a:gd name="T66" fmla="*/ 193 w 388"/>
                <a:gd name="T67" fmla="*/ 276 h 411"/>
                <a:gd name="T68" fmla="*/ 141 w 388"/>
                <a:gd name="T69" fmla="*/ 245 h 411"/>
                <a:gd name="T70" fmla="*/ 86 w 388"/>
                <a:gd name="T71" fmla="*/ 233 h 411"/>
                <a:gd name="T72" fmla="*/ 77 w 388"/>
                <a:gd name="T73" fmla="*/ 216 h 411"/>
                <a:gd name="T74" fmla="*/ 43 w 388"/>
                <a:gd name="T75" fmla="*/ 193 h 411"/>
                <a:gd name="T76" fmla="*/ 14 w 388"/>
                <a:gd name="T77" fmla="*/ 156 h 411"/>
                <a:gd name="T78" fmla="*/ 0 w 388"/>
                <a:gd name="T79" fmla="*/ 151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8" h="411">
                  <a:moveTo>
                    <a:pt x="0" y="151"/>
                  </a:moveTo>
                  <a:lnTo>
                    <a:pt x="17" y="105"/>
                  </a:lnTo>
                  <a:lnTo>
                    <a:pt x="17" y="71"/>
                  </a:lnTo>
                  <a:lnTo>
                    <a:pt x="34" y="43"/>
                  </a:lnTo>
                  <a:lnTo>
                    <a:pt x="40" y="26"/>
                  </a:lnTo>
                  <a:lnTo>
                    <a:pt x="129" y="0"/>
                  </a:lnTo>
                  <a:lnTo>
                    <a:pt x="168" y="0"/>
                  </a:lnTo>
                  <a:lnTo>
                    <a:pt x="188" y="10"/>
                  </a:lnTo>
                  <a:lnTo>
                    <a:pt x="215" y="43"/>
                  </a:lnTo>
                  <a:lnTo>
                    <a:pt x="213" y="49"/>
                  </a:lnTo>
                  <a:lnTo>
                    <a:pt x="221" y="63"/>
                  </a:lnTo>
                  <a:lnTo>
                    <a:pt x="221" y="131"/>
                  </a:lnTo>
                  <a:lnTo>
                    <a:pt x="224" y="137"/>
                  </a:lnTo>
                  <a:lnTo>
                    <a:pt x="263" y="149"/>
                  </a:lnTo>
                  <a:lnTo>
                    <a:pt x="294" y="142"/>
                  </a:lnTo>
                  <a:lnTo>
                    <a:pt x="318" y="152"/>
                  </a:lnTo>
                  <a:lnTo>
                    <a:pt x="326" y="164"/>
                  </a:lnTo>
                  <a:lnTo>
                    <a:pt x="329" y="215"/>
                  </a:lnTo>
                  <a:lnTo>
                    <a:pt x="335" y="225"/>
                  </a:lnTo>
                  <a:lnTo>
                    <a:pt x="348" y="232"/>
                  </a:lnTo>
                  <a:lnTo>
                    <a:pt x="378" y="227"/>
                  </a:lnTo>
                  <a:lnTo>
                    <a:pt x="383" y="232"/>
                  </a:lnTo>
                  <a:lnTo>
                    <a:pt x="388" y="259"/>
                  </a:lnTo>
                  <a:lnTo>
                    <a:pt x="380" y="315"/>
                  </a:lnTo>
                  <a:lnTo>
                    <a:pt x="371" y="360"/>
                  </a:lnTo>
                  <a:lnTo>
                    <a:pt x="326" y="403"/>
                  </a:lnTo>
                  <a:lnTo>
                    <a:pt x="273" y="411"/>
                  </a:lnTo>
                  <a:lnTo>
                    <a:pt x="246" y="399"/>
                  </a:lnTo>
                  <a:lnTo>
                    <a:pt x="201" y="394"/>
                  </a:lnTo>
                  <a:lnTo>
                    <a:pt x="201" y="383"/>
                  </a:lnTo>
                  <a:lnTo>
                    <a:pt x="202" y="371"/>
                  </a:lnTo>
                  <a:lnTo>
                    <a:pt x="230" y="321"/>
                  </a:lnTo>
                  <a:lnTo>
                    <a:pt x="227" y="301"/>
                  </a:lnTo>
                  <a:lnTo>
                    <a:pt x="193" y="276"/>
                  </a:lnTo>
                  <a:lnTo>
                    <a:pt x="141" y="245"/>
                  </a:lnTo>
                  <a:lnTo>
                    <a:pt x="86" y="233"/>
                  </a:lnTo>
                  <a:lnTo>
                    <a:pt x="77" y="216"/>
                  </a:lnTo>
                  <a:lnTo>
                    <a:pt x="43" y="193"/>
                  </a:lnTo>
                  <a:lnTo>
                    <a:pt x="14" y="156"/>
                  </a:lnTo>
                  <a:lnTo>
                    <a:pt x="0" y="151"/>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86" name="Freeform 191">
              <a:extLst>
                <a:ext uri="{FF2B5EF4-FFF2-40B4-BE49-F238E27FC236}">
                  <a16:creationId xmlns:a16="http://schemas.microsoft.com/office/drawing/2014/main" id="{A27E89B9-E07B-C446-A39D-34E173F1CBCB}"/>
                </a:ext>
              </a:extLst>
            </p:cNvPr>
            <p:cNvSpPr>
              <a:spLocks noChangeAspect="1"/>
            </p:cNvSpPr>
            <p:nvPr/>
          </p:nvSpPr>
          <p:spPr bwMode="gray">
            <a:xfrm>
              <a:off x="3320090" y="5114285"/>
              <a:ext cx="117758" cy="155638"/>
            </a:xfrm>
            <a:custGeom>
              <a:avLst/>
              <a:gdLst>
                <a:gd name="T0" fmla="*/ 39 w 246"/>
                <a:gd name="T1" fmla="*/ 8 h 263"/>
                <a:gd name="T2" fmla="*/ 28 w 246"/>
                <a:gd name="T3" fmla="*/ 21 h 263"/>
                <a:gd name="T4" fmla="*/ 26 w 246"/>
                <a:gd name="T5" fmla="*/ 72 h 263"/>
                <a:gd name="T6" fmla="*/ 17 w 246"/>
                <a:gd name="T7" fmla="*/ 100 h 263"/>
                <a:gd name="T8" fmla="*/ 16 w 246"/>
                <a:gd name="T9" fmla="*/ 151 h 263"/>
                <a:gd name="T10" fmla="*/ 5 w 246"/>
                <a:gd name="T11" fmla="*/ 176 h 263"/>
                <a:gd name="T12" fmla="*/ 0 w 246"/>
                <a:gd name="T13" fmla="*/ 210 h 263"/>
                <a:gd name="T14" fmla="*/ 8 w 246"/>
                <a:gd name="T15" fmla="*/ 213 h 263"/>
                <a:gd name="T16" fmla="*/ 25 w 246"/>
                <a:gd name="T17" fmla="*/ 235 h 263"/>
                <a:gd name="T18" fmla="*/ 57 w 246"/>
                <a:gd name="T19" fmla="*/ 238 h 263"/>
                <a:gd name="T20" fmla="*/ 104 w 246"/>
                <a:gd name="T21" fmla="*/ 258 h 263"/>
                <a:gd name="T22" fmla="*/ 136 w 246"/>
                <a:gd name="T23" fmla="*/ 257 h 263"/>
                <a:gd name="T24" fmla="*/ 165 w 246"/>
                <a:gd name="T25" fmla="*/ 263 h 263"/>
                <a:gd name="T26" fmla="*/ 198 w 246"/>
                <a:gd name="T27" fmla="*/ 246 h 263"/>
                <a:gd name="T28" fmla="*/ 232 w 246"/>
                <a:gd name="T29" fmla="*/ 198 h 263"/>
                <a:gd name="T30" fmla="*/ 229 w 246"/>
                <a:gd name="T31" fmla="*/ 190 h 263"/>
                <a:gd name="T32" fmla="*/ 231 w 246"/>
                <a:gd name="T33" fmla="*/ 165 h 263"/>
                <a:gd name="T34" fmla="*/ 246 w 246"/>
                <a:gd name="T35" fmla="*/ 143 h 263"/>
                <a:gd name="T36" fmla="*/ 224 w 246"/>
                <a:gd name="T37" fmla="*/ 125 h 263"/>
                <a:gd name="T38" fmla="*/ 215 w 246"/>
                <a:gd name="T39" fmla="*/ 99 h 263"/>
                <a:gd name="T40" fmla="*/ 192 w 246"/>
                <a:gd name="T41" fmla="*/ 89 h 263"/>
                <a:gd name="T42" fmla="*/ 178 w 246"/>
                <a:gd name="T43" fmla="*/ 72 h 263"/>
                <a:gd name="T44" fmla="*/ 152 w 246"/>
                <a:gd name="T45" fmla="*/ 62 h 263"/>
                <a:gd name="T46" fmla="*/ 135 w 246"/>
                <a:gd name="T47" fmla="*/ 40 h 263"/>
                <a:gd name="T48" fmla="*/ 122 w 246"/>
                <a:gd name="T49" fmla="*/ 48 h 263"/>
                <a:gd name="T50" fmla="*/ 113 w 246"/>
                <a:gd name="T51" fmla="*/ 48 h 263"/>
                <a:gd name="T52" fmla="*/ 107 w 246"/>
                <a:gd name="T53" fmla="*/ 28 h 263"/>
                <a:gd name="T54" fmla="*/ 77 w 246"/>
                <a:gd name="T55" fmla="*/ 1 h 263"/>
                <a:gd name="T56" fmla="*/ 67 w 246"/>
                <a:gd name="T57" fmla="*/ 0 h 263"/>
                <a:gd name="T58" fmla="*/ 53 w 246"/>
                <a:gd name="T59" fmla="*/ 9 h 263"/>
                <a:gd name="T60" fmla="*/ 39 w 246"/>
                <a:gd name="T61" fmla="*/ 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6" h="263">
                  <a:moveTo>
                    <a:pt x="39" y="8"/>
                  </a:moveTo>
                  <a:lnTo>
                    <a:pt x="28" y="21"/>
                  </a:lnTo>
                  <a:lnTo>
                    <a:pt x="26" y="72"/>
                  </a:lnTo>
                  <a:lnTo>
                    <a:pt x="17" y="100"/>
                  </a:lnTo>
                  <a:lnTo>
                    <a:pt x="16" y="151"/>
                  </a:lnTo>
                  <a:lnTo>
                    <a:pt x="5" y="176"/>
                  </a:lnTo>
                  <a:lnTo>
                    <a:pt x="0" y="210"/>
                  </a:lnTo>
                  <a:lnTo>
                    <a:pt x="8" y="213"/>
                  </a:lnTo>
                  <a:lnTo>
                    <a:pt x="25" y="235"/>
                  </a:lnTo>
                  <a:lnTo>
                    <a:pt x="57" y="238"/>
                  </a:lnTo>
                  <a:lnTo>
                    <a:pt x="104" y="258"/>
                  </a:lnTo>
                  <a:lnTo>
                    <a:pt x="136" y="257"/>
                  </a:lnTo>
                  <a:lnTo>
                    <a:pt x="165" y="263"/>
                  </a:lnTo>
                  <a:lnTo>
                    <a:pt x="198" y="246"/>
                  </a:lnTo>
                  <a:lnTo>
                    <a:pt x="232" y="198"/>
                  </a:lnTo>
                  <a:lnTo>
                    <a:pt x="229" y="190"/>
                  </a:lnTo>
                  <a:lnTo>
                    <a:pt x="231" y="165"/>
                  </a:lnTo>
                  <a:lnTo>
                    <a:pt x="246" y="143"/>
                  </a:lnTo>
                  <a:lnTo>
                    <a:pt x="224" y="125"/>
                  </a:lnTo>
                  <a:lnTo>
                    <a:pt x="215" y="99"/>
                  </a:lnTo>
                  <a:lnTo>
                    <a:pt x="192" y="89"/>
                  </a:lnTo>
                  <a:lnTo>
                    <a:pt x="178" y="72"/>
                  </a:lnTo>
                  <a:lnTo>
                    <a:pt x="152" y="62"/>
                  </a:lnTo>
                  <a:lnTo>
                    <a:pt x="135" y="40"/>
                  </a:lnTo>
                  <a:lnTo>
                    <a:pt x="122" y="48"/>
                  </a:lnTo>
                  <a:lnTo>
                    <a:pt x="113" y="48"/>
                  </a:lnTo>
                  <a:lnTo>
                    <a:pt x="107" y="28"/>
                  </a:lnTo>
                  <a:lnTo>
                    <a:pt x="77" y="1"/>
                  </a:lnTo>
                  <a:lnTo>
                    <a:pt x="67" y="0"/>
                  </a:lnTo>
                  <a:lnTo>
                    <a:pt x="53" y="9"/>
                  </a:lnTo>
                  <a:lnTo>
                    <a:pt x="39" y="8"/>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87" name="Freeform 192">
              <a:extLst>
                <a:ext uri="{FF2B5EF4-FFF2-40B4-BE49-F238E27FC236}">
                  <a16:creationId xmlns:a16="http://schemas.microsoft.com/office/drawing/2014/main" id="{9F5AFD7F-DF56-C946-BCC6-8F5739DEEDE1}"/>
                </a:ext>
              </a:extLst>
            </p:cNvPr>
            <p:cNvSpPr>
              <a:spLocks noChangeAspect="1"/>
            </p:cNvSpPr>
            <p:nvPr/>
          </p:nvSpPr>
          <p:spPr bwMode="gray">
            <a:xfrm>
              <a:off x="3065475" y="4526318"/>
              <a:ext cx="272119" cy="372767"/>
            </a:xfrm>
            <a:custGeom>
              <a:avLst/>
              <a:gdLst>
                <a:gd name="T0" fmla="*/ 60 w 554"/>
                <a:gd name="T1" fmla="*/ 63 h 635"/>
                <a:gd name="T2" fmla="*/ 139 w 554"/>
                <a:gd name="T3" fmla="*/ 6 h 635"/>
                <a:gd name="T4" fmla="*/ 204 w 554"/>
                <a:gd name="T5" fmla="*/ 9 h 635"/>
                <a:gd name="T6" fmla="*/ 206 w 554"/>
                <a:gd name="T7" fmla="*/ 51 h 635"/>
                <a:gd name="T8" fmla="*/ 210 w 554"/>
                <a:gd name="T9" fmla="*/ 105 h 635"/>
                <a:gd name="T10" fmla="*/ 294 w 554"/>
                <a:gd name="T11" fmla="*/ 136 h 635"/>
                <a:gd name="T12" fmla="*/ 346 w 554"/>
                <a:gd name="T13" fmla="*/ 163 h 635"/>
                <a:gd name="T14" fmla="*/ 396 w 554"/>
                <a:gd name="T15" fmla="*/ 178 h 635"/>
                <a:gd name="T16" fmla="*/ 422 w 554"/>
                <a:gd name="T17" fmla="*/ 200 h 635"/>
                <a:gd name="T18" fmla="*/ 430 w 554"/>
                <a:gd name="T19" fmla="*/ 257 h 635"/>
                <a:gd name="T20" fmla="*/ 442 w 554"/>
                <a:gd name="T21" fmla="*/ 310 h 635"/>
                <a:gd name="T22" fmla="*/ 518 w 554"/>
                <a:gd name="T23" fmla="*/ 340 h 635"/>
                <a:gd name="T24" fmla="*/ 540 w 554"/>
                <a:gd name="T25" fmla="*/ 364 h 635"/>
                <a:gd name="T26" fmla="*/ 552 w 554"/>
                <a:gd name="T27" fmla="*/ 446 h 635"/>
                <a:gd name="T28" fmla="*/ 546 w 554"/>
                <a:gd name="T29" fmla="*/ 492 h 635"/>
                <a:gd name="T30" fmla="*/ 510 w 554"/>
                <a:gd name="T31" fmla="*/ 464 h 635"/>
                <a:gd name="T32" fmla="*/ 451 w 554"/>
                <a:gd name="T33" fmla="*/ 454 h 635"/>
                <a:gd name="T34" fmla="*/ 356 w 554"/>
                <a:gd name="T35" fmla="*/ 497 h 635"/>
                <a:gd name="T36" fmla="*/ 339 w 554"/>
                <a:gd name="T37" fmla="*/ 559 h 635"/>
                <a:gd name="T38" fmla="*/ 303 w 554"/>
                <a:gd name="T39" fmla="*/ 593 h 635"/>
                <a:gd name="T40" fmla="*/ 248 w 554"/>
                <a:gd name="T41" fmla="*/ 623 h 635"/>
                <a:gd name="T42" fmla="*/ 178 w 554"/>
                <a:gd name="T43" fmla="*/ 594 h 635"/>
                <a:gd name="T44" fmla="*/ 116 w 554"/>
                <a:gd name="T45" fmla="*/ 631 h 635"/>
                <a:gd name="T46" fmla="*/ 80 w 554"/>
                <a:gd name="T47" fmla="*/ 630 h 635"/>
                <a:gd name="T48" fmla="*/ 50 w 554"/>
                <a:gd name="T49" fmla="*/ 523 h 635"/>
                <a:gd name="T50" fmla="*/ 42 w 554"/>
                <a:gd name="T51" fmla="*/ 503 h 635"/>
                <a:gd name="T52" fmla="*/ 51 w 554"/>
                <a:gd name="T53" fmla="*/ 481 h 635"/>
                <a:gd name="T54" fmla="*/ 31 w 554"/>
                <a:gd name="T55" fmla="*/ 437 h 635"/>
                <a:gd name="T56" fmla="*/ 6 w 554"/>
                <a:gd name="T57" fmla="*/ 373 h 635"/>
                <a:gd name="T58" fmla="*/ 31 w 554"/>
                <a:gd name="T59" fmla="*/ 322 h 635"/>
                <a:gd name="T60" fmla="*/ 14 w 554"/>
                <a:gd name="T61" fmla="*/ 294 h 635"/>
                <a:gd name="T62" fmla="*/ 25 w 554"/>
                <a:gd name="T63" fmla="*/ 260 h 635"/>
                <a:gd name="T64" fmla="*/ 31 w 554"/>
                <a:gd name="T65" fmla="*/ 226 h 635"/>
                <a:gd name="T66" fmla="*/ 43 w 554"/>
                <a:gd name="T67" fmla="*/ 129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4" h="635">
                  <a:moveTo>
                    <a:pt x="0" y="59"/>
                  </a:moveTo>
                  <a:lnTo>
                    <a:pt x="60" y="63"/>
                  </a:lnTo>
                  <a:lnTo>
                    <a:pt x="99" y="46"/>
                  </a:lnTo>
                  <a:lnTo>
                    <a:pt x="139" y="6"/>
                  </a:lnTo>
                  <a:lnTo>
                    <a:pt x="195" y="0"/>
                  </a:lnTo>
                  <a:lnTo>
                    <a:pt x="204" y="9"/>
                  </a:lnTo>
                  <a:lnTo>
                    <a:pt x="206" y="23"/>
                  </a:lnTo>
                  <a:lnTo>
                    <a:pt x="206" y="51"/>
                  </a:lnTo>
                  <a:lnTo>
                    <a:pt x="198" y="74"/>
                  </a:lnTo>
                  <a:lnTo>
                    <a:pt x="210" y="105"/>
                  </a:lnTo>
                  <a:lnTo>
                    <a:pt x="240" y="127"/>
                  </a:lnTo>
                  <a:lnTo>
                    <a:pt x="294" y="136"/>
                  </a:lnTo>
                  <a:lnTo>
                    <a:pt x="308" y="150"/>
                  </a:lnTo>
                  <a:lnTo>
                    <a:pt x="346" y="163"/>
                  </a:lnTo>
                  <a:lnTo>
                    <a:pt x="365" y="178"/>
                  </a:lnTo>
                  <a:lnTo>
                    <a:pt x="396" y="178"/>
                  </a:lnTo>
                  <a:lnTo>
                    <a:pt x="410" y="186"/>
                  </a:lnTo>
                  <a:lnTo>
                    <a:pt x="422" y="200"/>
                  </a:lnTo>
                  <a:lnTo>
                    <a:pt x="433" y="237"/>
                  </a:lnTo>
                  <a:lnTo>
                    <a:pt x="430" y="257"/>
                  </a:lnTo>
                  <a:lnTo>
                    <a:pt x="424" y="263"/>
                  </a:lnTo>
                  <a:lnTo>
                    <a:pt x="442" y="310"/>
                  </a:lnTo>
                  <a:lnTo>
                    <a:pt x="523" y="317"/>
                  </a:lnTo>
                  <a:lnTo>
                    <a:pt x="518" y="340"/>
                  </a:lnTo>
                  <a:lnTo>
                    <a:pt x="523" y="357"/>
                  </a:lnTo>
                  <a:lnTo>
                    <a:pt x="540" y="364"/>
                  </a:lnTo>
                  <a:lnTo>
                    <a:pt x="554" y="399"/>
                  </a:lnTo>
                  <a:lnTo>
                    <a:pt x="552" y="446"/>
                  </a:lnTo>
                  <a:lnTo>
                    <a:pt x="543" y="472"/>
                  </a:lnTo>
                  <a:lnTo>
                    <a:pt x="546" y="492"/>
                  </a:lnTo>
                  <a:lnTo>
                    <a:pt x="537" y="497"/>
                  </a:lnTo>
                  <a:lnTo>
                    <a:pt x="510" y="464"/>
                  </a:lnTo>
                  <a:lnTo>
                    <a:pt x="490" y="454"/>
                  </a:lnTo>
                  <a:lnTo>
                    <a:pt x="451" y="454"/>
                  </a:lnTo>
                  <a:lnTo>
                    <a:pt x="362" y="480"/>
                  </a:lnTo>
                  <a:lnTo>
                    <a:pt x="356" y="497"/>
                  </a:lnTo>
                  <a:lnTo>
                    <a:pt x="339" y="525"/>
                  </a:lnTo>
                  <a:lnTo>
                    <a:pt x="339" y="559"/>
                  </a:lnTo>
                  <a:lnTo>
                    <a:pt x="322" y="605"/>
                  </a:lnTo>
                  <a:lnTo>
                    <a:pt x="303" y="593"/>
                  </a:lnTo>
                  <a:lnTo>
                    <a:pt x="258" y="589"/>
                  </a:lnTo>
                  <a:lnTo>
                    <a:pt x="248" y="623"/>
                  </a:lnTo>
                  <a:lnTo>
                    <a:pt x="227" y="602"/>
                  </a:lnTo>
                  <a:lnTo>
                    <a:pt x="178" y="594"/>
                  </a:lnTo>
                  <a:lnTo>
                    <a:pt x="164" y="579"/>
                  </a:lnTo>
                  <a:lnTo>
                    <a:pt x="116" y="631"/>
                  </a:lnTo>
                  <a:lnTo>
                    <a:pt x="93" y="635"/>
                  </a:lnTo>
                  <a:lnTo>
                    <a:pt x="80" y="630"/>
                  </a:lnTo>
                  <a:lnTo>
                    <a:pt x="63" y="537"/>
                  </a:lnTo>
                  <a:lnTo>
                    <a:pt x="50" y="523"/>
                  </a:lnTo>
                  <a:lnTo>
                    <a:pt x="50" y="509"/>
                  </a:lnTo>
                  <a:lnTo>
                    <a:pt x="42" y="503"/>
                  </a:lnTo>
                  <a:lnTo>
                    <a:pt x="43" y="488"/>
                  </a:lnTo>
                  <a:lnTo>
                    <a:pt x="51" y="481"/>
                  </a:lnTo>
                  <a:lnTo>
                    <a:pt x="53" y="458"/>
                  </a:lnTo>
                  <a:lnTo>
                    <a:pt x="31" y="437"/>
                  </a:lnTo>
                  <a:lnTo>
                    <a:pt x="25" y="395"/>
                  </a:lnTo>
                  <a:lnTo>
                    <a:pt x="6" y="373"/>
                  </a:lnTo>
                  <a:lnTo>
                    <a:pt x="0" y="362"/>
                  </a:lnTo>
                  <a:lnTo>
                    <a:pt x="31" y="322"/>
                  </a:lnTo>
                  <a:lnTo>
                    <a:pt x="29" y="311"/>
                  </a:lnTo>
                  <a:lnTo>
                    <a:pt x="14" y="294"/>
                  </a:lnTo>
                  <a:lnTo>
                    <a:pt x="14" y="276"/>
                  </a:lnTo>
                  <a:lnTo>
                    <a:pt x="25" y="260"/>
                  </a:lnTo>
                  <a:lnTo>
                    <a:pt x="16" y="237"/>
                  </a:lnTo>
                  <a:lnTo>
                    <a:pt x="31" y="226"/>
                  </a:lnTo>
                  <a:lnTo>
                    <a:pt x="31" y="149"/>
                  </a:lnTo>
                  <a:lnTo>
                    <a:pt x="43" y="129"/>
                  </a:lnTo>
                  <a:lnTo>
                    <a:pt x="0" y="59"/>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88" name="Freeform 193">
              <a:extLst>
                <a:ext uri="{FF2B5EF4-FFF2-40B4-BE49-F238E27FC236}">
                  <a16:creationId xmlns:a16="http://schemas.microsoft.com/office/drawing/2014/main" id="{3C661449-853D-2D47-BC58-3488A2B42B36}"/>
                </a:ext>
              </a:extLst>
            </p:cNvPr>
            <p:cNvSpPr>
              <a:spLocks noChangeAspect="1"/>
            </p:cNvSpPr>
            <p:nvPr/>
          </p:nvSpPr>
          <p:spPr bwMode="gray">
            <a:xfrm>
              <a:off x="3775212" y="6000081"/>
              <a:ext cx="52515" cy="42272"/>
            </a:xfrm>
            <a:custGeom>
              <a:avLst/>
              <a:gdLst>
                <a:gd name="T0" fmla="*/ 0 w 107"/>
                <a:gd name="T1" fmla="*/ 6 h 71"/>
                <a:gd name="T2" fmla="*/ 32 w 107"/>
                <a:gd name="T3" fmla="*/ 0 h 71"/>
                <a:gd name="T4" fmla="*/ 62 w 107"/>
                <a:gd name="T5" fmla="*/ 14 h 71"/>
                <a:gd name="T6" fmla="*/ 73 w 107"/>
                <a:gd name="T7" fmla="*/ 27 h 71"/>
                <a:gd name="T8" fmla="*/ 85 w 107"/>
                <a:gd name="T9" fmla="*/ 27 h 71"/>
                <a:gd name="T10" fmla="*/ 104 w 107"/>
                <a:gd name="T11" fmla="*/ 49 h 71"/>
                <a:gd name="T12" fmla="*/ 107 w 107"/>
                <a:gd name="T13" fmla="*/ 63 h 71"/>
                <a:gd name="T14" fmla="*/ 91 w 107"/>
                <a:gd name="T15" fmla="*/ 71 h 71"/>
                <a:gd name="T16" fmla="*/ 71 w 107"/>
                <a:gd name="T17" fmla="*/ 41 h 71"/>
                <a:gd name="T18" fmla="*/ 34 w 107"/>
                <a:gd name="T19" fmla="*/ 24 h 71"/>
                <a:gd name="T20" fmla="*/ 34 w 107"/>
                <a:gd name="T21" fmla="*/ 14 h 71"/>
                <a:gd name="T22" fmla="*/ 17 w 107"/>
                <a:gd name="T23" fmla="*/ 15 h 71"/>
                <a:gd name="T24" fmla="*/ 15 w 107"/>
                <a:gd name="T25" fmla="*/ 7 h 71"/>
                <a:gd name="T26" fmla="*/ 0 w 107"/>
                <a:gd name="T27" fmla="*/ 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 h="71">
                  <a:moveTo>
                    <a:pt x="0" y="6"/>
                  </a:moveTo>
                  <a:lnTo>
                    <a:pt x="32" y="0"/>
                  </a:lnTo>
                  <a:lnTo>
                    <a:pt x="62" y="14"/>
                  </a:lnTo>
                  <a:lnTo>
                    <a:pt x="73" y="27"/>
                  </a:lnTo>
                  <a:lnTo>
                    <a:pt x="85" y="27"/>
                  </a:lnTo>
                  <a:lnTo>
                    <a:pt x="104" y="49"/>
                  </a:lnTo>
                  <a:lnTo>
                    <a:pt x="107" y="63"/>
                  </a:lnTo>
                  <a:lnTo>
                    <a:pt x="91" y="71"/>
                  </a:lnTo>
                  <a:lnTo>
                    <a:pt x="71" y="41"/>
                  </a:lnTo>
                  <a:lnTo>
                    <a:pt x="34" y="24"/>
                  </a:lnTo>
                  <a:lnTo>
                    <a:pt x="34" y="14"/>
                  </a:lnTo>
                  <a:lnTo>
                    <a:pt x="17" y="15"/>
                  </a:lnTo>
                  <a:lnTo>
                    <a:pt x="15" y="7"/>
                  </a:lnTo>
                  <a:lnTo>
                    <a:pt x="0" y="6"/>
                  </a:lnTo>
                  <a:close/>
                </a:path>
              </a:pathLst>
            </a:custGeom>
            <a:noFill/>
            <a:ln w="3175" cap="flat" cmpd="sng">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89" name="Freeform 194">
              <a:extLst>
                <a:ext uri="{FF2B5EF4-FFF2-40B4-BE49-F238E27FC236}">
                  <a16:creationId xmlns:a16="http://schemas.microsoft.com/office/drawing/2014/main" id="{2C437AAF-19BC-904C-B7D5-92AE2F47B2A0}"/>
                </a:ext>
              </a:extLst>
            </p:cNvPr>
            <p:cNvSpPr>
              <a:spLocks noChangeAspect="1"/>
            </p:cNvSpPr>
            <p:nvPr/>
          </p:nvSpPr>
          <p:spPr bwMode="gray">
            <a:xfrm>
              <a:off x="3328046" y="4105517"/>
              <a:ext cx="92298" cy="107604"/>
            </a:xfrm>
            <a:custGeom>
              <a:avLst/>
              <a:gdLst>
                <a:gd name="T0" fmla="*/ 172 w 192"/>
                <a:gd name="T1" fmla="*/ 167 h 187"/>
                <a:gd name="T2" fmla="*/ 146 w 192"/>
                <a:gd name="T3" fmla="*/ 158 h 187"/>
                <a:gd name="T4" fmla="*/ 127 w 192"/>
                <a:gd name="T5" fmla="*/ 163 h 187"/>
                <a:gd name="T6" fmla="*/ 110 w 192"/>
                <a:gd name="T7" fmla="*/ 160 h 187"/>
                <a:gd name="T8" fmla="*/ 105 w 192"/>
                <a:gd name="T9" fmla="*/ 163 h 187"/>
                <a:gd name="T10" fmla="*/ 104 w 192"/>
                <a:gd name="T11" fmla="*/ 187 h 187"/>
                <a:gd name="T12" fmla="*/ 79 w 192"/>
                <a:gd name="T13" fmla="*/ 181 h 187"/>
                <a:gd name="T14" fmla="*/ 56 w 192"/>
                <a:gd name="T15" fmla="*/ 160 h 187"/>
                <a:gd name="T16" fmla="*/ 40 w 192"/>
                <a:gd name="T17" fmla="*/ 121 h 187"/>
                <a:gd name="T18" fmla="*/ 26 w 192"/>
                <a:gd name="T19" fmla="*/ 118 h 187"/>
                <a:gd name="T20" fmla="*/ 0 w 192"/>
                <a:gd name="T21" fmla="*/ 85 h 187"/>
                <a:gd name="T22" fmla="*/ 11 w 192"/>
                <a:gd name="T23" fmla="*/ 50 h 187"/>
                <a:gd name="T24" fmla="*/ 34 w 192"/>
                <a:gd name="T25" fmla="*/ 43 h 187"/>
                <a:gd name="T26" fmla="*/ 40 w 192"/>
                <a:gd name="T27" fmla="*/ 34 h 187"/>
                <a:gd name="T28" fmla="*/ 38 w 192"/>
                <a:gd name="T29" fmla="*/ 23 h 187"/>
                <a:gd name="T30" fmla="*/ 50 w 192"/>
                <a:gd name="T31" fmla="*/ 6 h 187"/>
                <a:gd name="T32" fmla="*/ 56 w 192"/>
                <a:gd name="T33" fmla="*/ 0 h 187"/>
                <a:gd name="T34" fmla="*/ 81 w 192"/>
                <a:gd name="T35" fmla="*/ 6 h 187"/>
                <a:gd name="T36" fmla="*/ 148 w 192"/>
                <a:gd name="T37" fmla="*/ 0 h 187"/>
                <a:gd name="T38" fmla="*/ 190 w 192"/>
                <a:gd name="T39" fmla="*/ 9 h 187"/>
                <a:gd name="T40" fmla="*/ 190 w 192"/>
                <a:gd name="T41" fmla="*/ 20 h 187"/>
                <a:gd name="T42" fmla="*/ 175 w 192"/>
                <a:gd name="T43" fmla="*/ 43 h 187"/>
                <a:gd name="T44" fmla="*/ 177 w 192"/>
                <a:gd name="T45" fmla="*/ 77 h 187"/>
                <a:gd name="T46" fmla="*/ 192 w 192"/>
                <a:gd name="T47" fmla="*/ 105 h 187"/>
                <a:gd name="T48" fmla="*/ 186 w 192"/>
                <a:gd name="T49" fmla="*/ 153 h 187"/>
                <a:gd name="T50" fmla="*/ 172 w 192"/>
                <a:gd name="T51" fmla="*/ 16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2" h="187">
                  <a:moveTo>
                    <a:pt x="172" y="167"/>
                  </a:moveTo>
                  <a:lnTo>
                    <a:pt x="146" y="158"/>
                  </a:lnTo>
                  <a:lnTo>
                    <a:pt x="127" y="163"/>
                  </a:lnTo>
                  <a:lnTo>
                    <a:pt x="110" y="160"/>
                  </a:lnTo>
                  <a:lnTo>
                    <a:pt x="105" y="163"/>
                  </a:lnTo>
                  <a:lnTo>
                    <a:pt x="104" y="187"/>
                  </a:lnTo>
                  <a:lnTo>
                    <a:pt x="79" y="181"/>
                  </a:lnTo>
                  <a:lnTo>
                    <a:pt x="56" y="160"/>
                  </a:lnTo>
                  <a:lnTo>
                    <a:pt x="40" y="121"/>
                  </a:lnTo>
                  <a:lnTo>
                    <a:pt x="26" y="118"/>
                  </a:lnTo>
                  <a:lnTo>
                    <a:pt x="0" y="85"/>
                  </a:lnTo>
                  <a:lnTo>
                    <a:pt x="11" y="50"/>
                  </a:lnTo>
                  <a:lnTo>
                    <a:pt x="34" y="43"/>
                  </a:lnTo>
                  <a:lnTo>
                    <a:pt x="40" y="34"/>
                  </a:lnTo>
                  <a:lnTo>
                    <a:pt x="38" y="23"/>
                  </a:lnTo>
                  <a:lnTo>
                    <a:pt x="50" y="6"/>
                  </a:lnTo>
                  <a:lnTo>
                    <a:pt x="56" y="0"/>
                  </a:lnTo>
                  <a:lnTo>
                    <a:pt x="81" y="6"/>
                  </a:lnTo>
                  <a:lnTo>
                    <a:pt x="148" y="0"/>
                  </a:lnTo>
                  <a:lnTo>
                    <a:pt x="190" y="9"/>
                  </a:lnTo>
                  <a:lnTo>
                    <a:pt x="190" y="20"/>
                  </a:lnTo>
                  <a:lnTo>
                    <a:pt x="175" y="43"/>
                  </a:lnTo>
                  <a:lnTo>
                    <a:pt x="177" y="77"/>
                  </a:lnTo>
                  <a:lnTo>
                    <a:pt x="192" y="105"/>
                  </a:lnTo>
                  <a:lnTo>
                    <a:pt x="186" y="153"/>
                  </a:lnTo>
                  <a:lnTo>
                    <a:pt x="172" y="167"/>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90" name="Freeform 195">
              <a:extLst>
                <a:ext uri="{FF2B5EF4-FFF2-40B4-BE49-F238E27FC236}">
                  <a16:creationId xmlns:a16="http://schemas.microsoft.com/office/drawing/2014/main" id="{A8CFD694-460E-DF47-9AEE-CA13D34007FD}"/>
                </a:ext>
              </a:extLst>
            </p:cNvPr>
            <p:cNvSpPr>
              <a:spLocks noChangeAspect="1"/>
            </p:cNvSpPr>
            <p:nvPr/>
          </p:nvSpPr>
          <p:spPr bwMode="gray">
            <a:xfrm>
              <a:off x="3256437" y="4040188"/>
              <a:ext cx="109802" cy="190225"/>
            </a:xfrm>
            <a:custGeom>
              <a:avLst/>
              <a:gdLst>
                <a:gd name="T0" fmla="*/ 224 w 224"/>
                <a:gd name="T1" fmla="*/ 291 h 324"/>
                <a:gd name="T2" fmla="*/ 201 w 224"/>
                <a:gd name="T3" fmla="*/ 296 h 324"/>
                <a:gd name="T4" fmla="*/ 190 w 224"/>
                <a:gd name="T5" fmla="*/ 290 h 324"/>
                <a:gd name="T6" fmla="*/ 173 w 224"/>
                <a:gd name="T7" fmla="*/ 304 h 324"/>
                <a:gd name="T8" fmla="*/ 134 w 224"/>
                <a:gd name="T9" fmla="*/ 314 h 324"/>
                <a:gd name="T10" fmla="*/ 124 w 224"/>
                <a:gd name="T11" fmla="*/ 324 h 324"/>
                <a:gd name="T12" fmla="*/ 103 w 224"/>
                <a:gd name="T13" fmla="*/ 321 h 324"/>
                <a:gd name="T14" fmla="*/ 91 w 224"/>
                <a:gd name="T15" fmla="*/ 314 h 324"/>
                <a:gd name="T16" fmla="*/ 76 w 224"/>
                <a:gd name="T17" fmla="*/ 299 h 324"/>
                <a:gd name="T18" fmla="*/ 74 w 224"/>
                <a:gd name="T19" fmla="*/ 279 h 324"/>
                <a:gd name="T20" fmla="*/ 65 w 224"/>
                <a:gd name="T21" fmla="*/ 266 h 324"/>
                <a:gd name="T22" fmla="*/ 71 w 224"/>
                <a:gd name="T23" fmla="*/ 215 h 324"/>
                <a:gd name="T24" fmla="*/ 82 w 224"/>
                <a:gd name="T25" fmla="*/ 203 h 324"/>
                <a:gd name="T26" fmla="*/ 76 w 224"/>
                <a:gd name="T27" fmla="*/ 178 h 324"/>
                <a:gd name="T28" fmla="*/ 57 w 224"/>
                <a:gd name="T29" fmla="*/ 174 h 324"/>
                <a:gd name="T30" fmla="*/ 61 w 224"/>
                <a:gd name="T31" fmla="*/ 157 h 324"/>
                <a:gd name="T32" fmla="*/ 56 w 224"/>
                <a:gd name="T33" fmla="*/ 143 h 324"/>
                <a:gd name="T34" fmla="*/ 31 w 224"/>
                <a:gd name="T35" fmla="*/ 144 h 324"/>
                <a:gd name="T36" fmla="*/ 0 w 224"/>
                <a:gd name="T37" fmla="*/ 107 h 324"/>
                <a:gd name="T38" fmla="*/ 0 w 224"/>
                <a:gd name="T39" fmla="*/ 102 h 324"/>
                <a:gd name="T40" fmla="*/ 10 w 224"/>
                <a:gd name="T41" fmla="*/ 89 h 324"/>
                <a:gd name="T42" fmla="*/ 10 w 224"/>
                <a:gd name="T43" fmla="*/ 76 h 324"/>
                <a:gd name="T44" fmla="*/ 37 w 224"/>
                <a:gd name="T45" fmla="*/ 59 h 324"/>
                <a:gd name="T46" fmla="*/ 22 w 224"/>
                <a:gd name="T47" fmla="*/ 53 h 324"/>
                <a:gd name="T48" fmla="*/ 22 w 224"/>
                <a:gd name="T49" fmla="*/ 31 h 324"/>
                <a:gd name="T50" fmla="*/ 66 w 224"/>
                <a:gd name="T51" fmla="*/ 11 h 324"/>
                <a:gd name="T52" fmla="*/ 68 w 224"/>
                <a:gd name="T53" fmla="*/ 0 h 324"/>
                <a:gd name="T54" fmla="*/ 80 w 224"/>
                <a:gd name="T55" fmla="*/ 0 h 324"/>
                <a:gd name="T56" fmla="*/ 119 w 224"/>
                <a:gd name="T57" fmla="*/ 34 h 324"/>
                <a:gd name="T58" fmla="*/ 125 w 224"/>
                <a:gd name="T59" fmla="*/ 45 h 324"/>
                <a:gd name="T60" fmla="*/ 127 w 224"/>
                <a:gd name="T61" fmla="*/ 68 h 324"/>
                <a:gd name="T62" fmla="*/ 133 w 224"/>
                <a:gd name="T63" fmla="*/ 70 h 324"/>
                <a:gd name="T64" fmla="*/ 151 w 224"/>
                <a:gd name="T65" fmla="*/ 72 h 324"/>
                <a:gd name="T66" fmla="*/ 164 w 224"/>
                <a:gd name="T67" fmla="*/ 79 h 324"/>
                <a:gd name="T68" fmla="*/ 187 w 224"/>
                <a:gd name="T69" fmla="*/ 99 h 324"/>
                <a:gd name="T70" fmla="*/ 195 w 224"/>
                <a:gd name="T71" fmla="*/ 116 h 324"/>
                <a:gd name="T72" fmla="*/ 183 w 224"/>
                <a:gd name="T73" fmla="*/ 133 h 324"/>
                <a:gd name="T74" fmla="*/ 185 w 224"/>
                <a:gd name="T75" fmla="*/ 144 h 324"/>
                <a:gd name="T76" fmla="*/ 179 w 224"/>
                <a:gd name="T77" fmla="*/ 153 h 324"/>
                <a:gd name="T78" fmla="*/ 156 w 224"/>
                <a:gd name="T79" fmla="*/ 160 h 324"/>
                <a:gd name="T80" fmla="*/ 145 w 224"/>
                <a:gd name="T81" fmla="*/ 195 h 324"/>
                <a:gd name="T82" fmla="*/ 171 w 224"/>
                <a:gd name="T83" fmla="*/ 228 h 324"/>
                <a:gd name="T84" fmla="*/ 185 w 224"/>
                <a:gd name="T85" fmla="*/ 231 h 324"/>
                <a:gd name="T86" fmla="*/ 201 w 224"/>
                <a:gd name="T87" fmla="*/ 270 h 324"/>
                <a:gd name="T88" fmla="*/ 224 w 224"/>
                <a:gd name="T89" fmla="*/ 291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4" h="324">
                  <a:moveTo>
                    <a:pt x="224" y="291"/>
                  </a:moveTo>
                  <a:lnTo>
                    <a:pt x="201" y="296"/>
                  </a:lnTo>
                  <a:lnTo>
                    <a:pt x="190" y="290"/>
                  </a:lnTo>
                  <a:lnTo>
                    <a:pt x="173" y="304"/>
                  </a:lnTo>
                  <a:lnTo>
                    <a:pt x="134" y="314"/>
                  </a:lnTo>
                  <a:lnTo>
                    <a:pt x="124" y="324"/>
                  </a:lnTo>
                  <a:lnTo>
                    <a:pt x="103" y="321"/>
                  </a:lnTo>
                  <a:lnTo>
                    <a:pt x="91" y="314"/>
                  </a:lnTo>
                  <a:lnTo>
                    <a:pt x="76" y="299"/>
                  </a:lnTo>
                  <a:lnTo>
                    <a:pt x="74" y="279"/>
                  </a:lnTo>
                  <a:lnTo>
                    <a:pt x="65" y="266"/>
                  </a:lnTo>
                  <a:lnTo>
                    <a:pt x="71" y="215"/>
                  </a:lnTo>
                  <a:lnTo>
                    <a:pt x="82" y="203"/>
                  </a:lnTo>
                  <a:lnTo>
                    <a:pt x="76" y="178"/>
                  </a:lnTo>
                  <a:lnTo>
                    <a:pt x="57" y="174"/>
                  </a:lnTo>
                  <a:lnTo>
                    <a:pt x="61" y="157"/>
                  </a:lnTo>
                  <a:lnTo>
                    <a:pt x="56" y="143"/>
                  </a:lnTo>
                  <a:lnTo>
                    <a:pt x="31" y="144"/>
                  </a:lnTo>
                  <a:lnTo>
                    <a:pt x="0" y="107"/>
                  </a:lnTo>
                  <a:lnTo>
                    <a:pt x="0" y="102"/>
                  </a:lnTo>
                  <a:lnTo>
                    <a:pt x="10" y="89"/>
                  </a:lnTo>
                  <a:lnTo>
                    <a:pt x="10" y="76"/>
                  </a:lnTo>
                  <a:lnTo>
                    <a:pt x="37" y="59"/>
                  </a:lnTo>
                  <a:lnTo>
                    <a:pt x="22" y="53"/>
                  </a:lnTo>
                  <a:lnTo>
                    <a:pt x="22" y="31"/>
                  </a:lnTo>
                  <a:lnTo>
                    <a:pt x="66" y="11"/>
                  </a:lnTo>
                  <a:lnTo>
                    <a:pt x="68" y="0"/>
                  </a:lnTo>
                  <a:lnTo>
                    <a:pt x="80" y="0"/>
                  </a:lnTo>
                  <a:lnTo>
                    <a:pt x="119" y="34"/>
                  </a:lnTo>
                  <a:lnTo>
                    <a:pt x="125" y="45"/>
                  </a:lnTo>
                  <a:lnTo>
                    <a:pt x="127" y="68"/>
                  </a:lnTo>
                  <a:lnTo>
                    <a:pt x="133" y="70"/>
                  </a:lnTo>
                  <a:lnTo>
                    <a:pt x="151" y="72"/>
                  </a:lnTo>
                  <a:lnTo>
                    <a:pt x="164" y="79"/>
                  </a:lnTo>
                  <a:lnTo>
                    <a:pt x="187" y="99"/>
                  </a:lnTo>
                  <a:lnTo>
                    <a:pt x="195" y="116"/>
                  </a:lnTo>
                  <a:lnTo>
                    <a:pt x="183" y="133"/>
                  </a:lnTo>
                  <a:lnTo>
                    <a:pt x="185" y="144"/>
                  </a:lnTo>
                  <a:lnTo>
                    <a:pt x="179" y="153"/>
                  </a:lnTo>
                  <a:lnTo>
                    <a:pt x="156" y="160"/>
                  </a:lnTo>
                  <a:lnTo>
                    <a:pt x="145" y="195"/>
                  </a:lnTo>
                  <a:lnTo>
                    <a:pt x="171" y="228"/>
                  </a:lnTo>
                  <a:lnTo>
                    <a:pt x="185" y="231"/>
                  </a:lnTo>
                  <a:lnTo>
                    <a:pt x="201" y="270"/>
                  </a:lnTo>
                  <a:lnTo>
                    <a:pt x="224" y="291"/>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91" name="Freeform 196">
              <a:extLst>
                <a:ext uri="{FF2B5EF4-FFF2-40B4-BE49-F238E27FC236}">
                  <a16:creationId xmlns:a16="http://schemas.microsoft.com/office/drawing/2014/main" id="{A0AB0455-367B-DC48-BC39-01D1F2C77521}"/>
                </a:ext>
              </a:extLst>
            </p:cNvPr>
            <p:cNvSpPr>
              <a:spLocks noChangeAspect="1"/>
            </p:cNvSpPr>
            <p:nvPr/>
          </p:nvSpPr>
          <p:spPr bwMode="gray">
            <a:xfrm>
              <a:off x="3410797" y="4113203"/>
              <a:ext cx="65246" cy="97994"/>
            </a:xfrm>
            <a:custGeom>
              <a:avLst/>
              <a:gdLst>
                <a:gd name="T0" fmla="*/ 132 w 132"/>
                <a:gd name="T1" fmla="*/ 71 h 167"/>
                <a:gd name="T2" fmla="*/ 132 w 132"/>
                <a:gd name="T3" fmla="*/ 63 h 167"/>
                <a:gd name="T4" fmla="*/ 124 w 132"/>
                <a:gd name="T5" fmla="*/ 54 h 167"/>
                <a:gd name="T6" fmla="*/ 83 w 132"/>
                <a:gd name="T7" fmla="*/ 25 h 167"/>
                <a:gd name="T8" fmla="*/ 31 w 132"/>
                <a:gd name="T9" fmla="*/ 0 h 167"/>
                <a:gd name="T10" fmla="*/ 18 w 132"/>
                <a:gd name="T11" fmla="*/ 6 h 167"/>
                <a:gd name="T12" fmla="*/ 3 w 132"/>
                <a:gd name="T13" fmla="*/ 29 h 167"/>
                <a:gd name="T14" fmla="*/ 5 w 132"/>
                <a:gd name="T15" fmla="*/ 63 h 167"/>
                <a:gd name="T16" fmla="*/ 20 w 132"/>
                <a:gd name="T17" fmla="*/ 91 h 167"/>
                <a:gd name="T18" fmla="*/ 14 w 132"/>
                <a:gd name="T19" fmla="*/ 139 h 167"/>
                <a:gd name="T20" fmla="*/ 0 w 132"/>
                <a:gd name="T21" fmla="*/ 153 h 167"/>
                <a:gd name="T22" fmla="*/ 18 w 132"/>
                <a:gd name="T23" fmla="*/ 167 h 167"/>
                <a:gd name="T24" fmla="*/ 40 w 132"/>
                <a:gd name="T25" fmla="*/ 161 h 167"/>
                <a:gd name="T26" fmla="*/ 65 w 132"/>
                <a:gd name="T27" fmla="*/ 161 h 167"/>
                <a:gd name="T28" fmla="*/ 90 w 132"/>
                <a:gd name="T29" fmla="*/ 139 h 167"/>
                <a:gd name="T30" fmla="*/ 99 w 132"/>
                <a:gd name="T31" fmla="*/ 116 h 167"/>
                <a:gd name="T32" fmla="*/ 132 w 132"/>
                <a:gd name="T33" fmla="*/ 71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67">
                  <a:moveTo>
                    <a:pt x="132" y="71"/>
                  </a:moveTo>
                  <a:lnTo>
                    <a:pt x="132" y="63"/>
                  </a:lnTo>
                  <a:lnTo>
                    <a:pt x="124" y="54"/>
                  </a:lnTo>
                  <a:lnTo>
                    <a:pt x="83" y="25"/>
                  </a:lnTo>
                  <a:lnTo>
                    <a:pt x="31" y="0"/>
                  </a:lnTo>
                  <a:lnTo>
                    <a:pt x="18" y="6"/>
                  </a:lnTo>
                  <a:lnTo>
                    <a:pt x="3" y="29"/>
                  </a:lnTo>
                  <a:lnTo>
                    <a:pt x="5" y="63"/>
                  </a:lnTo>
                  <a:lnTo>
                    <a:pt x="20" y="91"/>
                  </a:lnTo>
                  <a:lnTo>
                    <a:pt x="14" y="139"/>
                  </a:lnTo>
                  <a:lnTo>
                    <a:pt x="0" y="153"/>
                  </a:lnTo>
                  <a:lnTo>
                    <a:pt x="18" y="167"/>
                  </a:lnTo>
                  <a:lnTo>
                    <a:pt x="40" y="161"/>
                  </a:lnTo>
                  <a:lnTo>
                    <a:pt x="65" y="161"/>
                  </a:lnTo>
                  <a:lnTo>
                    <a:pt x="90" y="139"/>
                  </a:lnTo>
                  <a:lnTo>
                    <a:pt x="99" y="116"/>
                  </a:lnTo>
                  <a:lnTo>
                    <a:pt x="132" y="71"/>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92" name="Freeform 197">
              <a:extLst>
                <a:ext uri="{FF2B5EF4-FFF2-40B4-BE49-F238E27FC236}">
                  <a16:creationId xmlns:a16="http://schemas.microsoft.com/office/drawing/2014/main" id="{2A53902E-FB1A-6D42-AD23-CC69235AB804}"/>
                </a:ext>
              </a:extLst>
            </p:cNvPr>
            <p:cNvSpPr>
              <a:spLocks noChangeAspect="1"/>
            </p:cNvSpPr>
            <p:nvPr/>
          </p:nvSpPr>
          <p:spPr bwMode="gray">
            <a:xfrm>
              <a:off x="3243705" y="3971016"/>
              <a:ext cx="19097" cy="21138"/>
            </a:xfrm>
            <a:custGeom>
              <a:avLst/>
              <a:gdLst>
                <a:gd name="T0" fmla="*/ 42 w 42"/>
                <a:gd name="T1" fmla="*/ 3 h 36"/>
                <a:gd name="T2" fmla="*/ 38 w 42"/>
                <a:gd name="T3" fmla="*/ 15 h 36"/>
                <a:gd name="T4" fmla="*/ 40 w 42"/>
                <a:gd name="T5" fmla="*/ 28 h 36"/>
                <a:gd name="T6" fmla="*/ 34 w 42"/>
                <a:gd name="T7" fmla="*/ 34 h 36"/>
                <a:gd name="T8" fmla="*/ 0 w 42"/>
                <a:gd name="T9" fmla="*/ 36 h 36"/>
                <a:gd name="T10" fmla="*/ 17 w 42"/>
                <a:gd name="T11" fmla="*/ 22 h 36"/>
                <a:gd name="T12" fmla="*/ 18 w 42"/>
                <a:gd name="T13" fmla="*/ 10 h 36"/>
                <a:gd name="T14" fmla="*/ 9 w 42"/>
                <a:gd name="T15" fmla="*/ 5 h 36"/>
                <a:gd name="T16" fmla="*/ 40 w 42"/>
                <a:gd name="T17" fmla="*/ 0 h 36"/>
                <a:gd name="T18" fmla="*/ 42 w 42"/>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36">
                  <a:moveTo>
                    <a:pt x="42" y="3"/>
                  </a:moveTo>
                  <a:lnTo>
                    <a:pt x="38" y="15"/>
                  </a:lnTo>
                  <a:lnTo>
                    <a:pt x="40" y="28"/>
                  </a:lnTo>
                  <a:lnTo>
                    <a:pt x="34" y="34"/>
                  </a:lnTo>
                  <a:lnTo>
                    <a:pt x="0" y="36"/>
                  </a:lnTo>
                  <a:lnTo>
                    <a:pt x="17" y="22"/>
                  </a:lnTo>
                  <a:lnTo>
                    <a:pt x="18" y="10"/>
                  </a:lnTo>
                  <a:lnTo>
                    <a:pt x="9" y="5"/>
                  </a:lnTo>
                  <a:lnTo>
                    <a:pt x="40" y="0"/>
                  </a:lnTo>
                  <a:lnTo>
                    <a:pt x="42" y="3"/>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grpSp>
          <p:nvGrpSpPr>
            <p:cNvPr id="193" name="Group 192">
              <a:extLst>
                <a:ext uri="{FF2B5EF4-FFF2-40B4-BE49-F238E27FC236}">
                  <a16:creationId xmlns:a16="http://schemas.microsoft.com/office/drawing/2014/main" id="{541B348D-CB4C-324D-9256-2821A11FD30E}"/>
                </a:ext>
              </a:extLst>
            </p:cNvPr>
            <p:cNvGrpSpPr/>
            <p:nvPr/>
          </p:nvGrpSpPr>
          <p:grpSpPr>
            <a:xfrm>
              <a:off x="2985910" y="3928742"/>
              <a:ext cx="303946" cy="315120"/>
              <a:chOff x="3230624" y="4163860"/>
              <a:chExt cx="254873" cy="270418"/>
            </a:xfrm>
            <a:solidFill>
              <a:schemeClr val="accent3">
                <a:lumMod val="20000"/>
                <a:lumOff val="80000"/>
              </a:schemeClr>
            </a:solidFill>
          </p:grpSpPr>
          <p:sp>
            <p:nvSpPr>
              <p:cNvPr id="194" name="Freeform 200">
                <a:extLst>
                  <a:ext uri="{FF2B5EF4-FFF2-40B4-BE49-F238E27FC236}">
                    <a16:creationId xmlns:a16="http://schemas.microsoft.com/office/drawing/2014/main" id="{2F7DADAC-88C1-E847-9CC1-AC13B0705BB2}"/>
                  </a:ext>
                </a:extLst>
              </p:cNvPr>
              <p:cNvSpPr>
                <a:spLocks noChangeAspect="1"/>
              </p:cNvSpPr>
              <p:nvPr/>
            </p:nvSpPr>
            <p:spPr bwMode="gray">
              <a:xfrm>
                <a:off x="3309354" y="4163860"/>
                <a:ext cx="6672" cy="6596"/>
              </a:xfrm>
              <a:custGeom>
                <a:avLst/>
                <a:gdLst>
                  <a:gd name="T0" fmla="*/ 3 w 15"/>
                  <a:gd name="T1" fmla="*/ 5 h 15"/>
                  <a:gd name="T2" fmla="*/ 0 w 15"/>
                  <a:gd name="T3" fmla="*/ 0 h 15"/>
                  <a:gd name="T4" fmla="*/ 3 w 15"/>
                  <a:gd name="T5" fmla="*/ 9 h 15"/>
                  <a:gd name="T6" fmla="*/ 15 w 15"/>
                  <a:gd name="T7" fmla="*/ 15 h 15"/>
                  <a:gd name="T8" fmla="*/ 3 w 15"/>
                  <a:gd name="T9" fmla="*/ 5 h 15"/>
                </a:gdLst>
                <a:ahLst/>
                <a:cxnLst>
                  <a:cxn ang="0">
                    <a:pos x="T0" y="T1"/>
                  </a:cxn>
                  <a:cxn ang="0">
                    <a:pos x="T2" y="T3"/>
                  </a:cxn>
                  <a:cxn ang="0">
                    <a:pos x="T4" y="T5"/>
                  </a:cxn>
                  <a:cxn ang="0">
                    <a:pos x="T6" y="T7"/>
                  </a:cxn>
                  <a:cxn ang="0">
                    <a:pos x="T8" y="T9"/>
                  </a:cxn>
                </a:cxnLst>
                <a:rect l="0" t="0" r="r" b="b"/>
                <a:pathLst>
                  <a:path w="15" h="15">
                    <a:moveTo>
                      <a:pt x="3" y="5"/>
                    </a:moveTo>
                    <a:lnTo>
                      <a:pt x="0" y="0"/>
                    </a:lnTo>
                    <a:lnTo>
                      <a:pt x="3" y="9"/>
                    </a:lnTo>
                    <a:lnTo>
                      <a:pt x="15" y="15"/>
                    </a:lnTo>
                    <a:lnTo>
                      <a:pt x="3" y="5"/>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95" name="Freeform 201">
                <a:extLst>
                  <a:ext uri="{FF2B5EF4-FFF2-40B4-BE49-F238E27FC236}">
                    <a16:creationId xmlns:a16="http://schemas.microsoft.com/office/drawing/2014/main" id="{96E8C97C-A8C7-3845-81A5-DFC33DB97993}"/>
                  </a:ext>
                </a:extLst>
              </p:cNvPr>
              <p:cNvSpPr>
                <a:spLocks noChangeAspect="1"/>
              </p:cNvSpPr>
              <p:nvPr/>
            </p:nvSpPr>
            <p:spPr bwMode="gray">
              <a:xfrm>
                <a:off x="3324033" y="4165509"/>
                <a:ext cx="2669" cy="4947"/>
              </a:xfrm>
              <a:custGeom>
                <a:avLst/>
                <a:gdLst>
                  <a:gd name="T0" fmla="*/ 0 w 8"/>
                  <a:gd name="T1" fmla="*/ 0 h 10"/>
                  <a:gd name="T2" fmla="*/ 6 w 8"/>
                  <a:gd name="T3" fmla="*/ 10 h 10"/>
                  <a:gd name="T4" fmla="*/ 8 w 8"/>
                  <a:gd name="T5" fmla="*/ 3 h 10"/>
                  <a:gd name="T6" fmla="*/ 0 w 8"/>
                  <a:gd name="T7" fmla="*/ 0 h 10"/>
                </a:gdLst>
                <a:ahLst/>
                <a:cxnLst>
                  <a:cxn ang="0">
                    <a:pos x="T0" y="T1"/>
                  </a:cxn>
                  <a:cxn ang="0">
                    <a:pos x="T2" y="T3"/>
                  </a:cxn>
                  <a:cxn ang="0">
                    <a:pos x="T4" y="T5"/>
                  </a:cxn>
                  <a:cxn ang="0">
                    <a:pos x="T6" y="T7"/>
                  </a:cxn>
                </a:cxnLst>
                <a:rect l="0" t="0" r="r" b="b"/>
                <a:pathLst>
                  <a:path w="8" h="10">
                    <a:moveTo>
                      <a:pt x="0" y="0"/>
                    </a:moveTo>
                    <a:lnTo>
                      <a:pt x="6" y="10"/>
                    </a:lnTo>
                    <a:lnTo>
                      <a:pt x="8" y="3"/>
                    </a:lnTo>
                    <a:lnTo>
                      <a:pt x="0" y="0"/>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96" name="Freeform 202">
                <a:extLst>
                  <a:ext uri="{FF2B5EF4-FFF2-40B4-BE49-F238E27FC236}">
                    <a16:creationId xmlns:a16="http://schemas.microsoft.com/office/drawing/2014/main" id="{79D38F9C-7985-AA4B-8165-375C5582061B}"/>
                  </a:ext>
                </a:extLst>
              </p:cNvPr>
              <p:cNvSpPr>
                <a:spLocks noChangeAspect="1" noEditPoints="1"/>
              </p:cNvSpPr>
              <p:nvPr/>
            </p:nvSpPr>
            <p:spPr bwMode="gray">
              <a:xfrm>
                <a:off x="3230624" y="4167158"/>
                <a:ext cx="254873" cy="267120"/>
              </a:xfrm>
              <a:custGeom>
                <a:avLst/>
                <a:gdLst>
                  <a:gd name="T0" fmla="*/ 69 w 625"/>
                  <a:gd name="T1" fmla="*/ 30 h 529"/>
                  <a:gd name="T2" fmla="*/ 77 w 625"/>
                  <a:gd name="T3" fmla="*/ 80 h 529"/>
                  <a:gd name="T4" fmla="*/ 63 w 625"/>
                  <a:gd name="T5" fmla="*/ 119 h 529"/>
                  <a:gd name="T6" fmla="*/ 83 w 625"/>
                  <a:gd name="T7" fmla="*/ 147 h 529"/>
                  <a:gd name="T8" fmla="*/ 107 w 625"/>
                  <a:gd name="T9" fmla="*/ 133 h 529"/>
                  <a:gd name="T10" fmla="*/ 88 w 625"/>
                  <a:gd name="T11" fmla="*/ 85 h 529"/>
                  <a:gd name="T12" fmla="*/ 117 w 625"/>
                  <a:gd name="T13" fmla="*/ 45 h 529"/>
                  <a:gd name="T14" fmla="*/ 164 w 625"/>
                  <a:gd name="T15" fmla="*/ 28 h 529"/>
                  <a:gd name="T16" fmla="*/ 147 w 625"/>
                  <a:gd name="T17" fmla="*/ 5 h 529"/>
                  <a:gd name="T18" fmla="*/ 162 w 625"/>
                  <a:gd name="T19" fmla="*/ 5 h 529"/>
                  <a:gd name="T20" fmla="*/ 229 w 625"/>
                  <a:gd name="T21" fmla="*/ 47 h 529"/>
                  <a:gd name="T22" fmla="*/ 246 w 625"/>
                  <a:gd name="T23" fmla="*/ 80 h 529"/>
                  <a:gd name="T24" fmla="*/ 356 w 625"/>
                  <a:gd name="T25" fmla="*/ 93 h 529"/>
                  <a:gd name="T26" fmla="*/ 401 w 625"/>
                  <a:gd name="T27" fmla="*/ 92 h 529"/>
                  <a:gd name="T28" fmla="*/ 441 w 625"/>
                  <a:gd name="T29" fmla="*/ 80 h 529"/>
                  <a:gd name="T30" fmla="*/ 420 w 625"/>
                  <a:gd name="T31" fmla="*/ 73 h 529"/>
                  <a:gd name="T32" fmla="*/ 521 w 625"/>
                  <a:gd name="T33" fmla="*/ 72 h 529"/>
                  <a:gd name="T34" fmla="*/ 483 w 625"/>
                  <a:gd name="T35" fmla="*/ 80 h 529"/>
                  <a:gd name="T36" fmla="*/ 496 w 625"/>
                  <a:gd name="T37" fmla="*/ 93 h 529"/>
                  <a:gd name="T38" fmla="*/ 537 w 625"/>
                  <a:gd name="T39" fmla="*/ 114 h 529"/>
                  <a:gd name="T40" fmla="*/ 581 w 625"/>
                  <a:gd name="T41" fmla="*/ 161 h 529"/>
                  <a:gd name="T42" fmla="*/ 571 w 625"/>
                  <a:gd name="T43" fmla="*/ 173 h 529"/>
                  <a:gd name="T44" fmla="*/ 606 w 625"/>
                  <a:gd name="T45" fmla="*/ 169 h 529"/>
                  <a:gd name="T46" fmla="*/ 623 w 625"/>
                  <a:gd name="T47" fmla="*/ 192 h 529"/>
                  <a:gd name="T48" fmla="*/ 579 w 625"/>
                  <a:gd name="T49" fmla="*/ 234 h 529"/>
                  <a:gd name="T50" fmla="*/ 567 w 625"/>
                  <a:gd name="T51" fmla="*/ 257 h 529"/>
                  <a:gd name="T52" fmla="*/ 557 w 625"/>
                  <a:gd name="T53" fmla="*/ 283 h 529"/>
                  <a:gd name="T54" fmla="*/ 588 w 625"/>
                  <a:gd name="T55" fmla="*/ 325 h 529"/>
                  <a:gd name="T56" fmla="*/ 572 w 625"/>
                  <a:gd name="T57" fmla="*/ 355 h 529"/>
                  <a:gd name="T58" fmla="*/ 534 w 625"/>
                  <a:gd name="T59" fmla="*/ 371 h 529"/>
                  <a:gd name="T60" fmla="*/ 478 w 625"/>
                  <a:gd name="T61" fmla="*/ 387 h 529"/>
                  <a:gd name="T62" fmla="*/ 424 w 625"/>
                  <a:gd name="T63" fmla="*/ 371 h 529"/>
                  <a:gd name="T64" fmla="*/ 399 w 625"/>
                  <a:gd name="T65" fmla="*/ 384 h 529"/>
                  <a:gd name="T66" fmla="*/ 416 w 625"/>
                  <a:gd name="T67" fmla="*/ 421 h 529"/>
                  <a:gd name="T68" fmla="*/ 461 w 625"/>
                  <a:gd name="T69" fmla="*/ 454 h 529"/>
                  <a:gd name="T70" fmla="*/ 430 w 625"/>
                  <a:gd name="T71" fmla="*/ 475 h 529"/>
                  <a:gd name="T72" fmla="*/ 368 w 625"/>
                  <a:gd name="T73" fmla="*/ 515 h 529"/>
                  <a:gd name="T74" fmla="*/ 320 w 625"/>
                  <a:gd name="T75" fmla="*/ 529 h 529"/>
                  <a:gd name="T76" fmla="*/ 278 w 625"/>
                  <a:gd name="T77" fmla="*/ 456 h 529"/>
                  <a:gd name="T78" fmla="*/ 280 w 625"/>
                  <a:gd name="T79" fmla="*/ 410 h 529"/>
                  <a:gd name="T80" fmla="*/ 257 w 625"/>
                  <a:gd name="T81" fmla="*/ 379 h 529"/>
                  <a:gd name="T82" fmla="*/ 257 w 625"/>
                  <a:gd name="T83" fmla="*/ 319 h 529"/>
                  <a:gd name="T84" fmla="*/ 269 w 625"/>
                  <a:gd name="T85" fmla="*/ 279 h 529"/>
                  <a:gd name="T86" fmla="*/ 230 w 625"/>
                  <a:gd name="T87" fmla="*/ 285 h 529"/>
                  <a:gd name="T88" fmla="*/ 183 w 625"/>
                  <a:gd name="T89" fmla="*/ 283 h 529"/>
                  <a:gd name="T90" fmla="*/ 127 w 625"/>
                  <a:gd name="T91" fmla="*/ 236 h 529"/>
                  <a:gd name="T92" fmla="*/ 63 w 625"/>
                  <a:gd name="T93" fmla="*/ 234 h 529"/>
                  <a:gd name="T94" fmla="*/ 42 w 625"/>
                  <a:gd name="T95" fmla="*/ 186 h 529"/>
                  <a:gd name="T96" fmla="*/ 22 w 625"/>
                  <a:gd name="T97" fmla="*/ 143 h 529"/>
                  <a:gd name="T98" fmla="*/ 14 w 625"/>
                  <a:gd name="T99" fmla="*/ 119 h 529"/>
                  <a:gd name="T100" fmla="*/ 34 w 625"/>
                  <a:gd name="T101" fmla="*/ 62 h 529"/>
                  <a:gd name="T102" fmla="*/ 91 w 625"/>
                  <a:gd name="T103" fmla="*/ 17 h 529"/>
                  <a:gd name="T104" fmla="*/ 441 w 625"/>
                  <a:gd name="T105" fmla="*/ 56 h 529"/>
                  <a:gd name="T106" fmla="*/ 416 w 625"/>
                  <a:gd name="T107" fmla="*/ 59 h 529"/>
                  <a:gd name="T108" fmla="*/ 427 w 625"/>
                  <a:gd name="T109" fmla="*/ 55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5" h="529">
                    <a:moveTo>
                      <a:pt x="91" y="17"/>
                    </a:moveTo>
                    <a:lnTo>
                      <a:pt x="69" y="30"/>
                    </a:lnTo>
                    <a:lnTo>
                      <a:pt x="82" y="70"/>
                    </a:lnTo>
                    <a:lnTo>
                      <a:pt x="77" y="80"/>
                    </a:lnTo>
                    <a:lnTo>
                      <a:pt x="63" y="101"/>
                    </a:lnTo>
                    <a:lnTo>
                      <a:pt x="63" y="119"/>
                    </a:lnTo>
                    <a:lnTo>
                      <a:pt x="74" y="127"/>
                    </a:lnTo>
                    <a:lnTo>
                      <a:pt x="83" y="147"/>
                    </a:lnTo>
                    <a:lnTo>
                      <a:pt x="94" y="146"/>
                    </a:lnTo>
                    <a:lnTo>
                      <a:pt x="107" y="133"/>
                    </a:lnTo>
                    <a:lnTo>
                      <a:pt x="105" y="113"/>
                    </a:lnTo>
                    <a:lnTo>
                      <a:pt x="88" y="85"/>
                    </a:lnTo>
                    <a:lnTo>
                      <a:pt x="88" y="65"/>
                    </a:lnTo>
                    <a:lnTo>
                      <a:pt x="117" y="45"/>
                    </a:lnTo>
                    <a:lnTo>
                      <a:pt x="166" y="34"/>
                    </a:lnTo>
                    <a:lnTo>
                      <a:pt x="164" y="28"/>
                    </a:lnTo>
                    <a:lnTo>
                      <a:pt x="142" y="21"/>
                    </a:lnTo>
                    <a:lnTo>
                      <a:pt x="147" y="5"/>
                    </a:lnTo>
                    <a:lnTo>
                      <a:pt x="156" y="0"/>
                    </a:lnTo>
                    <a:lnTo>
                      <a:pt x="162" y="5"/>
                    </a:lnTo>
                    <a:lnTo>
                      <a:pt x="175" y="34"/>
                    </a:lnTo>
                    <a:lnTo>
                      <a:pt x="229" y="47"/>
                    </a:lnTo>
                    <a:lnTo>
                      <a:pt x="238" y="73"/>
                    </a:lnTo>
                    <a:lnTo>
                      <a:pt x="246" y="80"/>
                    </a:lnTo>
                    <a:lnTo>
                      <a:pt x="332" y="73"/>
                    </a:lnTo>
                    <a:lnTo>
                      <a:pt x="356" y="93"/>
                    </a:lnTo>
                    <a:lnTo>
                      <a:pt x="379" y="96"/>
                    </a:lnTo>
                    <a:lnTo>
                      <a:pt x="401" y="92"/>
                    </a:lnTo>
                    <a:lnTo>
                      <a:pt x="416" y="82"/>
                    </a:lnTo>
                    <a:lnTo>
                      <a:pt x="441" y="80"/>
                    </a:lnTo>
                    <a:lnTo>
                      <a:pt x="442" y="77"/>
                    </a:lnTo>
                    <a:lnTo>
                      <a:pt x="420" y="73"/>
                    </a:lnTo>
                    <a:lnTo>
                      <a:pt x="427" y="70"/>
                    </a:lnTo>
                    <a:lnTo>
                      <a:pt x="521" y="72"/>
                    </a:lnTo>
                    <a:lnTo>
                      <a:pt x="504" y="80"/>
                    </a:lnTo>
                    <a:lnTo>
                      <a:pt x="483" y="80"/>
                    </a:lnTo>
                    <a:lnTo>
                      <a:pt x="479" y="87"/>
                    </a:lnTo>
                    <a:lnTo>
                      <a:pt x="496" y="93"/>
                    </a:lnTo>
                    <a:lnTo>
                      <a:pt x="508" y="113"/>
                    </a:lnTo>
                    <a:lnTo>
                      <a:pt x="537" y="114"/>
                    </a:lnTo>
                    <a:lnTo>
                      <a:pt x="571" y="133"/>
                    </a:lnTo>
                    <a:lnTo>
                      <a:pt x="581" y="161"/>
                    </a:lnTo>
                    <a:lnTo>
                      <a:pt x="569" y="170"/>
                    </a:lnTo>
                    <a:lnTo>
                      <a:pt x="571" y="173"/>
                    </a:lnTo>
                    <a:lnTo>
                      <a:pt x="589" y="177"/>
                    </a:lnTo>
                    <a:lnTo>
                      <a:pt x="606" y="169"/>
                    </a:lnTo>
                    <a:lnTo>
                      <a:pt x="625" y="181"/>
                    </a:lnTo>
                    <a:lnTo>
                      <a:pt x="623" y="192"/>
                    </a:lnTo>
                    <a:lnTo>
                      <a:pt x="579" y="212"/>
                    </a:lnTo>
                    <a:lnTo>
                      <a:pt x="579" y="234"/>
                    </a:lnTo>
                    <a:lnTo>
                      <a:pt x="594" y="240"/>
                    </a:lnTo>
                    <a:lnTo>
                      <a:pt x="567" y="257"/>
                    </a:lnTo>
                    <a:lnTo>
                      <a:pt x="567" y="270"/>
                    </a:lnTo>
                    <a:lnTo>
                      <a:pt x="557" y="283"/>
                    </a:lnTo>
                    <a:lnTo>
                      <a:pt x="557" y="288"/>
                    </a:lnTo>
                    <a:lnTo>
                      <a:pt x="588" y="325"/>
                    </a:lnTo>
                    <a:lnTo>
                      <a:pt x="588" y="338"/>
                    </a:lnTo>
                    <a:lnTo>
                      <a:pt x="572" y="355"/>
                    </a:lnTo>
                    <a:lnTo>
                      <a:pt x="555" y="356"/>
                    </a:lnTo>
                    <a:lnTo>
                      <a:pt x="534" y="371"/>
                    </a:lnTo>
                    <a:lnTo>
                      <a:pt x="496" y="376"/>
                    </a:lnTo>
                    <a:lnTo>
                      <a:pt x="478" y="387"/>
                    </a:lnTo>
                    <a:lnTo>
                      <a:pt x="458" y="385"/>
                    </a:lnTo>
                    <a:lnTo>
                      <a:pt x="424" y="371"/>
                    </a:lnTo>
                    <a:lnTo>
                      <a:pt x="394" y="367"/>
                    </a:lnTo>
                    <a:lnTo>
                      <a:pt x="399" y="384"/>
                    </a:lnTo>
                    <a:lnTo>
                      <a:pt x="420" y="395"/>
                    </a:lnTo>
                    <a:lnTo>
                      <a:pt x="416" y="421"/>
                    </a:lnTo>
                    <a:lnTo>
                      <a:pt x="424" y="452"/>
                    </a:lnTo>
                    <a:lnTo>
                      <a:pt x="461" y="454"/>
                    </a:lnTo>
                    <a:lnTo>
                      <a:pt x="459" y="463"/>
                    </a:lnTo>
                    <a:lnTo>
                      <a:pt x="430" y="475"/>
                    </a:lnTo>
                    <a:lnTo>
                      <a:pt x="418" y="497"/>
                    </a:lnTo>
                    <a:lnTo>
                      <a:pt x="368" y="515"/>
                    </a:lnTo>
                    <a:lnTo>
                      <a:pt x="354" y="528"/>
                    </a:lnTo>
                    <a:lnTo>
                      <a:pt x="320" y="529"/>
                    </a:lnTo>
                    <a:lnTo>
                      <a:pt x="298" y="503"/>
                    </a:lnTo>
                    <a:lnTo>
                      <a:pt x="278" y="456"/>
                    </a:lnTo>
                    <a:lnTo>
                      <a:pt x="257" y="435"/>
                    </a:lnTo>
                    <a:lnTo>
                      <a:pt x="280" y="410"/>
                    </a:lnTo>
                    <a:lnTo>
                      <a:pt x="272" y="392"/>
                    </a:lnTo>
                    <a:lnTo>
                      <a:pt x="257" y="379"/>
                    </a:lnTo>
                    <a:lnTo>
                      <a:pt x="252" y="353"/>
                    </a:lnTo>
                    <a:lnTo>
                      <a:pt x="257" y="319"/>
                    </a:lnTo>
                    <a:lnTo>
                      <a:pt x="272" y="290"/>
                    </a:lnTo>
                    <a:lnTo>
                      <a:pt x="269" y="279"/>
                    </a:lnTo>
                    <a:lnTo>
                      <a:pt x="255" y="277"/>
                    </a:lnTo>
                    <a:lnTo>
                      <a:pt x="230" y="285"/>
                    </a:lnTo>
                    <a:lnTo>
                      <a:pt x="203" y="280"/>
                    </a:lnTo>
                    <a:lnTo>
                      <a:pt x="183" y="283"/>
                    </a:lnTo>
                    <a:lnTo>
                      <a:pt x="150" y="245"/>
                    </a:lnTo>
                    <a:lnTo>
                      <a:pt x="127" y="236"/>
                    </a:lnTo>
                    <a:lnTo>
                      <a:pt x="90" y="241"/>
                    </a:lnTo>
                    <a:lnTo>
                      <a:pt x="63" y="234"/>
                    </a:lnTo>
                    <a:lnTo>
                      <a:pt x="46" y="223"/>
                    </a:lnTo>
                    <a:lnTo>
                      <a:pt x="42" y="186"/>
                    </a:lnTo>
                    <a:lnTo>
                      <a:pt x="27" y="163"/>
                    </a:lnTo>
                    <a:lnTo>
                      <a:pt x="22" y="143"/>
                    </a:lnTo>
                    <a:lnTo>
                      <a:pt x="0" y="141"/>
                    </a:lnTo>
                    <a:lnTo>
                      <a:pt x="14" y="119"/>
                    </a:lnTo>
                    <a:lnTo>
                      <a:pt x="23" y="80"/>
                    </a:lnTo>
                    <a:lnTo>
                      <a:pt x="34" y="62"/>
                    </a:lnTo>
                    <a:lnTo>
                      <a:pt x="66" y="25"/>
                    </a:lnTo>
                    <a:lnTo>
                      <a:pt x="91" y="17"/>
                    </a:lnTo>
                    <a:close/>
                    <a:moveTo>
                      <a:pt x="435" y="48"/>
                    </a:moveTo>
                    <a:lnTo>
                      <a:pt x="441" y="56"/>
                    </a:lnTo>
                    <a:lnTo>
                      <a:pt x="430" y="62"/>
                    </a:lnTo>
                    <a:lnTo>
                      <a:pt x="416" y="59"/>
                    </a:lnTo>
                    <a:lnTo>
                      <a:pt x="413" y="55"/>
                    </a:lnTo>
                    <a:lnTo>
                      <a:pt x="427" y="55"/>
                    </a:lnTo>
                    <a:lnTo>
                      <a:pt x="435" y="48"/>
                    </a:lnTo>
                    <a:close/>
                  </a:path>
                </a:pathLst>
              </a:custGeom>
              <a:grp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grpSp>
        <p:sp>
          <p:nvSpPr>
            <p:cNvPr id="197" name="Freeform 203">
              <a:extLst>
                <a:ext uri="{FF2B5EF4-FFF2-40B4-BE49-F238E27FC236}">
                  <a16:creationId xmlns:a16="http://schemas.microsoft.com/office/drawing/2014/main" id="{60E244D8-6AEC-9D48-8AEA-9FD93BCD5BFE}"/>
                </a:ext>
              </a:extLst>
            </p:cNvPr>
            <p:cNvSpPr>
              <a:spLocks noChangeAspect="1" noEditPoints="1"/>
            </p:cNvSpPr>
            <p:nvPr/>
          </p:nvSpPr>
          <p:spPr bwMode="gray">
            <a:xfrm>
              <a:off x="2974768" y="4124732"/>
              <a:ext cx="875238" cy="1108685"/>
            </a:xfrm>
            <a:custGeom>
              <a:avLst/>
              <a:gdLst>
                <a:gd name="T0" fmla="*/ 1046 w 1796"/>
                <a:gd name="T1" fmla="*/ 1760 h 1883"/>
                <a:gd name="T2" fmla="*/ 1146 w 1796"/>
                <a:gd name="T3" fmla="*/ 1609 h 1883"/>
                <a:gd name="T4" fmla="*/ 1159 w 1796"/>
                <a:gd name="T5" fmla="*/ 1479 h 1883"/>
                <a:gd name="T6" fmla="*/ 1328 w 1796"/>
                <a:gd name="T7" fmla="*/ 1338 h 1883"/>
                <a:gd name="T8" fmla="*/ 1379 w 1796"/>
                <a:gd name="T9" fmla="*/ 1315 h 1883"/>
                <a:gd name="T10" fmla="*/ 1504 w 1796"/>
                <a:gd name="T11" fmla="*/ 1271 h 1883"/>
                <a:gd name="T12" fmla="*/ 1575 w 1796"/>
                <a:gd name="T13" fmla="*/ 1086 h 1883"/>
                <a:gd name="T14" fmla="*/ 1617 w 1796"/>
                <a:gd name="T15" fmla="*/ 837 h 1883"/>
                <a:gd name="T16" fmla="*/ 1728 w 1796"/>
                <a:gd name="T17" fmla="*/ 716 h 1883"/>
                <a:gd name="T18" fmla="*/ 1784 w 1796"/>
                <a:gd name="T19" fmla="*/ 501 h 1883"/>
                <a:gd name="T20" fmla="*/ 1564 w 1796"/>
                <a:gd name="T21" fmla="*/ 374 h 1883"/>
                <a:gd name="T22" fmla="*/ 1363 w 1796"/>
                <a:gd name="T23" fmla="*/ 345 h 1883"/>
                <a:gd name="T24" fmla="*/ 1315 w 1796"/>
                <a:gd name="T25" fmla="*/ 318 h 1883"/>
                <a:gd name="T26" fmla="*/ 1199 w 1796"/>
                <a:gd name="T27" fmla="*/ 269 h 1883"/>
                <a:gd name="T28" fmla="*/ 1129 w 1796"/>
                <a:gd name="T29" fmla="*/ 323 h 1883"/>
                <a:gd name="T30" fmla="*/ 1037 w 1796"/>
                <a:gd name="T31" fmla="*/ 320 h 1883"/>
                <a:gd name="T32" fmla="*/ 1066 w 1796"/>
                <a:gd name="T33" fmla="*/ 278 h 1883"/>
                <a:gd name="T34" fmla="*/ 1097 w 1796"/>
                <a:gd name="T35" fmla="*/ 195 h 1883"/>
                <a:gd name="T36" fmla="*/ 1037 w 1796"/>
                <a:gd name="T37" fmla="*/ 46 h 1883"/>
                <a:gd name="T38" fmla="*/ 936 w 1796"/>
                <a:gd name="T39" fmla="*/ 142 h 1883"/>
                <a:gd name="T40" fmla="*/ 834 w 1796"/>
                <a:gd name="T41" fmla="*/ 127 h 1883"/>
                <a:gd name="T42" fmla="*/ 769 w 1796"/>
                <a:gd name="T43" fmla="*/ 147 h 1883"/>
                <a:gd name="T44" fmla="*/ 670 w 1796"/>
                <a:gd name="T45" fmla="*/ 171 h 1883"/>
                <a:gd name="T46" fmla="*/ 661 w 1796"/>
                <a:gd name="T47" fmla="*/ 60 h 1883"/>
                <a:gd name="T48" fmla="*/ 610 w 1796"/>
                <a:gd name="T49" fmla="*/ 1 h 1883"/>
                <a:gd name="T50" fmla="*/ 518 w 1796"/>
                <a:gd name="T51" fmla="*/ 52 h 1883"/>
                <a:gd name="T52" fmla="*/ 421 w 1796"/>
                <a:gd name="T53" fmla="*/ 60 h 1883"/>
                <a:gd name="T54" fmla="*/ 481 w 1796"/>
                <a:gd name="T55" fmla="*/ 139 h 1883"/>
                <a:gd name="T56" fmla="*/ 342 w 1796"/>
                <a:gd name="T57" fmla="*/ 205 h 1883"/>
                <a:gd name="T58" fmla="*/ 269 w 1796"/>
                <a:gd name="T59" fmla="*/ 156 h 1883"/>
                <a:gd name="T60" fmla="*/ 189 w 1796"/>
                <a:gd name="T61" fmla="*/ 193 h 1883"/>
                <a:gd name="T62" fmla="*/ 172 w 1796"/>
                <a:gd name="T63" fmla="*/ 247 h 1883"/>
                <a:gd name="T64" fmla="*/ 176 w 1796"/>
                <a:gd name="T65" fmla="*/ 430 h 1883"/>
                <a:gd name="T66" fmla="*/ 36 w 1796"/>
                <a:gd name="T67" fmla="*/ 510 h 1883"/>
                <a:gd name="T68" fmla="*/ 42 w 1796"/>
                <a:gd name="T69" fmla="*/ 651 h 1883"/>
                <a:gd name="T70" fmla="*/ 122 w 1796"/>
                <a:gd name="T71" fmla="*/ 688 h 1883"/>
                <a:gd name="T72" fmla="*/ 249 w 1796"/>
                <a:gd name="T73" fmla="*/ 745 h 1883"/>
                <a:gd name="T74" fmla="*/ 395 w 1796"/>
                <a:gd name="T75" fmla="*/ 705 h 1883"/>
                <a:gd name="T76" fmla="*/ 483 w 1796"/>
                <a:gd name="T77" fmla="*/ 818 h 1883"/>
                <a:gd name="T78" fmla="*/ 599 w 1796"/>
                <a:gd name="T79" fmla="*/ 868 h 1883"/>
                <a:gd name="T80" fmla="*/ 631 w 1796"/>
                <a:gd name="T81" fmla="*/ 992 h 1883"/>
                <a:gd name="T82" fmla="*/ 743 w 1796"/>
                <a:gd name="T83" fmla="*/ 1081 h 1883"/>
                <a:gd name="T84" fmla="*/ 724 w 1796"/>
                <a:gd name="T85" fmla="*/ 1185 h 1883"/>
                <a:gd name="T86" fmla="*/ 805 w 1796"/>
                <a:gd name="T87" fmla="*/ 1278 h 1883"/>
                <a:gd name="T88" fmla="*/ 859 w 1796"/>
                <a:gd name="T89" fmla="*/ 1368 h 1883"/>
                <a:gd name="T90" fmla="*/ 913 w 1796"/>
                <a:gd name="T91" fmla="*/ 1449 h 1883"/>
                <a:gd name="T92" fmla="*/ 880 w 1796"/>
                <a:gd name="T93" fmla="*/ 1550 h 1883"/>
                <a:gd name="T94" fmla="*/ 774 w 1796"/>
                <a:gd name="T95" fmla="*/ 1685 h 1883"/>
                <a:gd name="T96" fmla="*/ 842 w 1796"/>
                <a:gd name="T97" fmla="*/ 1725 h 1883"/>
                <a:gd name="T98" fmla="*/ 931 w 1796"/>
                <a:gd name="T99" fmla="*/ 1810 h 1883"/>
                <a:gd name="T100" fmla="*/ 1086 w 1796"/>
                <a:gd name="T101" fmla="*/ 237 h 1883"/>
                <a:gd name="T102" fmla="*/ 1128 w 1796"/>
                <a:gd name="T103" fmla="*/ 246 h 1883"/>
                <a:gd name="T104" fmla="*/ 1171 w 1796"/>
                <a:gd name="T105" fmla="*/ 255 h 1883"/>
                <a:gd name="T106" fmla="*/ 1077 w 1796"/>
                <a:gd name="T107" fmla="*/ 314 h 1883"/>
                <a:gd name="T108" fmla="*/ 1171 w 1796"/>
                <a:gd name="T109" fmla="*/ 255 h 1883"/>
                <a:gd name="T110" fmla="*/ 1058 w 1796"/>
                <a:gd name="T111" fmla="*/ 246 h 1883"/>
                <a:gd name="T112" fmla="*/ 1091 w 1796"/>
                <a:gd name="T113" fmla="*/ 218 h 1883"/>
                <a:gd name="T114" fmla="*/ 1091 w 1796"/>
                <a:gd name="T115" fmla="*/ 218 h 1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96" h="1883">
                  <a:moveTo>
                    <a:pt x="939" y="1883"/>
                  </a:moveTo>
                  <a:lnTo>
                    <a:pt x="964" y="1861"/>
                  </a:lnTo>
                  <a:lnTo>
                    <a:pt x="982" y="1835"/>
                  </a:lnTo>
                  <a:lnTo>
                    <a:pt x="990" y="1804"/>
                  </a:lnTo>
                  <a:lnTo>
                    <a:pt x="1046" y="1760"/>
                  </a:lnTo>
                  <a:lnTo>
                    <a:pt x="1082" y="1706"/>
                  </a:lnTo>
                  <a:lnTo>
                    <a:pt x="1086" y="1688"/>
                  </a:lnTo>
                  <a:lnTo>
                    <a:pt x="1106" y="1649"/>
                  </a:lnTo>
                  <a:lnTo>
                    <a:pt x="1126" y="1621"/>
                  </a:lnTo>
                  <a:lnTo>
                    <a:pt x="1146" y="1609"/>
                  </a:lnTo>
                  <a:lnTo>
                    <a:pt x="1159" y="1592"/>
                  </a:lnTo>
                  <a:lnTo>
                    <a:pt x="1163" y="1541"/>
                  </a:lnTo>
                  <a:lnTo>
                    <a:pt x="1170" y="1533"/>
                  </a:lnTo>
                  <a:lnTo>
                    <a:pt x="1162" y="1520"/>
                  </a:lnTo>
                  <a:lnTo>
                    <a:pt x="1159" y="1479"/>
                  </a:lnTo>
                  <a:lnTo>
                    <a:pt x="1176" y="1444"/>
                  </a:lnTo>
                  <a:lnTo>
                    <a:pt x="1252" y="1375"/>
                  </a:lnTo>
                  <a:lnTo>
                    <a:pt x="1280" y="1360"/>
                  </a:lnTo>
                  <a:lnTo>
                    <a:pt x="1304" y="1355"/>
                  </a:lnTo>
                  <a:lnTo>
                    <a:pt x="1328" y="1338"/>
                  </a:lnTo>
                  <a:lnTo>
                    <a:pt x="1345" y="1334"/>
                  </a:lnTo>
                  <a:lnTo>
                    <a:pt x="1345" y="1324"/>
                  </a:lnTo>
                  <a:lnTo>
                    <a:pt x="1351" y="1317"/>
                  </a:lnTo>
                  <a:lnTo>
                    <a:pt x="1360" y="1322"/>
                  </a:lnTo>
                  <a:lnTo>
                    <a:pt x="1379" y="1315"/>
                  </a:lnTo>
                  <a:lnTo>
                    <a:pt x="1394" y="1318"/>
                  </a:lnTo>
                  <a:lnTo>
                    <a:pt x="1408" y="1313"/>
                  </a:lnTo>
                  <a:lnTo>
                    <a:pt x="1456" y="1313"/>
                  </a:lnTo>
                  <a:lnTo>
                    <a:pt x="1467" y="1295"/>
                  </a:lnTo>
                  <a:lnTo>
                    <a:pt x="1504" y="1271"/>
                  </a:lnTo>
                  <a:lnTo>
                    <a:pt x="1510" y="1234"/>
                  </a:lnTo>
                  <a:lnTo>
                    <a:pt x="1536" y="1202"/>
                  </a:lnTo>
                  <a:lnTo>
                    <a:pt x="1553" y="1166"/>
                  </a:lnTo>
                  <a:lnTo>
                    <a:pt x="1569" y="1146"/>
                  </a:lnTo>
                  <a:lnTo>
                    <a:pt x="1575" y="1086"/>
                  </a:lnTo>
                  <a:lnTo>
                    <a:pt x="1594" y="1058"/>
                  </a:lnTo>
                  <a:lnTo>
                    <a:pt x="1606" y="971"/>
                  </a:lnTo>
                  <a:lnTo>
                    <a:pt x="1600" y="908"/>
                  </a:lnTo>
                  <a:lnTo>
                    <a:pt x="1607" y="848"/>
                  </a:lnTo>
                  <a:lnTo>
                    <a:pt x="1617" y="837"/>
                  </a:lnTo>
                  <a:lnTo>
                    <a:pt x="1629" y="838"/>
                  </a:lnTo>
                  <a:lnTo>
                    <a:pt x="1643" y="828"/>
                  </a:lnTo>
                  <a:lnTo>
                    <a:pt x="1680" y="756"/>
                  </a:lnTo>
                  <a:lnTo>
                    <a:pt x="1725" y="722"/>
                  </a:lnTo>
                  <a:lnTo>
                    <a:pt x="1728" y="716"/>
                  </a:lnTo>
                  <a:lnTo>
                    <a:pt x="1779" y="651"/>
                  </a:lnTo>
                  <a:lnTo>
                    <a:pt x="1792" y="608"/>
                  </a:lnTo>
                  <a:lnTo>
                    <a:pt x="1796" y="566"/>
                  </a:lnTo>
                  <a:lnTo>
                    <a:pt x="1796" y="547"/>
                  </a:lnTo>
                  <a:lnTo>
                    <a:pt x="1784" y="501"/>
                  </a:lnTo>
                  <a:lnTo>
                    <a:pt x="1768" y="479"/>
                  </a:lnTo>
                  <a:lnTo>
                    <a:pt x="1695" y="469"/>
                  </a:lnTo>
                  <a:lnTo>
                    <a:pt x="1624" y="408"/>
                  </a:lnTo>
                  <a:lnTo>
                    <a:pt x="1585" y="382"/>
                  </a:lnTo>
                  <a:lnTo>
                    <a:pt x="1564" y="374"/>
                  </a:lnTo>
                  <a:lnTo>
                    <a:pt x="1473" y="371"/>
                  </a:lnTo>
                  <a:lnTo>
                    <a:pt x="1400" y="354"/>
                  </a:lnTo>
                  <a:lnTo>
                    <a:pt x="1397" y="346"/>
                  </a:lnTo>
                  <a:lnTo>
                    <a:pt x="1355" y="363"/>
                  </a:lnTo>
                  <a:lnTo>
                    <a:pt x="1363" y="345"/>
                  </a:lnTo>
                  <a:lnTo>
                    <a:pt x="1357" y="338"/>
                  </a:lnTo>
                  <a:lnTo>
                    <a:pt x="1346" y="338"/>
                  </a:lnTo>
                  <a:lnTo>
                    <a:pt x="1351" y="325"/>
                  </a:lnTo>
                  <a:lnTo>
                    <a:pt x="1337" y="308"/>
                  </a:lnTo>
                  <a:lnTo>
                    <a:pt x="1315" y="318"/>
                  </a:lnTo>
                  <a:lnTo>
                    <a:pt x="1309" y="298"/>
                  </a:lnTo>
                  <a:lnTo>
                    <a:pt x="1277" y="286"/>
                  </a:lnTo>
                  <a:lnTo>
                    <a:pt x="1260" y="284"/>
                  </a:lnTo>
                  <a:lnTo>
                    <a:pt x="1233" y="271"/>
                  </a:lnTo>
                  <a:lnTo>
                    <a:pt x="1199" y="269"/>
                  </a:lnTo>
                  <a:lnTo>
                    <a:pt x="1190" y="272"/>
                  </a:lnTo>
                  <a:lnTo>
                    <a:pt x="1171" y="308"/>
                  </a:lnTo>
                  <a:lnTo>
                    <a:pt x="1148" y="317"/>
                  </a:lnTo>
                  <a:lnTo>
                    <a:pt x="1131" y="352"/>
                  </a:lnTo>
                  <a:lnTo>
                    <a:pt x="1129" y="323"/>
                  </a:lnTo>
                  <a:lnTo>
                    <a:pt x="1071" y="325"/>
                  </a:lnTo>
                  <a:lnTo>
                    <a:pt x="1058" y="331"/>
                  </a:lnTo>
                  <a:lnTo>
                    <a:pt x="1038" y="325"/>
                  </a:lnTo>
                  <a:lnTo>
                    <a:pt x="1032" y="334"/>
                  </a:lnTo>
                  <a:lnTo>
                    <a:pt x="1037" y="320"/>
                  </a:lnTo>
                  <a:lnTo>
                    <a:pt x="1060" y="325"/>
                  </a:lnTo>
                  <a:lnTo>
                    <a:pt x="1071" y="318"/>
                  </a:lnTo>
                  <a:lnTo>
                    <a:pt x="1071" y="298"/>
                  </a:lnTo>
                  <a:lnTo>
                    <a:pt x="1058" y="289"/>
                  </a:lnTo>
                  <a:lnTo>
                    <a:pt x="1066" y="278"/>
                  </a:lnTo>
                  <a:lnTo>
                    <a:pt x="1055" y="278"/>
                  </a:lnTo>
                  <a:lnTo>
                    <a:pt x="1048" y="291"/>
                  </a:lnTo>
                  <a:lnTo>
                    <a:pt x="1040" y="292"/>
                  </a:lnTo>
                  <a:lnTo>
                    <a:pt x="1037" y="259"/>
                  </a:lnTo>
                  <a:lnTo>
                    <a:pt x="1097" y="195"/>
                  </a:lnTo>
                  <a:lnTo>
                    <a:pt x="1105" y="164"/>
                  </a:lnTo>
                  <a:lnTo>
                    <a:pt x="1080" y="157"/>
                  </a:lnTo>
                  <a:lnTo>
                    <a:pt x="1065" y="110"/>
                  </a:lnTo>
                  <a:lnTo>
                    <a:pt x="1048" y="57"/>
                  </a:lnTo>
                  <a:lnTo>
                    <a:pt x="1037" y="46"/>
                  </a:lnTo>
                  <a:lnTo>
                    <a:pt x="1028" y="52"/>
                  </a:lnTo>
                  <a:lnTo>
                    <a:pt x="995" y="97"/>
                  </a:lnTo>
                  <a:lnTo>
                    <a:pt x="986" y="120"/>
                  </a:lnTo>
                  <a:lnTo>
                    <a:pt x="961" y="142"/>
                  </a:lnTo>
                  <a:lnTo>
                    <a:pt x="936" y="142"/>
                  </a:lnTo>
                  <a:lnTo>
                    <a:pt x="914" y="148"/>
                  </a:lnTo>
                  <a:lnTo>
                    <a:pt x="896" y="134"/>
                  </a:lnTo>
                  <a:lnTo>
                    <a:pt x="870" y="125"/>
                  </a:lnTo>
                  <a:lnTo>
                    <a:pt x="851" y="130"/>
                  </a:lnTo>
                  <a:lnTo>
                    <a:pt x="834" y="127"/>
                  </a:lnTo>
                  <a:lnTo>
                    <a:pt x="829" y="130"/>
                  </a:lnTo>
                  <a:lnTo>
                    <a:pt x="828" y="154"/>
                  </a:lnTo>
                  <a:lnTo>
                    <a:pt x="803" y="148"/>
                  </a:lnTo>
                  <a:lnTo>
                    <a:pt x="780" y="153"/>
                  </a:lnTo>
                  <a:lnTo>
                    <a:pt x="769" y="147"/>
                  </a:lnTo>
                  <a:lnTo>
                    <a:pt x="752" y="161"/>
                  </a:lnTo>
                  <a:lnTo>
                    <a:pt x="713" y="171"/>
                  </a:lnTo>
                  <a:lnTo>
                    <a:pt x="703" y="181"/>
                  </a:lnTo>
                  <a:lnTo>
                    <a:pt x="682" y="178"/>
                  </a:lnTo>
                  <a:lnTo>
                    <a:pt x="670" y="171"/>
                  </a:lnTo>
                  <a:lnTo>
                    <a:pt x="655" y="156"/>
                  </a:lnTo>
                  <a:lnTo>
                    <a:pt x="653" y="136"/>
                  </a:lnTo>
                  <a:lnTo>
                    <a:pt x="644" y="123"/>
                  </a:lnTo>
                  <a:lnTo>
                    <a:pt x="650" y="72"/>
                  </a:lnTo>
                  <a:lnTo>
                    <a:pt x="661" y="60"/>
                  </a:lnTo>
                  <a:lnTo>
                    <a:pt x="655" y="35"/>
                  </a:lnTo>
                  <a:lnTo>
                    <a:pt x="636" y="31"/>
                  </a:lnTo>
                  <a:lnTo>
                    <a:pt x="640" y="14"/>
                  </a:lnTo>
                  <a:lnTo>
                    <a:pt x="635" y="0"/>
                  </a:lnTo>
                  <a:lnTo>
                    <a:pt x="610" y="1"/>
                  </a:lnTo>
                  <a:lnTo>
                    <a:pt x="610" y="14"/>
                  </a:lnTo>
                  <a:lnTo>
                    <a:pt x="594" y="31"/>
                  </a:lnTo>
                  <a:lnTo>
                    <a:pt x="577" y="32"/>
                  </a:lnTo>
                  <a:lnTo>
                    <a:pt x="556" y="47"/>
                  </a:lnTo>
                  <a:lnTo>
                    <a:pt x="518" y="52"/>
                  </a:lnTo>
                  <a:lnTo>
                    <a:pt x="500" y="63"/>
                  </a:lnTo>
                  <a:lnTo>
                    <a:pt x="480" y="61"/>
                  </a:lnTo>
                  <a:lnTo>
                    <a:pt x="446" y="47"/>
                  </a:lnTo>
                  <a:lnTo>
                    <a:pt x="416" y="43"/>
                  </a:lnTo>
                  <a:lnTo>
                    <a:pt x="421" y="60"/>
                  </a:lnTo>
                  <a:lnTo>
                    <a:pt x="442" y="71"/>
                  </a:lnTo>
                  <a:lnTo>
                    <a:pt x="438" y="97"/>
                  </a:lnTo>
                  <a:lnTo>
                    <a:pt x="446" y="128"/>
                  </a:lnTo>
                  <a:lnTo>
                    <a:pt x="483" y="130"/>
                  </a:lnTo>
                  <a:lnTo>
                    <a:pt x="481" y="139"/>
                  </a:lnTo>
                  <a:lnTo>
                    <a:pt x="452" y="151"/>
                  </a:lnTo>
                  <a:lnTo>
                    <a:pt x="440" y="173"/>
                  </a:lnTo>
                  <a:lnTo>
                    <a:pt x="390" y="191"/>
                  </a:lnTo>
                  <a:lnTo>
                    <a:pt x="376" y="204"/>
                  </a:lnTo>
                  <a:lnTo>
                    <a:pt x="342" y="205"/>
                  </a:lnTo>
                  <a:lnTo>
                    <a:pt x="320" y="179"/>
                  </a:lnTo>
                  <a:lnTo>
                    <a:pt x="310" y="187"/>
                  </a:lnTo>
                  <a:lnTo>
                    <a:pt x="305" y="161"/>
                  </a:lnTo>
                  <a:lnTo>
                    <a:pt x="293" y="147"/>
                  </a:lnTo>
                  <a:lnTo>
                    <a:pt x="269" y="156"/>
                  </a:lnTo>
                  <a:lnTo>
                    <a:pt x="257" y="148"/>
                  </a:lnTo>
                  <a:lnTo>
                    <a:pt x="251" y="161"/>
                  </a:lnTo>
                  <a:lnTo>
                    <a:pt x="183" y="161"/>
                  </a:lnTo>
                  <a:lnTo>
                    <a:pt x="183" y="190"/>
                  </a:lnTo>
                  <a:lnTo>
                    <a:pt x="189" y="193"/>
                  </a:lnTo>
                  <a:lnTo>
                    <a:pt x="206" y="191"/>
                  </a:lnTo>
                  <a:lnTo>
                    <a:pt x="215" y="212"/>
                  </a:lnTo>
                  <a:lnTo>
                    <a:pt x="197" y="210"/>
                  </a:lnTo>
                  <a:lnTo>
                    <a:pt x="172" y="216"/>
                  </a:lnTo>
                  <a:lnTo>
                    <a:pt x="172" y="247"/>
                  </a:lnTo>
                  <a:lnTo>
                    <a:pt x="193" y="266"/>
                  </a:lnTo>
                  <a:lnTo>
                    <a:pt x="201" y="297"/>
                  </a:lnTo>
                  <a:lnTo>
                    <a:pt x="195" y="335"/>
                  </a:lnTo>
                  <a:lnTo>
                    <a:pt x="186" y="380"/>
                  </a:lnTo>
                  <a:lnTo>
                    <a:pt x="176" y="430"/>
                  </a:lnTo>
                  <a:lnTo>
                    <a:pt x="171" y="435"/>
                  </a:lnTo>
                  <a:lnTo>
                    <a:pt x="154" y="433"/>
                  </a:lnTo>
                  <a:lnTo>
                    <a:pt x="99" y="450"/>
                  </a:lnTo>
                  <a:lnTo>
                    <a:pt x="61" y="472"/>
                  </a:lnTo>
                  <a:lnTo>
                    <a:pt x="36" y="510"/>
                  </a:lnTo>
                  <a:lnTo>
                    <a:pt x="34" y="540"/>
                  </a:lnTo>
                  <a:lnTo>
                    <a:pt x="16" y="547"/>
                  </a:lnTo>
                  <a:lnTo>
                    <a:pt x="0" y="586"/>
                  </a:lnTo>
                  <a:lnTo>
                    <a:pt x="11" y="620"/>
                  </a:lnTo>
                  <a:lnTo>
                    <a:pt x="42" y="651"/>
                  </a:lnTo>
                  <a:lnTo>
                    <a:pt x="37" y="670"/>
                  </a:lnTo>
                  <a:lnTo>
                    <a:pt x="65" y="674"/>
                  </a:lnTo>
                  <a:lnTo>
                    <a:pt x="78" y="693"/>
                  </a:lnTo>
                  <a:lnTo>
                    <a:pt x="99" y="697"/>
                  </a:lnTo>
                  <a:lnTo>
                    <a:pt x="122" y="688"/>
                  </a:lnTo>
                  <a:lnTo>
                    <a:pt x="152" y="665"/>
                  </a:lnTo>
                  <a:lnTo>
                    <a:pt x="152" y="741"/>
                  </a:lnTo>
                  <a:lnTo>
                    <a:pt x="163" y="747"/>
                  </a:lnTo>
                  <a:lnTo>
                    <a:pt x="189" y="741"/>
                  </a:lnTo>
                  <a:lnTo>
                    <a:pt x="249" y="745"/>
                  </a:lnTo>
                  <a:lnTo>
                    <a:pt x="288" y="728"/>
                  </a:lnTo>
                  <a:lnTo>
                    <a:pt x="328" y="688"/>
                  </a:lnTo>
                  <a:lnTo>
                    <a:pt x="384" y="682"/>
                  </a:lnTo>
                  <a:lnTo>
                    <a:pt x="393" y="691"/>
                  </a:lnTo>
                  <a:lnTo>
                    <a:pt x="395" y="705"/>
                  </a:lnTo>
                  <a:lnTo>
                    <a:pt x="395" y="733"/>
                  </a:lnTo>
                  <a:lnTo>
                    <a:pt x="387" y="756"/>
                  </a:lnTo>
                  <a:lnTo>
                    <a:pt x="399" y="787"/>
                  </a:lnTo>
                  <a:lnTo>
                    <a:pt x="429" y="809"/>
                  </a:lnTo>
                  <a:lnTo>
                    <a:pt x="483" y="818"/>
                  </a:lnTo>
                  <a:lnTo>
                    <a:pt x="497" y="832"/>
                  </a:lnTo>
                  <a:lnTo>
                    <a:pt x="535" y="845"/>
                  </a:lnTo>
                  <a:lnTo>
                    <a:pt x="554" y="860"/>
                  </a:lnTo>
                  <a:lnTo>
                    <a:pt x="585" y="860"/>
                  </a:lnTo>
                  <a:lnTo>
                    <a:pt x="599" y="868"/>
                  </a:lnTo>
                  <a:lnTo>
                    <a:pt x="611" y="882"/>
                  </a:lnTo>
                  <a:lnTo>
                    <a:pt x="622" y="919"/>
                  </a:lnTo>
                  <a:lnTo>
                    <a:pt x="619" y="939"/>
                  </a:lnTo>
                  <a:lnTo>
                    <a:pt x="613" y="945"/>
                  </a:lnTo>
                  <a:lnTo>
                    <a:pt x="631" y="992"/>
                  </a:lnTo>
                  <a:lnTo>
                    <a:pt x="712" y="999"/>
                  </a:lnTo>
                  <a:lnTo>
                    <a:pt x="707" y="1022"/>
                  </a:lnTo>
                  <a:lnTo>
                    <a:pt x="712" y="1039"/>
                  </a:lnTo>
                  <a:lnTo>
                    <a:pt x="729" y="1046"/>
                  </a:lnTo>
                  <a:lnTo>
                    <a:pt x="743" y="1081"/>
                  </a:lnTo>
                  <a:lnTo>
                    <a:pt x="741" y="1128"/>
                  </a:lnTo>
                  <a:lnTo>
                    <a:pt x="732" y="1154"/>
                  </a:lnTo>
                  <a:lnTo>
                    <a:pt x="735" y="1174"/>
                  </a:lnTo>
                  <a:lnTo>
                    <a:pt x="726" y="1179"/>
                  </a:lnTo>
                  <a:lnTo>
                    <a:pt x="724" y="1185"/>
                  </a:lnTo>
                  <a:lnTo>
                    <a:pt x="732" y="1199"/>
                  </a:lnTo>
                  <a:lnTo>
                    <a:pt x="732" y="1267"/>
                  </a:lnTo>
                  <a:lnTo>
                    <a:pt x="735" y="1273"/>
                  </a:lnTo>
                  <a:lnTo>
                    <a:pt x="774" y="1285"/>
                  </a:lnTo>
                  <a:lnTo>
                    <a:pt x="805" y="1278"/>
                  </a:lnTo>
                  <a:lnTo>
                    <a:pt x="829" y="1288"/>
                  </a:lnTo>
                  <a:lnTo>
                    <a:pt x="837" y="1300"/>
                  </a:lnTo>
                  <a:lnTo>
                    <a:pt x="840" y="1351"/>
                  </a:lnTo>
                  <a:lnTo>
                    <a:pt x="846" y="1361"/>
                  </a:lnTo>
                  <a:lnTo>
                    <a:pt x="859" y="1368"/>
                  </a:lnTo>
                  <a:lnTo>
                    <a:pt x="889" y="1363"/>
                  </a:lnTo>
                  <a:lnTo>
                    <a:pt x="894" y="1368"/>
                  </a:lnTo>
                  <a:lnTo>
                    <a:pt x="899" y="1395"/>
                  </a:lnTo>
                  <a:lnTo>
                    <a:pt x="891" y="1451"/>
                  </a:lnTo>
                  <a:lnTo>
                    <a:pt x="913" y="1449"/>
                  </a:lnTo>
                  <a:lnTo>
                    <a:pt x="918" y="1454"/>
                  </a:lnTo>
                  <a:lnTo>
                    <a:pt x="928" y="1488"/>
                  </a:lnTo>
                  <a:lnTo>
                    <a:pt x="925" y="1527"/>
                  </a:lnTo>
                  <a:lnTo>
                    <a:pt x="904" y="1544"/>
                  </a:lnTo>
                  <a:lnTo>
                    <a:pt x="880" y="1550"/>
                  </a:lnTo>
                  <a:lnTo>
                    <a:pt x="828" y="1600"/>
                  </a:lnTo>
                  <a:lnTo>
                    <a:pt x="789" y="1654"/>
                  </a:lnTo>
                  <a:lnTo>
                    <a:pt x="746" y="1693"/>
                  </a:lnTo>
                  <a:lnTo>
                    <a:pt x="760" y="1694"/>
                  </a:lnTo>
                  <a:lnTo>
                    <a:pt x="774" y="1685"/>
                  </a:lnTo>
                  <a:lnTo>
                    <a:pt x="784" y="1686"/>
                  </a:lnTo>
                  <a:lnTo>
                    <a:pt x="814" y="1713"/>
                  </a:lnTo>
                  <a:lnTo>
                    <a:pt x="820" y="1733"/>
                  </a:lnTo>
                  <a:lnTo>
                    <a:pt x="829" y="1733"/>
                  </a:lnTo>
                  <a:lnTo>
                    <a:pt x="842" y="1725"/>
                  </a:lnTo>
                  <a:lnTo>
                    <a:pt x="859" y="1747"/>
                  </a:lnTo>
                  <a:lnTo>
                    <a:pt x="885" y="1757"/>
                  </a:lnTo>
                  <a:lnTo>
                    <a:pt x="899" y="1774"/>
                  </a:lnTo>
                  <a:lnTo>
                    <a:pt x="922" y="1784"/>
                  </a:lnTo>
                  <a:lnTo>
                    <a:pt x="931" y="1810"/>
                  </a:lnTo>
                  <a:lnTo>
                    <a:pt x="953" y="1828"/>
                  </a:lnTo>
                  <a:lnTo>
                    <a:pt x="938" y="1850"/>
                  </a:lnTo>
                  <a:lnTo>
                    <a:pt x="936" y="1875"/>
                  </a:lnTo>
                  <a:lnTo>
                    <a:pt x="939" y="1883"/>
                  </a:lnTo>
                  <a:close/>
                  <a:moveTo>
                    <a:pt x="1086" y="237"/>
                  </a:moveTo>
                  <a:lnTo>
                    <a:pt x="1088" y="244"/>
                  </a:lnTo>
                  <a:lnTo>
                    <a:pt x="1082" y="244"/>
                  </a:lnTo>
                  <a:lnTo>
                    <a:pt x="1080" y="238"/>
                  </a:lnTo>
                  <a:lnTo>
                    <a:pt x="1086" y="237"/>
                  </a:lnTo>
                  <a:close/>
                  <a:moveTo>
                    <a:pt x="1128" y="246"/>
                  </a:moveTo>
                  <a:lnTo>
                    <a:pt x="1112" y="247"/>
                  </a:lnTo>
                  <a:lnTo>
                    <a:pt x="1123" y="237"/>
                  </a:lnTo>
                  <a:lnTo>
                    <a:pt x="1128" y="238"/>
                  </a:lnTo>
                  <a:lnTo>
                    <a:pt x="1128" y="246"/>
                  </a:lnTo>
                  <a:close/>
                  <a:moveTo>
                    <a:pt x="1171" y="255"/>
                  </a:moveTo>
                  <a:lnTo>
                    <a:pt x="1170" y="280"/>
                  </a:lnTo>
                  <a:lnTo>
                    <a:pt x="1143" y="309"/>
                  </a:lnTo>
                  <a:lnTo>
                    <a:pt x="1109" y="322"/>
                  </a:lnTo>
                  <a:lnTo>
                    <a:pt x="1088" y="320"/>
                  </a:lnTo>
                  <a:lnTo>
                    <a:pt x="1077" y="314"/>
                  </a:lnTo>
                  <a:lnTo>
                    <a:pt x="1074" y="261"/>
                  </a:lnTo>
                  <a:lnTo>
                    <a:pt x="1088" y="250"/>
                  </a:lnTo>
                  <a:lnTo>
                    <a:pt x="1126" y="252"/>
                  </a:lnTo>
                  <a:lnTo>
                    <a:pt x="1153" y="247"/>
                  </a:lnTo>
                  <a:lnTo>
                    <a:pt x="1171" y="255"/>
                  </a:lnTo>
                  <a:close/>
                  <a:moveTo>
                    <a:pt x="1074" y="254"/>
                  </a:moveTo>
                  <a:lnTo>
                    <a:pt x="1058" y="272"/>
                  </a:lnTo>
                  <a:lnTo>
                    <a:pt x="1052" y="272"/>
                  </a:lnTo>
                  <a:lnTo>
                    <a:pt x="1048" y="263"/>
                  </a:lnTo>
                  <a:lnTo>
                    <a:pt x="1058" y="246"/>
                  </a:lnTo>
                  <a:lnTo>
                    <a:pt x="1074" y="241"/>
                  </a:lnTo>
                  <a:lnTo>
                    <a:pt x="1065" y="250"/>
                  </a:lnTo>
                  <a:lnTo>
                    <a:pt x="1072" y="250"/>
                  </a:lnTo>
                  <a:lnTo>
                    <a:pt x="1074" y="254"/>
                  </a:lnTo>
                  <a:close/>
                  <a:moveTo>
                    <a:pt x="1091" y="218"/>
                  </a:moveTo>
                  <a:lnTo>
                    <a:pt x="1083" y="224"/>
                  </a:lnTo>
                  <a:lnTo>
                    <a:pt x="1089" y="235"/>
                  </a:lnTo>
                  <a:lnTo>
                    <a:pt x="1109" y="238"/>
                  </a:lnTo>
                  <a:lnTo>
                    <a:pt x="1109" y="232"/>
                  </a:lnTo>
                  <a:lnTo>
                    <a:pt x="1091" y="218"/>
                  </a:lnTo>
                  <a:close/>
                </a:path>
              </a:pathLst>
            </a:custGeom>
            <a:solidFill>
              <a:schemeClr val="accent1"/>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98" name="Freeform 204">
              <a:extLst>
                <a:ext uri="{FF2B5EF4-FFF2-40B4-BE49-F238E27FC236}">
                  <a16:creationId xmlns:a16="http://schemas.microsoft.com/office/drawing/2014/main" id="{B3762147-811C-714F-AF5C-69553F9E641A}"/>
                </a:ext>
              </a:extLst>
            </p:cNvPr>
            <p:cNvSpPr>
              <a:spLocks noChangeAspect="1" noEditPoints="1"/>
            </p:cNvSpPr>
            <p:nvPr/>
          </p:nvSpPr>
          <p:spPr bwMode="gray">
            <a:xfrm>
              <a:off x="2984317" y="4866417"/>
              <a:ext cx="442393" cy="1185542"/>
            </a:xfrm>
            <a:custGeom>
              <a:avLst/>
              <a:gdLst>
                <a:gd name="T0" fmla="*/ 50 w 908"/>
                <a:gd name="T1" fmla="*/ 1759 h 2014"/>
                <a:gd name="T2" fmla="*/ 0 w 908"/>
                <a:gd name="T3" fmla="*/ 1647 h 2014"/>
                <a:gd name="T4" fmla="*/ 44 w 908"/>
                <a:gd name="T5" fmla="*/ 1471 h 2014"/>
                <a:gd name="T6" fmla="*/ 88 w 908"/>
                <a:gd name="T7" fmla="*/ 1302 h 2014"/>
                <a:gd name="T8" fmla="*/ 95 w 908"/>
                <a:gd name="T9" fmla="*/ 1272 h 2014"/>
                <a:gd name="T10" fmla="*/ 67 w 908"/>
                <a:gd name="T11" fmla="*/ 1202 h 2014"/>
                <a:gd name="T12" fmla="*/ 76 w 908"/>
                <a:gd name="T13" fmla="*/ 1095 h 2014"/>
                <a:gd name="T14" fmla="*/ 92 w 908"/>
                <a:gd name="T15" fmla="*/ 921 h 2014"/>
                <a:gd name="T16" fmla="*/ 107 w 908"/>
                <a:gd name="T17" fmla="*/ 777 h 2014"/>
                <a:gd name="T18" fmla="*/ 146 w 908"/>
                <a:gd name="T19" fmla="*/ 670 h 2014"/>
                <a:gd name="T20" fmla="*/ 149 w 908"/>
                <a:gd name="T21" fmla="*/ 571 h 2014"/>
                <a:gd name="T22" fmla="*/ 132 w 908"/>
                <a:gd name="T23" fmla="*/ 486 h 2014"/>
                <a:gd name="T24" fmla="*/ 198 w 908"/>
                <a:gd name="T25" fmla="*/ 298 h 2014"/>
                <a:gd name="T26" fmla="*/ 222 w 908"/>
                <a:gd name="T27" fmla="*/ 173 h 2014"/>
                <a:gd name="T28" fmla="*/ 290 w 908"/>
                <a:gd name="T29" fmla="*/ 71 h 2014"/>
                <a:gd name="T30" fmla="*/ 396 w 908"/>
                <a:gd name="T31" fmla="*/ 23 h 2014"/>
                <a:gd name="T32" fmla="*/ 491 w 908"/>
                <a:gd name="T33" fmla="*/ 26 h 2014"/>
                <a:gd name="T34" fmla="*/ 577 w 908"/>
                <a:gd name="T35" fmla="*/ 108 h 2014"/>
                <a:gd name="T36" fmla="*/ 721 w 908"/>
                <a:gd name="T37" fmla="*/ 196 h 2014"/>
                <a:gd name="T38" fmla="*/ 737 w 908"/>
                <a:gd name="T39" fmla="*/ 274 h 2014"/>
                <a:gd name="T40" fmla="*/ 871 w 908"/>
                <a:gd name="T41" fmla="*/ 190 h 2014"/>
                <a:gd name="T42" fmla="*/ 905 w 908"/>
                <a:gd name="T43" fmla="*/ 266 h 2014"/>
                <a:gd name="T44" fmla="*/ 769 w 908"/>
                <a:gd name="T45" fmla="*/ 393 h 2014"/>
                <a:gd name="T46" fmla="*/ 704 w 908"/>
                <a:gd name="T47" fmla="*/ 524 h 2014"/>
                <a:gd name="T48" fmla="*/ 684 w 908"/>
                <a:gd name="T49" fmla="*/ 651 h 2014"/>
                <a:gd name="T50" fmla="*/ 735 w 908"/>
                <a:gd name="T51" fmla="*/ 738 h 2014"/>
                <a:gd name="T52" fmla="*/ 764 w 908"/>
                <a:gd name="T53" fmla="*/ 809 h 2014"/>
                <a:gd name="T54" fmla="*/ 644 w 908"/>
                <a:gd name="T55" fmla="*/ 908 h 2014"/>
                <a:gd name="T56" fmla="*/ 510 w 908"/>
                <a:gd name="T57" fmla="*/ 934 h 2014"/>
                <a:gd name="T58" fmla="*/ 508 w 908"/>
                <a:gd name="T59" fmla="*/ 982 h 2014"/>
                <a:gd name="T60" fmla="*/ 474 w 908"/>
                <a:gd name="T61" fmla="*/ 1052 h 2014"/>
                <a:gd name="T62" fmla="*/ 379 w 908"/>
                <a:gd name="T63" fmla="*/ 1033 h 2014"/>
                <a:gd name="T64" fmla="*/ 410 w 908"/>
                <a:gd name="T65" fmla="*/ 1129 h 2014"/>
                <a:gd name="T66" fmla="*/ 449 w 908"/>
                <a:gd name="T67" fmla="*/ 1117 h 2014"/>
                <a:gd name="T68" fmla="*/ 420 w 908"/>
                <a:gd name="T69" fmla="*/ 1143 h 2014"/>
                <a:gd name="T70" fmla="*/ 420 w 908"/>
                <a:gd name="T71" fmla="*/ 1166 h 2014"/>
                <a:gd name="T72" fmla="*/ 378 w 908"/>
                <a:gd name="T73" fmla="*/ 1251 h 2014"/>
                <a:gd name="T74" fmla="*/ 319 w 908"/>
                <a:gd name="T75" fmla="*/ 1307 h 2014"/>
                <a:gd name="T76" fmla="*/ 280 w 908"/>
                <a:gd name="T77" fmla="*/ 1398 h 2014"/>
                <a:gd name="T78" fmla="*/ 356 w 908"/>
                <a:gd name="T79" fmla="*/ 1461 h 2014"/>
                <a:gd name="T80" fmla="*/ 344 w 908"/>
                <a:gd name="T81" fmla="*/ 1504 h 2014"/>
                <a:gd name="T82" fmla="*/ 259 w 908"/>
                <a:gd name="T83" fmla="*/ 1589 h 2014"/>
                <a:gd name="T84" fmla="*/ 217 w 908"/>
                <a:gd name="T85" fmla="*/ 1617 h 2014"/>
                <a:gd name="T86" fmla="*/ 183 w 908"/>
                <a:gd name="T87" fmla="*/ 1710 h 2014"/>
                <a:gd name="T88" fmla="*/ 202 w 908"/>
                <a:gd name="T89" fmla="*/ 1756 h 2014"/>
                <a:gd name="T90" fmla="*/ 413 w 908"/>
                <a:gd name="T91" fmla="*/ 2002 h 2014"/>
                <a:gd name="T92" fmla="*/ 219 w 908"/>
                <a:gd name="T93" fmla="*/ 1827 h 2014"/>
                <a:gd name="T94" fmla="*/ 253 w 908"/>
                <a:gd name="T95" fmla="*/ 1909 h 2014"/>
                <a:gd name="T96" fmla="*/ 364 w 908"/>
                <a:gd name="T97" fmla="*/ 2008 h 2014"/>
                <a:gd name="T98" fmla="*/ 222 w 908"/>
                <a:gd name="T99" fmla="*/ 2001 h 2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8" h="2014">
                  <a:moveTo>
                    <a:pt x="231" y="1801"/>
                  </a:moveTo>
                  <a:lnTo>
                    <a:pt x="166" y="1782"/>
                  </a:lnTo>
                  <a:lnTo>
                    <a:pt x="59" y="1778"/>
                  </a:lnTo>
                  <a:lnTo>
                    <a:pt x="50" y="1759"/>
                  </a:lnTo>
                  <a:lnTo>
                    <a:pt x="48" y="1683"/>
                  </a:lnTo>
                  <a:lnTo>
                    <a:pt x="20" y="1681"/>
                  </a:lnTo>
                  <a:lnTo>
                    <a:pt x="5" y="1693"/>
                  </a:lnTo>
                  <a:lnTo>
                    <a:pt x="0" y="1647"/>
                  </a:lnTo>
                  <a:lnTo>
                    <a:pt x="7" y="1601"/>
                  </a:lnTo>
                  <a:lnTo>
                    <a:pt x="37" y="1550"/>
                  </a:lnTo>
                  <a:lnTo>
                    <a:pt x="48" y="1516"/>
                  </a:lnTo>
                  <a:lnTo>
                    <a:pt x="44" y="1471"/>
                  </a:lnTo>
                  <a:lnTo>
                    <a:pt x="67" y="1436"/>
                  </a:lnTo>
                  <a:lnTo>
                    <a:pt x="78" y="1402"/>
                  </a:lnTo>
                  <a:lnTo>
                    <a:pt x="79" y="1327"/>
                  </a:lnTo>
                  <a:lnTo>
                    <a:pt x="88" y="1302"/>
                  </a:lnTo>
                  <a:lnTo>
                    <a:pt x="68" y="1289"/>
                  </a:lnTo>
                  <a:lnTo>
                    <a:pt x="65" y="1278"/>
                  </a:lnTo>
                  <a:lnTo>
                    <a:pt x="93" y="1278"/>
                  </a:lnTo>
                  <a:lnTo>
                    <a:pt x="95" y="1272"/>
                  </a:lnTo>
                  <a:lnTo>
                    <a:pt x="88" y="1256"/>
                  </a:lnTo>
                  <a:lnTo>
                    <a:pt x="70" y="1253"/>
                  </a:lnTo>
                  <a:lnTo>
                    <a:pt x="73" y="1224"/>
                  </a:lnTo>
                  <a:lnTo>
                    <a:pt x="67" y="1202"/>
                  </a:lnTo>
                  <a:lnTo>
                    <a:pt x="65" y="1173"/>
                  </a:lnTo>
                  <a:lnTo>
                    <a:pt x="59" y="1165"/>
                  </a:lnTo>
                  <a:lnTo>
                    <a:pt x="59" y="1134"/>
                  </a:lnTo>
                  <a:lnTo>
                    <a:pt x="76" y="1095"/>
                  </a:lnTo>
                  <a:lnTo>
                    <a:pt x="76" y="1086"/>
                  </a:lnTo>
                  <a:lnTo>
                    <a:pt x="65" y="1061"/>
                  </a:lnTo>
                  <a:lnTo>
                    <a:pt x="75" y="985"/>
                  </a:lnTo>
                  <a:lnTo>
                    <a:pt x="92" y="921"/>
                  </a:lnTo>
                  <a:lnTo>
                    <a:pt x="107" y="897"/>
                  </a:lnTo>
                  <a:lnTo>
                    <a:pt x="101" y="854"/>
                  </a:lnTo>
                  <a:lnTo>
                    <a:pt x="104" y="789"/>
                  </a:lnTo>
                  <a:lnTo>
                    <a:pt x="107" y="777"/>
                  </a:lnTo>
                  <a:lnTo>
                    <a:pt x="134" y="752"/>
                  </a:lnTo>
                  <a:lnTo>
                    <a:pt x="130" y="706"/>
                  </a:lnTo>
                  <a:lnTo>
                    <a:pt x="141" y="696"/>
                  </a:lnTo>
                  <a:lnTo>
                    <a:pt x="146" y="670"/>
                  </a:lnTo>
                  <a:lnTo>
                    <a:pt x="161" y="643"/>
                  </a:lnTo>
                  <a:lnTo>
                    <a:pt x="158" y="600"/>
                  </a:lnTo>
                  <a:lnTo>
                    <a:pt x="149" y="589"/>
                  </a:lnTo>
                  <a:lnTo>
                    <a:pt x="149" y="571"/>
                  </a:lnTo>
                  <a:lnTo>
                    <a:pt x="138" y="543"/>
                  </a:lnTo>
                  <a:lnTo>
                    <a:pt x="138" y="518"/>
                  </a:lnTo>
                  <a:lnTo>
                    <a:pt x="130" y="510"/>
                  </a:lnTo>
                  <a:lnTo>
                    <a:pt x="132" y="486"/>
                  </a:lnTo>
                  <a:lnTo>
                    <a:pt x="156" y="433"/>
                  </a:lnTo>
                  <a:lnTo>
                    <a:pt x="160" y="385"/>
                  </a:lnTo>
                  <a:lnTo>
                    <a:pt x="177" y="322"/>
                  </a:lnTo>
                  <a:lnTo>
                    <a:pt x="198" y="298"/>
                  </a:lnTo>
                  <a:lnTo>
                    <a:pt x="205" y="274"/>
                  </a:lnTo>
                  <a:lnTo>
                    <a:pt x="231" y="255"/>
                  </a:lnTo>
                  <a:lnTo>
                    <a:pt x="222" y="187"/>
                  </a:lnTo>
                  <a:lnTo>
                    <a:pt x="222" y="173"/>
                  </a:lnTo>
                  <a:lnTo>
                    <a:pt x="228" y="164"/>
                  </a:lnTo>
                  <a:lnTo>
                    <a:pt x="228" y="136"/>
                  </a:lnTo>
                  <a:lnTo>
                    <a:pt x="282" y="110"/>
                  </a:lnTo>
                  <a:lnTo>
                    <a:pt x="290" y="71"/>
                  </a:lnTo>
                  <a:lnTo>
                    <a:pt x="285" y="52"/>
                  </a:lnTo>
                  <a:lnTo>
                    <a:pt x="333" y="0"/>
                  </a:lnTo>
                  <a:lnTo>
                    <a:pt x="347" y="15"/>
                  </a:lnTo>
                  <a:lnTo>
                    <a:pt x="396" y="23"/>
                  </a:lnTo>
                  <a:lnTo>
                    <a:pt x="417" y="44"/>
                  </a:lnTo>
                  <a:lnTo>
                    <a:pt x="427" y="10"/>
                  </a:lnTo>
                  <a:lnTo>
                    <a:pt x="472" y="14"/>
                  </a:lnTo>
                  <a:lnTo>
                    <a:pt x="491" y="26"/>
                  </a:lnTo>
                  <a:lnTo>
                    <a:pt x="505" y="31"/>
                  </a:lnTo>
                  <a:lnTo>
                    <a:pt x="534" y="68"/>
                  </a:lnTo>
                  <a:lnTo>
                    <a:pt x="568" y="91"/>
                  </a:lnTo>
                  <a:lnTo>
                    <a:pt x="577" y="108"/>
                  </a:lnTo>
                  <a:lnTo>
                    <a:pt x="632" y="120"/>
                  </a:lnTo>
                  <a:lnTo>
                    <a:pt x="684" y="151"/>
                  </a:lnTo>
                  <a:lnTo>
                    <a:pt x="718" y="176"/>
                  </a:lnTo>
                  <a:lnTo>
                    <a:pt x="721" y="196"/>
                  </a:lnTo>
                  <a:lnTo>
                    <a:pt x="693" y="246"/>
                  </a:lnTo>
                  <a:lnTo>
                    <a:pt x="692" y="258"/>
                  </a:lnTo>
                  <a:lnTo>
                    <a:pt x="692" y="269"/>
                  </a:lnTo>
                  <a:lnTo>
                    <a:pt x="737" y="274"/>
                  </a:lnTo>
                  <a:lnTo>
                    <a:pt x="764" y="286"/>
                  </a:lnTo>
                  <a:lnTo>
                    <a:pt x="817" y="278"/>
                  </a:lnTo>
                  <a:lnTo>
                    <a:pt x="862" y="235"/>
                  </a:lnTo>
                  <a:lnTo>
                    <a:pt x="871" y="190"/>
                  </a:lnTo>
                  <a:lnTo>
                    <a:pt x="893" y="188"/>
                  </a:lnTo>
                  <a:lnTo>
                    <a:pt x="898" y="193"/>
                  </a:lnTo>
                  <a:lnTo>
                    <a:pt x="908" y="227"/>
                  </a:lnTo>
                  <a:lnTo>
                    <a:pt x="905" y="266"/>
                  </a:lnTo>
                  <a:lnTo>
                    <a:pt x="884" y="283"/>
                  </a:lnTo>
                  <a:lnTo>
                    <a:pt x="860" y="289"/>
                  </a:lnTo>
                  <a:lnTo>
                    <a:pt x="808" y="339"/>
                  </a:lnTo>
                  <a:lnTo>
                    <a:pt x="769" y="393"/>
                  </a:lnTo>
                  <a:lnTo>
                    <a:pt x="726" y="432"/>
                  </a:lnTo>
                  <a:lnTo>
                    <a:pt x="715" y="445"/>
                  </a:lnTo>
                  <a:lnTo>
                    <a:pt x="713" y="496"/>
                  </a:lnTo>
                  <a:lnTo>
                    <a:pt x="704" y="524"/>
                  </a:lnTo>
                  <a:lnTo>
                    <a:pt x="703" y="575"/>
                  </a:lnTo>
                  <a:lnTo>
                    <a:pt x="692" y="600"/>
                  </a:lnTo>
                  <a:lnTo>
                    <a:pt x="687" y="634"/>
                  </a:lnTo>
                  <a:lnTo>
                    <a:pt x="684" y="651"/>
                  </a:lnTo>
                  <a:lnTo>
                    <a:pt x="692" y="668"/>
                  </a:lnTo>
                  <a:lnTo>
                    <a:pt x="720" y="685"/>
                  </a:lnTo>
                  <a:lnTo>
                    <a:pt x="744" y="710"/>
                  </a:lnTo>
                  <a:lnTo>
                    <a:pt x="735" y="738"/>
                  </a:lnTo>
                  <a:lnTo>
                    <a:pt x="749" y="762"/>
                  </a:lnTo>
                  <a:lnTo>
                    <a:pt x="768" y="766"/>
                  </a:lnTo>
                  <a:lnTo>
                    <a:pt x="769" y="798"/>
                  </a:lnTo>
                  <a:lnTo>
                    <a:pt x="764" y="809"/>
                  </a:lnTo>
                  <a:lnTo>
                    <a:pt x="732" y="852"/>
                  </a:lnTo>
                  <a:lnTo>
                    <a:pt x="727" y="872"/>
                  </a:lnTo>
                  <a:lnTo>
                    <a:pt x="706" y="888"/>
                  </a:lnTo>
                  <a:lnTo>
                    <a:pt x="644" y="908"/>
                  </a:lnTo>
                  <a:lnTo>
                    <a:pt x="569" y="919"/>
                  </a:lnTo>
                  <a:lnTo>
                    <a:pt x="522" y="916"/>
                  </a:lnTo>
                  <a:lnTo>
                    <a:pt x="510" y="906"/>
                  </a:lnTo>
                  <a:lnTo>
                    <a:pt x="510" y="934"/>
                  </a:lnTo>
                  <a:lnTo>
                    <a:pt x="520" y="948"/>
                  </a:lnTo>
                  <a:lnTo>
                    <a:pt x="519" y="964"/>
                  </a:lnTo>
                  <a:lnTo>
                    <a:pt x="519" y="970"/>
                  </a:lnTo>
                  <a:lnTo>
                    <a:pt x="508" y="982"/>
                  </a:lnTo>
                  <a:lnTo>
                    <a:pt x="510" y="1026"/>
                  </a:lnTo>
                  <a:lnTo>
                    <a:pt x="502" y="1038"/>
                  </a:lnTo>
                  <a:lnTo>
                    <a:pt x="489" y="1043"/>
                  </a:lnTo>
                  <a:lnTo>
                    <a:pt x="474" y="1052"/>
                  </a:lnTo>
                  <a:lnTo>
                    <a:pt x="443" y="1050"/>
                  </a:lnTo>
                  <a:lnTo>
                    <a:pt x="396" y="1032"/>
                  </a:lnTo>
                  <a:lnTo>
                    <a:pt x="388" y="1021"/>
                  </a:lnTo>
                  <a:lnTo>
                    <a:pt x="379" y="1033"/>
                  </a:lnTo>
                  <a:lnTo>
                    <a:pt x="387" y="1106"/>
                  </a:lnTo>
                  <a:lnTo>
                    <a:pt x="409" y="1119"/>
                  </a:lnTo>
                  <a:lnTo>
                    <a:pt x="405" y="1126"/>
                  </a:lnTo>
                  <a:lnTo>
                    <a:pt x="410" y="1129"/>
                  </a:lnTo>
                  <a:lnTo>
                    <a:pt x="427" y="1126"/>
                  </a:lnTo>
                  <a:lnTo>
                    <a:pt x="418" y="1114"/>
                  </a:lnTo>
                  <a:lnTo>
                    <a:pt x="444" y="1107"/>
                  </a:lnTo>
                  <a:lnTo>
                    <a:pt x="449" y="1117"/>
                  </a:lnTo>
                  <a:lnTo>
                    <a:pt x="452" y="1140"/>
                  </a:lnTo>
                  <a:lnTo>
                    <a:pt x="444" y="1153"/>
                  </a:lnTo>
                  <a:lnTo>
                    <a:pt x="422" y="1153"/>
                  </a:lnTo>
                  <a:lnTo>
                    <a:pt x="420" y="1143"/>
                  </a:lnTo>
                  <a:lnTo>
                    <a:pt x="407" y="1134"/>
                  </a:lnTo>
                  <a:lnTo>
                    <a:pt x="387" y="1148"/>
                  </a:lnTo>
                  <a:lnTo>
                    <a:pt x="387" y="1153"/>
                  </a:lnTo>
                  <a:lnTo>
                    <a:pt x="420" y="1166"/>
                  </a:lnTo>
                  <a:lnTo>
                    <a:pt x="392" y="1182"/>
                  </a:lnTo>
                  <a:lnTo>
                    <a:pt x="388" y="1188"/>
                  </a:lnTo>
                  <a:lnTo>
                    <a:pt x="378" y="1204"/>
                  </a:lnTo>
                  <a:lnTo>
                    <a:pt x="378" y="1251"/>
                  </a:lnTo>
                  <a:lnTo>
                    <a:pt x="358" y="1276"/>
                  </a:lnTo>
                  <a:lnTo>
                    <a:pt x="361" y="1297"/>
                  </a:lnTo>
                  <a:lnTo>
                    <a:pt x="333" y="1295"/>
                  </a:lnTo>
                  <a:lnTo>
                    <a:pt x="319" y="1307"/>
                  </a:lnTo>
                  <a:lnTo>
                    <a:pt x="302" y="1310"/>
                  </a:lnTo>
                  <a:lnTo>
                    <a:pt x="269" y="1358"/>
                  </a:lnTo>
                  <a:lnTo>
                    <a:pt x="268" y="1371"/>
                  </a:lnTo>
                  <a:lnTo>
                    <a:pt x="280" y="1398"/>
                  </a:lnTo>
                  <a:lnTo>
                    <a:pt x="307" y="1425"/>
                  </a:lnTo>
                  <a:lnTo>
                    <a:pt x="347" y="1432"/>
                  </a:lnTo>
                  <a:lnTo>
                    <a:pt x="354" y="1437"/>
                  </a:lnTo>
                  <a:lnTo>
                    <a:pt x="356" y="1461"/>
                  </a:lnTo>
                  <a:lnTo>
                    <a:pt x="347" y="1474"/>
                  </a:lnTo>
                  <a:lnTo>
                    <a:pt x="351" y="1491"/>
                  </a:lnTo>
                  <a:lnTo>
                    <a:pt x="345" y="1495"/>
                  </a:lnTo>
                  <a:lnTo>
                    <a:pt x="344" y="1504"/>
                  </a:lnTo>
                  <a:lnTo>
                    <a:pt x="330" y="1508"/>
                  </a:lnTo>
                  <a:lnTo>
                    <a:pt x="269" y="1564"/>
                  </a:lnTo>
                  <a:lnTo>
                    <a:pt x="263" y="1580"/>
                  </a:lnTo>
                  <a:lnTo>
                    <a:pt x="259" y="1589"/>
                  </a:lnTo>
                  <a:lnTo>
                    <a:pt x="268" y="1584"/>
                  </a:lnTo>
                  <a:lnTo>
                    <a:pt x="256" y="1629"/>
                  </a:lnTo>
                  <a:lnTo>
                    <a:pt x="232" y="1640"/>
                  </a:lnTo>
                  <a:lnTo>
                    <a:pt x="217" y="1617"/>
                  </a:lnTo>
                  <a:lnTo>
                    <a:pt x="219" y="1634"/>
                  </a:lnTo>
                  <a:lnTo>
                    <a:pt x="228" y="1646"/>
                  </a:lnTo>
                  <a:lnTo>
                    <a:pt x="200" y="1666"/>
                  </a:lnTo>
                  <a:lnTo>
                    <a:pt x="183" y="1710"/>
                  </a:lnTo>
                  <a:lnTo>
                    <a:pt x="194" y="1708"/>
                  </a:lnTo>
                  <a:lnTo>
                    <a:pt x="202" y="1742"/>
                  </a:lnTo>
                  <a:lnTo>
                    <a:pt x="185" y="1748"/>
                  </a:lnTo>
                  <a:lnTo>
                    <a:pt x="202" y="1756"/>
                  </a:lnTo>
                  <a:lnTo>
                    <a:pt x="231" y="1801"/>
                  </a:lnTo>
                  <a:close/>
                  <a:moveTo>
                    <a:pt x="413" y="1994"/>
                  </a:moveTo>
                  <a:lnTo>
                    <a:pt x="447" y="1991"/>
                  </a:lnTo>
                  <a:lnTo>
                    <a:pt x="413" y="2002"/>
                  </a:lnTo>
                  <a:lnTo>
                    <a:pt x="405" y="2001"/>
                  </a:lnTo>
                  <a:lnTo>
                    <a:pt x="413" y="1994"/>
                  </a:lnTo>
                  <a:close/>
                  <a:moveTo>
                    <a:pt x="222" y="2001"/>
                  </a:moveTo>
                  <a:lnTo>
                    <a:pt x="219" y="1827"/>
                  </a:lnTo>
                  <a:lnTo>
                    <a:pt x="240" y="1864"/>
                  </a:lnTo>
                  <a:lnTo>
                    <a:pt x="232" y="1861"/>
                  </a:lnTo>
                  <a:lnTo>
                    <a:pt x="226" y="1867"/>
                  </a:lnTo>
                  <a:lnTo>
                    <a:pt x="253" y="1909"/>
                  </a:lnTo>
                  <a:lnTo>
                    <a:pt x="336" y="1976"/>
                  </a:lnTo>
                  <a:lnTo>
                    <a:pt x="379" y="1989"/>
                  </a:lnTo>
                  <a:lnTo>
                    <a:pt x="376" y="2002"/>
                  </a:lnTo>
                  <a:lnTo>
                    <a:pt x="364" y="2008"/>
                  </a:lnTo>
                  <a:lnTo>
                    <a:pt x="347" y="2005"/>
                  </a:lnTo>
                  <a:lnTo>
                    <a:pt x="325" y="2014"/>
                  </a:lnTo>
                  <a:lnTo>
                    <a:pt x="246" y="1994"/>
                  </a:lnTo>
                  <a:lnTo>
                    <a:pt x="222" y="2001"/>
                  </a:lnTo>
                  <a:close/>
                </a:path>
              </a:pathLst>
            </a:custGeom>
            <a:solidFill>
              <a:schemeClr val="accent3">
                <a:lumMod val="20000"/>
                <a:lumOff val="80000"/>
              </a:schemeClr>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17375E"/>
                </a:solidFill>
                <a:effectLst/>
                <a:uLnTx/>
                <a:uFillTx/>
                <a:latin typeface="Arial"/>
                <a:ea typeface="+mn-ea"/>
                <a:cs typeface="+mn-cs"/>
              </a:endParaRPr>
            </a:p>
          </p:txBody>
        </p:sp>
        <p:sp>
          <p:nvSpPr>
            <p:cNvPr id="199" name="Freeform 205">
              <a:extLst>
                <a:ext uri="{FF2B5EF4-FFF2-40B4-BE49-F238E27FC236}">
                  <a16:creationId xmlns:a16="http://schemas.microsoft.com/office/drawing/2014/main" id="{A6A99826-85A2-AD41-A0F8-FB12328BEC23}"/>
                </a:ext>
              </a:extLst>
            </p:cNvPr>
            <p:cNvSpPr>
              <a:spLocks noChangeAspect="1" noEditPoints="1"/>
            </p:cNvSpPr>
            <p:nvPr/>
          </p:nvSpPr>
          <p:spPr bwMode="gray">
            <a:xfrm>
              <a:off x="2934985" y="4745365"/>
              <a:ext cx="190960" cy="1337339"/>
            </a:xfrm>
            <a:custGeom>
              <a:avLst/>
              <a:gdLst>
                <a:gd name="T0" fmla="*/ 319 w 393"/>
                <a:gd name="T1" fmla="*/ 150 h 2273"/>
                <a:gd name="T2" fmla="*/ 322 w 393"/>
                <a:gd name="T3" fmla="*/ 379 h 2273"/>
                <a:gd name="T4" fmla="*/ 230 w 393"/>
                <a:gd name="T5" fmla="*/ 716 h 2273"/>
                <a:gd name="T6" fmla="*/ 230 w 393"/>
                <a:gd name="T7" fmla="*/ 912 h 2273"/>
                <a:gd name="T8" fmla="*/ 176 w 393"/>
                <a:gd name="T9" fmla="*/ 1292 h 2273"/>
                <a:gd name="T10" fmla="*/ 195 w 393"/>
                <a:gd name="T11" fmla="*/ 1478 h 2273"/>
                <a:gd name="T12" fmla="*/ 148 w 393"/>
                <a:gd name="T13" fmla="*/ 1722 h 2273"/>
                <a:gd name="T14" fmla="*/ 266 w 393"/>
                <a:gd name="T15" fmla="*/ 1988 h 2273"/>
                <a:gd name="T16" fmla="*/ 154 w 393"/>
                <a:gd name="T17" fmla="*/ 2103 h 2273"/>
                <a:gd name="T18" fmla="*/ 141 w 393"/>
                <a:gd name="T19" fmla="*/ 2024 h 2273"/>
                <a:gd name="T20" fmla="*/ 119 w 393"/>
                <a:gd name="T21" fmla="*/ 1975 h 2273"/>
                <a:gd name="T22" fmla="*/ 85 w 393"/>
                <a:gd name="T23" fmla="*/ 1900 h 2273"/>
                <a:gd name="T24" fmla="*/ 82 w 393"/>
                <a:gd name="T25" fmla="*/ 1811 h 2273"/>
                <a:gd name="T26" fmla="*/ 62 w 393"/>
                <a:gd name="T27" fmla="*/ 1733 h 2273"/>
                <a:gd name="T28" fmla="*/ 85 w 393"/>
                <a:gd name="T29" fmla="*/ 1684 h 2273"/>
                <a:gd name="T30" fmla="*/ 62 w 393"/>
                <a:gd name="T31" fmla="*/ 1617 h 2273"/>
                <a:gd name="T32" fmla="*/ 4 w 393"/>
                <a:gd name="T33" fmla="*/ 1601 h 2273"/>
                <a:gd name="T34" fmla="*/ 80 w 393"/>
                <a:gd name="T35" fmla="*/ 1581 h 2273"/>
                <a:gd name="T36" fmla="*/ 96 w 393"/>
                <a:gd name="T37" fmla="*/ 1530 h 2273"/>
                <a:gd name="T38" fmla="*/ 133 w 393"/>
                <a:gd name="T39" fmla="*/ 1484 h 2273"/>
                <a:gd name="T40" fmla="*/ 131 w 393"/>
                <a:gd name="T41" fmla="*/ 1334 h 2273"/>
                <a:gd name="T42" fmla="*/ 119 w 393"/>
                <a:gd name="T43" fmla="*/ 1279 h 2273"/>
                <a:gd name="T44" fmla="*/ 90 w 393"/>
                <a:gd name="T45" fmla="*/ 1102 h 2273"/>
                <a:gd name="T46" fmla="*/ 153 w 393"/>
                <a:gd name="T47" fmla="*/ 904 h 2273"/>
                <a:gd name="T48" fmla="*/ 192 w 393"/>
                <a:gd name="T49" fmla="*/ 619 h 2273"/>
                <a:gd name="T50" fmla="*/ 230 w 393"/>
                <a:gd name="T51" fmla="*/ 381 h 2273"/>
                <a:gd name="T52" fmla="*/ 261 w 393"/>
                <a:gd name="T53" fmla="*/ 22 h 2273"/>
                <a:gd name="T54" fmla="*/ 65 w 393"/>
                <a:gd name="T55" fmla="*/ 1506 h 2273"/>
                <a:gd name="T56" fmla="*/ 58 w 393"/>
                <a:gd name="T57" fmla="*/ 1474 h 2273"/>
                <a:gd name="T58" fmla="*/ 117 w 393"/>
                <a:gd name="T59" fmla="*/ 1459 h 2273"/>
                <a:gd name="T60" fmla="*/ 83 w 393"/>
                <a:gd name="T61" fmla="*/ 1383 h 2273"/>
                <a:gd name="T62" fmla="*/ 227 w 393"/>
                <a:gd name="T63" fmla="*/ 2136 h 2273"/>
                <a:gd name="T64" fmla="*/ 179 w 393"/>
                <a:gd name="T65" fmla="*/ 2144 h 2273"/>
                <a:gd name="T66" fmla="*/ 159 w 393"/>
                <a:gd name="T67" fmla="*/ 2149 h 2273"/>
                <a:gd name="T68" fmla="*/ 154 w 393"/>
                <a:gd name="T69" fmla="*/ 2126 h 2273"/>
                <a:gd name="T70" fmla="*/ 97 w 393"/>
                <a:gd name="T71" fmla="*/ 2117 h 2273"/>
                <a:gd name="T72" fmla="*/ 112 w 393"/>
                <a:gd name="T73" fmla="*/ 2089 h 2273"/>
                <a:gd name="T74" fmla="*/ 77 w 393"/>
                <a:gd name="T75" fmla="*/ 2029 h 2273"/>
                <a:gd name="T76" fmla="*/ 122 w 393"/>
                <a:gd name="T77" fmla="*/ 2033 h 2273"/>
                <a:gd name="T78" fmla="*/ 133 w 393"/>
                <a:gd name="T79" fmla="*/ 2073 h 2273"/>
                <a:gd name="T80" fmla="*/ 77 w 393"/>
                <a:gd name="T81" fmla="*/ 1942 h 2273"/>
                <a:gd name="T82" fmla="*/ 28 w 393"/>
                <a:gd name="T83" fmla="*/ 1982 h 2273"/>
                <a:gd name="T84" fmla="*/ 49 w 393"/>
                <a:gd name="T85" fmla="*/ 1925 h 2273"/>
                <a:gd name="T86" fmla="*/ 60 w 393"/>
                <a:gd name="T87" fmla="*/ 1883 h 2273"/>
                <a:gd name="T88" fmla="*/ 9 w 393"/>
                <a:gd name="T89" fmla="*/ 1860 h 2273"/>
                <a:gd name="T90" fmla="*/ 48 w 393"/>
                <a:gd name="T91" fmla="*/ 1762 h 2273"/>
                <a:gd name="T92" fmla="*/ 17 w 393"/>
                <a:gd name="T93" fmla="*/ 1775 h 2273"/>
                <a:gd name="T94" fmla="*/ 40 w 393"/>
                <a:gd name="T95" fmla="*/ 1728 h 2273"/>
                <a:gd name="T96" fmla="*/ 19 w 393"/>
                <a:gd name="T97" fmla="*/ 1704 h 2273"/>
                <a:gd name="T98" fmla="*/ 58 w 393"/>
                <a:gd name="T99" fmla="*/ 1682 h 2273"/>
                <a:gd name="T100" fmla="*/ 342 w 393"/>
                <a:gd name="T101" fmla="*/ 2241 h 2273"/>
                <a:gd name="T102" fmla="*/ 275 w 393"/>
                <a:gd name="T103" fmla="*/ 2244 h 2273"/>
                <a:gd name="T104" fmla="*/ 227 w 393"/>
                <a:gd name="T105" fmla="*/ 2225 h 2273"/>
                <a:gd name="T106" fmla="*/ 357 w 393"/>
                <a:gd name="T107" fmla="*/ 2208 h 2273"/>
                <a:gd name="T108" fmla="*/ 302 w 393"/>
                <a:gd name="T109" fmla="*/ 2216 h 2273"/>
                <a:gd name="T110" fmla="*/ 247 w 393"/>
                <a:gd name="T111" fmla="*/ 2173 h 2273"/>
                <a:gd name="T112" fmla="*/ 249 w 393"/>
                <a:gd name="T113" fmla="*/ 2119 h 2273"/>
                <a:gd name="T114" fmla="*/ 246 w 393"/>
                <a:gd name="T115" fmla="*/ 2046 h 2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3" h="2273">
                  <a:moveTo>
                    <a:pt x="275" y="0"/>
                  </a:moveTo>
                  <a:lnTo>
                    <a:pt x="294" y="22"/>
                  </a:lnTo>
                  <a:lnTo>
                    <a:pt x="300" y="64"/>
                  </a:lnTo>
                  <a:lnTo>
                    <a:pt x="322" y="85"/>
                  </a:lnTo>
                  <a:lnTo>
                    <a:pt x="320" y="108"/>
                  </a:lnTo>
                  <a:lnTo>
                    <a:pt x="312" y="115"/>
                  </a:lnTo>
                  <a:lnTo>
                    <a:pt x="311" y="130"/>
                  </a:lnTo>
                  <a:lnTo>
                    <a:pt x="319" y="136"/>
                  </a:lnTo>
                  <a:lnTo>
                    <a:pt x="319" y="150"/>
                  </a:lnTo>
                  <a:lnTo>
                    <a:pt x="332" y="164"/>
                  </a:lnTo>
                  <a:lnTo>
                    <a:pt x="349" y="257"/>
                  </a:lnTo>
                  <a:lnTo>
                    <a:pt x="362" y="262"/>
                  </a:lnTo>
                  <a:lnTo>
                    <a:pt x="385" y="258"/>
                  </a:lnTo>
                  <a:lnTo>
                    <a:pt x="390" y="277"/>
                  </a:lnTo>
                  <a:lnTo>
                    <a:pt x="382" y="316"/>
                  </a:lnTo>
                  <a:lnTo>
                    <a:pt x="328" y="342"/>
                  </a:lnTo>
                  <a:lnTo>
                    <a:pt x="328" y="370"/>
                  </a:lnTo>
                  <a:lnTo>
                    <a:pt x="322" y="379"/>
                  </a:lnTo>
                  <a:lnTo>
                    <a:pt x="322" y="393"/>
                  </a:lnTo>
                  <a:lnTo>
                    <a:pt x="331" y="461"/>
                  </a:lnTo>
                  <a:lnTo>
                    <a:pt x="305" y="480"/>
                  </a:lnTo>
                  <a:lnTo>
                    <a:pt x="298" y="504"/>
                  </a:lnTo>
                  <a:lnTo>
                    <a:pt x="277" y="528"/>
                  </a:lnTo>
                  <a:lnTo>
                    <a:pt x="260" y="591"/>
                  </a:lnTo>
                  <a:lnTo>
                    <a:pt x="256" y="639"/>
                  </a:lnTo>
                  <a:lnTo>
                    <a:pt x="232" y="692"/>
                  </a:lnTo>
                  <a:lnTo>
                    <a:pt x="230" y="716"/>
                  </a:lnTo>
                  <a:lnTo>
                    <a:pt x="238" y="724"/>
                  </a:lnTo>
                  <a:lnTo>
                    <a:pt x="238" y="749"/>
                  </a:lnTo>
                  <a:lnTo>
                    <a:pt x="249" y="777"/>
                  </a:lnTo>
                  <a:lnTo>
                    <a:pt x="249" y="795"/>
                  </a:lnTo>
                  <a:lnTo>
                    <a:pt x="258" y="806"/>
                  </a:lnTo>
                  <a:lnTo>
                    <a:pt x="261" y="849"/>
                  </a:lnTo>
                  <a:lnTo>
                    <a:pt x="246" y="876"/>
                  </a:lnTo>
                  <a:lnTo>
                    <a:pt x="241" y="902"/>
                  </a:lnTo>
                  <a:lnTo>
                    <a:pt x="230" y="912"/>
                  </a:lnTo>
                  <a:lnTo>
                    <a:pt x="234" y="958"/>
                  </a:lnTo>
                  <a:lnTo>
                    <a:pt x="207" y="983"/>
                  </a:lnTo>
                  <a:lnTo>
                    <a:pt x="204" y="995"/>
                  </a:lnTo>
                  <a:lnTo>
                    <a:pt x="201" y="1060"/>
                  </a:lnTo>
                  <a:lnTo>
                    <a:pt x="207" y="1103"/>
                  </a:lnTo>
                  <a:lnTo>
                    <a:pt x="192" y="1127"/>
                  </a:lnTo>
                  <a:lnTo>
                    <a:pt x="175" y="1191"/>
                  </a:lnTo>
                  <a:lnTo>
                    <a:pt x="165" y="1267"/>
                  </a:lnTo>
                  <a:lnTo>
                    <a:pt x="176" y="1292"/>
                  </a:lnTo>
                  <a:lnTo>
                    <a:pt x="176" y="1301"/>
                  </a:lnTo>
                  <a:lnTo>
                    <a:pt x="159" y="1340"/>
                  </a:lnTo>
                  <a:lnTo>
                    <a:pt x="159" y="1371"/>
                  </a:lnTo>
                  <a:lnTo>
                    <a:pt x="165" y="1379"/>
                  </a:lnTo>
                  <a:lnTo>
                    <a:pt x="167" y="1408"/>
                  </a:lnTo>
                  <a:lnTo>
                    <a:pt x="173" y="1430"/>
                  </a:lnTo>
                  <a:lnTo>
                    <a:pt x="170" y="1459"/>
                  </a:lnTo>
                  <a:lnTo>
                    <a:pt x="188" y="1462"/>
                  </a:lnTo>
                  <a:lnTo>
                    <a:pt x="195" y="1478"/>
                  </a:lnTo>
                  <a:lnTo>
                    <a:pt x="193" y="1484"/>
                  </a:lnTo>
                  <a:lnTo>
                    <a:pt x="165" y="1484"/>
                  </a:lnTo>
                  <a:lnTo>
                    <a:pt x="168" y="1495"/>
                  </a:lnTo>
                  <a:lnTo>
                    <a:pt x="188" y="1508"/>
                  </a:lnTo>
                  <a:lnTo>
                    <a:pt x="179" y="1533"/>
                  </a:lnTo>
                  <a:lnTo>
                    <a:pt x="178" y="1608"/>
                  </a:lnTo>
                  <a:lnTo>
                    <a:pt x="167" y="1642"/>
                  </a:lnTo>
                  <a:lnTo>
                    <a:pt x="144" y="1677"/>
                  </a:lnTo>
                  <a:lnTo>
                    <a:pt x="148" y="1722"/>
                  </a:lnTo>
                  <a:lnTo>
                    <a:pt x="137" y="1756"/>
                  </a:lnTo>
                  <a:lnTo>
                    <a:pt x="107" y="1807"/>
                  </a:lnTo>
                  <a:lnTo>
                    <a:pt x="100" y="1853"/>
                  </a:lnTo>
                  <a:lnTo>
                    <a:pt x="105" y="1899"/>
                  </a:lnTo>
                  <a:lnTo>
                    <a:pt x="120" y="1887"/>
                  </a:lnTo>
                  <a:lnTo>
                    <a:pt x="148" y="1889"/>
                  </a:lnTo>
                  <a:lnTo>
                    <a:pt x="150" y="1965"/>
                  </a:lnTo>
                  <a:lnTo>
                    <a:pt x="159" y="1984"/>
                  </a:lnTo>
                  <a:lnTo>
                    <a:pt x="266" y="1988"/>
                  </a:lnTo>
                  <a:lnTo>
                    <a:pt x="331" y="2007"/>
                  </a:lnTo>
                  <a:lnTo>
                    <a:pt x="326" y="2013"/>
                  </a:lnTo>
                  <a:lnTo>
                    <a:pt x="292" y="2010"/>
                  </a:lnTo>
                  <a:lnTo>
                    <a:pt x="280" y="2007"/>
                  </a:lnTo>
                  <a:lnTo>
                    <a:pt x="273" y="2018"/>
                  </a:lnTo>
                  <a:lnTo>
                    <a:pt x="217" y="2041"/>
                  </a:lnTo>
                  <a:lnTo>
                    <a:pt x="207" y="2121"/>
                  </a:lnTo>
                  <a:lnTo>
                    <a:pt x="179" y="2119"/>
                  </a:lnTo>
                  <a:lnTo>
                    <a:pt x="154" y="2103"/>
                  </a:lnTo>
                  <a:lnTo>
                    <a:pt x="151" y="2087"/>
                  </a:lnTo>
                  <a:lnTo>
                    <a:pt x="158" y="2081"/>
                  </a:lnTo>
                  <a:lnTo>
                    <a:pt x="159" y="2094"/>
                  </a:lnTo>
                  <a:lnTo>
                    <a:pt x="195" y="2072"/>
                  </a:lnTo>
                  <a:lnTo>
                    <a:pt x="205" y="2050"/>
                  </a:lnTo>
                  <a:lnTo>
                    <a:pt x="187" y="2029"/>
                  </a:lnTo>
                  <a:lnTo>
                    <a:pt x="159" y="2026"/>
                  </a:lnTo>
                  <a:lnTo>
                    <a:pt x="142" y="2035"/>
                  </a:lnTo>
                  <a:lnTo>
                    <a:pt x="141" y="2024"/>
                  </a:lnTo>
                  <a:lnTo>
                    <a:pt x="129" y="2027"/>
                  </a:lnTo>
                  <a:lnTo>
                    <a:pt x="144" y="2005"/>
                  </a:lnTo>
                  <a:lnTo>
                    <a:pt x="134" y="1984"/>
                  </a:lnTo>
                  <a:lnTo>
                    <a:pt x="141" y="1982"/>
                  </a:lnTo>
                  <a:lnTo>
                    <a:pt x="141" y="1970"/>
                  </a:lnTo>
                  <a:lnTo>
                    <a:pt x="134" y="1963"/>
                  </a:lnTo>
                  <a:lnTo>
                    <a:pt x="134" y="1970"/>
                  </a:lnTo>
                  <a:lnTo>
                    <a:pt x="114" y="1962"/>
                  </a:lnTo>
                  <a:lnTo>
                    <a:pt x="119" y="1975"/>
                  </a:lnTo>
                  <a:lnTo>
                    <a:pt x="112" y="1985"/>
                  </a:lnTo>
                  <a:lnTo>
                    <a:pt x="100" y="1956"/>
                  </a:lnTo>
                  <a:lnTo>
                    <a:pt x="105" y="1990"/>
                  </a:lnTo>
                  <a:lnTo>
                    <a:pt x="97" y="1987"/>
                  </a:lnTo>
                  <a:lnTo>
                    <a:pt x="96" y="1956"/>
                  </a:lnTo>
                  <a:lnTo>
                    <a:pt x="88" y="1942"/>
                  </a:lnTo>
                  <a:lnTo>
                    <a:pt x="68" y="1919"/>
                  </a:lnTo>
                  <a:lnTo>
                    <a:pt x="68" y="1902"/>
                  </a:lnTo>
                  <a:lnTo>
                    <a:pt x="85" y="1900"/>
                  </a:lnTo>
                  <a:lnTo>
                    <a:pt x="85" y="1891"/>
                  </a:lnTo>
                  <a:lnTo>
                    <a:pt x="70" y="1889"/>
                  </a:lnTo>
                  <a:lnTo>
                    <a:pt x="66" y="1880"/>
                  </a:lnTo>
                  <a:lnTo>
                    <a:pt x="77" y="1875"/>
                  </a:lnTo>
                  <a:lnTo>
                    <a:pt x="56" y="1865"/>
                  </a:lnTo>
                  <a:lnTo>
                    <a:pt x="46" y="1852"/>
                  </a:lnTo>
                  <a:lnTo>
                    <a:pt x="58" y="1838"/>
                  </a:lnTo>
                  <a:lnTo>
                    <a:pt x="62" y="1816"/>
                  </a:lnTo>
                  <a:lnTo>
                    <a:pt x="82" y="1811"/>
                  </a:lnTo>
                  <a:lnTo>
                    <a:pt x="74" y="1799"/>
                  </a:lnTo>
                  <a:lnTo>
                    <a:pt x="82" y="1775"/>
                  </a:lnTo>
                  <a:lnTo>
                    <a:pt x="71" y="1784"/>
                  </a:lnTo>
                  <a:lnTo>
                    <a:pt x="65" y="1799"/>
                  </a:lnTo>
                  <a:lnTo>
                    <a:pt x="62" y="1798"/>
                  </a:lnTo>
                  <a:lnTo>
                    <a:pt x="58" y="1753"/>
                  </a:lnTo>
                  <a:lnTo>
                    <a:pt x="65" y="1750"/>
                  </a:lnTo>
                  <a:lnTo>
                    <a:pt x="60" y="1744"/>
                  </a:lnTo>
                  <a:lnTo>
                    <a:pt x="62" y="1733"/>
                  </a:lnTo>
                  <a:lnTo>
                    <a:pt x="83" y="1739"/>
                  </a:lnTo>
                  <a:lnTo>
                    <a:pt x="79" y="1722"/>
                  </a:lnTo>
                  <a:lnTo>
                    <a:pt x="54" y="1728"/>
                  </a:lnTo>
                  <a:lnTo>
                    <a:pt x="49" y="1696"/>
                  </a:lnTo>
                  <a:lnTo>
                    <a:pt x="56" y="1697"/>
                  </a:lnTo>
                  <a:lnTo>
                    <a:pt x="63" y="1714"/>
                  </a:lnTo>
                  <a:lnTo>
                    <a:pt x="66" y="1699"/>
                  </a:lnTo>
                  <a:lnTo>
                    <a:pt x="91" y="1705"/>
                  </a:lnTo>
                  <a:lnTo>
                    <a:pt x="85" y="1684"/>
                  </a:lnTo>
                  <a:lnTo>
                    <a:pt x="82" y="1679"/>
                  </a:lnTo>
                  <a:lnTo>
                    <a:pt x="68" y="1684"/>
                  </a:lnTo>
                  <a:lnTo>
                    <a:pt x="65" y="1676"/>
                  </a:lnTo>
                  <a:lnTo>
                    <a:pt x="71" y="1668"/>
                  </a:lnTo>
                  <a:lnTo>
                    <a:pt x="49" y="1659"/>
                  </a:lnTo>
                  <a:lnTo>
                    <a:pt x="71" y="1643"/>
                  </a:lnTo>
                  <a:lnTo>
                    <a:pt x="65" y="1638"/>
                  </a:lnTo>
                  <a:lnTo>
                    <a:pt x="73" y="1629"/>
                  </a:lnTo>
                  <a:lnTo>
                    <a:pt x="62" y="1617"/>
                  </a:lnTo>
                  <a:lnTo>
                    <a:pt x="49" y="1612"/>
                  </a:lnTo>
                  <a:lnTo>
                    <a:pt x="41" y="1620"/>
                  </a:lnTo>
                  <a:lnTo>
                    <a:pt x="19" y="1603"/>
                  </a:lnTo>
                  <a:lnTo>
                    <a:pt x="6" y="1611"/>
                  </a:lnTo>
                  <a:lnTo>
                    <a:pt x="12" y="1620"/>
                  </a:lnTo>
                  <a:lnTo>
                    <a:pt x="9" y="1628"/>
                  </a:lnTo>
                  <a:lnTo>
                    <a:pt x="0" y="1626"/>
                  </a:lnTo>
                  <a:lnTo>
                    <a:pt x="0" y="1620"/>
                  </a:lnTo>
                  <a:lnTo>
                    <a:pt x="4" y="1601"/>
                  </a:lnTo>
                  <a:lnTo>
                    <a:pt x="37" y="1577"/>
                  </a:lnTo>
                  <a:lnTo>
                    <a:pt x="37" y="1570"/>
                  </a:lnTo>
                  <a:lnTo>
                    <a:pt x="28" y="1569"/>
                  </a:lnTo>
                  <a:lnTo>
                    <a:pt x="24" y="1558"/>
                  </a:lnTo>
                  <a:lnTo>
                    <a:pt x="62" y="1558"/>
                  </a:lnTo>
                  <a:lnTo>
                    <a:pt x="70" y="1574"/>
                  </a:lnTo>
                  <a:lnTo>
                    <a:pt x="62" y="1586"/>
                  </a:lnTo>
                  <a:lnTo>
                    <a:pt x="71" y="1594"/>
                  </a:lnTo>
                  <a:lnTo>
                    <a:pt x="80" y="1581"/>
                  </a:lnTo>
                  <a:lnTo>
                    <a:pt x="80" y="1600"/>
                  </a:lnTo>
                  <a:lnTo>
                    <a:pt x="99" y="1581"/>
                  </a:lnTo>
                  <a:lnTo>
                    <a:pt x="90" y="1577"/>
                  </a:lnTo>
                  <a:lnTo>
                    <a:pt x="91" y="1557"/>
                  </a:lnTo>
                  <a:lnTo>
                    <a:pt x="107" y="1550"/>
                  </a:lnTo>
                  <a:lnTo>
                    <a:pt x="100" y="1544"/>
                  </a:lnTo>
                  <a:lnTo>
                    <a:pt x="111" y="1533"/>
                  </a:lnTo>
                  <a:lnTo>
                    <a:pt x="94" y="1538"/>
                  </a:lnTo>
                  <a:lnTo>
                    <a:pt x="96" y="1530"/>
                  </a:lnTo>
                  <a:lnTo>
                    <a:pt x="105" y="1521"/>
                  </a:lnTo>
                  <a:lnTo>
                    <a:pt x="112" y="1527"/>
                  </a:lnTo>
                  <a:lnTo>
                    <a:pt x="120" y="1532"/>
                  </a:lnTo>
                  <a:lnTo>
                    <a:pt x="125" y="1530"/>
                  </a:lnTo>
                  <a:lnTo>
                    <a:pt x="125" y="1523"/>
                  </a:lnTo>
                  <a:lnTo>
                    <a:pt x="100" y="1516"/>
                  </a:lnTo>
                  <a:lnTo>
                    <a:pt x="102" y="1501"/>
                  </a:lnTo>
                  <a:lnTo>
                    <a:pt x="122" y="1498"/>
                  </a:lnTo>
                  <a:lnTo>
                    <a:pt x="133" y="1484"/>
                  </a:lnTo>
                  <a:lnTo>
                    <a:pt x="129" y="1462"/>
                  </a:lnTo>
                  <a:lnTo>
                    <a:pt x="107" y="1444"/>
                  </a:lnTo>
                  <a:lnTo>
                    <a:pt x="122" y="1420"/>
                  </a:lnTo>
                  <a:lnTo>
                    <a:pt x="117" y="1400"/>
                  </a:lnTo>
                  <a:lnTo>
                    <a:pt x="129" y="1371"/>
                  </a:lnTo>
                  <a:lnTo>
                    <a:pt x="127" y="1354"/>
                  </a:lnTo>
                  <a:lnTo>
                    <a:pt x="134" y="1343"/>
                  </a:lnTo>
                  <a:lnTo>
                    <a:pt x="139" y="1346"/>
                  </a:lnTo>
                  <a:lnTo>
                    <a:pt x="131" y="1334"/>
                  </a:lnTo>
                  <a:lnTo>
                    <a:pt x="134" y="1325"/>
                  </a:lnTo>
                  <a:lnTo>
                    <a:pt x="141" y="1326"/>
                  </a:lnTo>
                  <a:lnTo>
                    <a:pt x="144" y="1338"/>
                  </a:lnTo>
                  <a:lnTo>
                    <a:pt x="142" y="1310"/>
                  </a:lnTo>
                  <a:lnTo>
                    <a:pt x="129" y="1308"/>
                  </a:lnTo>
                  <a:lnTo>
                    <a:pt x="131" y="1300"/>
                  </a:lnTo>
                  <a:lnTo>
                    <a:pt x="150" y="1286"/>
                  </a:lnTo>
                  <a:lnTo>
                    <a:pt x="137" y="1289"/>
                  </a:lnTo>
                  <a:lnTo>
                    <a:pt x="119" y="1279"/>
                  </a:lnTo>
                  <a:lnTo>
                    <a:pt x="108" y="1293"/>
                  </a:lnTo>
                  <a:lnTo>
                    <a:pt x="99" y="1295"/>
                  </a:lnTo>
                  <a:lnTo>
                    <a:pt x="87" y="1289"/>
                  </a:lnTo>
                  <a:lnTo>
                    <a:pt x="79" y="1272"/>
                  </a:lnTo>
                  <a:lnTo>
                    <a:pt x="85" y="1181"/>
                  </a:lnTo>
                  <a:lnTo>
                    <a:pt x="94" y="1176"/>
                  </a:lnTo>
                  <a:lnTo>
                    <a:pt x="102" y="1157"/>
                  </a:lnTo>
                  <a:lnTo>
                    <a:pt x="100" y="1132"/>
                  </a:lnTo>
                  <a:lnTo>
                    <a:pt x="90" y="1102"/>
                  </a:lnTo>
                  <a:lnTo>
                    <a:pt x="94" y="1078"/>
                  </a:lnTo>
                  <a:lnTo>
                    <a:pt x="87" y="1058"/>
                  </a:lnTo>
                  <a:lnTo>
                    <a:pt x="88" y="1029"/>
                  </a:lnTo>
                  <a:lnTo>
                    <a:pt x="96" y="1020"/>
                  </a:lnTo>
                  <a:lnTo>
                    <a:pt x="108" y="1020"/>
                  </a:lnTo>
                  <a:lnTo>
                    <a:pt x="107" y="992"/>
                  </a:lnTo>
                  <a:lnTo>
                    <a:pt x="119" y="990"/>
                  </a:lnTo>
                  <a:lnTo>
                    <a:pt x="139" y="927"/>
                  </a:lnTo>
                  <a:lnTo>
                    <a:pt x="153" y="904"/>
                  </a:lnTo>
                  <a:lnTo>
                    <a:pt x="171" y="834"/>
                  </a:lnTo>
                  <a:lnTo>
                    <a:pt x="176" y="828"/>
                  </a:lnTo>
                  <a:lnTo>
                    <a:pt x="176" y="797"/>
                  </a:lnTo>
                  <a:lnTo>
                    <a:pt x="185" y="778"/>
                  </a:lnTo>
                  <a:lnTo>
                    <a:pt x="185" y="758"/>
                  </a:lnTo>
                  <a:lnTo>
                    <a:pt x="175" y="662"/>
                  </a:lnTo>
                  <a:lnTo>
                    <a:pt x="178" y="641"/>
                  </a:lnTo>
                  <a:lnTo>
                    <a:pt x="188" y="634"/>
                  </a:lnTo>
                  <a:lnTo>
                    <a:pt x="192" y="619"/>
                  </a:lnTo>
                  <a:lnTo>
                    <a:pt x="181" y="582"/>
                  </a:lnTo>
                  <a:lnTo>
                    <a:pt x="185" y="568"/>
                  </a:lnTo>
                  <a:lnTo>
                    <a:pt x="193" y="557"/>
                  </a:lnTo>
                  <a:lnTo>
                    <a:pt x="204" y="507"/>
                  </a:lnTo>
                  <a:lnTo>
                    <a:pt x="210" y="495"/>
                  </a:lnTo>
                  <a:lnTo>
                    <a:pt x="210" y="478"/>
                  </a:lnTo>
                  <a:lnTo>
                    <a:pt x="221" y="460"/>
                  </a:lnTo>
                  <a:lnTo>
                    <a:pt x="221" y="406"/>
                  </a:lnTo>
                  <a:lnTo>
                    <a:pt x="230" y="381"/>
                  </a:lnTo>
                  <a:lnTo>
                    <a:pt x="232" y="294"/>
                  </a:lnTo>
                  <a:lnTo>
                    <a:pt x="227" y="283"/>
                  </a:lnTo>
                  <a:lnTo>
                    <a:pt x="241" y="260"/>
                  </a:lnTo>
                  <a:lnTo>
                    <a:pt x="249" y="195"/>
                  </a:lnTo>
                  <a:lnTo>
                    <a:pt x="244" y="164"/>
                  </a:lnTo>
                  <a:lnTo>
                    <a:pt x="246" y="118"/>
                  </a:lnTo>
                  <a:lnTo>
                    <a:pt x="230" y="32"/>
                  </a:lnTo>
                  <a:lnTo>
                    <a:pt x="241" y="23"/>
                  </a:lnTo>
                  <a:lnTo>
                    <a:pt x="261" y="22"/>
                  </a:lnTo>
                  <a:lnTo>
                    <a:pt x="275" y="0"/>
                  </a:lnTo>
                  <a:close/>
                  <a:moveTo>
                    <a:pt x="79" y="1550"/>
                  </a:moveTo>
                  <a:lnTo>
                    <a:pt x="83" y="1558"/>
                  </a:lnTo>
                  <a:lnTo>
                    <a:pt x="79" y="1558"/>
                  </a:lnTo>
                  <a:lnTo>
                    <a:pt x="79" y="1550"/>
                  </a:lnTo>
                  <a:close/>
                  <a:moveTo>
                    <a:pt x="65" y="1513"/>
                  </a:moveTo>
                  <a:lnTo>
                    <a:pt x="79" y="1523"/>
                  </a:lnTo>
                  <a:lnTo>
                    <a:pt x="65" y="1513"/>
                  </a:lnTo>
                  <a:close/>
                  <a:moveTo>
                    <a:pt x="65" y="1506"/>
                  </a:moveTo>
                  <a:lnTo>
                    <a:pt x="80" y="1503"/>
                  </a:lnTo>
                  <a:lnTo>
                    <a:pt x="83" y="1516"/>
                  </a:lnTo>
                  <a:lnTo>
                    <a:pt x="65" y="1506"/>
                  </a:lnTo>
                  <a:close/>
                  <a:moveTo>
                    <a:pt x="62" y="1501"/>
                  </a:moveTo>
                  <a:lnTo>
                    <a:pt x="56" y="1496"/>
                  </a:lnTo>
                  <a:lnTo>
                    <a:pt x="65" y="1493"/>
                  </a:lnTo>
                  <a:lnTo>
                    <a:pt x="73" y="1496"/>
                  </a:lnTo>
                  <a:lnTo>
                    <a:pt x="62" y="1501"/>
                  </a:lnTo>
                  <a:close/>
                  <a:moveTo>
                    <a:pt x="58" y="1474"/>
                  </a:moveTo>
                  <a:lnTo>
                    <a:pt x="73" y="1479"/>
                  </a:lnTo>
                  <a:lnTo>
                    <a:pt x="63" y="1484"/>
                  </a:lnTo>
                  <a:lnTo>
                    <a:pt x="58" y="1474"/>
                  </a:lnTo>
                  <a:close/>
                  <a:moveTo>
                    <a:pt x="117" y="1459"/>
                  </a:moveTo>
                  <a:lnTo>
                    <a:pt x="127" y="1469"/>
                  </a:lnTo>
                  <a:lnTo>
                    <a:pt x="127" y="1487"/>
                  </a:lnTo>
                  <a:lnTo>
                    <a:pt x="105" y="1493"/>
                  </a:lnTo>
                  <a:lnTo>
                    <a:pt x="97" y="1473"/>
                  </a:lnTo>
                  <a:lnTo>
                    <a:pt x="117" y="1459"/>
                  </a:lnTo>
                  <a:close/>
                  <a:moveTo>
                    <a:pt x="77" y="1293"/>
                  </a:moveTo>
                  <a:lnTo>
                    <a:pt x="80" y="1300"/>
                  </a:lnTo>
                  <a:lnTo>
                    <a:pt x="90" y="1300"/>
                  </a:lnTo>
                  <a:lnTo>
                    <a:pt x="100" y="1332"/>
                  </a:lnTo>
                  <a:lnTo>
                    <a:pt x="83" y="1346"/>
                  </a:lnTo>
                  <a:lnTo>
                    <a:pt x="94" y="1360"/>
                  </a:lnTo>
                  <a:lnTo>
                    <a:pt x="85" y="1362"/>
                  </a:lnTo>
                  <a:lnTo>
                    <a:pt x="91" y="1383"/>
                  </a:lnTo>
                  <a:lnTo>
                    <a:pt x="83" y="1383"/>
                  </a:lnTo>
                  <a:lnTo>
                    <a:pt x="82" y="1397"/>
                  </a:lnTo>
                  <a:lnTo>
                    <a:pt x="58" y="1393"/>
                  </a:lnTo>
                  <a:lnTo>
                    <a:pt x="53" y="1383"/>
                  </a:lnTo>
                  <a:lnTo>
                    <a:pt x="63" y="1354"/>
                  </a:lnTo>
                  <a:lnTo>
                    <a:pt x="66" y="1304"/>
                  </a:lnTo>
                  <a:lnTo>
                    <a:pt x="77" y="1293"/>
                  </a:lnTo>
                  <a:close/>
                  <a:moveTo>
                    <a:pt x="230" y="2106"/>
                  </a:moveTo>
                  <a:lnTo>
                    <a:pt x="239" y="2141"/>
                  </a:lnTo>
                  <a:lnTo>
                    <a:pt x="227" y="2136"/>
                  </a:lnTo>
                  <a:lnTo>
                    <a:pt x="227" y="2143"/>
                  </a:lnTo>
                  <a:lnTo>
                    <a:pt x="241" y="2158"/>
                  </a:lnTo>
                  <a:lnTo>
                    <a:pt x="219" y="2141"/>
                  </a:lnTo>
                  <a:lnTo>
                    <a:pt x="217" y="2129"/>
                  </a:lnTo>
                  <a:lnTo>
                    <a:pt x="227" y="2124"/>
                  </a:lnTo>
                  <a:lnTo>
                    <a:pt x="226" y="2115"/>
                  </a:lnTo>
                  <a:lnTo>
                    <a:pt x="230" y="2106"/>
                  </a:lnTo>
                  <a:close/>
                  <a:moveTo>
                    <a:pt x="170" y="2126"/>
                  </a:moveTo>
                  <a:lnTo>
                    <a:pt x="179" y="2144"/>
                  </a:lnTo>
                  <a:lnTo>
                    <a:pt x="185" y="2136"/>
                  </a:lnTo>
                  <a:lnTo>
                    <a:pt x="195" y="2140"/>
                  </a:lnTo>
                  <a:lnTo>
                    <a:pt x="201" y="2151"/>
                  </a:lnTo>
                  <a:lnTo>
                    <a:pt x="205" y="2149"/>
                  </a:lnTo>
                  <a:lnTo>
                    <a:pt x="210" y="2160"/>
                  </a:lnTo>
                  <a:lnTo>
                    <a:pt x="201" y="2165"/>
                  </a:lnTo>
                  <a:lnTo>
                    <a:pt x="179" y="2154"/>
                  </a:lnTo>
                  <a:lnTo>
                    <a:pt x="178" y="2161"/>
                  </a:lnTo>
                  <a:lnTo>
                    <a:pt x="159" y="2149"/>
                  </a:lnTo>
                  <a:lnTo>
                    <a:pt x="156" y="2132"/>
                  </a:lnTo>
                  <a:lnTo>
                    <a:pt x="170" y="2126"/>
                  </a:lnTo>
                  <a:close/>
                  <a:moveTo>
                    <a:pt x="90" y="2090"/>
                  </a:moveTo>
                  <a:lnTo>
                    <a:pt x="111" y="2098"/>
                  </a:lnTo>
                  <a:lnTo>
                    <a:pt x="125" y="2095"/>
                  </a:lnTo>
                  <a:lnTo>
                    <a:pt x="133" y="2107"/>
                  </a:lnTo>
                  <a:lnTo>
                    <a:pt x="141" y="2106"/>
                  </a:lnTo>
                  <a:lnTo>
                    <a:pt x="153" y="2117"/>
                  </a:lnTo>
                  <a:lnTo>
                    <a:pt x="154" y="2126"/>
                  </a:lnTo>
                  <a:lnTo>
                    <a:pt x="148" y="2126"/>
                  </a:lnTo>
                  <a:lnTo>
                    <a:pt x="144" y="2143"/>
                  </a:lnTo>
                  <a:lnTo>
                    <a:pt x="136" y="2137"/>
                  </a:lnTo>
                  <a:lnTo>
                    <a:pt x="136" y="2146"/>
                  </a:lnTo>
                  <a:lnTo>
                    <a:pt x="122" y="2146"/>
                  </a:lnTo>
                  <a:lnTo>
                    <a:pt x="127" y="2141"/>
                  </a:lnTo>
                  <a:lnTo>
                    <a:pt x="103" y="2134"/>
                  </a:lnTo>
                  <a:lnTo>
                    <a:pt x="105" y="2121"/>
                  </a:lnTo>
                  <a:lnTo>
                    <a:pt x="97" y="2117"/>
                  </a:lnTo>
                  <a:lnTo>
                    <a:pt x="87" y="2094"/>
                  </a:lnTo>
                  <a:lnTo>
                    <a:pt x="90" y="2090"/>
                  </a:lnTo>
                  <a:close/>
                  <a:moveTo>
                    <a:pt x="43" y="1963"/>
                  </a:moveTo>
                  <a:lnTo>
                    <a:pt x="45" y="1985"/>
                  </a:lnTo>
                  <a:lnTo>
                    <a:pt x="40" y="1992"/>
                  </a:lnTo>
                  <a:lnTo>
                    <a:pt x="37" y="1982"/>
                  </a:lnTo>
                  <a:lnTo>
                    <a:pt x="43" y="1963"/>
                  </a:lnTo>
                  <a:close/>
                  <a:moveTo>
                    <a:pt x="41" y="2041"/>
                  </a:moveTo>
                  <a:lnTo>
                    <a:pt x="112" y="2089"/>
                  </a:lnTo>
                  <a:lnTo>
                    <a:pt x="96" y="2086"/>
                  </a:lnTo>
                  <a:lnTo>
                    <a:pt x="79" y="2077"/>
                  </a:lnTo>
                  <a:lnTo>
                    <a:pt x="49" y="2061"/>
                  </a:lnTo>
                  <a:lnTo>
                    <a:pt x="41" y="2041"/>
                  </a:lnTo>
                  <a:close/>
                  <a:moveTo>
                    <a:pt x="85" y="2018"/>
                  </a:moveTo>
                  <a:lnTo>
                    <a:pt x="85" y="2033"/>
                  </a:lnTo>
                  <a:lnTo>
                    <a:pt x="79" y="2036"/>
                  </a:lnTo>
                  <a:lnTo>
                    <a:pt x="80" y="2027"/>
                  </a:lnTo>
                  <a:lnTo>
                    <a:pt x="77" y="2029"/>
                  </a:lnTo>
                  <a:lnTo>
                    <a:pt x="74" y="2021"/>
                  </a:lnTo>
                  <a:lnTo>
                    <a:pt x="85" y="2018"/>
                  </a:lnTo>
                  <a:close/>
                  <a:moveTo>
                    <a:pt x="94" y="2001"/>
                  </a:moveTo>
                  <a:lnTo>
                    <a:pt x="114" y="1993"/>
                  </a:lnTo>
                  <a:lnTo>
                    <a:pt x="120" y="2009"/>
                  </a:lnTo>
                  <a:lnTo>
                    <a:pt x="127" y="1987"/>
                  </a:lnTo>
                  <a:lnTo>
                    <a:pt x="133" y="1990"/>
                  </a:lnTo>
                  <a:lnTo>
                    <a:pt x="136" y="2009"/>
                  </a:lnTo>
                  <a:lnTo>
                    <a:pt x="122" y="2033"/>
                  </a:lnTo>
                  <a:lnTo>
                    <a:pt x="142" y="2053"/>
                  </a:lnTo>
                  <a:lnTo>
                    <a:pt x="162" y="2036"/>
                  </a:lnTo>
                  <a:lnTo>
                    <a:pt x="185" y="2038"/>
                  </a:lnTo>
                  <a:lnTo>
                    <a:pt x="188" y="2052"/>
                  </a:lnTo>
                  <a:lnTo>
                    <a:pt x="141" y="2078"/>
                  </a:lnTo>
                  <a:lnTo>
                    <a:pt x="142" y="2098"/>
                  </a:lnTo>
                  <a:lnTo>
                    <a:pt x="136" y="2095"/>
                  </a:lnTo>
                  <a:lnTo>
                    <a:pt x="112" y="2073"/>
                  </a:lnTo>
                  <a:lnTo>
                    <a:pt x="133" y="2073"/>
                  </a:lnTo>
                  <a:lnTo>
                    <a:pt x="124" y="2056"/>
                  </a:lnTo>
                  <a:lnTo>
                    <a:pt x="117" y="2063"/>
                  </a:lnTo>
                  <a:lnTo>
                    <a:pt x="105" y="2063"/>
                  </a:lnTo>
                  <a:lnTo>
                    <a:pt x="107" y="2055"/>
                  </a:lnTo>
                  <a:lnTo>
                    <a:pt x="90" y="2041"/>
                  </a:lnTo>
                  <a:lnTo>
                    <a:pt x="94" y="2001"/>
                  </a:lnTo>
                  <a:close/>
                  <a:moveTo>
                    <a:pt x="85" y="1950"/>
                  </a:moveTo>
                  <a:lnTo>
                    <a:pt x="87" y="1963"/>
                  </a:lnTo>
                  <a:lnTo>
                    <a:pt x="77" y="1942"/>
                  </a:lnTo>
                  <a:lnTo>
                    <a:pt x="85" y="1950"/>
                  </a:lnTo>
                  <a:close/>
                  <a:moveTo>
                    <a:pt x="70" y="1960"/>
                  </a:moveTo>
                  <a:lnTo>
                    <a:pt x="79" y="1975"/>
                  </a:lnTo>
                  <a:lnTo>
                    <a:pt x="66" y="1968"/>
                  </a:lnTo>
                  <a:lnTo>
                    <a:pt x="65" y="1954"/>
                  </a:lnTo>
                  <a:lnTo>
                    <a:pt x="70" y="1960"/>
                  </a:lnTo>
                  <a:close/>
                  <a:moveTo>
                    <a:pt x="31" y="1993"/>
                  </a:moveTo>
                  <a:lnTo>
                    <a:pt x="28" y="1993"/>
                  </a:lnTo>
                  <a:lnTo>
                    <a:pt x="28" y="1982"/>
                  </a:lnTo>
                  <a:lnTo>
                    <a:pt x="32" y="1960"/>
                  </a:lnTo>
                  <a:lnTo>
                    <a:pt x="36" y="1975"/>
                  </a:lnTo>
                  <a:lnTo>
                    <a:pt x="31" y="1993"/>
                  </a:lnTo>
                  <a:close/>
                  <a:moveTo>
                    <a:pt x="31" y="1942"/>
                  </a:moveTo>
                  <a:lnTo>
                    <a:pt x="43" y="1923"/>
                  </a:lnTo>
                  <a:lnTo>
                    <a:pt x="46" y="1937"/>
                  </a:lnTo>
                  <a:lnTo>
                    <a:pt x="31" y="1942"/>
                  </a:lnTo>
                  <a:close/>
                  <a:moveTo>
                    <a:pt x="53" y="1908"/>
                  </a:moveTo>
                  <a:lnTo>
                    <a:pt x="49" y="1925"/>
                  </a:lnTo>
                  <a:lnTo>
                    <a:pt x="43" y="1920"/>
                  </a:lnTo>
                  <a:lnTo>
                    <a:pt x="34" y="1902"/>
                  </a:lnTo>
                  <a:lnTo>
                    <a:pt x="34" y="1885"/>
                  </a:lnTo>
                  <a:lnTo>
                    <a:pt x="49" y="1894"/>
                  </a:lnTo>
                  <a:lnTo>
                    <a:pt x="53" y="1908"/>
                  </a:lnTo>
                  <a:close/>
                  <a:moveTo>
                    <a:pt x="51" y="1887"/>
                  </a:moveTo>
                  <a:lnTo>
                    <a:pt x="46" y="1885"/>
                  </a:lnTo>
                  <a:lnTo>
                    <a:pt x="40" y="1865"/>
                  </a:lnTo>
                  <a:lnTo>
                    <a:pt x="60" y="1883"/>
                  </a:lnTo>
                  <a:lnTo>
                    <a:pt x="65" y="1897"/>
                  </a:lnTo>
                  <a:lnTo>
                    <a:pt x="51" y="1887"/>
                  </a:lnTo>
                  <a:close/>
                  <a:moveTo>
                    <a:pt x="9" y="1860"/>
                  </a:moveTo>
                  <a:lnTo>
                    <a:pt x="9" y="1852"/>
                  </a:lnTo>
                  <a:lnTo>
                    <a:pt x="32" y="1853"/>
                  </a:lnTo>
                  <a:lnTo>
                    <a:pt x="28" y="1872"/>
                  </a:lnTo>
                  <a:lnTo>
                    <a:pt x="17" y="1863"/>
                  </a:lnTo>
                  <a:lnTo>
                    <a:pt x="11" y="1866"/>
                  </a:lnTo>
                  <a:lnTo>
                    <a:pt x="9" y="1860"/>
                  </a:lnTo>
                  <a:close/>
                  <a:moveTo>
                    <a:pt x="2" y="1816"/>
                  </a:moveTo>
                  <a:lnTo>
                    <a:pt x="7" y="1812"/>
                  </a:lnTo>
                  <a:lnTo>
                    <a:pt x="15" y="1826"/>
                  </a:lnTo>
                  <a:lnTo>
                    <a:pt x="6" y="1828"/>
                  </a:lnTo>
                  <a:lnTo>
                    <a:pt x="2" y="1816"/>
                  </a:lnTo>
                  <a:close/>
                  <a:moveTo>
                    <a:pt x="26" y="1765"/>
                  </a:moveTo>
                  <a:lnTo>
                    <a:pt x="26" y="1753"/>
                  </a:lnTo>
                  <a:lnTo>
                    <a:pt x="36" y="1745"/>
                  </a:lnTo>
                  <a:lnTo>
                    <a:pt x="48" y="1762"/>
                  </a:lnTo>
                  <a:lnTo>
                    <a:pt x="51" y="1823"/>
                  </a:lnTo>
                  <a:lnTo>
                    <a:pt x="46" y="1840"/>
                  </a:lnTo>
                  <a:lnTo>
                    <a:pt x="37" y="1841"/>
                  </a:lnTo>
                  <a:lnTo>
                    <a:pt x="32" y="1833"/>
                  </a:lnTo>
                  <a:lnTo>
                    <a:pt x="34" y="1804"/>
                  </a:lnTo>
                  <a:lnTo>
                    <a:pt x="15" y="1789"/>
                  </a:lnTo>
                  <a:lnTo>
                    <a:pt x="26" y="1790"/>
                  </a:lnTo>
                  <a:lnTo>
                    <a:pt x="28" y="1781"/>
                  </a:lnTo>
                  <a:lnTo>
                    <a:pt x="17" y="1775"/>
                  </a:lnTo>
                  <a:lnTo>
                    <a:pt x="26" y="1765"/>
                  </a:lnTo>
                  <a:close/>
                  <a:moveTo>
                    <a:pt x="4" y="1739"/>
                  </a:moveTo>
                  <a:lnTo>
                    <a:pt x="4" y="1731"/>
                  </a:lnTo>
                  <a:lnTo>
                    <a:pt x="9" y="1730"/>
                  </a:lnTo>
                  <a:lnTo>
                    <a:pt x="12" y="1739"/>
                  </a:lnTo>
                  <a:lnTo>
                    <a:pt x="6" y="1750"/>
                  </a:lnTo>
                  <a:lnTo>
                    <a:pt x="4" y="1739"/>
                  </a:lnTo>
                  <a:close/>
                  <a:moveTo>
                    <a:pt x="29" y="1727"/>
                  </a:moveTo>
                  <a:lnTo>
                    <a:pt x="40" y="1728"/>
                  </a:lnTo>
                  <a:lnTo>
                    <a:pt x="48" y="1741"/>
                  </a:lnTo>
                  <a:lnTo>
                    <a:pt x="31" y="1735"/>
                  </a:lnTo>
                  <a:lnTo>
                    <a:pt x="29" y="1727"/>
                  </a:lnTo>
                  <a:close/>
                  <a:moveTo>
                    <a:pt x="6" y="1710"/>
                  </a:moveTo>
                  <a:lnTo>
                    <a:pt x="4" y="1702"/>
                  </a:lnTo>
                  <a:lnTo>
                    <a:pt x="11" y="1699"/>
                  </a:lnTo>
                  <a:lnTo>
                    <a:pt x="23" y="1736"/>
                  </a:lnTo>
                  <a:lnTo>
                    <a:pt x="6" y="1710"/>
                  </a:lnTo>
                  <a:close/>
                  <a:moveTo>
                    <a:pt x="19" y="1704"/>
                  </a:moveTo>
                  <a:lnTo>
                    <a:pt x="34" y="1710"/>
                  </a:lnTo>
                  <a:lnTo>
                    <a:pt x="36" y="1718"/>
                  </a:lnTo>
                  <a:lnTo>
                    <a:pt x="29" y="1721"/>
                  </a:lnTo>
                  <a:lnTo>
                    <a:pt x="19" y="1704"/>
                  </a:lnTo>
                  <a:close/>
                  <a:moveTo>
                    <a:pt x="26" y="1677"/>
                  </a:moveTo>
                  <a:lnTo>
                    <a:pt x="23" y="1685"/>
                  </a:lnTo>
                  <a:lnTo>
                    <a:pt x="12" y="1685"/>
                  </a:lnTo>
                  <a:lnTo>
                    <a:pt x="26" y="1677"/>
                  </a:lnTo>
                  <a:close/>
                  <a:moveTo>
                    <a:pt x="58" y="1682"/>
                  </a:moveTo>
                  <a:lnTo>
                    <a:pt x="43" y="1679"/>
                  </a:lnTo>
                  <a:lnTo>
                    <a:pt x="43" y="1674"/>
                  </a:lnTo>
                  <a:lnTo>
                    <a:pt x="49" y="1667"/>
                  </a:lnTo>
                  <a:lnTo>
                    <a:pt x="58" y="1682"/>
                  </a:lnTo>
                  <a:close/>
                  <a:moveTo>
                    <a:pt x="260" y="2229"/>
                  </a:moveTo>
                  <a:lnTo>
                    <a:pt x="329" y="2214"/>
                  </a:lnTo>
                  <a:lnTo>
                    <a:pt x="337" y="2225"/>
                  </a:lnTo>
                  <a:lnTo>
                    <a:pt x="339" y="2236"/>
                  </a:lnTo>
                  <a:lnTo>
                    <a:pt x="342" y="2241"/>
                  </a:lnTo>
                  <a:lnTo>
                    <a:pt x="345" y="2251"/>
                  </a:lnTo>
                  <a:lnTo>
                    <a:pt x="353" y="2273"/>
                  </a:lnTo>
                  <a:lnTo>
                    <a:pt x="332" y="2253"/>
                  </a:lnTo>
                  <a:lnTo>
                    <a:pt x="319" y="2256"/>
                  </a:lnTo>
                  <a:lnTo>
                    <a:pt x="302" y="2237"/>
                  </a:lnTo>
                  <a:lnTo>
                    <a:pt x="288" y="2242"/>
                  </a:lnTo>
                  <a:lnTo>
                    <a:pt x="302" y="2259"/>
                  </a:lnTo>
                  <a:lnTo>
                    <a:pt x="286" y="2259"/>
                  </a:lnTo>
                  <a:lnTo>
                    <a:pt x="275" y="2244"/>
                  </a:lnTo>
                  <a:lnTo>
                    <a:pt x="286" y="2233"/>
                  </a:lnTo>
                  <a:lnTo>
                    <a:pt x="263" y="2239"/>
                  </a:lnTo>
                  <a:lnTo>
                    <a:pt x="260" y="2229"/>
                  </a:lnTo>
                  <a:close/>
                  <a:moveTo>
                    <a:pt x="295" y="2216"/>
                  </a:moveTo>
                  <a:lnTo>
                    <a:pt x="266" y="2222"/>
                  </a:lnTo>
                  <a:lnTo>
                    <a:pt x="263" y="2211"/>
                  </a:lnTo>
                  <a:lnTo>
                    <a:pt x="295" y="2216"/>
                  </a:lnTo>
                  <a:close/>
                  <a:moveTo>
                    <a:pt x="239" y="2237"/>
                  </a:moveTo>
                  <a:lnTo>
                    <a:pt x="227" y="2225"/>
                  </a:lnTo>
                  <a:lnTo>
                    <a:pt x="239" y="2227"/>
                  </a:lnTo>
                  <a:lnTo>
                    <a:pt x="239" y="2237"/>
                  </a:lnTo>
                  <a:close/>
                  <a:moveTo>
                    <a:pt x="210" y="2224"/>
                  </a:moveTo>
                  <a:lnTo>
                    <a:pt x="219" y="2214"/>
                  </a:lnTo>
                  <a:lnTo>
                    <a:pt x="222" y="2222"/>
                  </a:lnTo>
                  <a:lnTo>
                    <a:pt x="210" y="2224"/>
                  </a:lnTo>
                  <a:close/>
                  <a:moveTo>
                    <a:pt x="345" y="2217"/>
                  </a:moveTo>
                  <a:lnTo>
                    <a:pt x="336" y="2212"/>
                  </a:lnTo>
                  <a:lnTo>
                    <a:pt x="357" y="2208"/>
                  </a:lnTo>
                  <a:lnTo>
                    <a:pt x="386" y="2214"/>
                  </a:lnTo>
                  <a:lnTo>
                    <a:pt x="393" y="2233"/>
                  </a:lnTo>
                  <a:lnTo>
                    <a:pt x="383" y="2242"/>
                  </a:lnTo>
                  <a:lnTo>
                    <a:pt x="371" y="2234"/>
                  </a:lnTo>
                  <a:lnTo>
                    <a:pt x="363" y="2237"/>
                  </a:lnTo>
                  <a:lnTo>
                    <a:pt x="348" y="2233"/>
                  </a:lnTo>
                  <a:lnTo>
                    <a:pt x="345" y="2217"/>
                  </a:lnTo>
                  <a:close/>
                  <a:moveTo>
                    <a:pt x="322" y="2207"/>
                  </a:moveTo>
                  <a:lnTo>
                    <a:pt x="302" y="2216"/>
                  </a:lnTo>
                  <a:lnTo>
                    <a:pt x="277" y="2203"/>
                  </a:lnTo>
                  <a:lnTo>
                    <a:pt x="215" y="2202"/>
                  </a:lnTo>
                  <a:lnTo>
                    <a:pt x="212" y="2197"/>
                  </a:lnTo>
                  <a:lnTo>
                    <a:pt x="219" y="2190"/>
                  </a:lnTo>
                  <a:lnTo>
                    <a:pt x="195" y="2190"/>
                  </a:lnTo>
                  <a:lnTo>
                    <a:pt x="193" y="2177"/>
                  </a:lnTo>
                  <a:lnTo>
                    <a:pt x="224" y="2165"/>
                  </a:lnTo>
                  <a:lnTo>
                    <a:pt x="212" y="2144"/>
                  </a:lnTo>
                  <a:lnTo>
                    <a:pt x="247" y="2173"/>
                  </a:lnTo>
                  <a:lnTo>
                    <a:pt x="255" y="2168"/>
                  </a:lnTo>
                  <a:lnTo>
                    <a:pt x="246" y="2161"/>
                  </a:lnTo>
                  <a:lnTo>
                    <a:pt x="251" y="2157"/>
                  </a:lnTo>
                  <a:lnTo>
                    <a:pt x="261" y="2168"/>
                  </a:lnTo>
                  <a:lnTo>
                    <a:pt x="263" y="2160"/>
                  </a:lnTo>
                  <a:lnTo>
                    <a:pt x="277" y="2169"/>
                  </a:lnTo>
                  <a:lnTo>
                    <a:pt x="286" y="2165"/>
                  </a:lnTo>
                  <a:lnTo>
                    <a:pt x="256" y="2149"/>
                  </a:lnTo>
                  <a:lnTo>
                    <a:pt x="249" y="2119"/>
                  </a:lnTo>
                  <a:lnTo>
                    <a:pt x="285" y="2103"/>
                  </a:lnTo>
                  <a:lnTo>
                    <a:pt x="286" y="2092"/>
                  </a:lnTo>
                  <a:lnTo>
                    <a:pt x="277" y="2086"/>
                  </a:lnTo>
                  <a:lnTo>
                    <a:pt x="249" y="2094"/>
                  </a:lnTo>
                  <a:lnTo>
                    <a:pt x="238" y="2086"/>
                  </a:lnTo>
                  <a:lnTo>
                    <a:pt x="236" y="2060"/>
                  </a:lnTo>
                  <a:lnTo>
                    <a:pt x="249" y="2061"/>
                  </a:lnTo>
                  <a:lnTo>
                    <a:pt x="251" y="2055"/>
                  </a:lnTo>
                  <a:lnTo>
                    <a:pt x="246" y="2046"/>
                  </a:lnTo>
                  <a:lnTo>
                    <a:pt x="238" y="2041"/>
                  </a:lnTo>
                  <a:lnTo>
                    <a:pt x="268" y="2039"/>
                  </a:lnTo>
                  <a:lnTo>
                    <a:pt x="273" y="2022"/>
                  </a:lnTo>
                  <a:lnTo>
                    <a:pt x="283" y="2019"/>
                  </a:lnTo>
                  <a:lnTo>
                    <a:pt x="290" y="2031"/>
                  </a:lnTo>
                  <a:lnTo>
                    <a:pt x="314" y="2026"/>
                  </a:lnTo>
                  <a:lnTo>
                    <a:pt x="319" y="2033"/>
                  </a:lnTo>
                  <a:lnTo>
                    <a:pt x="322" y="2207"/>
                  </a:lnTo>
                  <a:close/>
                </a:path>
              </a:pathLst>
            </a:custGeom>
            <a:solidFill>
              <a:schemeClr val="accent1"/>
            </a:solid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200" name="Freeform 206">
              <a:extLst>
                <a:ext uri="{FF2B5EF4-FFF2-40B4-BE49-F238E27FC236}">
                  <a16:creationId xmlns:a16="http://schemas.microsoft.com/office/drawing/2014/main" id="{9F5A349F-56D2-9848-82F9-BB2653FD68E5}"/>
                </a:ext>
              </a:extLst>
            </p:cNvPr>
            <p:cNvSpPr>
              <a:spLocks noChangeAspect="1" noEditPoints="1"/>
            </p:cNvSpPr>
            <p:nvPr/>
          </p:nvSpPr>
          <p:spPr bwMode="gray">
            <a:xfrm>
              <a:off x="3264392" y="5882870"/>
              <a:ext cx="73202" cy="44194"/>
            </a:xfrm>
            <a:custGeom>
              <a:avLst/>
              <a:gdLst>
                <a:gd name="T0" fmla="*/ 73 w 147"/>
                <a:gd name="T1" fmla="*/ 9 h 77"/>
                <a:gd name="T2" fmla="*/ 80 w 147"/>
                <a:gd name="T3" fmla="*/ 13 h 77"/>
                <a:gd name="T4" fmla="*/ 76 w 147"/>
                <a:gd name="T5" fmla="*/ 21 h 77"/>
                <a:gd name="T6" fmla="*/ 52 w 147"/>
                <a:gd name="T7" fmla="*/ 51 h 77"/>
                <a:gd name="T8" fmla="*/ 34 w 147"/>
                <a:gd name="T9" fmla="*/ 52 h 77"/>
                <a:gd name="T10" fmla="*/ 34 w 147"/>
                <a:gd name="T11" fmla="*/ 59 h 77"/>
                <a:gd name="T12" fmla="*/ 17 w 147"/>
                <a:gd name="T13" fmla="*/ 69 h 77"/>
                <a:gd name="T14" fmla="*/ 0 w 147"/>
                <a:gd name="T15" fmla="*/ 55 h 77"/>
                <a:gd name="T16" fmla="*/ 20 w 147"/>
                <a:gd name="T17" fmla="*/ 51 h 77"/>
                <a:gd name="T18" fmla="*/ 26 w 147"/>
                <a:gd name="T19" fmla="*/ 38 h 77"/>
                <a:gd name="T20" fmla="*/ 43 w 147"/>
                <a:gd name="T21" fmla="*/ 30 h 77"/>
                <a:gd name="T22" fmla="*/ 22 w 147"/>
                <a:gd name="T23" fmla="*/ 17 h 77"/>
                <a:gd name="T24" fmla="*/ 26 w 147"/>
                <a:gd name="T25" fmla="*/ 13 h 77"/>
                <a:gd name="T26" fmla="*/ 18 w 147"/>
                <a:gd name="T27" fmla="*/ 4 h 77"/>
                <a:gd name="T28" fmla="*/ 39 w 147"/>
                <a:gd name="T29" fmla="*/ 13 h 77"/>
                <a:gd name="T30" fmla="*/ 73 w 147"/>
                <a:gd name="T31" fmla="*/ 9 h 77"/>
                <a:gd name="T32" fmla="*/ 141 w 147"/>
                <a:gd name="T33" fmla="*/ 34 h 77"/>
                <a:gd name="T34" fmla="*/ 124 w 147"/>
                <a:gd name="T35" fmla="*/ 42 h 77"/>
                <a:gd name="T36" fmla="*/ 97 w 147"/>
                <a:gd name="T37" fmla="*/ 42 h 77"/>
                <a:gd name="T38" fmla="*/ 107 w 147"/>
                <a:gd name="T39" fmla="*/ 60 h 77"/>
                <a:gd name="T40" fmla="*/ 88 w 147"/>
                <a:gd name="T41" fmla="*/ 54 h 77"/>
                <a:gd name="T42" fmla="*/ 86 w 147"/>
                <a:gd name="T43" fmla="*/ 64 h 77"/>
                <a:gd name="T44" fmla="*/ 91 w 147"/>
                <a:gd name="T45" fmla="*/ 69 h 77"/>
                <a:gd name="T46" fmla="*/ 76 w 147"/>
                <a:gd name="T47" fmla="*/ 64 h 77"/>
                <a:gd name="T48" fmla="*/ 73 w 147"/>
                <a:gd name="T49" fmla="*/ 77 h 77"/>
                <a:gd name="T50" fmla="*/ 61 w 147"/>
                <a:gd name="T51" fmla="*/ 59 h 77"/>
                <a:gd name="T52" fmla="*/ 65 w 147"/>
                <a:gd name="T53" fmla="*/ 40 h 77"/>
                <a:gd name="T54" fmla="*/ 80 w 147"/>
                <a:gd name="T55" fmla="*/ 30 h 77"/>
                <a:gd name="T56" fmla="*/ 91 w 147"/>
                <a:gd name="T57" fmla="*/ 37 h 77"/>
                <a:gd name="T58" fmla="*/ 86 w 147"/>
                <a:gd name="T59" fmla="*/ 10 h 77"/>
                <a:gd name="T60" fmla="*/ 99 w 147"/>
                <a:gd name="T61" fmla="*/ 0 h 77"/>
                <a:gd name="T62" fmla="*/ 111 w 147"/>
                <a:gd name="T63" fmla="*/ 0 h 77"/>
                <a:gd name="T64" fmla="*/ 122 w 147"/>
                <a:gd name="T65" fmla="*/ 12 h 77"/>
                <a:gd name="T66" fmla="*/ 139 w 147"/>
                <a:gd name="T67" fmla="*/ 10 h 77"/>
                <a:gd name="T68" fmla="*/ 147 w 147"/>
                <a:gd name="T69" fmla="*/ 27 h 77"/>
                <a:gd name="T70" fmla="*/ 141 w 147"/>
                <a:gd name="T71" fmla="*/ 3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7" h="77">
                  <a:moveTo>
                    <a:pt x="73" y="9"/>
                  </a:moveTo>
                  <a:lnTo>
                    <a:pt x="80" y="13"/>
                  </a:lnTo>
                  <a:lnTo>
                    <a:pt x="76" y="21"/>
                  </a:lnTo>
                  <a:lnTo>
                    <a:pt x="52" y="51"/>
                  </a:lnTo>
                  <a:lnTo>
                    <a:pt x="34" y="52"/>
                  </a:lnTo>
                  <a:lnTo>
                    <a:pt x="34" y="59"/>
                  </a:lnTo>
                  <a:lnTo>
                    <a:pt x="17" y="69"/>
                  </a:lnTo>
                  <a:lnTo>
                    <a:pt x="0" y="55"/>
                  </a:lnTo>
                  <a:lnTo>
                    <a:pt x="20" y="51"/>
                  </a:lnTo>
                  <a:lnTo>
                    <a:pt x="26" y="38"/>
                  </a:lnTo>
                  <a:lnTo>
                    <a:pt x="43" y="30"/>
                  </a:lnTo>
                  <a:lnTo>
                    <a:pt x="22" y="17"/>
                  </a:lnTo>
                  <a:lnTo>
                    <a:pt x="26" y="13"/>
                  </a:lnTo>
                  <a:lnTo>
                    <a:pt x="18" y="4"/>
                  </a:lnTo>
                  <a:lnTo>
                    <a:pt x="39" y="13"/>
                  </a:lnTo>
                  <a:lnTo>
                    <a:pt x="73" y="9"/>
                  </a:lnTo>
                  <a:close/>
                  <a:moveTo>
                    <a:pt x="141" y="34"/>
                  </a:moveTo>
                  <a:lnTo>
                    <a:pt x="124" y="42"/>
                  </a:lnTo>
                  <a:lnTo>
                    <a:pt x="97" y="42"/>
                  </a:lnTo>
                  <a:lnTo>
                    <a:pt x="107" y="60"/>
                  </a:lnTo>
                  <a:lnTo>
                    <a:pt x="88" y="54"/>
                  </a:lnTo>
                  <a:lnTo>
                    <a:pt x="86" y="64"/>
                  </a:lnTo>
                  <a:lnTo>
                    <a:pt x="91" y="69"/>
                  </a:lnTo>
                  <a:lnTo>
                    <a:pt x="76" y="64"/>
                  </a:lnTo>
                  <a:lnTo>
                    <a:pt x="73" y="77"/>
                  </a:lnTo>
                  <a:lnTo>
                    <a:pt x="61" y="59"/>
                  </a:lnTo>
                  <a:lnTo>
                    <a:pt x="65" y="40"/>
                  </a:lnTo>
                  <a:lnTo>
                    <a:pt x="80" y="30"/>
                  </a:lnTo>
                  <a:lnTo>
                    <a:pt x="91" y="37"/>
                  </a:lnTo>
                  <a:lnTo>
                    <a:pt x="86" y="10"/>
                  </a:lnTo>
                  <a:lnTo>
                    <a:pt x="99" y="0"/>
                  </a:lnTo>
                  <a:lnTo>
                    <a:pt x="111" y="0"/>
                  </a:lnTo>
                  <a:lnTo>
                    <a:pt x="122" y="12"/>
                  </a:lnTo>
                  <a:lnTo>
                    <a:pt x="139" y="10"/>
                  </a:lnTo>
                  <a:lnTo>
                    <a:pt x="147" y="27"/>
                  </a:lnTo>
                  <a:lnTo>
                    <a:pt x="141" y="34"/>
                  </a:lnTo>
                  <a:close/>
                </a:path>
              </a:pathLst>
            </a:custGeom>
            <a:noFill/>
            <a:ln w="3175"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ysClr val="windowText" lastClr="000000"/>
                </a:solidFill>
                <a:effectLst/>
                <a:uLnTx/>
                <a:uFillTx/>
                <a:latin typeface="Arial"/>
                <a:ea typeface="+mn-ea"/>
                <a:cs typeface="+mn-cs"/>
              </a:endParaRPr>
            </a:p>
          </p:txBody>
        </p:sp>
      </p:grpSp>
      <p:sp>
        <p:nvSpPr>
          <p:cNvPr id="201" name="TextBox 200">
            <a:extLst>
              <a:ext uri="{FF2B5EF4-FFF2-40B4-BE49-F238E27FC236}">
                <a16:creationId xmlns:a16="http://schemas.microsoft.com/office/drawing/2014/main" id="{57134C06-3556-8E41-BA17-1CE20D25DFBF}"/>
              </a:ext>
            </a:extLst>
          </p:cNvPr>
          <p:cNvSpPr txBox="1"/>
          <p:nvPr/>
        </p:nvSpPr>
        <p:spPr>
          <a:xfrm>
            <a:off x="5377832" y="6092950"/>
            <a:ext cx="4232468" cy="194024"/>
          </a:xfrm>
          <a:prstGeom prst="rect">
            <a:avLst/>
          </a:prstGeom>
          <a:noFill/>
        </p:spPr>
        <p:txBody>
          <a:bodyPr wrap="square" lIns="70229" tIns="35114" rIns="70229" bIns="35114">
            <a:spAutoFit/>
          </a:bodyPr>
          <a:lstStyle/>
          <a:p>
            <a:pPr marL="0" marR="0" lvl="0" indent="0" algn="l" defTabSz="702288" rtl="0" eaLnBrk="1" fontAlgn="auto" latinLnBrk="0" hangingPunct="1">
              <a:lnSpc>
                <a:spcPct val="100000"/>
              </a:lnSpc>
              <a:spcBef>
                <a:spcPts val="0"/>
              </a:spcBef>
              <a:spcAft>
                <a:spcPts val="0"/>
              </a:spcAft>
              <a:buClrTx/>
              <a:buSzTx/>
              <a:buFontTx/>
              <a:buNone/>
              <a:tabLst/>
              <a:defRPr/>
            </a:pPr>
            <a:r>
              <a:rPr kumimoji="0" lang="en-GB" sz="8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rPr>
              <a:t>Appian presence</a:t>
            </a:r>
          </a:p>
        </p:txBody>
      </p:sp>
      <p:sp>
        <p:nvSpPr>
          <p:cNvPr id="202" name="Rectangle 201">
            <a:extLst>
              <a:ext uri="{FF2B5EF4-FFF2-40B4-BE49-F238E27FC236}">
                <a16:creationId xmlns:a16="http://schemas.microsoft.com/office/drawing/2014/main" id="{E38B0980-459D-3D4D-BC07-A6AA465F296F}"/>
              </a:ext>
            </a:extLst>
          </p:cNvPr>
          <p:cNvSpPr/>
          <p:nvPr/>
        </p:nvSpPr>
        <p:spPr bwMode="auto">
          <a:xfrm>
            <a:off x="5193917" y="6115859"/>
            <a:ext cx="126000" cy="124880"/>
          </a:xfrm>
          <a:prstGeom prst="rect">
            <a:avLst/>
          </a:prstGeom>
          <a:solidFill>
            <a:schemeClr val="accent1"/>
          </a:solidFill>
          <a:ln w="9525" cap="flat" cmpd="sng" algn="ctr">
            <a:noFill/>
            <a:prstDash val="solid"/>
            <a:round/>
            <a:headEnd type="none" w="med" len="med"/>
            <a:tailEnd type="none" w="med" len="med"/>
          </a:ln>
          <a:effectLst/>
        </p:spPr>
        <p:txBody>
          <a:bodyPr lIns="70229" tIns="35114" rIns="70229" bIns="35114"/>
          <a:lstStyle/>
          <a:p>
            <a:pPr marL="0" marR="0" lvl="0" indent="0" algn="l" defTabSz="702288" rtl="0" eaLnBrk="0" fontAlgn="base" latinLnBrk="0" hangingPunct="0">
              <a:lnSpc>
                <a:spcPct val="100000"/>
              </a:lnSpc>
              <a:spcBef>
                <a:spcPct val="0"/>
              </a:spcBef>
              <a:spcAft>
                <a:spcPct val="0"/>
              </a:spcAft>
              <a:buClrTx/>
              <a:buSzTx/>
              <a:buFontTx/>
              <a:buNone/>
              <a:tabLst/>
              <a:defRPr/>
            </a:pPr>
            <a:endParaRPr kumimoji="0" lang="en-GB" sz="1000" b="0" i="0" u="none" strike="noStrike" kern="0" cap="none" spc="0" normalizeH="0" baseline="0" noProof="0" dirty="0">
              <a:ln>
                <a:noFill/>
              </a:ln>
              <a:solidFill>
                <a:srgbClr val="000000"/>
              </a:solidFill>
              <a:effectLst/>
              <a:uLnTx/>
              <a:uFillTx/>
              <a:latin typeface="Book Antiqua" pitchFamily="18" charset="0"/>
              <a:ea typeface="+mn-ea"/>
              <a:cs typeface="+mn-cs"/>
            </a:endParaRPr>
          </a:p>
        </p:txBody>
      </p:sp>
      <p:sp>
        <p:nvSpPr>
          <p:cNvPr id="203" name="Star: 5 Points 269">
            <a:extLst>
              <a:ext uri="{FF2B5EF4-FFF2-40B4-BE49-F238E27FC236}">
                <a16:creationId xmlns:a16="http://schemas.microsoft.com/office/drawing/2014/main" id="{48AFA021-1A2D-6248-832D-3CA09AEE0921}"/>
              </a:ext>
            </a:extLst>
          </p:cNvPr>
          <p:cNvSpPr/>
          <p:nvPr/>
        </p:nvSpPr>
        <p:spPr>
          <a:xfrm>
            <a:off x="5148917" y="6282670"/>
            <a:ext cx="216000" cy="216000"/>
          </a:xfrm>
          <a:prstGeom prst="star5">
            <a:avLst/>
          </a:prstGeom>
          <a:solidFill>
            <a:srgbClr val="E0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04" name="TextBox 203">
            <a:extLst>
              <a:ext uri="{FF2B5EF4-FFF2-40B4-BE49-F238E27FC236}">
                <a16:creationId xmlns:a16="http://schemas.microsoft.com/office/drawing/2014/main" id="{D63E1D3E-BCB0-1547-B00D-80CA383B28C9}"/>
              </a:ext>
            </a:extLst>
          </p:cNvPr>
          <p:cNvSpPr txBox="1"/>
          <p:nvPr/>
        </p:nvSpPr>
        <p:spPr>
          <a:xfrm>
            <a:off x="5377832" y="6324963"/>
            <a:ext cx="4232468" cy="194024"/>
          </a:xfrm>
          <a:prstGeom prst="rect">
            <a:avLst/>
          </a:prstGeom>
          <a:noFill/>
        </p:spPr>
        <p:txBody>
          <a:bodyPr wrap="square" lIns="70229" tIns="35114" rIns="70229" bIns="35114">
            <a:spAutoFit/>
          </a:bodyPr>
          <a:lstStyle/>
          <a:p>
            <a:pPr marL="0" marR="0" lvl="0" indent="0" algn="l" defTabSz="702288" rtl="0" eaLnBrk="1" fontAlgn="auto" latinLnBrk="0" hangingPunct="1">
              <a:lnSpc>
                <a:spcPct val="100000"/>
              </a:lnSpc>
              <a:spcBef>
                <a:spcPts val="0"/>
              </a:spcBef>
              <a:spcAft>
                <a:spcPts val="0"/>
              </a:spcAft>
              <a:buClrTx/>
              <a:buSzTx/>
              <a:buFontTx/>
              <a:buNone/>
              <a:tabLst/>
              <a:defRPr/>
            </a:pPr>
            <a:r>
              <a:rPr kumimoji="0" lang="en-GB" sz="8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rPr>
              <a:t>Appian office locations </a:t>
            </a:r>
          </a:p>
        </p:txBody>
      </p:sp>
      <p:grpSp>
        <p:nvGrpSpPr>
          <p:cNvPr id="255" name="Group 254">
            <a:extLst>
              <a:ext uri="{FF2B5EF4-FFF2-40B4-BE49-F238E27FC236}">
                <a16:creationId xmlns:a16="http://schemas.microsoft.com/office/drawing/2014/main" id="{B0CBB7FF-D6EE-F941-963E-FC81006CDF00}"/>
              </a:ext>
            </a:extLst>
          </p:cNvPr>
          <p:cNvGrpSpPr/>
          <p:nvPr/>
        </p:nvGrpSpPr>
        <p:grpSpPr>
          <a:xfrm>
            <a:off x="7016538" y="6082176"/>
            <a:ext cx="2496217" cy="426037"/>
            <a:chOff x="5167786" y="6344505"/>
            <a:chExt cx="2496217" cy="426037"/>
          </a:xfrm>
        </p:grpSpPr>
        <p:sp>
          <p:nvSpPr>
            <p:cNvPr id="256" name="TextBox 255">
              <a:extLst>
                <a:ext uri="{FF2B5EF4-FFF2-40B4-BE49-F238E27FC236}">
                  <a16:creationId xmlns:a16="http://schemas.microsoft.com/office/drawing/2014/main" id="{0ECC079E-9C12-F042-B617-A0414B5AEF09}"/>
                </a:ext>
              </a:extLst>
            </p:cNvPr>
            <p:cNvSpPr txBox="1"/>
            <p:nvPr/>
          </p:nvSpPr>
          <p:spPr>
            <a:xfrm>
              <a:off x="5377832" y="6344505"/>
              <a:ext cx="2286171" cy="194024"/>
            </a:xfrm>
            <a:prstGeom prst="rect">
              <a:avLst/>
            </a:prstGeom>
            <a:noFill/>
          </p:spPr>
          <p:txBody>
            <a:bodyPr wrap="square" lIns="70229" tIns="35114" rIns="70229" bIns="35114">
              <a:spAutoFit/>
            </a:bodyPr>
            <a:lstStyle/>
            <a:p>
              <a:pPr marL="0" marR="0" lvl="0" indent="0" algn="l" defTabSz="702288" rtl="0" eaLnBrk="1" fontAlgn="auto" latinLnBrk="0" hangingPunct="1">
                <a:lnSpc>
                  <a:spcPct val="100000"/>
                </a:lnSpc>
                <a:spcBef>
                  <a:spcPts val="0"/>
                </a:spcBef>
                <a:spcAft>
                  <a:spcPts val="0"/>
                </a:spcAft>
                <a:buClrTx/>
                <a:buSzTx/>
                <a:buFontTx/>
                <a:buNone/>
                <a:tabLst/>
                <a:defRPr/>
              </a:pPr>
              <a:r>
                <a:rPr kumimoji="0" lang="en-GB" sz="8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rPr>
                <a:t>Appian portfolio company</a:t>
              </a:r>
            </a:p>
          </p:txBody>
        </p:sp>
        <p:sp>
          <p:nvSpPr>
            <p:cNvPr id="257" name="Oval 256">
              <a:extLst>
                <a:ext uri="{FF2B5EF4-FFF2-40B4-BE49-F238E27FC236}">
                  <a16:creationId xmlns:a16="http://schemas.microsoft.com/office/drawing/2014/main" id="{BC86EE15-1891-0A42-8228-94EC939D0E62}"/>
                </a:ext>
              </a:extLst>
            </p:cNvPr>
            <p:cNvSpPr/>
            <p:nvPr/>
          </p:nvSpPr>
          <p:spPr>
            <a:xfrm>
              <a:off x="5167786" y="6355279"/>
              <a:ext cx="178954" cy="179308"/>
            </a:xfrm>
            <a:prstGeom prst="ellipse">
              <a:avLst/>
            </a:prstGeom>
            <a:solidFill>
              <a:srgbClr val="E28C0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u="none" strike="noStrike" kern="1200" cap="none" spc="0" normalizeH="0" baseline="0" noProof="0" dirty="0">
                <a:ln>
                  <a:noFill/>
                </a:ln>
                <a:solidFill>
                  <a:srgbClr val="FFFFFF"/>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258" name="Oval 257">
              <a:extLst>
                <a:ext uri="{FF2B5EF4-FFF2-40B4-BE49-F238E27FC236}">
                  <a16:creationId xmlns:a16="http://schemas.microsoft.com/office/drawing/2014/main" id="{23B55420-6CA5-F14C-B02B-F065205705D4}"/>
                </a:ext>
              </a:extLst>
            </p:cNvPr>
            <p:cNvSpPr/>
            <p:nvPr/>
          </p:nvSpPr>
          <p:spPr>
            <a:xfrm>
              <a:off x="5185094" y="6576518"/>
              <a:ext cx="161646" cy="161965"/>
            </a:xfrm>
            <a:prstGeom prst="ellipse">
              <a:avLst/>
            </a:prstGeom>
            <a:solidFill>
              <a:srgbClr val="00B05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u="none" strike="noStrike" kern="1200" cap="none" spc="0" normalizeH="0" baseline="0" noProof="0" dirty="0">
                <a:ln>
                  <a:noFill/>
                </a:ln>
                <a:solidFill>
                  <a:srgbClr val="FFFFFF"/>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259" name="TextBox 258">
              <a:extLst>
                <a:ext uri="{FF2B5EF4-FFF2-40B4-BE49-F238E27FC236}">
                  <a16:creationId xmlns:a16="http://schemas.microsoft.com/office/drawing/2014/main" id="{5CA011FF-B2E2-6343-904C-0165F237079D}"/>
                </a:ext>
              </a:extLst>
            </p:cNvPr>
            <p:cNvSpPr txBox="1"/>
            <p:nvPr/>
          </p:nvSpPr>
          <p:spPr>
            <a:xfrm>
              <a:off x="5377832" y="6576518"/>
              <a:ext cx="2286171" cy="194024"/>
            </a:xfrm>
            <a:prstGeom prst="rect">
              <a:avLst/>
            </a:prstGeom>
            <a:noFill/>
          </p:spPr>
          <p:txBody>
            <a:bodyPr wrap="square" lIns="70229" tIns="35114" rIns="70229" bIns="35114">
              <a:spAutoFit/>
            </a:bodyPr>
            <a:lstStyle/>
            <a:p>
              <a:pPr marL="0" marR="0" lvl="0" indent="0" algn="l" defTabSz="702288" rtl="0" eaLnBrk="1" fontAlgn="auto" latinLnBrk="0" hangingPunct="1">
                <a:lnSpc>
                  <a:spcPct val="100000"/>
                </a:lnSpc>
                <a:spcBef>
                  <a:spcPts val="0"/>
                </a:spcBef>
                <a:spcAft>
                  <a:spcPts val="0"/>
                </a:spcAft>
                <a:buClrTx/>
                <a:buSzTx/>
                <a:buFontTx/>
                <a:buNone/>
                <a:tabLst/>
                <a:defRPr/>
              </a:pPr>
              <a:r>
                <a:rPr kumimoji="0" lang="en-GB" sz="8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rPr>
                <a:t>Exited Appian portfolio company</a:t>
              </a:r>
            </a:p>
          </p:txBody>
        </p:sp>
      </p:grpSp>
      <p:sp>
        <p:nvSpPr>
          <p:cNvPr id="261" name="Oval 260">
            <a:extLst>
              <a:ext uri="{FF2B5EF4-FFF2-40B4-BE49-F238E27FC236}">
                <a16:creationId xmlns:a16="http://schemas.microsoft.com/office/drawing/2014/main" id="{57266B65-6097-874C-9A71-57CFC04D7AC7}"/>
              </a:ext>
            </a:extLst>
          </p:cNvPr>
          <p:cNvSpPr/>
          <p:nvPr/>
        </p:nvSpPr>
        <p:spPr>
          <a:xfrm>
            <a:off x="2416185" y="2826081"/>
            <a:ext cx="108000" cy="108000"/>
          </a:xfrm>
          <a:prstGeom prst="ellipse">
            <a:avLst/>
          </a:prstGeom>
          <a:solidFill>
            <a:srgbClr val="E28C05"/>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62" name="Oval 261">
            <a:extLst>
              <a:ext uri="{FF2B5EF4-FFF2-40B4-BE49-F238E27FC236}">
                <a16:creationId xmlns:a16="http://schemas.microsoft.com/office/drawing/2014/main" id="{76BFBC2B-3445-DE48-851B-41519CC3B91F}"/>
              </a:ext>
            </a:extLst>
          </p:cNvPr>
          <p:cNvSpPr/>
          <p:nvPr/>
        </p:nvSpPr>
        <p:spPr>
          <a:xfrm>
            <a:off x="3313902" y="4528129"/>
            <a:ext cx="108000" cy="108000"/>
          </a:xfrm>
          <a:prstGeom prst="ellipse">
            <a:avLst/>
          </a:prstGeom>
          <a:solidFill>
            <a:srgbClr val="00B050"/>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63" name="Oval 262">
            <a:extLst>
              <a:ext uri="{FF2B5EF4-FFF2-40B4-BE49-F238E27FC236}">
                <a16:creationId xmlns:a16="http://schemas.microsoft.com/office/drawing/2014/main" id="{57E148ED-CB57-1E4C-92C1-0A52BBF239EE}"/>
              </a:ext>
            </a:extLst>
          </p:cNvPr>
          <p:cNvSpPr/>
          <p:nvPr/>
        </p:nvSpPr>
        <p:spPr>
          <a:xfrm>
            <a:off x="4546765" y="3998519"/>
            <a:ext cx="108000" cy="108000"/>
          </a:xfrm>
          <a:prstGeom prst="ellipse">
            <a:avLst/>
          </a:prstGeom>
          <a:solidFill>
            <a:srgbClr val="E28C05"/>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64" name="Oval 263">
            <a:extLst>
              <a:ext uri="{FF2B5EF4-FFF2-40B4-BE49-F238E27FC236}">
                <a16:creationId xmlns:a16="http://schemas.microsoft.com/office/drawing/2014/main" id="{E8BAAFC8-22E9-204E-A497-ABD51E7677C3}"/>
              </a:ext>
            </a:extLst>
          </p:cNvPr>
          <p:cNvSpPr/>
          <p:nvPr/>
        </p:nvSpPr>
        <p:spPr>
          <a:xfrm>
            <a:off x="5502706" y="4568762"/>
            <a:ext cx="108000" cy="108000"/>
          </a:xfrm>
          <a:prstGeom prst="ellipse">
            <a:avLst/>
          </a:prstGeom>
          <a:solidFill>
            <a:srgbClr val="E28C05"/>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65" name="Oval 264">
            <a:extLst>
              <a:ext uri="{FF2B5EF4-FFF2-40B4-BE49-F238E27FC236}">
                <a16:creationId xmlns:a16="http://schemas.microsoft.com/office/drawing/2014/main" id="{2671CF13-43A8-C244-9EE5-A5F708518060}"/>
              </a:ext>
            </a:extLst>
          </p:cNvPr>
          <p:cNvSpPr/>
          <p:nvPr/>
        </p:nvSpPr>
        <p:spPr>
          <a:xfrm>
            <a:off x="2778978" y="4237889"/>
            <a:ext cx="108000" cy="108000"/>
          </a:xfrm>
          <a:prstGeom prst="ellipse">
            <a:avLst/>
          </a:prstGeom>
          <a:solidFill>
            <a:srgbClr val="00B050"/>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66" name="Oval 265">
            <a:extLst>
              <a:ext uri="{FF2B5EF4-FFF2-40B4-BE49-F238E27FC236}">
                <a16:creationId xmlns:a16="http://schemas.microsoft.com/office/drawing/2014/main" id="{DF4445E7-1408-ED41-8070-63101A398B78}"/>
              </a:ext>
            </a:extLst>
          </p:cNvPr>
          <p:cNvSpPr/>
          <p:nvPr/>
        </p:nvSpPr>
        <p:spPr>
          <a:xfrm>
            <a:off x="2874443" y="4945853"/>
            <a:ext cx="108000" cy="108000"/>
          </a:xfrm>
          <a:prstGeom prst="ellipse">
            <a:avLst/>
          </a:prstGeom>
          <a:solidFill>
            <a:srgbClr val="E28C05"/>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67" name="Oval 266">
            <a:extLst>
              <a:ext uri="{FF2B5EF4-FFF2-40B4-BE49-F238E27FC236}">
                <a16:creationId xmlns:a16="http://schemas.microsoft.com/office/drawing/2014/main" id="{51B96D07-6611-D249-894E-EBB4696FF6D4}"/>
              </a:ext>
            </a:extLst>
          </p:cNvPr>
          <p:cNvSpPr/>
          <p:nvPr/>
        </p:nvSpPr>
        <p:spPr>
          <a:xfrm>
            <a:off x="3662995" y="4577308"/>
            <a:ext cx="108000" cy="108000"/>
          </a:xfrm>
          <a:prstGeom prst="ellipse">
            <a:avLst/>
          </a:prstGeom>
          <a:solidFill>
            <a:srgbClr val="E28C05"/>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68" name="Oval 267">
            <a:extLst>
              <a:ext uri="{FF2B5EF4-FFF2-40B4-BE49-F238E27FC236}">
                <a16:creationId xmlns:a16="http://schemas.microsoft.com/office/drawing/2014/main" id="{A6A835B3-80FF-3748-A98B-D790F8A6CE67}"/>
              </a:ext>
            </a:extLst>
          </p:cNvPr>
          <p:cNvSpPr/>
          <p:nvPr/>
        </p:nvSpPr>
        <p:spPr>
          <a:xfrm>
            <a:off x="3554995" y="4849640"/>
            <a:ext cx="108000" cy="108000"/>
          </a:xfrm>
          <a:prstGeom prst="ellipse">
            <a:avLst/>
          </a:prstGeom>
          <a:solidFill>
            <a:srgbClr val="FFC000"/>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69" name="Star: 5 Points 270">
            <a:extLst>
              <a:ext uri="{FF2B5EF4-FFF2-40B4-BE49-F238E27FC236}">
                <a16:creationId xmlns:a16="http://schemas.microsoft.com/office/drawing/2014/main" id="{2006A7B2-96C4-344D-851C-F0DA0B69040B}"/>
              </a:ext>
            </a:extLst>
          </p:cNvPr>
          <p:cNvSpPr/>
          <p:nvPr/>
        </p:nvSpPr>
        <p:spPr>
          <a:xfrm>
            <a:off x="2483771" y="2907364"/>
            <a:ext cx="216000" cy="216000"/>
          </a:xfrm>
          <a:prstGeom prst="star5">
            <a:avLst/>
          </a:prstGeom>
          <a:solidFill>
            <a:srgbClr val="E0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70" name="Star: 5 Points 272">
            <a:extLst>
              <a:ext uri="{FF2B5EF4-FFF2-40B4-BE49-F238E27FC236}">
                <a16:creationId xmlns:a16="http://schemas.microsoft.com/office/drawing/2014/main" id="{78AA8B07-967E-644E-85FB-F4B41D01A2DA}"/>
              </a:ext>
            </a:extLst>
          </p:cNvPr>
          <p:cNvSpPr/>
          <p:nvPr/>
        </p:nvSpPr>
        <p:spPr>
          <a:xfrm>
            <a:off x="4980025" y="5230081"/>
            <a:ext cx="216000" cy="216000"/>
          </a:xfrm>
          <a:prstGeom prst="star5">
            <a:avLst/>
          </a:prstGeom>
          <a:solidFill>
            <a:srgbClr val="E0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71" name="Star: 5 Points 278">
            <a:extLst>
              <a:ext uri="{FF2B5EF4-FFF2-40B4-BE49-F238E27FC236}">
                <a16:creationId xmlns:a16="http://schemas.microsoft.com/office/drawing/2014/main" id="{9363A3CB-8169-0F49-B1F4-47766449529F}"/>
              </a:ext>
            </a:extLst>
          </p:cNvPr>
          <p:cNvSpPr/>
          <p:nvPr/>
        </p:nvSpPr>
        <p:spPr>
          <a:xfrm>
            <a:off x="4495570" y="2641136"/>
            <a:ext cx="216000" cy="216000"/>
          </a:xfrm>
          <a:prstGeom prst="star5">
            <a:avLst/>
          </a:prstGeom>
          <a:solidFill>
            <a:schemeClr val="accent6">
              <a:lumMod val="60000"/>
              <a:lumOff val="40000"/>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72" name="Star: 5 Points 273">
            <a:extLst>
              <a:ext uri="{FF2B5EF4-FFF2-40B4-BE49-F238E27FC236}">
                <a16:creationId xmlns:a16="http://schemas.microsoft.com/office/drawing/2014/main" id="{7B05D9C4-8062-494F-ACE7-362DB1811F69}"/>
              </a:ext>
            </a:extLst>
          </p:cNvPr>
          <p:cNvSpPr/>
          <p:nvPr/>
        </p:nvSpPr>
        <p:spPr>
          <a:xfrm>
            <a:off x="8124245" y="5362550"/>
            <a:ext cx="216000" cy="216000"/>
          </a:xfrm>
          <a:prstGeom prst="star5">
            <a:avLst>
              <a:gd name="adj" fmla="val 19098"/>
              <a:gd name="hf" fmla="val 105146"/>
              <a:gd name="vf" fmla="val 110557"/>
            </a:avLst>
          </a:prstGeom>
          <a:solidFill>
            <a:srgbClr val="E0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73" name="Star: 5 Points 271">
            <a:extLst>
              <a:ext uri="{FF2B5EF4-FFF2-40B4-BE49-F238E27FC236}">
                <a16:creationId xmlns:a16="http://schemas.microsoft.com/office/drawing/2014/main" id="{FE8234DF-45DB-2D42-8DB4-64DDB637D14D}"/>
              </a:ext>
            </a:extLst>
          </p:cNvPr>
          <p:cNvSpPr/>
          <p:nvPr/>
        </p:nvSpPr>
        <p:spPr>
          <a:xfrm>
            <a:off x="2692711" y="4619043"/>
            <a:ext cx="216000" cy="216000"/>
          </a:xfrm>
          <a:prstGeom prst="star5">
            <a:avLst/>
          </a:prstGeom>
          <a:solidFill>
            <a:srgbClr val="E0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74" name="Star: 5 Points 281">
            <a:extLst>
              <a:ext uri="{FF2B5EF4-FFF2-40B4-BE49-F238E27FC236}">
                <a16:creationId xmlns:a16="http://schemas.microsoft.com/office/drawing/2014/main" id="{919B7D06-94E5-C248-8677-62ABFBC9C542}"/>
              </a:ext>
            </a:extLst>
          </p:cNvPr>
          <p:cNvSpPr/>
          <p:nvPr/>
        </p:nvSpPr>
        <p:spPr>
          <a:xfrm>
            <a:off x="3405994" y="4696289"/>
            <a:ext cx="216000" cy="216000"/>
          </a:xfrm>
          <a:prstGeom prst="star5">
            <a:avLst/>
          </a:prstGeom>
          <a:solidFill>
            <a:srgbClr val="E0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75" name="Star: 5 Points 256">
            <a:extLst>
              <a:ext uri="{FF2B5EF4-FFF2-40B4-BE49-F238E27FC236}">
                <a16:creationId xmlns:a16="http://schemas.microsoft.com/office/drawing/2014/main" id="{5F532A26-6679-CE46-B7C6-19E7652A95BE}"/>
              </a:ext>
            </a:extLst>
          </p:cNvPr>
          <p:cNvSpPr/>
          <p:nvPr/>
        </p:nvSpPr>
        <p:spPr>
          <a:xfrm>
            <a:off x="8313245" y="5213104"/>
            <a:ext cx="216000" cy="216000"/>
          </a:xfrm>
          <a:prstGeom prst="star5">
            <a:avLst>
              <a:gd name="adj" fmla="val 19098"/>
              <a:gd name="hf" fmla="val 105146"/>
              <a:gd name="vf" fmla="val 110557"/>
            </a:avLst>
          </a:prstGeom>
          <a:solidFill>
            <a:srgbClr val="E0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76" name="Oval 275">
            <a:extLst>
              <a:ext uri="{FF2B5EF4-FFF2-40B4-BE49-F238E27FC236}">
                <a16:creationId xmlns:a16="http://schemas.microsoft.com/office/drawing/2014/main" id="{3BE23B13-3368-2E4D-9358-4EE4A7B12606}"/>
              </a:ext>
            </a:extLst>
          </p:cNvPr>
          <p:cNvSpPr/>
          <p:nvPr/>
        </p:nvSpPr>
        <p:spPr>
          <a:xfrm>
            <a:off x="8259245" y="5397061"/>
            <a:ext cx="108000" cy="108000"/>
          </a:xfrm>
          <a:prstGeom prst="ellipse">
            <a:avLst/>
          </a:prstGeom>
          <a:solidFill>
            <a:srgbClr val="E28C05"/>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78" name="Star: 5 Points 286">
            <a:extLst>
              <a:ext uri="{FF2B5EF4-FFF2-40B4-BE49-F238E27FC236}">
                <a16:creationId xmlns:a16="http://schemas.microsoft.com/office/drawing/2014/main" id="{EFC1E698-9C34-F641-B9DB-DCF1B2342FBB}"/>
              </a:ext>
            </a:extLst>
          </p:cNvPr>
          <p:cNvSpPr/>
          <p:nvPr/>
        </p:nvSpPr>
        <p:spPr>
          <a:xfrm>
            <a:off x="2070545" y="3719052"/>
            <a:ext cx="216000" cy="216000"/>
          </a:xfrm>
          <a:prstGeom prst="star5">
            <a:avLst/>
          </a:prstGeom>
          <a:solidFill>
            <a:srgbClr val="E0C0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79" name="TextBox 278">
            <a:extLst>
              <a:ext uri="{FF2B5EF4-FFF2-40B4-BE49-F238E27FC236}">
                <a16:creationId xmlns:a16="http://schemas.microsoft.com/office/drawing/2014/main" id="{3304AF18-02ED-9844-8FE0-51EDB1553CD9}"/>
              </a:ext>
            </a:extLst>
          </p:cNvPr>
          <p:cNvSpPr txBox="1"/>
          <p:nvPr/>
        </p:nvSpPr>
        <p:spPr>
          <a:xfrm>
            <a:off x="3313902" y="2457991"/>
            <a:ext cx="555462" cy="3471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r>
              <a:rPr lang="en-US" sz="1000" dirty="0">
                <a:solidFill>
                  <a:schemeClr val="tx1"/>
                </a:solidFill>
                <a:latin typeface="Roboto Medium" pitchFamily="2" charset="0"/>
                <a:ea typeface="Roboto Medium" pitchFamily="2" charset="0"/>
                <a:cs typeface="ROBOTO LIGHT" panose="02000000000000000000" pitchFamily="2" charset="0"/>
              </a:rPr>
              <a:t>HARTE GOLD</a:t>
            </a:r>
          </a:p>
        </p:txBody>
      </p:sp>
      <p:cxnSp>
        <p:nvCxnSpPr>
          <p:cNvPr id="281" name="Elbow Connector 280">
            <a:extLst>
              <a:ext uri="{FF2B5EF4-FFF2-40B4-BE49-F238E27FC236}">
                <a16:creationId xmlns:a16="http://schemas.microsoft.com/office/drawing/2014/main" id="{337B043C-3FF4-6F4D-A46D-AD985D6843E0}"/>
              </a:ext>
            </a:extLst>
          </p:cNvPr>
          <p:cNvCxnSpPr>
            <a:cxnSpLocks/>
            <a:stCxn id="261" idx="0"/>
            <a:endCxn id="279" idx="1"/>
          </p:cNvCxnSpPr>
          <p:nvPr/>
        </p:nvCxnSpPr>
        <p:spPr>
          <a:xfrm rot="5400000" flipH="1" flipV="1">
            <a:off x="2794788" y="2306968"/>
            <a:ext cx="194511" cy="843717"/>
          </a:xfrm>
          <a:prstGeom prst="bentConnector2">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86" name="TextBox 285">
            <a:extLst>
              <a:ext uri="{FF2B5EF4-FFF2-40B4-BE49-F238E27FC236}">
                <a16:creationId xmlns:a16="http://schemas.microsoft.com/office/drawing/2014/main" id="{7CDEC265-985F-5044-8A70-FB39A24F69D4}"/>
              </a:ext>
            </a:extLst>
          </p:cNvPr>
          <p:cNvSpPr txBox="1"/>
          <p:nvPr/>
        </p:nvSpPr>
        <p:spPr>
          <a:xfrm>
            <a:off x="5879724" y="4482843"/>
            <a:ext cx="1157599" cy="276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defPPr>
              <a:defRPr lang="en-US"/>
            </a:defPPr>
            <a:lvl1pPr>
              <a:defRPr sz="1000">
                <a:solidFill>
                  <a:schemeClr val="tx1"/>
                </a:solidFill>
                <a:latin typeface="Roboto Medium" pitchFamily="2" charset="0"/>
                <a:ea typeface="Roboto Medium" pitchFamily="2" charset="0"/>
                <a:cs typeface="ROBOTO LIGHT" panose="02000000000000000000" pitchFamily="2" charset="0"/>
              </a:defRPr>
            </a:lvl1pPr>
          </a:lstStyle>
          <a:p>
            <a:r>
              <a:rPr lang="en-US" dirty="0"/>
              <a:t>PEAK RESOURCES</a:t>
            </a:r>
          </a:p>
        </p:txBody>
      </p:sp>
      <p:cxnSp>
        <p:nvCxnSpPr>
          <p:cNvPr id="287" name="Elbow Connector 286">
            <a:extLst>
              <a:ext uri="{FF2B5EF4-FFF2-40B4-BE49-F238E27FC236}">
                <a16:creationId xmlns:a16="http://schemas.microsoft.com/office/drawing/2014/main" id="{4156D082-7E3E-C047-AFD2-304F3FCDF5AC}"/>
              </a:ext>
            </a:extLst>
          </p:cNvPr>
          <p:cNvCxnSpPr>
            <a:cxnSpLocks/>
            <a:stCxn id="264" idx="6"/>
            <a:endCxn id="286" idx="1"/>
          </p:cNvCxnSpPr>
          <p:nvPr/>
        </p:nvCxnSpPr>
        <p:spPr>
          <a:xfrm flipV="1">
            <a:off x="5610706" y="4620859"/>
            <a:ext cx="269018" cy="1903"/>
          </a:xfrm>
          <a:prstGeom prst="straightConnector1">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98" name="TextBox 297">
            <a:extLst>
              <a:ext uri="{FF2B5EF4-FFF2-40B4-BE49-F238E27FC236}">
                <a16:creationId xmlns:a16="http://schemas.microsoft.com/office/drawing/2014/main" id="{8A839F6C-7320-A54B-AC8D-3A1D0B9B7AE2}"/>
              </a:ext>
            </a:extLst>
          </p:cNvPr>
          <p:cNvSpPr txBox="1"/>
          <p:nvPr/>
        </p:nvSpPr>
        <p:spPr>
          <a:xfrm>
            <a:off x="3897467" y="4493292"/>
            <a:ext cx="1157599" cy="276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defPPr>
              <a:defRPr lang="en-US"/>
            </a:defPPr>
            <a:lvl1pPr>
              <a:defRPr sz="1000">
                <a:solidFill>
                  <a:schemeClr val="tx1"/>
                </a:solidFill>
                <a:latin typeface="Roboto Medium" pitchFamily="2" charset="0"/>
                <a:ea typeface="Roboto Medium" pitchFamily="2" charset="0"/>
                <a:cs typeface="ROBOTO LIGHT" panose="02000000000000000000" pitchFamily="2" charset="0"/>
              </a:defRPr>
            </a:lvl1pPr>
          </a:lstStyle>
          <a:p>
            <a:r>
              <a:rPr lang="en-US" dirty="0"/>
              <a:t>MINERAÇÃO </a:t>
            </a:r>
            <a:br>
              <a:rPr lang="en-US" dirty="0"/>
            </a:br>
            <a:r>
              <a:rPr lang="en-US" dirty="0"/>
              <a:t>VALE VERDE</a:t>
            </a:r>
          </a:p>
        </p:txBody>
      </p:sp>
      <p:sp>
        <p:nvSpPr>
          <p:cNvPr id="299" name="TextBox 298">
            <a:extLst>
              <a:ext uri="{FF2B5EF4-FFF2-40B4-BE49-F238E27FC236}">
                <a16:creationId xmlns:a16="http://schemas.microsoft.com/office/drawing/2014/main" id="{DEDB93F2-E7E5-F04E-8C24-19C28C658C01}"/>
              </a:ext>
            </a:extLst>
          </p:cNvPr>
          <p:cNvSpPr txBox="1"/>
          <p:nvPr/>
        </p:nvSpPr>
        <p:spPr>
          <a:xfrm>
            <a:off x="3768190" y="4882433"/>
            <a:ext cx="778575" cy="276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defPPr>
              <a:defRPr lang="en-US"/>
            </a:defPPr>
            <a:lvl1pPr>
              <a:defRPr sz="1000">
                <a:solidFill>
                  <a:schemeClr val="tx1"/>
                </a:solidFill>
                <a:latin typeface="Roboto Medium" pitchFamily="2" charset="0"/>
                <a:ea typeface="Roboto Medium" pitchFamily="2" charset="0"/>
                <a:cs typeface="ROBOTO LIGHT" panose="02000000000000000000" pitchFamily="2" charset="0"/>
              </a:defRPr>
            </a:lvl1pPr>
          </a:lstStyle>
          <a:p>
            <a:r>
              <a:rPr lang="en-US" dirty="0"/>
              <a:t>ATLANTIC </a:t>
            </a:r>
            <a:br>
              <a:rPr lang="en-US" dirty="0"/>
            </a:br>
            <a:r>
              <a:rPr lang="en-US" dirty="0"/>
              <a:t>NICKEL</a:t>
            </a:r>
          </a:p>
        </p:txBody>
      </p:sp>
      <p:sp>
        <p:nvSpPr>
          <p:cNvPr id="300" name="TextBox 299">
            <a:extLst>
              <a:ext uri="{FF2B5EF4-FFF2-40B4-BE49-F238E27FC236}">
                <a16:creationId xmlns:a16="http://schemas.microsoft.com/office/drawing/2014/main" id="{C4B25AE4-8F9B-6542-B92A-24B4D25E0CD7}"/>
              </a:ext>
            </a:extLst>
          </p:cNvPr>
          <p:cNvSpPr txBox="1"/>
          <p:nvPr/>
        </p:nvSpPr>
        <p:spPr>
          <a:xfrm>
            <a:off x="7143707" y="5613061"/>
            <a:ext cx="1088538" cy="276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defPPr>
              <a:defRPr lang="en-US"/>
            </a:defPPr>
            <a:lvl1pPr>
              <a:defRPr sz="1000">
                <a:solidFill>
                  <a:schemeClr val="tx1"/>
                </a:solidFill>
                <a:latin typeface="Roboto Medium" pitchFamily="2" charset="0"/>
                <a:ea typeface="Roboto Medium" pitchFamily="2" charset="0"/>
                <a:cs typeface="ROBOTO LIGHT" panose="02000000000000000000" pitchFamily="2" charset="0"/>
              </a:defRPr>
            </a:lvl1pPr>
          </a:lstStyle>
          <a:p>
            <a:pPr algn="r"/>
            <a:r>
              <a:rPr lang="en-US" dirty="0"/>
              <a:t>KALBAR/</a:t>
            </a:r>
            <a:br>
              <a:rPr lang="en-US" dirty="0"/>
            </a:br>
            <a:r>
              <a:rPr lang="en-US" dirty="0"/>
              <a:t>FINGERBOARDS</a:t>
            </a:r>
          </a:p>
        </p:txBody>
      </p:sp>
      <p:sp>
        <p:nvSpPr>
          <p:cNvPr id="301" name="TextBox 300">
            <a:extLst>
              <a:ext uri="{FF2B5EF4-FFF2-40B4-BE49-F238E27FC236}">
                <a16:creationId xmlns:a16="http://schemas.microsoft.com/office/drawing/2014/main" id="{BF845D3A-9186-8443-849D-506D0E7C6D0C}"/>
              </a:ext>
            </a:extLst>
          </p:cNvPr>
          <p:cNvSpPr txBox="1"/>
          <p:nvPr/>
        </p:nvSpPr>
        <p:spPr>
          <a:xfrm>
            <a:off x="1568450" y="4859536"/>
            <a:ext cx="1151746" cy="276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defPPr>
              <a:defRPr lang="en-US"/>
            </a:defPPr>
            <a:lvl1pPr>
              <a:defRPr sz="1000">
                <a:solidFill>
                  <a:schemeClr val="tx1"/>
                </a:solidFill>
                <a:latin typeface="Roboto Medium" pitchFamily="2" charset="0"/>
                <a:ea typeface="Roboto Medium" pitchFamily="2" charset="0"/>
                <a:cs typeface="ROBOTO LIGHT" panose="02000000000000000000" pitchFamily="2" charset="0"/>
              </a:defRPr>
            </a:lvl1pPr>
          </a:lstStyle>
          <a:p>
            <a:r>
              <a:rPr lang="en-US" dirty="0"/>
              <a:t>CASERONES</a:t>
            </a:r>
            <a:br>
              <a:rPr lang="en-US" dirty="0"/>
            </a:br>
            <a:r>
              <a:rPr lang="en-US" dirty="0"/>
              <a:t>COPPER ROYALTY</a:t>
            </a:r>
          </a:p>
        </p:txBody>
      </p:sp>
      <p:sp>
        <p:nvSpPr>
          <p:cNvPr id="302" name="TextBox 301">
            <a:extLst>
              <a:ext uri="{FF2B5EF4-FFF2-40B4-BE49-F238E27FC236}">
                <a16:creationId xmlns:a16="http://schemas.microsoft.com/office/drawing/2014/main" id="{8BCA64BC-4D43-C747-AA32-DE9208C0FC46}"/>
              </a:ext>
            </a:extLst>
          </p:cNvPr>
          <p:cNvSpPr txBox="1"/>
          <p:nvPr/>
        </p:nvSpPr>
        <p:spPr>
          <a:xfrm>
            <a:off x="3446325" y="3801253"/>
            <a:ext cx="711152" cy="276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defPPr>
              <a:defRPr lang="en-US"/>
            </a:defPPr>
            <a:lvl1pPr>
              <a:defRPr sz="1000">
                <a:solidFill>
                  <a:schemeClr val="tx1"/>
                </a:solidFill>
                <a:latin typeface="Roboto Medium" pitchFamily="2" charset="0"/>
                <a:ea typeface="Roboto Medium" pitchFamily="2" charset="0"/>
                <a:cs typeface="ROBOTO LIGHT" panose="02000000000000000000" pitchFamily="2" charset="0"/>
              </a:defRPr>
            </a:lvl1pPr>
          </a:lstStyle>
          <a:p>
            <a:r>
              <a:rPr lang="en-US" dirty="0"/>
              <a:t>ROXGOLD</a:t>
            </a:r>
          </a:p>
        </p:txBody>
      </p:sp>
      <p:cxnSp>
        <p:nvCxnSpPr>
          <p:cNvPr id="303" name="Elbow Connector 302">
            <a:extLst>
              <a:ext uri="{FF2B5EF4-FFF2-40B4-BE49-F238E27FC236}">
                <a16:creationId xmlns:a16="http://schemas.microsoft.com/office/drawing/2014/main" id="{4F8E996B-DC4C-3644-B83A-78283AE7F8AB}"/>
              </a:ext>
            </a:extLst>
          </p:cNvPr>
          <p:cNvCxnSpPr>
            <a:cxnSpLocks/>
            <a:stCxn id="300" idx="3"/>
            <a:endCxn id="276" idx="4"/>
          </p:cNvCxnSpPr>
          <p:nvPr/>
        </p:nvCxnSpPr>
        <p:spPr>
          <a:xfrm flipV="1">
            <a:off x="8232245" y="5505061"/>
            <a:ext cx="81000" cy="246016"/>
          </a:xfrm>
          <a:prstGeom prst="bentConnector2">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6" name="Elbow Connector 286">
            <a:extLst>
              <a:ext uri="{FF2B5EF4-FFF2-40B4-BE49-F238E27FC236}">
                <a16:creationId xmlns:a16="http://schemas.microsoft.com/office/drawing/2014/main" id="{7B2524EC-073F-9A43-89E6-275EF6CFD798}"/>
              </a:ext>
            </a:extLst>
          </p:cNvPr>
          <p:cNvCxnSpPr>
            <a:cxnSpLocks/>
            <a:stCxn id="267" idx="6"/>
            <a:endCxn id="298" idx="1"/>
          </p:cNvCxnSpPr>
          <p:nvPr/>
        </p:nvCxnSpPr>
        <p:spPr>
          <a:xfrm>
            <a:off x="3770995" y="4631308"/>
            <a:ext cx="126472" cy="0"/>
          </a:xfrm>
          <a:prstGeom prst="straightConnector1">
            <a:avLst/>
          </a:prstGeom>
          <a:ln w="635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11" name="Elbow Connector 286">
            <a:extLst>
              <a:ext uri="{FF2B5EF4-FFF2-40B4-BE49-F238E27FC236}">
                <a16:creationId xmlns:a16="http://schemas.microsoft.com/office/drawing/2014/main" id="{EDC1F874-0600-0141-952C-E29925AAAD97}"/>
              </a:ext>
            </a:extLst>
          </p:cNvPr>
          <p:cNvCxnSpPr>
            <a:cxnSpLocks/>
            <a:stCxn id="268" idx="6"/>
          </p:cNvCxnSpPr>
          <p:nvPr/>
        </p:nvCxnSpPr>
        <p:spPr>
          <a:xfrm>
            <a:off x="3662995" y="4903640"/>
            <a:ext cx="117236" cy="0"/>
          </a:xfrm>
          <a:prstGeom prst="straightConnector1">
            <a:avLst/>
          </a:prstGeom>
          <a:ln w="635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13" name="Elbow Connector 286">
            <a:extLst>
              <a:ext uri="{FF2B5EF4-FFF2-40B4-BE49-F238E27FC236}">
                <a16:creationId xmlns:a16="http://schemas.microsoft.com/office/drawing/2014/main" id="{9B138FA7-3B23-BA4A-A15F-C9BA5C4698A4}"/>
              </a:ext>
            </a:extLst>
          </p:cNvPr>
          <p:cNvCxnSpPr>
            <a:cxnSpLocks/>
            <a:stCxn id="301" idx="3"/>
            <a:endCxn id="266" idx="2"/>
          </p:cNvCxnSpPr>
          <p:nvPr/>
        </p:nvCxnSpPr>
        <p:spPr>
          <a:xfrm>
            <a:off x="2720196" y="4997552"/>
            <a:ext cx="154247" cy="2301"/>
          </a:xfrm>
          <a:prstGeom prst="straightConnector1">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20" name="Elbow Connector 319">
            <a:extLst>
              <a:ext uri="{FF2B5EF4-FFF2-40B4-BE49-F238E27FC236}">
                <a16:creationId xmlns:a16="http://schemas.microsoft.com/office/drawing/2014/main" id="{D7702DEF-DD97-7C48-B9D0-5463977334C3}"/>
              </a:ext>
            </a:extLst>
          </p:cNvPr>
          <p:cNvCxnSpPr>
            <a:cxnSpLocks/>
            <a:stCxn id="263" idx="0"/>
            <a:endCxn id="302" idx="3"/>
          </p:cNvCxnSpPr>
          <p:nvPr/>
        </p:nvCxnSpPr>
        <p:spPr>
          <a:xfrm rot="16200000" flipV="1">
            <a:off x="4349496" y="3747250"/>
            <a:ext cx="59250" cy="443288"/>
          </a:xfrm>
          <a:prstGeom prst="bentConnector2">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41" name="Oval 240">
            <a:extLst>
              <a:ext uri="{FF2B5EF4-FFF2-40B4-BE49-F238E27FC236}">
                <a16:creationId xmlns:a16="http://schemas.microsoft.com/office/drawing/2014/main" id="{98E0BAA2-6AF2-0444-BFFF-CA31A299B83F}"/>
              </a:ext>
            </a:extLst>
          </p:cNvPr>
          <p:cNvSpPr/>
          <p:nvPr/>
        </p:nvSpPr>
        <p:spPr>
          <a:xfrm>
            <a:off x="4441570" y="4141644"/>
            <a:ext cx="108000" cy="108000"/>
          </a:xfrm>
          <a:prstGeom prst="ellipse">
            <a:avLst/>
          </a:prstGeom>
          <a:solidFill>
            <a:srgbClr val="E28C05"/>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242" name="Elbow Connector 241">
            <a:extLst>
              <a:ext uri="{FF2B5EF4-FFF2-40B4-BE49-F238E27FC236}">
                <a16:creationId xmlns:a16="http://schemas.microsoft.com/office/drawing/2014/main" id="{19B9ED04-B7FF-8D45-A450-9799CB582462}"/>
              </a:ext>
            </a:extLst>
          </p:cNvPr>
          <p:cNvCxnSpPr>
            <a:cxnSpLocks/>
            <a:stCxn id="241" idx="0"/>
            <a:endCxn id="302" idx="3"/>
          </p:cNvCxnSpPr>
          <p:nvPr/>
        </p:nvCxnSpPr>
        <p:spPr>
          <a:xfrm rot="16200000" flipV="1">
            <a:off x="4225337" y="3871410"/>
            <a:ext cx="202375" cy="338093"/>
          </a:xfrm>
          <a:prstGeom prst="bentConnector2">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64055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7" name="think-cell data - do not delete" hidden="1">
            <a:extLst>
              <a:ext uri="{FF2B5EF4-FFF2-40B4-BE49-F238E27FC236}">
                <a16:creationId xmlns:a16="http://schemas.microsoft.com/office/drawing/2014/main" id="{4DE33001-6863-0D72-7259-20872D9BB01D}"/>
              </a:ext>
            </a:extLst>
          </p:cNvPr>
          <p:cNvGraphicFramePr>
            <a:graphicFrameLocks noChangeAspect="1"/>
          </p:cNvGraphicFramePr>
          <p:nvPr>
            <p:custDataLst>
              <p:tags r:id="rId1"/>
            </p:custDataLst>
            <p:extLst>
              <p:ext uri="{D42A27DB-BD31-4B8C-83A1-F6EECF244321}">
                <p14:modId xmlns:p14="http://schemas.microsoft.com/office/powerpoint/2010/main" val="2045125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2" imgW="425" imgH="424" progId="TCLayout.ActiveDocument.1">
                  <p:embed/>
                </p:oleObj>
              </mc:Choice>
              <mc:Fallback>
                <p:oleObj name="think-cell Slide" r:id="rId62" imgW="425" imgH="424" progId="TCLayout.ActiveDocument.1">
                  <p:embed/>
                  <p:pic>
                    <p:nvPicPr>
                      <p:cNvPr id="127" name="think-cell data - do not delete" hidden="1">
                        <a:extLst>
                          <a:ext uri="{FF2B5EF4-FFF2-40B4-BE49-F238E27FC236}">
                            <a16:creationId xmlns:a16="http://schemas.microsoft.com/office/drawing/2014/main" id="{4DE33001-6863-0D72-7259-20872D9BB01D}"/>
                          </a:ext>
                        </a:extLst>
                      </p:cNvPr>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3EDDEB6A-D52A-914A-A7DE-66AC625EBA2F}"/>
              </a:ext>
            </a:extLst>
          </p:cNvPr>
          <p:cNvSpPr>
            <a:spLocks noGrp="1"/>
          </p:cNvSpPr>
          <p:nvPr>
            <p:ph type="body" sz="quarter" idx="10"/>
          </p:nvPr>
        </p:nvSpPr>
        <p:spPr/>
        <p:txBody>
          <a:bodyPr/>
          <a:lstStyle/>
          <a:p>
            <a:r>
              <a:rPr lang="en-US" dirty="0"/>
              <a:t>They can be </a:t>
            </a:r>
            <a:r>
              <a:rPr lang="en-US" dirty="0" err="1"/>
              <a:t>recoloured</a:t>
            </a:r>
            <a:r>
              <a:rPr lang="en-US" dirty="0"/>
              <a:t>, but stick to the Appian </a:t>
            </a:r>
            <a:r>
              <a:rPr lang="en-US" dirty="0" err="1"/>
              <a:t>colour</a:t>
            </a:r>
            <a:r>
              <a:rPr lang="en-US" dirty="0"/>
              <a:t> scheme</a:t>
            </a:r>
          </a:p>
        </p:txBody>
      </p:sp>
      <p:sp>
        <p:nvSpPr>
          <p:cNvPr id="3" name="Title 2">
            <a:extLst>
              <a:ext uri="{FF2B5EF4-FFF2-40B4-BE49-F238E27FC236}">
                <a16:creationId xmlns:a16="http://schemas.microsoft.com/office/drawing/2014/main" id="{7F4BE6EC-7281-3D4E-8B8F-74F960207017}"/>
              </a:ext>
            </a:extLst>
          </p:cNvPr>
          <p:cNvSpPr>
            <a:spLocks noGrp="1"/>
          </p:cNvSpPr>
          <p:nvPr>
            <p:ph type="title"/>
          </p:nvPr>
        </p:nvSpPr>
        <p:spPr/>
        <p:txBody>
          <a:bodyPr vert="horz"/>
          <a:lstStyle/>
          <a:p>
            <a:r>
              <a:rPr lang="en-US" dirty="0"/>
              <a:t>Icons</a:t>
            </a:r>
          </a:p>
        </p:txBody>
      </p:sp>
      <p:sp>
        <p:nvSpPr>
          <p:cNvPr id="126" name="Text Placeholder 125">
            <a:extLst>
              <a:ext uri="{FF2B5EF4-FFF2-40B4-BE49-F238E27FC236}">
                <a16:creationId xmlns:a16="http://schemas.microsoft.com/office/drawing/2014/main" id="{7A25D291-76A5-B6AA-DD27-EEC1EA8D63E0}"/>
              </a:ext>
            </a:extLst>
          </p:cNvPr>
          <p:cNvSpPr>
            <a:spLocks noGrp="1"/>
          </p:cNvSpPr>
          <p:nvPr>
            <p:ph type="body" sz="quarter" idx="27"/>
          </p:nvPr>
        </p:nvSpPr>
        <p:spPr/>
        <p:txBody>
          <a:bodyPr/>
          <a:lstStyle/>
          <a:p>
            <a:endParaRPr lang="nl-NL"/>
          </a:p>
        </p:txBody>
      </p:sp>
      <p:pic>
        <p:nvPicPr>
          <p:cNvPr id="5" name="Clarity browsing behavior">
            <a:extLst>
              <a:ext uri="{FF2B5EF4-FFF2-40B4-BE49-F238E27FC236}">
                <a16:creationId xmlns:a16="http://schemas.microsoft.com/office/drawing/2014/main" id="{AB1DEA6B-95F3-5048-A15F-5C3FB52627ED}"/>
              </a:ext>
            </a:extLst>
          </p:cNvPr>
          <p:cNvPicPr>
            <a:picLocks noChangeAspect="1"/>
          </p:cNvPicPr>
          <p:nvPr>
            <p:custDataLst>
              <p:tags r:id="rId2"/>
            </p:custDataLst>
          </p:nvPr>
        </p:nvPicPr>
        <p:blipFill>
          <a:blip r:embed="rId64" cstate="print">
            <a:extLst>
              <a:ext uri="{28A0092B-C50C-407E-A947-70E740481C1C}">
                <a14:useLocalDpi xmlns:a14="http://schemas.microsoft.com/office/drawing/2010/main" val="0"/>
              </a:ext>
              <a:ext uri="{96DAC541-7B7A-43D3-8B79-37D633B846F1}">
                <asvg:svgBlip xmlns:asvg="http://schemas.microsoft.com/office/drawing/2016/SVG/main" r:embed="rId65"/>
              </a:ext>
            </a:extLst>
          </a:blip>
          <a:stretch>
            <a:fillRect/>
          </a:stretch>
        </p:blipFill>
        <p:spPr>
          <a:xfrm>
            <a:off x="1171959" y="2462107"/>
            <a:ext cx="540000" cy="540000"/>
          </a:xfrm>
          <a:prstGeom prst="rect">
            <a:avLst/>
          </a:prstGeom>
        </p:spPr>
      </p:pic>
      <p:pic>
        <p:nvPicPr>
          <p:cNvPr id="6" name="Clarity big data">
            <a:extLst>
              <a:ext uri="{FF2B5EF4-FFF2-40B4-BE49-F238E27FC236}">
                <a16:creationId xmlns:a16="http://schemas.microsoft.com/office/drawing/2014/main" id="{7FCA48E8-84A1-5245-A961-11DF976EEB9D}"/>
              </a:ext>
            </a:extLst>
          </p:cNvPr>
          <p:cNvPicPr>
            <a:picLocks noChangeAspect="1"/>
          </p:cNvPicPr>
          <p:nvPr>
            <p:custDataLst>
              <p:tags r:id="rId3"/>
            </p:custDataLst>
          </p:nvPr>
        </p:nvPicPr>
        <p:blipFill>
          <a:blip r:embed="rId66" cstate="print">
            <a:extLst>
              <a:ext uri="{28A0092B-C50C-407E-A947-70E740481C1C}">
                <a14:useLocalDpi xmlns:a14="http://schemas.microsoft.com/office/drawing/2010/main" val="0"/>
              </a:ext>
              <a:ext uri="{96DAC541-7B7A-43D3-8B79-37D633B846F1}">
                <asvg:svgBlip xmlns:asvg="http://schemas.microsoft.com/office/drawing/2016/SVG/main" r:embed="rId67"/>
              </a:ext>
            </a:extLst>
          </a:blip>
          <a:stretch>
            <a:fillRect/>
          </a:stretch>
        </p:blipFill>
        <p:spPr>
          <a:xfrm>
            <a:off x="406206" y="2568588"/>
            <a:ext cx="540000" cy="327038"/>
          </a:xfrm>
          <a:prstGeom prst="rect">
            <a:avLst/>
          </a:prstGeom>
        </p:spPr>
      </p:pic>
      <p:pic>
        <p:nvPicPr>
          <p:cNvPr id="7" name="Clarity automotive">
            <a:extLst>
              <a:ext uri="{FF2B5EF4-FFF2-40B4-BE49-F238E27FC236}">
                <a16:creationId xmlns:a16="http://schemas.microsoft.com/office/drawing/2014/main" id="{32DBBA4F-FF95-FF4D-9971-502BFFF5FE60}"/>
              </a:ext>
            </a:extLst>
          </p:cNvPr>
          <p:cNvPicPr>
            <a:picLocks noChangeAspect="1"/>
          </p:cNvPicPr>
          <p:nvPr>
            <p:custDataLst>
              <p:tags r:id="rId4"/>
            </p:custDataLst>
          </p:nvPr>
        </p:nvPicPr>
        <p:blipFill>
          <a:blip r:embed="rId68" cstate="print">
            <a:extLst>
              <a:ext uri="{28A0092B-C50C-407E-A947-70E740481C1C}">
                <a14:useLocalDpi xmlns:a14="http://schemas.microsoft.com/office/drawing/2010/main" val="0"/>
              </a:ext>
              <a:ext uri="{96DAC541-7B7A-43D3-8B79-37D633B846F1}">
                <asvg:svgBlip xmlns:asvg="http://schemas.microsoft.com/office/drawing/2016/SVG/main" r:embed="rId69"/>
              </a:ext>
            </a:extLst>
          </a:blip>
          <a:stretch>
            <a:fillRect/>
          </a:stretch>
        </p:blipFill>
        <p:spPr>
          <a:xfrm>
            <a:off x="5000724" y="2462107"/>
            <a:ext cx="540000" cy="540000"/>
          </a:xfrm>
          <a:prstGeom prst="rect">
            <a:avLst/>
          </a:prstGeom>
        </p:spPr>
      </p:pic>
      <p:pic>
        <p:nvPicPr>
          <p:cNvPr id="8" name="Clarity automation through machine learning">
            <a:extLst>
              <a:ext uri="{FF2B5EF4-FFF2-40B4-BE49-F238E27FC236}">
                <a16:creationId xmlns:a16="http://schemas.microsoft.com/office/drawing/2014/main" id="{4E26085B-01CD-7D42-AA84-47BA502F135F}"/>
              </a:ext>
            </a:extLst>
          </p:cNvPr>
          <p:cNvPicPr>
            <a:picLocks noChangeAspect="1"/>
          </p:cNvPicPr>
          <p:nvPr>
            <p:custDataLst>
              <p:tags r:id="rId5"/>
            </p:custDataLst>
          </p:nvPr>
        </p:nvPicPr>
        <p:blipFill>
          <a:blip r:embed="rId70" cstate="print">
            <a:extLst>
              <a:ext uri="{28A0092B-C50C-407E-A947-70E740481C1C}">
                <a14:useLocalDpi xmlns:a14="http://schemas.microsoft.com/office/drawing/2010/main" val="0"/>
              </a:ext>
              <a:ext uri="{96DAC541-7B7A-43D3-8B79-37D633B846F1}">
                <asvg:svgBlip xmlns:asvg="http://schemas.microsoft.com/office/drawing/2016/SVG/main" r:embed="rId71"/>
              </a:ext>
            </a:extLst>
          </a:blip>
          <a:stretch>
            <a:fillRect/>
          </a:stretch>
        </p:blipFill>
        <p:spPr>
          <a:xfrm>
            <a:off x="6532230" y="2462107"/>
            <a:ext cx="540000" cy="540000"/>
          </a:xfrm>
          <a:prstGeom prst="rect">
            <a:avLst/>
          </a:prstGeom>
        </p:spPr>
      </p:pic>
      <p:pic>
        <p:nvPicPr>
          <p:cNvPr id="9" name="Clarity automated cont integration">
            <a:extLst>
              <a:ext uri="{FF2B5EF4-FFF2-40B4-BE49-F238E27FC236}">
                <a16:creationId xmlns:a16="http://schemas.microsoft.com/office/drawing/2014/main" id="{A2F76BD2-97BB-CB4E-9E58-172742616E71}"/>
              </a:ext>
            </a:extLst>
          </p:cNvPr>
          <p:cNvPicPr>
            <a:picLocks noChangeAspect="1"/>
          </p:cNvPicPr>
          <p:nvPr>
            <p:custDataLst>
              <p:tags r:id="rId6"/>
            </p:custDataLst>
          </p:nvPr>
        </p:nvPicPr>
        <p:blipFill>
          <a:blip r:embed="rId72" cstate="print">
            <a:extLst>
              <a:ext uri="{28A0092B-C50C-407E-A947-70E740481C1C}">
                <a14:useLocalDpi xmlns:a14="http://schemas.microsoft.com/office/drawing/2010/main" val="0"/>
              </a:ext>
              <a:ext uri="{96DAC541-7B7A-43D3-8B79-37D633B846F1}">
                <asvg:svgBlip xmlns:asvg="http://schemas.microsoft.com/office/drawing/2016/SVG/main" r:embed="rId73"/>
              </a:ext>
            </a:extLst>
          </a:blip>
          <a:stretch>
            <a:fillRect/>
          </a:stretch>
        </p:blipFill>
        <p:spPr>
          <a:xfrm>
            <a:off x="406206" y="1806882"/>
            <a:ext cx="540000" cy="540000"/>
          </a:xfrm>
          <a:prstGeom prst="rect">
            <a:avLst/>
          </a:prstGeom>
        </p:spPr>
      </p:pic>
      <p:pic>
        <p:nvPicPr>
          <p:cNvPr id="10" name="Clarity audience engagement">
            <a:extLst>
              <a:ext uri="{FF2B5EF4-FFF2-40B4-BE49-F238E27FC236}">
                <a16:creationId xmlns:a16="http://schemas.microsoft.com/office/drawing/2014/main" id="{A10B202A-99DD-B843-9C7F-1CBC760BEE75}"/>
              </a:ext>
            </a:extLst>
          </p:cNvPr>
          <p:cNvPicPr>
            <a:picLocks noChangeAspect="1"/>
          </p:cNvPicPr>
          <p:nvPr>
            <p:custDataLst>
              <p:tags r:id="rId7"/>
            </p:custDataLst>
          </p:nvPr>
        </p:nvPicPr>
        <p:blipFill>
          <a:blip r:embed="rId74" cstate="print">
            <a:extLst>
              <a:ext uri="{28A0092B-C50C-407E-A947-70E740481C1C}">
                <a14:useLocalDpi xmlns:a14="http://schemas.microsoft.com/office/drawing/2010/main" val="0"/>
              </a:ext>
              <a:ext uri="{96DAC541-7B7A-43D3-8B79-37D633B846F1}">
                <asvg:svgBlip xmlns:asvg="http://schemas.microsoft.com/office/drawing/2016/SVG/main" r:embed="rId75"/>
              </a:ext>
            </a:extLst>
          </a:blip>
          <a:stretch>
            <a:fillRect/>
          </a:stretch>
        </p:blipFill>
        <p:spPr>
          <a:xfrm>
            <a:off x="1171959" y="1806882"/>
            <a:ext cx="540000" cy="540000"/>
          </a:xfrm>
          <a:prstGeom prst="rect">
            <a:avLst/>
          </a:prstGeom>
        </p:spPr>
      </p:pic>
      <p:pic>
        <p:nvPicPr>
          <p:cNvPr id="11" name="Clarity aspectica assessment">
            <a:extLst>
              <a:ext uri="{FF2B5EF4-FFF2-40B4-BE49-F238E27FC236}">
                <a16:creationId xmlns:a16="http://schemas.microsoft.com/office/drawing/2014/main" id="{F8EAE434-CCAF-3F4D-8256-1D42456D00D9}"/>
              </a:ext>
            </a:extLst>
          </p:cNvPr>
          <p:cNvPicPr>
            <a:picLocks noChangeAspect="1"/>
          </p:cNvPicPr>
          <p:nvPr>
            <p:custDataLst>
              <p:tags r:id="rId8"/>
            </p:custDataLst>
          </p:nvPr>
        </p:nvPicPr>
        <p:blipFill>
          <a:blip r:embed="rId76" cstate="print">
            <a:extLst>
              <a:ext uri="{28A0092B-C50C-407E-A947-70E740481C1C}">
                <a14:useLocalDpi xmlns:a14="http://schemas.microsoft.com/office/drawing/2010/main" val="0"/>
              </a:ext>
              <a:ext uri="{96DAC541-7B7A-43D3-8B79-37D633B846F1}">
                <asvg:svgBlip xmlns:asvg="http://schemas.microsoft.com/office/drawing/2016/SVG/main" r:embed="rId77"/>
              </a:ext>
            </a:extLst>
          </a:blip>
          <a:stretch>
            <a:fillRect/>
          </a:stretch>
        </p:blipFill>
        <p:spPr>
          <a:xfrm>
            <a:off x="1937712" y="1806882"/>
            <a:ext cx="540000" cy="540000"/>
          </a:xfrm>
          <a:prstGeom prst="rect">
            <a:avLst/>
          </a:prstGeom>
        </p:spPr>
      </p:pic>
      <p:pic>
        <p:nvPicPr>
          <p:cNvPr id="12" name="Clarity apple">
            <a:extLst>
              <a:ext uri="{FF2B5EF4-FFF2-40B4-BE49-F238E27FC236}">
                <a16:creationId xmlns:a16="http://schemas.microsoft.com/office/drawing/2014/main" id="{92FDD58A-0911-364C-9B5E-E32DE0DD3A1B}"/>
              </a:ext>
            </a:extLst>
          </p:cNvPr>
          <p:cNvPicPr>
            <a:picLocks noChangeAspect="1"/>
          </p:cNvPicPr>
          <p:nvPr>
            <p:custDataLst>
              <p:tags r:id="rId9"/>
            </p:custDataLst>
          </p:nvPr>
        </p:nvPicPr>
        <p:blipFill>
          <a:blip r:embed="rId78" cstate="print">
            <a:extLst>
              <a:ext uri="{28A0092B-C50C-407E-A947-70E740481C1C}">
                <a14:useLocalDpi xmlns:a14="http://schemas.microsoft.com/office/drawing/2010/main" val="0"/>
              </a:ext>
              <a:ext uri="{96DAC541-7B7A-43D3-8B79-37D633B846F1}">
                <asvg:svgBlip xmlns:asvg="http://schemas.microsoft.com/office/drawing/2016/SVG/main" r:embed="rId79"/>
              </a:ext>
            </a:extLst>
          </a:blip>
          <a:stretch>
            <a:fillRect/>
          </a:stretch>
        </p:blipFill>
        <p:spPr>
          <a:xfrm>
            <a:off x="2703465" y="1806882"/>
            <a:ext cx="540000" cy="540000"/>
          </a:xfrm>
          <a:prstGeom prst="rect">
            <a:avLst/>
          </a:prstGeom>
        </p:spPr>
      </p:pic>
      <p:pic>
        <p:nvPicPr>
          <p:cNvPr id="13" name="Clarity anomaly detection">
            <a:extLst>
              <a:ext uri="{FF2B5EF4-FFF2-40B4-BE49-F238E27FC236}">
                <a16:creationId xmlns:a16="http://schemas.microsoft.com/office/drawing/2014/main" id="{158AAF7C-46CC-6C47-B3A2-D73D471F6416}"/>
              </a:ext>
            </a:extLst>
          </p:cNvPr>
          <p:cNvPicPr>
            <a:picLocks noChangeAspect="1"/>
          </p:cNvPicPr>
          <p:nvPr>
            <p:custDataLst>
              <p:tags r:id="rId10"/>
            </p:custDataLst>
          </p:nvPr>
        </p:nvPicPr>
        <p:blipFill>
          <a:blip r:embed="rId80" cstate="print">
            <a:extLst>
              <a:ext uri="{28A0092B-C50C-407E-A947-70E740481C1C}">
                <a14:useLocalDpi xmlns:a14="http://schemas.microsoft.com/office/drawing/2010/main" val="0"/>
              </a:ext>
              <a:ext uri="{96DAC541-7B7A-43D3-8B79-37D633B846F1}">
                <asvg:svgBlip xmlns:asvg="http://schemas.microsoft.com/office/drawing/2016/SVG/main" r:embed="rId81"/>
              </a:ext>
            </a:extLst>
          </a:blip>
          <a:stretch>
            <a:fillRect/>
          </a:stretch>
        </p:blipFill>
        <p:spPr>
          <a:xfrm>
            <a:off x="4234971" y="1806882"/>
            <a:ext cx="540000" cy="540000"/>
          </a:xfrm>
          <a:prstGeom prst="rect">
            <a:avLst/>
          </a:prstGeom>
        </p:spPr>
      </p:pic>
      <p:pic>
        <p:nvPicPr>
          <p:cNvPr id="14" name="Clarity agile">
            <a:extLst>
              <a:ext uri="{FF2B5EF4-FFF2-40B4-BE49-F238E27FC236}">
                <a16:creationId xmlns:a16="http://schemas.microsoft.com/office/drawing/2014/main" id="{44F92DC6-E453-C846-AB27-203675137089}"/>
              </a:ext>
            </a:extLst>
          </p:cNvPr>
          <p:cNvPicPr>
            <a:picLocks noChangeAspect="1"/>
          </p:cNvPicPr>
          <p:nvPr>
            <p:custDataLst>
              <p:tags r:id="rId11"/>
            </p:custDataLst>
          </p:nvPr>
        </p:nvPicPr>
        <p:blipFill>
          <a:blip r:embed="rId82" cstate="print">
            <a:extLst>
              <a:ext uri="{28A0092B-C50C-407E-A947-70E740481C1C}">
                <a14:useLocalDpi xmlns:a14="http://schemas.microsoft.com/office/drawing/2010/main" val="0"/>
              </a:ext>
              <a:ext uri="{96DAC541-7B7A-43D3-8B79-37D633B846F1}">
                <asvg:svgBlip xmlns:asvg="http://schemas.microsoft.com/office/drawing/2016/SVG/main" r:embed="rId83"/>
              </a:ext>
            </a:extLst>
          </a:blip>
          <a:stretch>
            <a:fillRect/>
          </a:stretch>
        </p:blipFill>
        <p:spPr>
          <a:xfrm>
            <a:off x="5000724" y="1806882"/>
            <a:ext cx="540000" cy="540000"/>
          </a:xfrm>
          <a:prstGeom prst="rect">
            <a:avLst/>
          </a:prstGeom>
        </p:spPr>
      </p:pic>
      <p:pic>
        <p:nvPicPr>
          <p:cNvPr id="15" name="Clarity advertising analytics">
            <a:extLst>
              <a:ext uri="{FF2B5EF4-FFF2-40B4-BE49-F238E27FC236}">
                <a16:creationId xmlns:a16="http://schemas.microsoft.com/office/drawing/2014/main" id="{8E397EBA-04DB-6E4F-ADCC-8D6DEECA853B}"/>
              </a:ext>
            </a:extLst>
          </p:cNvPr>
          <p:cNvPicPr>
            <a:picLocks noChangeAspect="1"/>
          </p:cNvPicPr>
          <p:nvPr>
            <p:custDataLst>
              <p:tags r:id="rId12"/>
            </p:custDataLst>
          </p:nvPr>
        </p:nvPicPr>
        <p:blipFill>
          <a:blip r:embed="rId84" cstate="print">
            <a:extLst>
              <a:ext uri="{28A0092B-C50C-407E-A947-70E740481C1C}">
                <a14:useLocalDpi xmlns:a14="http://schemas.microsoft.com/office/drawing/2010/main" val="0"/>
              </a:ext>
              <a:ext uri="{96DAC541-7B7A-43D3-8B79-37D633B846F1}">
                <asvg:svgBlip xmlns:asvg="http://schemas.microsoft.com/office/drawing/2016/SVG/main" r:embed="rId85"/>
              </a:ext>
            </a:extLst>
          </a:blip>
          <a:stretch>
            <a:fillRect/>
          </a:stretch>
        </p:blipFill>
        <p:spPr>
          <a:xfrm>
            <a:off x="5766477" y="1806882"/>
            <a:ext cx="540000" cy="540000"/>
          </a:xfrm>
          <a:prstGeom prst="rect">
            <a:avLst/>
          </a:prstGeom>
        </p:spPr>
      </p:pic>
      <p:pic>
        <p:nvPicPr>
          <p:cNvPr id="16" name="Clarity advanced analytics">
            <a:extLst>
              <a:ext uri="{FF2B5EF4-FFF2-40B4-BE49-F238E27FC236}">
                <a16:creationId xmlns:a16="http://schemas.microsoft.com/office/drawing/2014/main" id="{BE7DE449-539E-804B-8EB9-E594E63AC9F1}"/>
              </a:ext>
            </a:extLst>
          </p:cNvPr>
          <p:cNvPicPr>
            <a:picLocks noChangeAspect="1"/>
          </p:cNvPicPr>
          <p:nvPr>
            <p:custDataLst>
              <p:tags r:id="rId13"/>
            </p:custDataLst>
          </p:nvPr>
        </p:nvPicPr>
        <p:blipFill>
          <a:blip r:embed="rId86" cstate="print">
            <a:extLst>
              <a:ext uri="{28A0092B-C50C-407E-A947-70E740481C1C}">
                <a14:useLocalDpi xmlns:a14="http://schemas.microsoft.com/office/drawing/2010/main" val="0"/>
              </a:ext>
              <a:ext uri="{96DAC541-7B7A-43D3-8B79-37D633B846F1}">
                <asvg:svgBlip xmlns:asvg="http://schemas.microsoft.com/office/drawing/2016/SVG/main" r:embed="rId87"/>
              </a:ext>
            </a:extLst>
          </a:blip>
          <a:stretch>
            <a:fillRect/>
          </a:stretch>
        </p:blipFill>
        <p:spPr>
          <a:xfrm>
            <a:off x="6532230" y="1806882"/>
            <a:ext cx="540000" cy="540000"/>
          </a:xfrm>
          <a:prstGeom prst="rect">
            <a:avLst/>
          </a:prstGeom>
        </p:spPr>
      </p:pic>
      <p:pic>
        <p:nvPicPr>
          <p:cNvPr id="17" name="Clarity admissions">
            <a:extLst>
              <a:ext uri="{FF2B5EF4-FFF2-40B4-BE49-F238E27FC236}">
                <a16:creationId xmlns:a16="http://schemas.microsoft.com/office/drawing/2014/main" id="{4F594263-37B8-C341-B47B-DBAD23996FEA}"/>
              </a:ext>
            </a:extLst>
          </p:cNvPr>
          <p:cNvPicPr>
            <a:picLocks noChangeAspect="1"/>
          </p:cNvPicPr>
          <p:nvPr>
            <p:custDataLst>
              <p:tags r:id="rId14"/>
            </p:custDataLst>
          </p:nvPr>
        </p:nvPicPr>
        <p:blipFill>
          <a:blip r:embed="rId88" cstate="print">
            <a:extLst>
              <a:ext uri="{28A0092B-C50C-407E-A947-70E740481C1C}">
                <a14:useLocalDpi xmlns:a14="http://schemas.microsoft.com/office/drawing/2010/main" val="0"/>
              </a:ext>
              <a:ext uri="{96DAC541-7B7A-43D3-8B79-37D633B846F1}">
                <asvg:svgBlip xmlns:asvg="http://schemas.microsoft.com/office/drawing/2016/SVG/main" r:embed="rId89"/>
              </a:ext>
            </a:extLst>
          </a:blip>
          <a:stretch>
            <a:fillRect/>
          </a:stretch>
        </p:blipFill>
        <p:spPr>
          <a:xfrm>
            <a:off x="7297983" y="1806882"/>
            <a:ext cx="540000" cy="540000"/>
          </a:xfrm>
          <a:prstGeom prst="rect">
            <a:avLst/>
          </a:prstGeom>
        </p:spPr>
      </p:pic>
      <p:pic>
        <p:nvPicPr>
          <p:cNvPr id="18" name="Clarity addition">
            <a:extLst>
              <a:ext uri="{FF2B5EF4-FFF2-40B4-BE49-F238E27FC236}">
                <a16:creationId xmlns:a16="http://schemas.microsoft.com/office/drawing/2014/main" id="{E4FF0D0C-14E2-2442-8463-4168DC44C0F3}"/>
              </a:ext>
            </a:extLst>
          </p:cNvPr>
          <p:cNvPicPr>
            <a:picLocks noChangeAspect="1"/>
          </p:cNvPicPr>
          <p:nvPr>
            <p:custDataLst>
              <p:tags r:id="rId15"/>
            </p:custDataLst>
          </p:nvPr>
        </p:nvPicPr>
        <p:blipFill>
          <a:blip r:embed="rId90" cstate="print">
            <a:extLst>
              <a:ext uri="{28A0092B-C50C-407E-A947-70E740481C1C}">
                <a14:useLocalDpi xmlns:a14="http://schemas.microsoft.com/office/drawing/2010/main" val="0"/>
              </a:ext>
              <a:ext uri="{96DAC541-7B7A-43D3-8B79-37D633B846F1}">
                <asvg:svgBlip xmlns:asvg="http://schemas.microsoft.com/office/drawing/2016/SVG/main" r:embed="rId91"/>
              </a:ext>
            </a:extLst>
          </a:blip>
          <a:stretch>
            <a:fillRect/>
          </a:stretch>
        </p:blipFill>
        <p:spPr>
          <a:xfrm>
            <a:off x="8063736" y="1806882"/>
            <a:ext cx="540000" cy="540000"/>
          </a:xfrm>
          <a:prstGeom prst="rect">
            <a:avLst/>
          </a:prstGeom>
        </p:spPr>
      </p:pic>
      <p:pic>
        <p:nvPicPr>
          <p:cNvPr id="19" name="Clarity access card pass">
            <a:extLst>
              <a:ext uri="{FF2B5EF4-FFF2-40B4-BE49-F238E27FC236}">
                <a16:creationId xmlns:a16="http://schemas.microsoft.com/office/drawing/2014/main" id="{D8626833-3974-EE4B-BC28-8648C5D43948}"/>
              </a:ext>
            </a:extLst>
          </p:cNvPr>
          <p:cNvPicPr>
            <a:picLocks noChangeAspect="1"/>
          </p:cNvPicPr>
          <p:nvPr>
            <p:custDataLst>
              <p:tags r:id="rId16"/>
            </p:custDataLst>
          </p:nvPr>
        </p:nvPicPr>
        <p:blipFill>
          <a:blip r:embed="rId92" cstate="print">
            <a:extLst>
              <a:ext uri="{28A0092B-C50C-407E-A947-70E740481C1C}">
                <a14:useLocalDpi xmlns:a14="http://schemas.microsoft.com/office/drawing/2010/main" val="0"/>
              </a:ext>
              <a:ext uri="{96DAC541-7B7A-43D3-8B79-37D633B846F1}">
                <asvg:svgBlip xmlns:asvg="http://schemas.microsoft.com/office/drawing/2016/SVG/main" r:embed="rId93"/>
              </a:ext>
            </a:extLst>
          </a:blip>
          <a:stretch>
            <a:fillRect/>
          </a:stretch>
        </p:blipFill>
        <p:spPr>
          <a:xfrm>
            <a:off x="8829487" y="1806882"/>
            <a:ext cx="540000" cy="540000"/>
          </a:xfrm>
          <a:prstGeom prst="rect">
            <a:avLst/>
          </a:prstGeom>
        </p:spPr>
      </p:pic>
      <p:pic>
        <p:nvPicPr>
          <p:cNvPr id="20" name="Clarity Accelerators">
            <a:extLst>
              <a:ext uri="{FF2B5EF4-FFF2-40B4-BE49-F238E27FC236}">
                <a16:creationId xmlns:a16="http://schemas.microsoft.com/office/drawing/2014/main" id="{BFEFC2FC-CE20-5A4C-8532-256F11B70E11}"/>
              </a:ext>
            </a:extLst>
          </p:cNvPr>
          <p:cNvPicPr>
            <a:picLocks noChangeAspect="1"/>
          </p:cNvPicPr>
          <p:nvPr>
            <p:custDataLst>
              <p:tags r:id="rId17"/>
            </p:custDataLst>
          </p:nvPr>
        </p:nvPicPr>
        <p:blipFill>
          <a:blip r:embed="rId94" cstate="print">
            <a:extLst>
              <a:ext uri="{28A0092B-C50C-407E-A947-70E740481C1C}">
                <a14:useLocalDpi xmlns:a14="http://schemas.microsoft.com/office/drawing/2010/main" val="0"/>
              </a:ext>
              <a:ext uri="{96DAC541-7B7A-43D3-8B79-37D633B846F1}">
                <asvg:svgBlip xmlns:asvg="http://schemas.microsoft.com/office/drawing/2016/SVG/main" r:embed="rId95"/>
              </a:ext>
            </a:extLst>
          </a:blip>
          <a:stretch>
            <a:fillRect/>
          </a:stretch>
        </p:blipFill>
        <p:spPr>
          <a:xfrm>
            <a:off x="8829487" y="2462107"/>
            <a:ext cx="540000" cy="540000"/>
          </a:xfrm>
          <a:prstGeom prst="rect">
            <a:avLst/>
          </a:prstGeom>
        </p:spPr>
      </p:pic>
      <p:pic>
        <p:nvPicPr>
          <p:cNvPr id="21" name="Clarity Absolutes">
            <a:extLst>
              <a:ext uri="{FF2B5EF4-FFF2-40B4-BE49-F238E27FC236}">
                <a16:creationId xmlns:a16="http://schemas.microsoft.com/office/drawing/2014/main" id="{DCEFEB80-3D02-EA49-A31E-07C654C3284D}"/>
              </a:ext>
            </a:extLst>
          </p:cNvPr>
          <p:cNvPicPr>
            <a:picLocks noChangeAspect="1"/>
          </p:cNvPicPr>
          <p:nvPr>
            <p:custDataLst>
              <p:tags r:id="rId18"/>
            </p:custDataLst>
          </p:nvPr>
        </p:nvPicPr>
        <p:blipFill>
          <a:blip r:embed="rId96" cstate="print">
            <a:extLst>
              <a:ext uri="{28A0092B-C50C-407E-A947-70E740481C1C}">
                <a14:useLocalDpi xmlns:a14="http://schemas.microsoft.com/office/drawing/2010/main" val="0"/>
              </a:ext>
              <a:ext uri="{96DAC541-7B7A-43D3-8B79-37D633B846F1}">
                <asvg:svgBlip xmlns:asvg="http://schemas.microsoft.com/office/drawing/2016/SVG/main" r:embed="rId97"/>
              </a:ext>
            </a:extLst>
          </a:blip>
          <a:stretch>
            <a:fillRect/>
          </a:stretch>
        </p:blipFill>
        <p:spPr>
          <a:xfrm>
            <a:off x="7297983" y="2462107"/>
            <a:ext cx="540000" cy="540000"/>
          </a:xfrm>
          <a:prstGeom prst="rect">
            <a:avLst/>
          </a:prstGeom>
        </p:spPr>
      </p:pic>
      <p:pic>
        <p:nvPicPr>
          <p:cNvPr id="22" name="Clarity 625 percent growth">
            <a:extLst>
              <a:ext uri="{FF2B5EF4-FFF2-40B4-BE49-F238E27FC236}">
                <a16:creationId xmlns:a16="http://schemas.microsoft.com/office/drawing/2014/main" id="{D4365E94-F41B-B549-BAD0-02BCA58B0FDD}"/>
              </a:ext>
            </a:extLst>
          </p:cNvPr>
          <p:cNvPicPr>
            <a:picLocks noChangeAspect="1"/>
          </p:cNvPicPr>
          <p:nvPr>
            <p:custDataLst>
              <p:tags r:id="rId19"/>
            </p:custDataLst>
          </p:nvPr>
        </p:nvPicPr>
        <p:blipFill>
          <a:blip r:embed="rId98" cstate="print">
            <a:extLst>
              <a:ext uri="{28A0092B-C50C-407E-A947-70E740481C1C}">
                <a14:useLocalDpi xmlns:a14="http://schemas.microsoft.com/office/drawing/2010/main" val="0"/>
              </a:ext>
              <a:ext uri="{96DAC541-7B7A-43D3-8B79-37D633B846F1}">
                <asvg:svgBlip xmlns:asvg="http://schemas.microsoft.com/office/drawing/2016/SVG/main" r:embed="rId99"/>
              </a:ext>
            </a:extLst>
          </a:blip>
          <a:stretch>
            <a:fillRect/>
          </a:stretch>
        </p:blipFill>
        <p:spPr>
          <a:xfrm>
            <a:off x="3469218" y="1806882"/>
            <a:ext cx="540000" cy="540000"/>
          </a:xfrm>
          <a:prstGeom prst="rect">
            <a:avLst/>
          </a:prstGeom>
        </p:spPr>
      </p:pic>
      <p:pic>
        <p:nvPicPr>
          <p:cNvPr id="23" name="Clarity coffee">
            <a:extLst>
              <a:ext uri="{FF2B5EF4-FFF2-40B4-BE49-F238E27FC236}">
                <a16:creationId xmlns:a16="http://schemas.microsoft.com/office/drawing/2014/main" id="{D53D7E8F-0835-CA49-9150-0C4BAB38D814}"/>
              </a:ext>
            </a:extLst>
          </p:cNvPr>
          <p:cNvPicPr>
            <a:picLocks noChangeAspect="1"/>
          </p:cNvPicPr>
          <p:nvPr>
            <p:custDataLst>
              <p:tags r:id="rId20"/>
            </p:custDataLst>
          </p:nvPr>
        </p:nvPicPr>
        <p:blipFill>
          <a:blip r:embed="rId100" cstate="print">
            <a:extLst>
              <a:ext uri="{28A0092B-C50C-407E-A947-70E740481C1C}">
                <a14:useLocalDpi xmlns:a14="http://schemas.microsoft.com/office/drawing/2010/main" val="0"/>
              </a:ext>
              <a:ext uri="{96DAC541-7B7A-43D3-8B79-37D633B846F1}">
                <asvg:svgBlip xmlns:asvg="http://schemas.microsoft.com/office/drawing/2016/SVG/main" r:embed="rId101"/>
              </a:ext>
            </a:extLst>
          </a:blip>
          <a:stretch>
            <a:fillRect/>
          </a:stretch>
        </p:blipFill>
        <p:spPr>
          <a:xfrm>
            <a:off x="5766477" y="2462107"/>
            <a:ext cx="540000" cy="540000"/>
          </a:xfrm>
          <a:prstGeom prst="rect">
            <a:avLst/>
          </a:prstGeom>
        </p:spPr>
      </p:pic>
      <p:pic>
        <p:nvPicPr>
          <p:cNvPr id="24" name="Clarity cloud security">
            <a:extLst>
              <a:ext uri="{FF2B5EF4-FFF2-40B4-BE49-F238E27FC236}">
                <a16:creationId xmlns:a16="http://schemas.microsoft.com/office/drawing/2014/main" id="{58D01D82-C9C8-1E45-812E-3540B8163D90}"/>
              </a:ext>
            </a:extLst>
          </p:cNvPr>
          <p:cNvPicPr>
            <a:picLocks noChangeAspect="1"/>
          </p:cNvPicPr>
          <p:nvPr>
            <p:custDataLst>
              <p:tags r:id="rId21"/>
            </p:custDataLst>
          </p:nvPr>
        </p:nvPicPr>
        <p:blipFill>
          <a:blip r:embed="rId102" cstate="print">
            <a:extLst>
              <a:ext uri="{28A0092B-C50C-407E-A947-70E740481C1C}">
                <a14:useLocalDpi xmlns:a14="http://schemas.microsoft.com/office/drawing/2010/main" val="0"/>
              </a:ext>
              <a:ext uri="{96DAC541-7B7A-43D3-8B79-37D633B846F1}">
                <asvg:svgBlip xmlns:asvg="http://schemas.microsoft.com/office/drawing/2016/SVG/main" r:embed="rId103"/>
              </a:ext>
            </a:extLst>
          </a:blip>
          <a:stretch>
            <a:fillRect/>
          </a:stretch>
        </p:blipFill>
        <p:spPr>
          <a:xfrm>
            <a:off x="3469218" y="2462107"/>
            <a:ext cx="540000" cy="540000"/>
          </a:xfrm>
          <a:prstGeom prst="rect">
            <a:avLst/>
          </a:prstGeom>
        </p:spPr>
      </p:pic>
      <p:pic>
        <p:nvPicPr>
          <p:cNvPr id="25" name="Clarity cloud devops">
            <a:extLst>
              <a:ext uri="{FF2B5EF4-FFF2-40B4-BE49-F238E27FC236}">
                <a16:creationId xmlns:a16="http://schemas.microsoft.com/office/drawing/2014/main" id="{F0C80390-9952-C04F-9F22-F5F3DBCA9ABA}"/>
              </a:ext>
            </a:extLst>
          </p:cNvPr>
          <p:cNvPicPr>
            <a:picLocks noChangeAspect="1"/>
          </p:cNvPicPr>
          <p:nvPr>
            <p:custDataLst>
              <p:tags r:id="rId22"/>
            </p:custDataLst>
          </p:nvPr>
        </p:nvPicPr>
        <p:blipFill>
          <a:blip r:embed="rId104" cstate="print">
            <a:extLst>
              <a:ext uri="{28A0092B-C50C-407E-A947-70E740481C1C}">
                <a14:useLocalDpi xmlns:a14="http://schemas.microsoft.com/office/drawing/2010/main" val="0"/>
              </a:ext>
              <a:ext uri="{96DAC541-7B7A-43D3-8B79-37D633B846F1}">
                <asvg:svgBlip xmlns:asvg="http://schemas.microsoft.com/office/drawing/2016/SVG/main" r:embed="rId105"/>
              </a:ext>
            </a:extLst>
          </a:blip>
          <a:stretch>
            <a:fillRect/>
          </a:stretch>
        </p:blipFill>
        <p:spPr>
          <a:xfrm>
            <a:off x="2703465" y="2462107"/>
            <a:ext cx="540000" cy="540000"/>
          </a:xfrm>
          <a:prstGeom prst="rect">
            <a:avLst/>
          </a:prstGeom>
        </p:spPr>
      </p:pic>
      <p:pic>
        <p:nvPicPr>
          <p:cNvPr id="26" name="Clarity cloud">
            <a:extLst>
              <a:ext uri="{FF2B5EF4-FFF2-40B4-BE49-F238E27FC236}">
                <a16:creationId xmlns:a16="http://schemas.microsoft.com/office/drawing/2014/main" id="{D1B2B5D0-3C5D-B04D-9318-391298AD2B33}"/>
              </a:ext>
            </a:extLst>
          </p:cNvPr>
          <p:cNvPicPr>
            <a:picLocks noChangeAspect="1"/>
          </p:cNvPicPr>
          <p:nvPr>
            <p:custDataLst>
              <p:tags r:id="rId23"/>
            </p:custDataLst>
          </p:nvPr>
        </p:nvPicPr>
        <p:blipFill>
          <a:blip r:embed="rId106" cstate="print">
            <a:extLst>
              <a:ext uri="{28A0092B-C50C-407E-A947-70E740481C1C}">
                <a14:useLocalDpi xmlns:a14="http://schemas.microsoft.com/office/drawing/2010/main" val="0"/>
              </a:ext>
              <a:ext uri="{96DAC541-7B7A-43D3-8B79-37D633B846F1}">
                <asvg:svgBlip xmlns:asvg="http://schemas.microsoft.com/office/drawing/2016/SVG/main" r:embed="rId107"/>
              </a:ext>
            </a:extLst>
          </a:blip>
          <a:stretch>
            <a:fillRect/>
          </a:stretch>
        </p:blipFill>
        <p:spPr>
          <a:xfrm>
            <a:off x="1937712" y="2462107"/>
            <a:ext cx="540000" cy="540000"/>
          </a:xfrm>
          <a:prstGeom prst="rect">
            <a:avLst/>
          </a:prstGeom>
        </p:spPr>
      </p:pic>
      <p:pic>
        <p:nvPicPr>
          <p:cNvPr id="27" name="Clarity Careers stay passionate">
            <a:extLst>
              <a:ext uri="{FF2B5EF4-FFF2-40B4-BE49-F238E27FC236}">
                <a16:creationId xmlns:a16="http://schemas.microsoft.com/office/drawing/2014/main" id="{E09CDBF8-DBC1-194F-8BCC-76CE9A4B7178}"/>
              </a:ext>
            </a:extLst>
          </p:cNvPr>
          <p:cNvPicPr>
            <a:picLocks noChangeAspect="1"/>
          </p:cNvPicPr>
          <p:nvPr>
            <p:custDataLst>
              <p:tags r:id="rId24"/>
            </p:custDataLst>
          </p:nvPr>
        </p:nvPicPr>
        <p:blipFill>
          <a:blip r:embed="rId108" cstate="print">
            <a:extLst>
              <a:ext uri="{28A0092B-C50C-407E-A947-70E740481C1C}">
                <a14:useLocalDpi xmlns:a14="http://schemas.microsoft.com/office/drawing/2010/main" val="0"/>
              </a:ext>
              <a:ext uri="{96DAC541-7B7A-43D3-8B79-37D633B846F1}">
                <asvg:svgBlip xmlns:asvg="http://schemas.microsoft.com/office/drawing/2016/SVG/main" r:embed="rId109"/>
              </a:ext>
            </a:extLst>
          </a:blip>
          <a:stretch>
            <a:fillRect/>
          </a:stretch>
        </p:blipFill>
        <p:spPr>
          <a:xfrm>
            <a:off x="411948" y="3101054"/>
            <a:ext cx="540000" cy="540000"/>
          </a:xfrm>
          <a:prstGeom prst="rect">
            <a:avLst/>
          </a:prstGeom>
        </p:spPr>
      </p:pic>
      <p:pic>
        <p:nvPicPr>
          <p:cNvPr id="28" name="Clarity Careers stay connected">
            <a:extLst>
              <a:ext uri="{FF2B5EF4-FFF2-40B4-BE49-F238E27FC236}">
                <a16:creationId xmlns:a16="http://schemas.microsoft.com/office/drawing/2014/main" id="{F6B0A18C-D688-8942-8395-CAAF5A4EACB1}"/>
              </a:ext>
            </a:extLst>
          </p:cNvPr>
          <p:cNvPicPr>
            <a:picLocks noChangeAspect="1"/>
          </p:cNvPicPr>
          <p:nvPr>
            <p:custDataLst>
              <p:tags r:id="rId25"/>
            </p:custDataLst>
          </p:nvPr>
        </p:nvPicPr>
        <p:blipFill>
          <a:blip r:embed="rId110" cstate="print">
            <a:extLst>
              <a:ext uri="{28A0092B-C50C-407E-A947-70E740481C1C}">
                <a14:useLocalDpi xmlns:a14="http://schemas.microsoft.com/office/drawing/2010/main" val="0"/>
              </a:ext>
              <a:ext uri="{96DAC541-7B7A-43D3-8B79-37D633B846F1}">
                <asvg:svgBlip xmlns:asvg="http://schemas.microsoft.com/office/drawing/2016/SVG/main" r:embed="rId111"/>
              </a:ext>
            </a:extLst>
          </a:blip>
          <a:stretch>
            <a:fillRect/>
          </a:stretch>
        </p:blipFill>
        <p:spPr>
          <a:xfrm>
            <a:off x="1177179" y="3101054"/>
            <a:ext cx="540000" cy="540000"/>
          </a:xfrm>
          <a:prstGeom prst="rect">
            <a:avLst/>
          </a:prstGeom>
        </p:spPr>
      </p:pic>
      <p:pic>
        <p:nvPicPr>
          <p:cNvPr id="29" name="Clarity Careers skip bureaucracysvg">
            <a:extLst>
              <a:ext uri="{FF2B5EF4-FFF2-40B4-BE49-F238E27FC236}">
                <a16:creationId xmlns:a16="http://schemas.microsoft.com/office/drawing/2014/main" id="{1DE9181F-314E-FE4F-B139-2BEF3F277911}"/>
              </a:ext>
            </a:extLst>
          </p:cNvPr>
          <p:cNvPicPr>
            <a:picLocks noChangeAspect="1"/>
          </p:cNvPicPr>
          <p:nvPr>
            <p:custDataLst>
              <p:tags r:id="rId26"/>
            </p:custDataLst>
          </p:nvPr>
        </p:nvPicPr>
        <p:blipFill>
          <a:blip r:embed="rId112" cstate="print">
            <a:extLst>
              <a:ext uri="{28A0092B-C50C-407E-A947-70E740481C1C}">
                <a14:useLocalDpi xmlns:a14="http://schemas.microsoft.com/office/drawing/2010/main" val="0"/>
              </a:ext>
              <a:ext uri="{96DAC541-7B7A-43D3-8B79-37D633B846F1}">
                <asvg:svgBlip xmlns:asvg="http://schemas.microsoft.com/office/drawing/2016/SVG/main" r:embed="rId113"/>
              </a:ext>
            </a:extLst>
          </a:blip>
          <a:stretch>
            <a:fillRect/>
          </a:stretch>
        </p:blipFill>
        <p:spPr>
          <a:xfrm>
            <a:off x="4238103" y="3101054"/>
            <a:ext cx="540000" cy="540000"/>
          </a:xfrm>
          <a:prstGeom prst="rect">
            <a:avLst/>
          </a:prstGeom>
        </p:spPr>
      </p:pic>
      <p:pic>
        <p:nvPicPr>
          <p:cNvPr id="30" name="Clarity Careers maintain balance">
            <a:extLst>
              <a:ext uri="{FF2B5EF4-FFF2-40B4-BE49-F238E27FC236}">
                <a16:creationId xmlns:a16="http://schemas.microsoft.com/office/drawing/2014/main" id="{29AE7802-75BC-4B4A-98F8-B8A8ADFAAC3D}"/>
              </a:ext>
            </a:extLst>
          </p:cNvPr>
          <p:cNvPicPr>
            <a:picLocks noChangeAspect="1"/>
          </p:cNvPicPr>
          <p:nvPr>
            <p:custDataLst>
              <p:tags r:id="rId27"/>
            </p:custDataLst>
          </p:nvPr>
        </p:nvPicPr>
        <p:blipFill>
          <a:blip r:embed="rId114" cstate="print">
            <a:extLst>
              <a:ext uri="{28A0092B-C50C-407E-A947-70E740481C1C}">
                <a14:useLocalDpi xmlns:a14="http://schemas.microsoft.com/office/drawing/2010/main" val="0"/>
              </a:ext>
              <a:ext uri="{96DAC541-7B7A-43D3-8B79-37D633B846F1}">
                <asvg:svgBlip xmlns:asvg="http://schemas.microsoft.com/office/drawing/2016/SVG/main" r:embed="rId115"/>
              </a:ext>
            </a:extLst>
          </a:blip>
          <a:stretch>
            <a:fillRect/>
          </a:stretch>
        </p:blipFill>
        <p:spPr>
          <a:xfrm>
            <a:off x="3472872" y="3101054"/>
            <a:ext cx="540000" cy="540000"/>
          </a:xfrm>
          <a:prstGeom prst="rect">
            <a:avLst/>
          </a:prstGeom>
        </p:spPr>
      </p:pic>
      <p:pic>
        <p:nvPicPr>
          <p:cNvPr id="31" name="Clarity Careers Give back">
            <a:extLst>
              <a:ext uri="{FF2B5EF4-FFF2-40B4-BE49-F238E27FC236}">
                <a16:creationId xmlns:a16="http://schemas.microsoft.com/office/drawing/2014/main" id="{470A5ECF-F232-A944-8BDE-85074B6D9A14}"/>
              </a:ext>
            </a:extLst>
          </p:cNvPr>
          <p:cNvPicPr>
            <a:picLocks noChangeAspect="1"/>
          </p:cNvPicPr>
          <p:nvPr>
            <p:custDataLst>
              <p:tags r:id="rId28"/>
            </p:custDataLst>
          </p:nvPr>
        </p:nvPicPr>
        <p:blipFill>
          <a:blip r:embed="rId116" cstate="print">
            <a:extLst>
              <a:ext uri="{28A0092B-C50C-407E-A947-70E740481C1C}">
                <a14:useLocalDpi xmlns:a14="http://schemas.microsoft.com/office/drawing/2010/main" val="0"/>
              </a:ext>
              <a:ext uri="{96DAC541-7B7A-43D3-8B79-37D633B846F1}">
                <asvg:svgBlip xmlns:asvg="http://schemas.microsoft.com/office/drawing/2016/SVG/main" r:embed="rId117"/>
              </a:ext>
            </a:extLst>
          </a:blip>
          <a:stretch>
            <a:fillRect/>
          </a:stretch>
        </p:blipFill>
        <p:spPr>
          <a:xfrm>
            <a:off x="1942410" y="3101054"/>
            <a:ext cx="540000" cy="540000"/>
          </a:xfrm>
          <a:prstGeom prst="rect">
            <a:avLst/>
          </a:prstGeom>
        </p:spPr>
      </p:pic>
      <p:pic>
        <p:nvPicPr>
          <p:cNvPr id="32" name="Clarity Careers Celebrate Together">
            <a:extLst>
              <a:ext uri="{FF2B5EF4-FFF2-40B4-BE49-F238E27FC236}">
                <a16:creationId xmlns:a16="http://schemas.microsoft.com/office/drawing/2014/main" id="{139E38F3-1BE4-1847-94B1-11399FB30A7E}"/>
              </a:ext>
            </a:extLst>
          </p:cNvPr>
          <p:cNvPicPr>
            <a:picLocks noChangeAspect="1"/>
          </p:cNvPicPr>
          <p:nvPr>
            <p:custDataLst>
              <p:tags r:id="rId29"/>
            </p:custDataLst>
          </p:nvPr>
        </p:nvPicPr>
        <p:blipFill>
          <a:blip r:embed="rId118" cstate="print">
            <a:extLst>
              <a:ext uri="{28A0092B-C50C-407E-A947-70E740481C1C}">
                <a14:useLocalDpi xmlns:a14="http://schemas.microsoft.com/office/drawing/2010/main" val="0"/>
              </a:ext>
              <a:ext uri="{96DAC541-7B7A-43D3-8B79-37D633B846F1}">
                <asvg:svgBlip xmlns:asvg="http://schemas.microsoft.com/office/drawing/2016/SVG/main" r:embed="rId119"/>
              </a:ext>
            </a:extLst>
          </a:blip>
          <a:stretch>
            <a:fillRect/>
          </a:stretch>
        </p:blipFill>
        <p:spPr>
          <a:xfrm>
            <a:off x="5003334" y="3101054"/>
            <a:ext cx="540000" cy="540000"/>
          </a:xfrm>
          <a:prstGeom prst="rect">
            <a:avLst/>
          </a:prstGeom>
        </p:spPr>
      </p:pic>
      <p:pic>
        <p:nvPicPr>
          <p:cNvPr id="33" name="Clarity Careers Build a future">
            <a:extLst>
              <a:ext uri="{FF2B5EF4-FFF2-40B4-BE49-F238E27FC236}">
                <a16:creationId xmlns:a16="http://schemas.microsoft.com/office/drawing/2014/main" id="{CA8C2257-50B7-C14F-BF39-DB47D24596D3}"/>
              </a:ext>
            </a:extLst>
          </p:cNvPr>
          <p:cNvPicPr>
            <a:picLocks noChangeAspect="1"/>
          </p:cNvPicPr>
          <p:nvPr>
            <p:custDataLst>
              <p:tags r:id="rId30"/>
            </p:custDataLst>
          </p:nvPr>
        </p:nvPicPr>
        <p:blipFill>
          <a:blip r:embed="rId120" cstate="print">
            <a:extLst>
              <a:ext uri="{28A0092B-C50C-407E-A947-70E740481C1C}">
                <a14:useLocalDpi xmlns:a14="http://schemas.microsoft.com/office/drawing/2010/main" val="0"/>
              </a:ext>
              <a:ext uri="{96DAC541-7B7A-43D3-8B79-37D633B846F1}">
                <asvg:svgBlip xmlns:asvg="http://schemas.microsoft.com/office/drawing/2016/SVG/main" r:embed="rId121"/>
              </a:ext>
            </a:extLst>
          </a:blip>
          <a:stretch>
            <a:fillRect/>
          </a:stretch>
        </p:blipFill>
        <p:spPr>
          <a:xfrm>
            <a:off x="5768565" y="3101054"/>
            <a:ext cx="540000" cy="540000"/>
          </a:xfrm>
          <a:prstGeom prst="rect">
            <a:avLst/>
          </a:prstGeom>
        </p:spPr>
      </p:pic>
      <p:pic>
        <p:nvPicPr>
          <p:cNvPr id="34" name="Clarity capability maturity assessment">
            <a:extLst>
              <a:ext uri="{FF2B5EF4-FFF2-40B4-BE49-F238E27FC236}">
                <a16:creationId xmlns:a16="http://schemas.microsoft.com/office/drawing/2014/main" id="{67CCF6CA-9DC4-734F-B3AC-CFE9956DC990}"/>
              </a:ext>
            </a:extLst>
          </p:cNvPr>
          <p:cNvPicPr>
            <a:picLocks noChangeAspect="1"/>
          </p:cNvPicPr>
          <p:nvPr>
            <p:custDataLst>
              <p:tags r:id="rId31"/>
            </p:custDataLst>
          </p:nvPr>
        </p:nvPicPr>
        <p:blipFill>
          <a:blip r:embed="rId122" cstate="print">
            <a:extLst>
              <a:ext uri="{28A0092B-C50C-407E-A947-70E740481C1C}">
                <a14:useLocalDpi xmlns:a14="http://schemas.microsoft.com/office/drawing/2010/main" val="0"/>
              </a:ext>
              <a:ext uri="{96DAC541-7B7A-43D3-8B79-37D633B846F1}">
                <asvg:svgBlip xmlns:asvg="http://schemas.microsoft.com/office/drawing/2016/SVG/main" r:embed="rId123"/>
              </a:ext>
            </a:extLst>
          </a:blip>
          <a:stretch>
            <a:fillRect/>
          </a:stretch>
        </p:blipFill>
        <p:spPr>
          <a:xfrm>
            <a:off x="6533796" y="3101054"/>
            <a:ext cx="540000" cy="540000"/>
          </a:xfrm>
          <a:prstGeom prst="rect">
            <a:avLst/>
          </a:prstGeom>
        </p:spPr>
      </p:pic>
      <p:pic>
        <p:nvPicPr>
          <p:cNvPr id="35" name="Clarity canvas">
            <a:extLst>
              <a:ext uri="{FF2B5EF4-FFF2-40B4-BE49-F238E27FC236}">
                <a16:creationId xmlns:a16="http://schemas.microsoft.com/office/drawing/2014/main" id="{E73D0CE6-37F8-A44C-9D85-FFC468A0C590}"/>
              </a:ext>
            </a:extLst>
          </p:cNvPr>
          <p:cNvPicPr>
            <a:picLocks noChangeAspect="1"/>
          </p:cNvPicPr>
          <p:nvPr>
            <p:custDataLst>
              <p:tags r:id="rId32"/>
            </p:custDataLst>
          </p:nvPr>
        </p:nvPicPr>
        <p:blipFill>
          <a:blip r:embed="rId124" cstate="print">
            <a:extLst>
              <a:ext uri="{28A0092B-C50C-407E-A947-70E740481C1C}">
                <a14:useLocalDpi xmlns:a14="http://schemas.microsoft.com/office/drawing/2010/main" val="0"/>
              </a:ext>
              <a:ext uri="{96DAC541-7B7A-43D3-8B79-37D633B846F1}">
                <asvg:svgBlip xmlns:asvg="http://schemas.microsoft.com/office/drawing/2016/SVG/main" r:embed="rId125"/>
              </a:ext>
            </a:extLst>
          </a:blip>
          <a:stretch>
            <a:fillRect/>
          </a:stretch>
        </p:blipFill>
        <p:spPr>
          <a:xfrm>
            <a:off x="7299027" y="3101054"/>
            <a:ext cx="540000" cy="540000"/>
          </a:xfrm>
          <a:prstGeom prst="rect">
            <a:avLst/>
          </a:prstGeom>
        </p:spPr>
      </p:pic>
      <p:pic>
        <p:nvPicPr>
          <p:cNvPr id="36" name="Clarity call center analytics">
            <a:extLst>
              <a:ext uri="{FF2B5EF4-FFF2-40B4-BE49-F238E27FC236}">
                <a16:creationId xmlns:a16="http://schemas.microsoft.com/office/drawing/2014/main" id="{ABF203C5-8ACC-DF4E-A350-73FF7CBD821C}"/>
              </a:ext>
            </a:extLst>
          </p:cNvPr>
          <p:cNvPicPr>
            <a:picLocks noChangeAspect="1"/>
          </p:cNvPicPr>
          <p:nvPr>
            <p:custDataLst>
              <p:tags r:id="rId33"/>
            </p:custDataLst>
          </p:nvPr>
        </p:nvPicPr>
        <p:blipFill>
          <a:blip r:embed="rId126" cstate="print">
            <a:extLst>
              <a:ext uri="{28A0092B-C50C-407E-A947-70E740481C1C}">
                <a14:useLocalDpi xmlns:a14="http://schemas.microsoft.com/office/drawing/2010/main" val="0"/>
              </a:ext>
              <a:ext uri="{96DAC541-7B7A-43D3-8B79-37D633B846F1}">
                <asvg:svgBlip xmlns:asvg="http://schemas.microsoft.com/office/drawing/2016/SVG/main" r:embed="rId127"/>
              </a:ext>
            </a:extLst>
          </a:blip>
          <a:stretch>
            <a:fillRect/>
          </a:stretch>
        </p:blipFill>
        <p:spPr>
          <a:xfrm>
            <a:off x="8064258" y="3101054"/>
            <a:ext cx="540000" cy="540000"/>
          </a:xfrm>
          <a:prstGeom prst="rect">
            <a:avLst/>
          </a:prstGeom>
        </p:spPr>
      </p:pic>
      <p:pic>
        <p:nvPicPr>
          <p:cNvPr id="37" name="Clarity business optimization">
            <a:extLst>
              <a:ext uri="{FF2B5EF4-FFF2-40B4-BE49-F238E27FC236}">
                <a16:creationId xmlns:a16="http://schemas.microsoft.com/office/drawing/2014/main" id="{B21D2617-DC1E-BE49-97DA-3537724B9EE6}"/>
              </a:ext>
            </a:extLst>
          </p:cNvPr>
          <p:cNvPicPr>
            <a:picLocks noChangeAspect="1"/>
          </p:cNvPicPr>
          <p:nvPr>
            <p:custDataLst>
              <p:tags r:id="rId34"/>
            </p:custDataLst>
          </p:nvPr>
        </p:nvPicPr>
        <p:blipFill>
          <a:blip r:embed="rId128" cstate="print">
            <a:extLst>
              <a:ext uri="{28A0092B-C50C-407E-A947-70E740481C1C}">
                <a14:useLocalDpi xmlns:a14="http://schemas.microsoft.com/office/drawing/2010/main" val="0"/>
              </a:ext>
              <a:ext uri="{96DAC541-7B7A-43D3-8B79-37D633B846F1}">
                <asvg:svgBlip xmlns:asvg="http://schemas.microsoft.com/office/drawing/2016/SVG/main" r:embed="rId129"/>
              </a:ext>
            </a:extLst>
          </a:blip>
          <a:stretch>
            <a:fillRect/>
          </a:stretch>
        </p:blipFill>
        <p:spPr>
          <a:xfrm>
            <a:off x="8829487" y="3101054"/>
            <a:ext cx="540000" cy="540000"/>
          </a:xfrm>
          <a:prstGeom prst="rect">
            <a:avLst/>
          </a:prstGeom>
        </p:spPr>
      </p:pic>
      <p:pic>
        <p:nvPicPr>
          <p:cNvPr id="38" name="Clarity business analytics">
            <a:extLst>
              <a:ext uri="{FF2B5EF4-FFF2-40B4-BE49-F238E27FC236}">
                <a16:creationId xmlns:a16="http://schemas.microsoft.com/office/drawing/2014/main" id="{F87C32A0-9D77-864E-889B-9C99839A0837}"/>
              </a:ext>
            </a:extLst>
          </p:cNvPr>
          <p:cNvPicPr>
            <a:picLocks noChangeAspect="1"/>
          </p:cNvPicPr>
          <p:nvPr>
            <p:custDataLst>
              <p:tags r:id="rId35"/>
            </p:custDataLst>
          </p:nvPr>
        </p:nvPicPr>
        <p:blipFill>
          <a:blip r:embed="rId130" cstate="print">
            <a:extLst>
              <a:ext uri="{28A0092B-C50C-407E-A947-70E740481C1C}">
                <a14:useLocalDpi xmlns:a14="http://schemas.microsoft.com/office/drawing/2010/main" val="0"/>
              </a:ext>
              <a:ext uri="{96DAC541-7B7A-43D3-8B79-37D633B846F1}">
                <asvg:svgBlip xmlns:asvg="http://schemas.microsoft.com/office/drawing/2016/SVG/main" r:embed="rId131"/>
              </a:ext>
            </a:extLst>
          </a:blip>
          <a:stretch>
            <a:fillRect/>
          </a:stretch>
        </p:blipFill>
        <p:spPr>
          <a:xfrm>
            <a:off x="8063736" y="2462107"/>
            <a:ext cx="540000" cy="540000"/>
          </a:xfrm>
          <a:prstGeom prst="rect">
            <a:avLst/>
          </a:prstGeom>
        </p:spPr>
      </p:pic>
      <p:pic>
        <p:nvPicPr>
          <p:cNvPr id="39" name="Clarity data lake">
            <a:extLst>
              <a:ext uri="{FF2B5EF4-FFF2-40B4-BE49-F238E27FC236}">
                <a16:creationId xmlns:a16="http://schemas.microsoft.com/office/drawing/2014/main" id="{A9A4DBCB-5CFA-564F-9D93-9F41EAFD50A0}"/>
              </a:ext>
            </a:extLst>
          </p:cNvPr>
          <p:cNvPicPr>
            <a:picLocks noChangeAspect="1"/>
          </p:cNvPicPr>
          <p:nvPr>
            <p:custDataLst>
              <p:tags r:id="rId36"/>
            </p:custDataLst>
          </p:nvPr>
        </p:nvPicPr>
        <p:blipFill>
          <a:blip r:embed="rId132" cstate="print">
            <a:extLst>
              <a:ext uri="{28A0092B-C50C-407E-A947-70E740481C1C}">
                <a14:useLocalDpi xmlns:a14="http://schemas.microsoft.com/office/drawing/2010/main" val="0"/>
              </a:ext>
              <a:ext uri="{96DAC541-7B7A-43D3-8B79-37D633B846F1}">
                <asvg:svgBlip xmlns:asvg="http://schemas.microsoft.com/office/drawing/2016/SVG/main" r:embed="rId133"/>
              </a:ext>
            </a:extLst>
          </a:blip>
          <a:stretch>
            <a:fillRect/>
          </a:stretch>
        </p:blipFill>
        <p:spPr>
          <a:xfrm>
            <a:off x="2707641" y="3101054"/>
            <a:ext cx="540000" cy="540000"/>
          </a:xfrm>
          <a:prstGeom prst="rect">
            <a:avLst/>
          </a:prstGeom>
        </p:spPr>
      </p:pic>
      <p:pic>
        <p:nvPicPr>
          <p:cNvPr id="40" name="Clarity data">
            <a:extLst>
              <a:ext uri="{FF2B5EF4-FFF2-40B4-BE49-F238E27FC236}">
                <a16:creationId xmlns:a16="http://schemas.microsoft.com/office/drawing/2014/main" id="{DF51BCA1-FF00-FC44-9440-3405CA29068C}"/>
              </a:ext>
            </a:extLst>
          </p:cNvPr>
          <p:cNvPicPr>
            <a:picLocks noChangeAspect="1"/>
          </p:cNvPicPr>
          <p:nvPr>
            <p:custDataLst>
              <p:tags r:id="rId37"/>
            </p:custDataLst>
          </p:nvPr>
        </p:nvPicPr>
        <p:blipFill>
          <a:blip r:embed="rId134" cstate="print">
            <a:extLst>
              <a:ext uri="{28A0092B-C50C-407E-A947-70E740481C1C}">
                <a14:useLocalDpi xmlns:a14="http://schemas.microsoft.com/office/drawing/2010/main" val="0"/>
              </a:ext>
              <a:ext uri="{96DAC541-7B7A-43D3-8B79-37D633B846F1}">
                <asvg:svgBlip xmlns:asvg="http://schemas.microsoft.com/office/drawing/2016/SVG/main" r:embed="rId135"/>
              </a:ext>
            </a:extLst>
          </a:blip>
          <a:stretch>
            <a:fillRect/>
          </a:stretch>
        </p:blipFill>
        <p:spPr>
          <a:xfrm>
            <a:off x="5000724" y="3747317"/>
            <a:ext cx="540000" cy="540000"/>
          </a:xfrm>
          <a:prstGeom prst="rect">
            <a:avLst/>
          </a:prstGeom>
        </p:spPr>
      </p:pic>
      <p:pic>
        <p:nvPicPr>
          <p:cNvPr id="41" name="Clarity customer retention">
            <a:extLst>
              <a:ext uri="{FF2B5EF4-FFF2-40B4-BE49-F238E27FC236}">
                <a16:creationId xmlns:a16="http://schemas.microsoft.com/office/drawing/2014/main" id="{D3A61AB3-3EBC-6F47-84E3-8C7A90BF34EC}"/>
              </a:ext>
            </a:extLst>
          </p:cNvPr>
          <p:cNvPicPr>
            <a:picLocks noChangeAspect="1"/>
          </p:cNvPicPr>
          <p:nvPr>
            <p:custDataLst>
              <p:tags r:id="rId38"/>
            </p:custDataLst>
          </p:nvPr>
        </p:nvPicPr>
        <p:blipFill>
          <a:blip r:embed="rId136" cstate="print">
            <a:extLst>
              <a:ext uri="{28A0092B-C50C-407E-A947-70E740481C1C}">
                <a14:useLocalDpi xmlns:a14="http://schemas.microsoft.com/office/drawing/2010/main" val="0"/>
              </a:ext>
              <a:ext uri="{96DAC541-7B7A-43D3-8B79-37D633B846F1}">
                <asvg:svgBlip xmlns:asvg="http://schemas.microsoft.com/office/drawing/2016/SVG/main" r:embed="rId137"/>
              </a:ext>
            </a:extLst>
          </a:blip>
          <a:stretch>
            <a:fillRect/>
          </a:stretch>
        </p:blipFill>
        <p:spPr>
          <a:xfrm>
            <a:off x="5766477" y="3747317"/>
            <a:ext cx="540000" cy="540000"/>
          </a:xfrm>
          <a:prstGeom prst="rect">
            <a:avLst/>
          </a:prstGeom>
        </p:spPr>
      </p:pic>
      <p:pic>
        <p:nvPicPr>
          <p:cNvPr id="42" name="Clarity customer experience">
            <a:extLst>
              <a:ext uri="{FF2B5EF4-FFF2-40B4-BE49-F238E27FC236}">
                <a16:creationId xmlns:a16="http://schemas.microsoft.com/office/drawing/2014/main" id="{E7A8DC1A-CBE8-8349-AB2A-678220D965CB}"/>
              </a:ext>
            </a:extLst>
          </p:cNvPr>
          <p:cNvPicPr>
            <a:picLocks noChangeAspect="1"/>
          </p:cNvPicPr>
          <p:nvPr>
            <p:custDataLst>
              <p:tags r:id="rId39"/>
            </p:custDataLst>
          </p:nvPr>
        </p:nvPicPr>
        <p:blipFill>
          <a:blip r:embed="rId138" cstate="print">
            <a:extLst>
              <a:ext uri="{28A0092B-C50C-407E-A947-70E740481C1C}">
                <a14:useLocalDpi xmlns:a14="http://schemas.microsoft.com/office/drawing/2010/main" val="0"/>
              </a:ext>
              <a:ext uri="{96DAC541-7B7A-43D3-8B79-37D633B846F1}">
                <asvg:svgBlip xmlns:asvg="http://schemas.microsoft.com/office/drawing/2016/SVG/main" r:embed="rId139"/>
              </a:ext>
            </a:extLst>
          </a:blip>
          <a:stretch>
            <a:fillRect/>
          </a:stretch>
        </p:blipFill>
        <p:spPr>
          <a:xfrm>
            <a:off x="6532230" y="3747317"/>
            <a:ext cx="540000" cy="540000"/>
          </a:xfrm>
          <a:prstGeom prst="rect">
            <a:avLst/>
          </a:prstGeom>
        </p:spPr>
      </p:pic>
      <p:pic>
        <p:nvPicPr>
          <p:cNvPr id="43" name="Clarity cross sell">
            <a:extLst>
              <a:ext uri="{FF2B5EF4-FFF2-40B4-BE49-F238E27FC236}">
                <a16:creationId xmlns:a16="http://schemas.microsoft.com/office/drawing/2014/main" id="{0940215E-B013-7743-B2AD-1F7E0E0B582B}"/>
              </a:ext>
            </a:extLst>
          </p:cNvPr>
          <p:cNvPicPr>
            <a:picLocks noChangeAspect="1"/>
          </p:cNvPicPr>
          <p:nvPr>
            <p:custDataLst>
              <p:tags r:id="rId40"/>
            </p:custDataLst>
          </p:nvPr>
        </p:nvPicPr>
        <p:blipFill>
          <a:blip r:embed="rId140" cstate="print">
            <a:extLst>
              <a:ext uri="{28A0092B-C50C-407E-A947-70E740481C1C}">
                <a14:useLocalDpi xmlns:a14="http://schemas.microsoft.com/office/drawing/2010/main" val="0"/>
              </a:ext>
              <a:ext uri="{96DAC541-7B7A-43D3-8B79-37D633B846F1}">
                <asvg:svgBlip xmlns:asvg="http://schemas.microsoft.com/office/drawing/2016/SVG/main" r:embed="rId141"/>
              </a:ext>
            </a:extLst>
          </a:blip>
          <a:stretch>
            <a:fillRect/>
          </a:stretch>
        </p:blipFill>
        <p:spPr>
          <a:xfrm>
            <a:off x="3469218" y="4399171"/>
            <a:ext cx="540000" cy="540000"/>
          </a:xfrm>
          <a:prstGeom prst="rect">
            <a:avLst/>
          </a:prstGeom>
        </p:spPr>
      </p:pic>
      <p:pic>
        <p:nvPicPr>
          <p:cNvPr id="44" name="Clarity finance payroll">
            <a:extLst>
              <a:ext uri="{FF2B5EF4-FFF2-40B4-BE49-F238E27FC236}">
                <a16:creationId xmlns:a16="http://schemas.microsoft.com/office/drawing/2014/main" id="{AF9EB601-F0B2-8240-AF45-70346328D6F0}"/>
              </a:ext>
            </a:extLst>
          </p:cNvPr>
          <p:cNvPicPr>
            <a:picLocks noChangeAspect="1"/>
          </p:cNvPicPr>
          <p:nvPr>
            <p:custDataLst>
              <p:tags r:id="rId41"/>
            </p:custDataLst>
          </p:nvPr>
        </p:nvPicPr>
        <p:blipFill>
          <a:blip r:embed="rId142" cstate="print">
            <a:extLst>
              <a:ext uri="{28A0092B-C50C-407E-A947-70E740481C1C}">
                <a14:useLocalDpi xmlns:a14="http://schemas.microsoft.com/office/drawing/2010/main" val="0"/>
              </a:ext>
              <a:ext uri="{96DAC541-7B7A-43D3-8B79-37D633B846F1}">
                <asvg:svgBlip xmlns:asvg="http://schemas.microsoft.com/office/drawing/2016/SVG/main" r:embed="rId143"/>
              </a:ext>
            </a:extLst>
          </a:blip>
          <a:stretch>
            <a:fillRect/>
          </a:stretch>
        </p:blipFill>
        <p:spPr>
          <a:xfrm>
            <a:off x="406206" y="3747317"/>
            <a:ext cx="540000" cy="540000"/>
          </a:xfrm>
          <a:prstGeom prst="rect">
            <a:avLst/>
          </a:prstGeom>
        </p:spPr>
      </p:pic>
      <p:pic>
        <p:nvPicPr>
          <p:cNvPr id="45" name="Clarity file">
            <a:extLst>
              <a:ext uri="{FF2B5EF4-FFF2-40B4-BE49-F238E27FC236}">
                <a16:creationId xmlns:a16="http://schemas.microsoft.com/office/drawing/2014/main" id="{B7523717-31AB-754C-82AE-F0672BEC0D09}"/>
              </a:ext>
            </a:extLst>
          </p:cNvPr>
          <p:cNvPicPr>
            <a:picLocks noChangeAspect="1"/>
          </p:cNvPicPr>
          <p:nvPr>
            <p:custDataLst>
              <p:tags r:id="rId42"/>
            </p:custDataLst>
          </p:nvPr>
        </p:nvPicPr>
        <p:blipFill>
          <a:blip r:embed="rId144" cstate="print">
            <a:extLst>
              <a:ext uri="{28A0092B-C50C-407E-A947-70E740481C1C}">
                <a14:useLocalDpi xmlns:a14="http://schemas.microsoft.com/office/drawing/2010/main" val="0"/>
              </a:ext>
              <a:ext uri="{96DAC541-7B7A-43D3-8B79-37D633B846F1}">
                <asvg:svgBlip xmlns:asvg="http://schemas.microsoft.com/office/drawing/2016/SVG/main" r:embed="rId145"/>
              </a:ext>
            </a:extLst>
          </a:blip>
          <a:stretch>
            <a:fillRect/>
          </a:stretch>
        </p:blipFill>
        <p:spPr>
          <a:xfrm>
            <a:off x="1171959" y="3747317"/>
            <a:ext cx="540000" cy="540000"/>
          </a:xfrm>
          <a:prstGeom prst="rect">
            <a:avLst/>
          </a:prstGeom>
        </p:spPr>
      </p:pic>
      <p:pic>
        <p:nvPicPr>
          <p:cNvPr id="46" name="Clarity exceptions">
            <a:extLst>
              <a:ext uri="{FF2B5EF4-FFF2-40B4-BE49-F238E27FC236}">
                <a16:creationId xmlns:a16="http://schemas.microsoft.com/office/drawing/2014/main" id="{3FE7FC8D-6B1B-B946-80A1-468D304E57B0}"/>
              </a:ext>
            </a:extLst>
          </p:cNvPr>
          <p:cNvPicPr>
            <a:picLocks noChangeAspect="1"/>
          </p:cNvPicPr>
          <p:nvPr>
            <p:custDataLst>
              <p:tags r:id="rId43"/>
            </p:custDataLst>
          </p:nvPr>
        </p:nvPicPr>
        <p:blipFill>
          <a:blip r:embed="rId146" cstate="print">
            <a:extLst>
              <a:ext uri="{28A0092B-C50C-407E-A947-70E740481C1C}">
                <a14:useLocalDpi xmlns:a14="http://schemas.microsoft.com/office/drawing/2010/main" val="0"/>
              </a:ext>
              <a:ext uri="{96DAC541-7B7A-43D3-8B79-37D633B846F1}">
                <asvg:svgBlip xmlns:asvg="http://schemas.microsoft.com/office/drawing/2016/SVG/main" r:embed="rId147"/>
              </a:ext>
            </a:extLst>
          </a:blip>
          <a:stretch>
            <a:fillRect/>
          </a:stretch>
        </p:blipFill>
        <p:spPr>
          <a:xfrm>
            <a:off x="2703465" y="3747317"/>
            <a:ext cx="540000" cy="540000"/>
          </a:xfrm>
          <a:prstGeom prst="rect">
            <a:avLst/>
          </a:prstGeom>
        </p:spPr>
      </p:pic>
      <p:pic>
        <p:nvPicPr>
          <p:cNvPr id="47" name="Clarity doughnut">
            <a:extLst>
              <a:ext uri="{FF2B5EF4-FFF2-40B4-BE49-F238E27FC236}">
                <a16:creationId xmlns:a16="http://schemas.microsoft.com/office/drawing/2014/main" id="{56D58F96-61B6-8947-AEDF-B5B0E874E0DD}"/>
              </a:ext>
            </a:extLst>
          </p:cNvPr>
          <p:cNvPicPr>
            <a:picLocks noChangeAspect="1"/>
          </p:cNvPicPr>
          <p:nvPr>
            <p:custDataLst>
              <p:tags r:id="rId44"/>
            </p:custDataLst>
          </p:nvPr>
        </p:nvPicPr>
        <p:blipFill>
          <a:blip r:embed="rId148" cstate="print">
            <a:extLst>
              <a:ext uri="{28A0092B-C50C-407E-A947-70E740481C1C}">
                <a14:useLocalDpi xmlns:a14="http://schemas.microsoft.com/office/drawing/2010/main" val="0"/>
              </a:ext>
              <a:ext uri="{96DAC541-7B7A-43D3-8B79-37D633B846F1}">
                <asvg:svgBlip xmlns:asvg="http://schemas.microsoft.com/office/drawing/2016/SVG/main" r:embed="rId149"/>
              </a:ext>
            </a:extLst>
          </a:blip>
          <a:stretch>
            <a:fillRect/>
          </a:stretch>
        </p:blipFill>
        <p:spPr>
          <a:xfrm>
            <a:off x="4234971" y="3753802"/>
            <a:ext cx="540000" cy="540000"/>
          </a:xfrm>
          <a:prstGeom prst="rect">
            <a:avLst/>
          </a:prstGeom>
        </p:spPr>
      </p:pic>
      <p:pic>
        <p:nvPicPr>
          <p:cNvPr id="48" name="Clarity dollar">
            <a:extLst>
              <a:ext uri="{FF2B5EF4-FFF2-40B4-BE49-F238E27FC236}">
                <a16:creationId xmlns:a16="http://schemas.microsoft.com/office/drawing/2014/main" id="{00E5ECA6-B75D-B541-ADAE-4FAB25280C0C}"/>
              </a:ext>
            </a:extLst>
          </p:cNvPr>
          <p:cNvPicPr>
            <a:picLocks noChangeAspect="1"/>
          </p:cNvPicPr>
          <p:nvPr>
            <p:custDataLst>
              <p:tags r:id="rId45"/>
            </p:custDataLst>
          </p:nvPr>
        </p:nvPicPr>
        <p:blipFill>
          <a:blip r:embed="rId150" cstate="print">
            <a:extLst>
              <a:ext uri="{28A0092B-C50C-407E-A947-70E740481C1C}">
                <a14:useLocalDpi xmlns:a14="http://schemas.microsoft.com/office/drawing/2010/main" val="0"/>
              </a:ext>
              <a:ext uri="{96DAC541-7B7A-43D3-8B79-37D633B846F1}">
                <asvg:svgBlip xmlns:asvg="http://schemas.microsoft.com/office/drawing/2016/SVG/main" r:embed="rId151"/>
              </a:ext>
            </a:extLst>
          </a:blip>
          <a:stretch>
            <a:fillRect/>
          </a:stretch>
        </p:blipFill>
        <p:spPr>
          <a:xfrm>
            <a:off x="5000724" y="4399171"/>
            <a:ext cx="540000" cy="540000"/>
          </a:xfrm>
          <a:prstGeom prst="rect">
            <a:avLst/>
          </a:prstGeom>
        </p:spPr>
      </p:pic>
      <p:pic>
        <p:nvPicPr>
          <p:cNvPr id="49" name="Clarity documents folder">
            <a:extLst>
              <a:ext uri="{FF2B5EF4-FFF2-40B4-BE49-F238E27FC236}">
                <a16:creationId xmlns:a16="http://schemas.microsoft.com/office/drawing/2014/main" id="{631257B7-09B0-C84F-996D-1ACE58F57767}"/>
              </a:ext>
            </a:extLst>
          </p:cNvPr>
          <p:cNvPicPr>
            <a:picLocks noChangeAspect="1"/>
          </p:cNvPicPr>
          <p:nvPr>
            <p:custDataLst>
              <p:tags r:id="rId46"/>
            </p:custDataLst>
          </p:nvPr>
        </p:nvPicPr>
        <p:blipFill>
          <a:blip r:embed="rId152" cstate="print">
            <a:extLst>
              <a:ext uri="{28A0092B-C50C-407E-A947-70E740481C1C}">
                <a14:useLocalDpi xmlns:a14="http://schemas.microsoft.com/office/drawing/2010/main" val="0"/>
              </a:ext>
              <a:ext uri="{96DAC541-7B7A-43D3-8B79-37D633B846F1}">
                <asvg:svgBlip xmlns:asvg="http://schemas.microsoft.com/office/drawing/2016/SVG/main" r:embed="rId153"/>
              </a:ext>
            </a:extLst>
          </a:blip>
          <a:stretch>
            <a:fillRect/>
          </a:stretch>
        </p:blipFill>
        <p:spPr>
          <a:xfrm>
            <a:off x="5766477" y="4399171"/>
            <a:ext cx="540000" cy="540000"/>
          </a:xfrm>
          <a:prstGeom prst="rect">
            <a:avLst/>
          </a:prstGeom>
        </p:spPr>
      </p:pic>
      <p:pic>
        <p:nvPicPr>
          <p:cNvPr id="50" name="Clarity data warehouse">
            <a:extLst>
              <a:ext uri="{FF2B5EF4-FFF2-40B4-BE49-F238E27FC236}">
                <a16:creationId xmlns:a16="http://schemas.microsoft.com/office/drawing/2014/main" id="{6FB45ECE-0296-C546-98A2-BB25F586A8D7}"/>
              </a:ext>
            </a:extLst>
          </p:cNvPr>
          <p:cNvPicPr>
            <a:picLocks noChangeAspect="1"/>
          </p:cNvPicPr>
          <p:nvPr>
            <p:custDataLst>
              <p:tags r:id="rId47"/>
            </p:custDataLst>
          </p:nvPr>
        </p:nvPicPr>
        <p:blipFill>
          <a:blip r:embed="rId154" cstate="print">
            <a:extLst>
              <a:ext uri="{28A0092B-C50C-407E-A947-70E740481C1C}">
                <a14:useLocalDpi xmlns:a14="http://schemas.microsoft.com/office/drawing/2010/main" val="0"/>
              </a:ext>
              <a:ext uri="{96DAC541-7B7A-43D3-8B79-37D633B846F1}">
                <asvg:svgBlip xmlns:asvg="http://schemas.microsoft.com/office/drawing/2016/SVG/main" r:embed="rId155"/>
              </a:ext>
            </a:extLst>
          </a:blip>
          <a:stretch>
            <a:fillRect/>
          </a:stretch>
        </p:blipFill>
        <p:spPr>
          <a:xfrm>
            <a:off x="7297983" y="4399171"/>
            <a:ext cx="540000" cy="540000"/>
          </a:xfrm>
          <a:prstGeom prst="rect">
            <a:avLst/>
          </a:prstGeom>
        </p:spPr>
      </p:pic>
      <p:pic>
        <p:nvPicPr>
          <p:cNvPr id="51" name="Clarity data transformation">
            <a:extLst>
              <a:ext uri="{FF2B5EF4-FFF2-40B4-BE49-F238E27FC236}">
                <a16:creationId xmlns:a16="http://schemas.microsoft.com/office/drawing/2014/main" id="{5D04EFD4-0EFA-B24E-82AE-D9A7AFC9BA91}"/>
              </a:ext>
            </a:extLst>
          </p:cNvPr>
          <p:cNvPicPr>
            <a:picLocks noChangeAspect="1"/>
          </p:cNvPicPr>
          <p:nvPr>
            <p:custDataLst>
              <p:tags r:id="rId48"/>
            </p:custDataLst>
          </p:nvPr>
        </p:nvPicPr>
        <p:blipFill>
          <a:blip r:embed="rId156" cstate="print">
            <a:extLst>
              <a:ext uri="{28A0092B-C50C-407E-A947-70E740481C1C}">
                <a14:useLocalDpi xmlns:a14="http://schemas.microsoft.com/office/drawing/2010/main" val="0"/>
              </a:ext>
              <a:ext uri="{96DAC541-7B7A-43D3-8B79-37D633B846F1}">
                <asvg:svgBlip xmlns:asvg="http://schemas.microsoft.com/office/drawing/2016/SVG/main" r:embed="rId157"/>
              </a:ext>
            </a:extLst>
          </a:blip>
          <a:stretch>
            <a:fillRect/>
          </a:stretch>
        </p:blipFill>
        <p:spPr>
          <a:xfrm>
            <a:off x="8063736" y="4399171"/>
            <a:ext cx="540000" cy="540000"/>
          </a:xfrm>
          <a:prstGeom prst="rect">
            <a:avLst/>
          </a:prstGeom>
        </p:spPr>
      </p:pic>
      <p:pic>
        <p:nvPicPr>
          <p:cNvPr id="52" name="Clarity glasses">
            <a:extLst>
              <a:ext uri="{FF2B5EF4-FFF2-40B4-BE49-F238E27FC236}">
                <a16:creationId xmlns:a16="http://schemas.microsoft.com/office/drawing/2014/main" id="{59257DF9-0EA3-7E42-9F75-CFA971A42591}"/>
              </a:ext>
            </a:extLst>
          </p:cNvPr>
          <p:cNvPicPr>
            <a:picLocks noChangeAspect="1"/>
          </p:cNvPicPr>
          <p:nvPr>
            <p:custDataLst>
              <p:tags r:id="rId49"/>
            </p:custDataLst>
          </p:nvPr>
        </p:nvPicPr>
        <p:blipFill>
          <a:blip r:embed="rId158" cstate="print">
            <a:extLst>
              <a:ext uri="{28A0092B-C50C-407E-A947-70E740481C1C}">
                <a14:useLocalDpi xmlns:a14="http://schemas.microsoft.com/office/drawing/2010/main" val="0"/>
              </a:ext>
              <a:ext uri="{96DAC541-7B7A-43D3-8B79-37D633B846F1}">
                <asvg:svgBlip xmlns:asvg="http://schemas.microsoft.com/office/drawing/2016/SVG/main" r:embed="rId159"/>
              </a:ext>
            </a:extLst>
          </a:blip>
          <a:stretch>
            <a:fillRect/>
          </a:stretch>
        </p:blipFill>
        <p:spPr>
          <a:xfrm>
            <a:off x="406206" y="4399171"/>
            <a:ext cx="540000" cy="540000"/>
          </a:xfrm>
          <a:prstGeom prst="rect">
            <a:avLst/>
          </a:prstGeom>
        </p:spPr>
      </p:pic>
      <p:pic>
        <p:nvPicPr>
          <p:cNvPr id="53" name="Clarity glassdoor">
            <a:extLst>
              <a:ext uri="{FF2B5EF4-FFF2-40B4-BE49-F238E27FC236}">
                <a16:creationId xmlns:a16="http://schemas.microsoft.com/office/drawing/2014/main" id="{16AD33D8-D296-474F-9E67-D9CED205FBD0}"/>
              </a:ext>
            </a:extLst>
          </p:cNvPr>
          <p:cNvPicPr>
            <a:picLocks noChangeAspect="1"/>
          </p:cNvPicPr>
          <p:nvPr>
            <p:custDataLst>
              <p:tags r:id="rId50"/>
            </p:custDataLst>
          </p:nvPr>
        </p:nvPicPr>
        <p:blipFill>
          <a:blip r:embed="rId160" cstate="print">
            <a:extLst>
              <a:ext uri="{28A0092B-C50C-407E-A947-70E740481C1C}">
                <a14:useLocalDpi xmlns:a14="http://schemas.microsoft.com/office/drawing/2010/main" val="0"/>
              </a:ext>
              <a:ext uri="{96DAC541-7B7A-43D3-8B79-37D633B846F1}">
                <asvg:svgBlip xmlns:asvg="http://schemas.microsoft.com/office/drawing/2016/SVG/main" r:embed="rId161"/>
              </a:ext>
            </a:extLst>
          </a:blip>
          <a:stretch>
            <a:fillRect/>
          </a:stretch>
        </p:blipFill>
        <p:spPr>
          <a:xfrm>
            <a:off x="1937712" y="4399171"/>
            <a:ext cx="540000" cy="540000"/>
          </a:xfrm>
          <a:prstGeom prst="rect">
            <a:avLst/>
          </a:prstGeom>
        </p:spPr>
      </p:pic>
      <p:pic>
        <p:nvPicPr>
          <p:cNvPr id="54" name="Clarity funnel">
            <a:extLst>
              <a:ext uri="{FF2B5EF4-FFF2-40B4-BE49-F238E27FC236}">
                <a16:creationId xmlns:a16="http://schemas.microsoft.com/office/drawing/2014/main" id="{5825C548-72FF-294F-8D37-3CA3CA16322A}"/>
              </a:ext>
            </a:extLst>
          </p:cNvPr>
          <p:cNvPicPr>
            <a:picLocks noChangeAspect="1"/>
          </p:cNvPicPr>
          <p:nvPr>
            <p:custDataLst>
              <p:tags r:id="rId51"/>
            </p:custDataLst>
          </p:nvPr>
        </p:nvPicPr>
        <p:blipFill>
          <a:blip r:embed="rId162" cstate="print">
            <a:extLst>
              <a:ext uri="{28A0092B-C50C-407E-A947-70E740481C1C}">
                <a14:useLocalDpi xmlns:a14="http://schemas.microsoft.com/office/drawing/2010/main" val="0"/>
              </a:ext>
              <a:ext uri="{96DAC541-7B7A-43D3-8B79-37D633B846F1}">
                <asvg:svgBlip xmlns:asvg="http://schemas.microsoft.com/office/drawing/2016/SVG/main" r:embed="rId163"/>
              </a:ext>
            </a:extLst>
          </a:blip>
          <a:stretch>
            <a:fillRect/>
          </a:stretch>
        </p:blipFill>
        <p:spPr>
          <a:xfrm>
            <a:off x="2703465" y="4399171"/>
            <a:ext cx="540000" cy="540000"/>
          </a:xfrm>
          <a:prstGeom prst="rect">
            <a:avLst/>
          </a:prstGeom>
        </p:spPr>
      </p:pic>
      <p:pic>
        <p:nvPicPr>
          <p:cNvPr id="55" name="Clarity founded in 2008">
            <a:extLst>
              <a:ext uri="{FF2B5EF4-FFF2-40B4-BE49-F238E27FC236}">
                <a16:creationId xmlns:a16="http://schemas.microsoft.com/office/drawing/2014/main" id="{6B9B0CB8-8C6F-644F-8D87-038B7D09FAE7}"/>
              </a:ext>
            </a:extLst>
          </p:cNvPr>
          <p:cNvPicPr>
            <a:picLocks noChangeAspect="1"/>
          </p:cNvPicPr>
          <p:nvPr>
            <p:custDataLst>
              <p:tags r:id="rId52"/>
            </p:custDataLst>
          </p:nvPr>
        </p:nvPicPr>
        <p:blipFill>
          <a:blip r:embed="rId164" cstate="print">
            <a:extLst>
              <a:ext uri="{28A0092B-C50C-407E-A947-70E740481C1C}">
                <a14:useLocalDpi xmlns:a14="http://schemas.microsoft.com/office/drawing/2010/main" val="0"/>
              </a:ext>
              <a:ext uri="{96DAC541-7B7A-43D3-8B79-37D633B846F1}">
                <asvg:svgBlip xmlns:asvg="http://schemas.microsoft.com/office/drawing/2016/SVG/main" r:embed="rId165"/>
              </a:ext>
            </a:extLst>
          </a:blip>
          <a:stretch>
            <a:fillRect/>
          </a:stretch>
        </p:blipFill>
        <p:spPr>
          <a:xfrm>
            <a:off x="1171959" y="4399171"/>
            <a:ext cx="540000" cy="540000"/>
          </a:xfrm>
          <a:prstGeom prst="rect">
            <a:avLst/>
          </a:prstGeom>
        </p:spPr>
      </p:pic>
      <p:pic>
        <p:nvPicPr>
          <p:cNvPr id="56" name="Clarity forensics">
            <a:extLst>
              <a:ext uri="{FF2B5EF4-FFF2-40B4-BE49-F238E27FC236}">
                <a16:creationId xmlns:a16="http://schemas.microsoft.com/office/drawing/2014/main" id="{7CB04699-F87F-DC44-80EC-E80257FE9678}"/>
              </a:ext>
            </a:extLst>
          </p:cNvPr>
          <p:cNvPicPr>
            <a:picLocks noChangeAspect="1"/>
          </p:cNvPicPr>
          <p:nvPr>
            <p:custDataLst>
              <p:tags r:id="rId53"/>
            </p:custDataLst>
          </p:nvPr>
        </p:nvPicPr>
        <p:blipFill>
          <a:blip r:embed="rId166" cstate="print">
            <a:extLst>
              <a:ext uri="{28A0092B-C50C-407E-A947-70E740481C1C}">
                <a14:useLocalDpi xmlns:a14="http://schemas.microsoft.com/office/drawing/2010/main" val="0"/>
              </a:ext>
              <a:ext uri="{96DAC541-7B7A-43D3-8B79-37D633B846F1}">
                <asvg:svgBlip xmlns:asvg="http://schemas.microsoft.com/office/drawing/2016/SVG/main" r:embed="rId167"/>
              </a:ext>
            </a:extLst>
          </a:blip>
          <a:stretch>
            <a:fillRect/>
          </a:stretch>
        </p:blipFill>
        <p:spPr>
          <a:xfrm>
            <a:off x="1937712" y="3747317"/>
            <a:ext cx="540000" cy="540000"/>
          </a:xfrm>
          <a:prstGeom prst="rect">
            <a:avLst/>
          </a:prstGeom>
        </p:spPr>
      </p:pic>
      <p:pic>
        <p:nvPicPr>
          <p:cNvPr id="57" name="Clarity fine tune visualisation environment">
            <a:extLst>
              <a:ext uri="{FF2B5EF4-FFF2-40B4-BE49-F238E27FC236}">
                <a16:creationId xmlns:a16="http://schemas.microsoft.com/office/drawing/2014/main" id="{0321BE1C-BB07-0842-ADC8-8BE3464AA631}"/>
              </a:ext>
            </a:extLst>
          </p:cNvPr>
          <p:cNvPicPr>
            <a:picLocks noChangeAspect="1"/>
          </p:cNvPicPr>
          <p:nvPr>
            <p:custDataLst>
              <p:tags r:id="rId54"/>
            </p:custDataLst>
          </p:nvPr>
        </p:nvPicPr>
        <p:blipFill>
          <a:blip r:embed="rId168" cstate="print">
            <a:extLst>
              <a:ext uri="{28A0092B-C50C-407E-A947-70E740481C1C}">
                <a14:useLocalDpi xmlns:a14="http://schemas.microsoft.com/office/drawing/2010/main" val="0"/>
              </a:ext>
              <a:ext uri="{96DAC541-7B7A-43D3-8B79-37D633B846F1}">
                <asvg:svgBlip xmlns:asvg="http://schemas.microsoft.com/office/drawing/2016/SVG/main" r:embed="rId169"/>
              </a:ext>
            </a:extLst>
          </a:blip>
          <a:stretch>
            <a:fillRect/>
          </a:stretch>
        </p:blipFill>
        <p:spPr>
          <a:xfrm>
            <a:off x="4234971" y="4399171"/>
            <a:ext cx="540000" cy="540000"/>
          </a:xfrm>
          <a:prstGeom prst="rect">
            <a:avLst/>
          </a:prstGeom>
        </p:spPr>
      </p:pic>
      <p:pic>
        <p:nvPicPr>
          <p:cNvPr id="58" name="Clarity financial reporting">
            <a:extLst>
              <a:ext uri="{FF2B5EF4-FFF2-40B4-BE49-F238E27FC236}">
                <a16:creationId xmlns:a16="http://schemas.microsoft.com/office/drawing/2014/main" id="{A8A617E0-5659-E245-A5A0-E1DE000FC151}"/>
              </a:ext>
            </a:extLst>
          </p:cNvPr>
          <p:cNvPicPr>
            <a:picLocks noChangeAspect="1"/>
          </p:cNvPicPr>
          <p:nvPr>
            <p:custDataLst>
              <p:tags r:id="rId55"/>
            </p:custDataLst>
          </p:nvPr>
        </p:nvPicPr>
        <p:blipFill>
          <a:blip r:embed="rId170" cstate="print">
            <a:extLst>
              <a:ext uri="{28A0092B-C50C-407E-A947-70E740481C1C}">
                <a14:useLocalDpi xmlns:a14="http://schemas.microsoft.com/office/drawing/2010/main" val="0"/>
              </a:ext>
              <a:ext uri="{96DAC541-7B7A-43D3-8B79-37D633B846F1}">
                <asvg:svgBlip xmlns:asvg="http://schemas.microsoft.com/office/drawing/2016/SVG/main" r:embed="rId171"/>
              </a:ext>
            </a:extLst>
          </a:blip>
          <a:stretch>
            <a:fillRect/>
          </a:stretch>
        </p:blipFill>
        <p:spPr>
          <a:xfrm>
            <a:off x="3469218" y="3747317"/>
            <a:ext cx="540000" cy="540000"/>
          </a:xfrm>
          <a:prstGeom prst="rect">
            <a:avLst/>
          </a:prstGeom>
        </p:spPr>
      </p:pic>
      <p:pic>
        <p:nvPicPr>
          <p:cNvPr id="59" name="Clarity financial One of the worlds largest pubic companies">
            <a:extLst>
              <a:ext uri="{FF2B5EF4-FFF2-40B4-BE49-F238E27FC236}">
                <a16:creationId xmlns:a16="http://schemas.microsoft.com/office/drawing/2014/main" id="{8A275B60-B543-2943-AD5A-00B61AE4118A}"/>
              </a:ext>
            </a:extLst>
          </p:cNvPr>
          <p:cNvPicPr>
            <a:picLocks noChangeAspect="1"/>
          </p:cNvPicPr>
          <p:nvPr>
            <p:custDataLst>
              <p:tags r:id="rId56"/>
            </p:custDataLst>
          </p:nvPr>
        </p:nvPicPr>
        <p:blipFill>
          <a:blip r:embed="rId172" cstate="print">
            <a:extLst>
              <a:ext uri="{28A0092B-C50C-407E-A947-70E740481C1C}">
                <a14:useLocalDpi xmlns:a14="http://schemas.microsoft.com/office/drawing/2010/main" val="0"/>
              </a:ext>
              <a:ext uri="{96DAC541-7B7A-43D3-8B79-37D633B846F1}">
                <asvg:svgBlip xmlns:asvg="http://schemas.microsoft.com/office/drawing/2016/SVG/main" r:embed="rId173"/>
              </a:ext>
            </a:extLst>
          </a:blip>
          <a:stretch>
            <a:fillRect/>
          </a:stretch>
        </p:blipFill>
        <p:spPr>
          <a:xfrm>
            <a:off x="6532230" y="4399171"/>
            <a:ext cx="540000" cy="540000"/>
          </a:xfrm>
          <a:prstGeom prst="rect">
            <a:avLst/>
          </a:prstGeom>
        </p:spPr>
      </p:pic>
      <p:pic>
        <p:nvPicPr>
          <p:cNvPr id="60" name="Clarity financial major credit card information company">
            <a:extLst>
              <a:ext uri="{FF2B5EF4-FFF2-40B4-BE49-F238E27FC236}">
                <a16:creationId xmlns:a16="http://schemas.microsoft.com/office/drawing/2014/main" id="{00F5B6AD-BE2A-B241-8891-C51931EB0AE1}"/>
              </a:ext>
            </a:extLst>
          </p:cNvPr>
          <p:cNvPicPr>
            <a:picLocks noChangeAspect="1"/>
          </p:cNvPicPr>
          <p:nvPr>
            <p:custDataLst>
              <p:tags r:id="rId57"/>
            </p:custDataLst>
          </p:nvPr>
        </p:nvPicPr>
        <p:blipFill>
          <a:blip r:embed="rId174" cstate="print">
            <a:extLst>
              <a:ext uri="{28A0092B-C50C-407E-A947-70E740481C1C}">
                <a14:useLocalDpi xmlns:a14="http://schemas.microsoft.com/office/drawing/2010/main" val="0"/>
              </a:ext>
              <a:ext uri="{96DAC541-7B7A-43D3-8B79-37D633B846F1}">
                <asvg:svgBlip xmlns:asvg="http://schemas.microsoft.com/office/drawing/2016/SVG/main" r:embed="rId175"/>
              </a:ext>
            </a:extLst>
          </a:blip>
          <a:stretch>
            <a:fillRect/>
          </a:stretch>
        </p:blipFill>
        <p:spPr>
          <a:xfrm>
            <a:off x="7297983" y="3747317"/>
            <a:ext cx="540000" cy="540000"/>
          </a:xfrm>
          <a:prstGeom prst="rect">
            <a:avLst/>
          </a:prstGeom>
        </p:spPr>
      </p:pic>
      <p:pic>
        <p:nvPicPr>
          <p:cNvPr id="61" name="Clarity financial banking">
            <a:extLst>
              <a:ext uri="{FF2B5EF4-FFF2-40B4-BE49-F238E27FC236}">
                <a16:creationId xmlns:a16="http://schemas.microsoft.com/office/drawing/2014/main" id="{5090597A-14C9-E341-A807-C8DD1A5CBBC5}"/>
              </a:ext>
            </a:extLst>
          </p:cNvPr>
          <p:cNvPicPr>
            <a:picLocks noChangeAspect="1"/>
          </p:cNvPicPr>
          <p:nvPr>
            <p:custDataLst>
              <p:tags r:id="rId58"/>
            </p:custDataLst>
          </p:nvPr>
        </p:nvPicPr>
        <p:blipFill>
          <a:blip r:embed="rId176" cstate="print">
            <a:extLst>
              <a:ext uri="{28A0092B-C50C-407E-A947-70E740481C1C}">
                <a14:useLocalDpi xmlns:a14="http://schemas.microsoft.com/office/drawing/2010/main" val="0"/>
              </a:ext>
              <a:ext uri="{96DAC541-7B7A-43D3-8B79-37D633B846F1}">
                <asvg:svgBlip xmlns:asvg="http://schemas.microsoft.com/office/drawing/2016/SVG/main" r:embed="rId177"/>
              </a:ext>
            </a:extLst>
          </a:blip>
          <a:stretch>
            <a:fillRect/>
          </a:stretch>
        </p:blipFill>
        <p:spPr>
          <a:xfrm>
            <a:off x="8063736" y="3747317"/>
            <a:ext cx="540000" cy="540000"/>
          </a:xfrm>
          <a:prstGeom prst="rect">
            <a:avLst/>
          </a:prstGeom>
        </p:spPr>
      </p:pic>
      <p:pic>
        <p:nvPicPr>
          <p:cNvPr id="62" name="Clarity financial automotive">
            <a:extLst>
              <a:ext uri="{FF2B5EF4-FFF2-40B4-BE49-F238E27FC236}">
                <a16:creationId xmlns:a16="http://schemas.microsoft.com/office/drawing/2014/main" id="{2D5AFCD0-605B-E24F-A292-40D88A2559B4}"/>
              </a:ext>
            </a:extLst>
          </p:cNvPr>
          <p:cNvPicPr>
            <a:picLocks noChangeAspect="1"/>
          </p:cNvPicPr>
          <p:nvPr>
            <p:custDataLst>
              <p:tags r:id="rId59"/>
            </p:custDataLst>
          </p:nvPr>
        </p:nvPicPr>
        <p:blipFill>
          <a:blip r:embed="rId178" cstate="print">
            <a:extLst>
              <a:ext uri="{28A0092B-C50C-407E-A947-70E740481C1C}">
                <a14:useLocalDpi xmlns:a14="http://schemas.microsoft.com/office/drawing/2010/main" val="0"/>
              </a:ext>
              <a:ext uri="{96DAC541-7B7A-43D3-8B79-37D633B846F1}">
                <asvg:svgBlip xmlns:asvg="http://schemas.microsoft.com/office/drawing/2016/SVG/main" r:embed="rId179"/>
              </a:ext>
            </a:extLst>
          </a:blip>
          <a:stretch>
            <a:fillRect/>
          </a:stretch>
        </p:blipFill>
        <p:spPr>
          <a:xfrm>
            <a:off x="4234971" y="2462107"/>
            <a:ext cx="540000" cy="540000"/>
          </a:xfrm>
          <a:prstGeom prst="rect">
            <a:avLst/>
          </a:prstGeom>
        </p:spPr>
      </p:pic>
      <p:pic>
        <p:nvPicPr>
          <p:cNvPr id="63" name="Clarity retail tools One of the most successful hardware and small tool retail brands">
            <a:extLst>
              <a:ext uri="{FF2B5EF4-FFF2-40B4-BE49-F238E27FC236}">
                <a16:creationId xmlns:a16="http://schemas.microsoft.com/office/drawing/2014/main" id="{FB8722AE-4A5C-0745-BE52-058B6D4C57C5}"/>
              </a:ext>
            </a:extLst>
          </p:cNvPr>
          <p:cNvPicPr>
            <a:picLocks noChangeAspect="1"/>
          </p:cNvPicPr>
          <p:nvPr>
            <p:custDataLst>
              <p:tags r:id="rId60"/>
            </p:custDataLst>
          </p:nvPr>
        </p:nvPicPr>
        <p:blipFill>
          <a:blip r:embed="rId180" cstate="print">
            <a:extLst>
              <a:ext uri="{28A0092B-C50C-407E-A947-70E740481C1C}">
                <a14:useLocalDpi xmlns:a14="http://schemas.microsoft.com/office/drawing/2010/main" val="0"/>
              </a:ext>
              <a:ext uri="{96DAC541-7B7A-43D3-8B79-37D633B846F1}">
                <asvg:svgBlip xmlns:asvg="http://schemas.microsoft.com/office/drawing/2016/SVG/main" r:embed="rId181"/>
              </a:ext>
            </a:extLst>
          </a:blip>
          <a:stretch>
            <a:fillRect/>
          </a:stretch>
        </p:blipFill>
        <p:spPr>
          <a:xfrm>
            <a:off x="8829487" y="3747317"/>
            <a:ext cx="540000" cy="540000"/>
          </a:xfrm>
          <a:prstGeom prst="rect">
            <a:avLst/>
          </a:prstGeom>
        </p:spPr>
      </p:pic>
      <p:pic>
        <p:nvPicPr>
          <p:cNvPr id="64" name="Graphic 63" descr="Construction worker male outline">
            <a:extLst>
              <a:ext uri="{FF2B5EF4-FFF2-40B4-BE49-F238E27FC236}">
                <a16:creationId xmlns:a16="http://schemas.microsoft.com/office/drawing/2014/main" id="{F37B685D-81D9-4D46-A350-D0266BE0A679}"/>
              </a:ext>
            </a:extLst>
          </p:cNvPr>
          <p:cNvPicPr>
            <a:picLocks noChangeAspect="1"/>
          </p:cNvPicPr>
          <p:nvPr/>
        </p:nvPicPr>
        <p:blipFill>
          <a:blip r:embed="rId182">
            <a:extLst>
              <a:ext uri="{28A0092B-C50C-407E-A947-70E740481C1C}">
                <a14:useLocalDpi xmlns:a14="http://schemas.microsoft.com/office/drawing/2010/main" val="0"/>
              </a:ext>
              <a:ext uri="{96DAC541-7B7A-43D3-8B79-37D633B846F1}">
                <asvg:svgBlip xmlns:asvg="http://schemas.microsoft.com/office/drawing/2016/SVG/main" r:embed="rId183"/>
              </a:ext>
            </a:extLst>
          </a:blip>
          <a:stretch>
            <a:fillRect/>
          </a:stretch>
        </p:blipFill>
        <p:spPr>
          <a:xfrm>
            <a:off x="8734041" y="4338089"/>
            <a:ext cx="662163" cy="662163"/>
          </a:xfrm>
          <a:prstGeom prst="rect">
            <a:avLst/>
          </a:prstGeom>
        </p:spPr>
      </p:pic>
      <p:grpSp>
        <p:nvGrpSpPr>
          <p:cNvPr id="65" name="Group 64">
            <a:extLst>
              <a:ext uri="{FF2B5EF4-FFF2-40B4-BE49-F238E27FC236}">
                <a16:creationId xmlns:a16="http://schemas.microsoft.com/office/drawing/2014/main" id="{08476DD0-A6CD-1C49-A977-C97EB69B1DAD}"/>
              </a:ext>
            </a:extLst>
          </p:cNvPr>
          <p:cNvGrpSpPr/>
          <p:nvPr/>
        </p:nvGrpSpPr>
        <p:grpSpPr>
          <a:xfrm>
            <a:off x="2934541" y="5457643"/>
            <a:ext cx="585134" cy="585134"/>
            <a:chOff x="3635679" y="3500480"/>
            <a:chExt cx="1511177" cy="1511177"/>
          </a:xfrm>
          <a:solidFill>
            <a:schemeClr val="accent1"/>
          </a:solidFill>
        </p:grpSpPr>
        <p:sp>
          <p:nvSpPr>
            <p:cNvPr id="66" name="Graphic 4">
              <a:extLst>
                <a:ext uri="{FF2B5EF4-FFF2-40B4-BE49-F238E27FC236}">
                  <a16:creationId xmlns:a16="http://schemas.microsoft.com/office/drawing/2014/main" id="{293BD86A-85DB-294E-A89A-FB32B382B413}"/>
                </a:ext>
              </a:extLst>
            </p:cNvPr>
            <p:cNvSpPr/>
            <p:nvPr/>
          </p:nvSpPr>
          <p:spPr>
            <a:xfrm>
              <a:off x="3635679" y="4356814"/>
              <a:ext cx="402980" cy="654843"/>
            </a:xfrm>
            <a:custGeom>
              <a:avLst/>
              <a:gdLst>
                <a:gd name="connsiteX0" fmla="*/ 310446 w 402980"/>
                <a:gd name="connsiteY0" fmla="*/ 255565 h 654843"/>
                <a:gd name="connsiteX1" fmla="*/ 352608 w 402980"/>
                <a:gd name="connsiteY1" fmla="*/ 151118 h 654843"/>
                <a:gd name="connsiteX2" fmla="*/ 201490 w 402980"/>
                <a:gd name="connsiteY2" fmla="*/ 0 h 654843"/>
                <a:gd name="connsiteX3" fmla="*/ 50373 w 402980"/>
                <a:gd name="connsiteY3" fmla="*/ 151118 h 654843"/>
                <a:gd name="connsiteX4" fmla="*/ 91074 w 402980"/>
                <a:gd name="connsiteY4" fmla="*/ 253979 h 654843"/>
                <a:gd name="connsiteX5" fmla="*/ 32793 w 402980"/>
                <a:gd name="connsiteY5" fmla="*/ 284731 h 654843"/>
                <a:gd name="connsiteX6" fmla="*/ 0 w 402980"/>
                <a:gd name="connsiteY6" fmla="*/ 363111 h 654843"/>
                <a:gd name="connsiteX7" fmla="*/ 0 w 402980"/>
                <a:gd name="connsiteY7" fmla="*/ 629658 h 654843"/>
                <a:gd name="connsiteX8" fmla="*/ 25186 w 402980"/>
                <a:gd name="connsiteY8" fmla="*/ 654844 h 654843"/>
                <a:gd name="connsiteX9" fmla="*/ 377794 w 402980"/>
                <a:gd name="connsiteY9" fmla="*/ 654844 h 654843"/>
                <a:gd name="connsiteX10" fmla="*/ 402981 w 402980"/>
                <a:gd name="connsiteY10" fmla="*/ 629658 h 654843"/>
                <a:gd name="connsiteX11" fmla="*/ 402981 w 402980"/>
                <a:gd name="connsiteY11" fmla="*/ 376712 h 654843"/>
                <a:gd name="connsiteX12" fmla="*/ 310446 w 402980"/>
                <a:gd name="connsiteY12" fmla="*/ 255565 h 654843"/>
                <a:gd name="connsiteX13" fmla="*/ 201490 w 402980"/>
                <a:gd name="connsiteY13" fmla="*/ 50373 h 654843"/>
                <a:gd name="connsiteX14" fmla="*/ 298307 w 402980"/>
                <a:gd name="connsiteY14" fmla="*/ 124798 h 654843"/>
                <a:gd name="connsiteX15" fmla="*/ 220355 w 402980"/>
                <a:gd name="connsiteY15" fmla="*/ 83795 h 654843"/>
                <a:gd name="connsiteX16" fmla="*/ 183104 w 402980"/>
                <a:gd name="connsiteY16" fmla="*/ 83795 h 654843"/>
                <a:gd name="connsiteX17" fmla="*/ 104649 w 402980"/>
                <a:gd name="connsiteY17" fmla="*/ 124874 h 654843"/>
                <a:gd name="connsiteX18" fmla="*/ 201490 w 402980"/>
                <a:gd name="connsiteY18" fmla="*/ 50373 h 654843"/>
                <a:gd name="connsiteX19" fmla="*/ 201742 w 402980"/>
                <a:gd name="connsiteY19" fmla="*/ 135452 h 654843"/>
                <a:gd name="connsiteX20" fmla="*/ 299087 w 402980"/>
                <a:gd name="connsiteY20" fmla="*/ 174969 h 654843"/>
                <a:gd name="connsiteX21" fmla="*/ 201490 w 402980"/>
                <a:gd name="connsiteY21" fmla="*/ 251863 h 654843"/>
                <a:gd name="connsiteX22" fmla="*/ 103919 w 402980"/>
                <a:gd name="connsiteY22" fmla="*/ 175020 h 654843"/>
                <a:gd name="connsiteX23" fmla="*/ 201742 w 402980"/>
                <a:gd name="connsiteY23" fmla="*/ 135452 h 654843"/>
                <a:gd name="connsiteX24" fmla="*/ 225367 w 402980"/>
                <a:gd name="connsiteY24" fmla="*/ 422475 h 654843"/>
                <a:gd name="connsiteX25" fmla="*/ 201490 w 402980"/>
                <a:gd name="connsiteY25" fmla="*/ 458315 h 654843"/>
                <a:gd name="connsiteX26" fmla="*/ 177614 w 402980"/>
                <a:gd name="connsiteY26" fmla="*/ 422475 h 654843"/>
                <a:gd name="connsiteX27" fmla="*/ 197536 w 402980"/>
                <a:gd name="connsiteY27" fmla="*/ 302890 h 654843"/>
                <a:gd name="connsiteX28" fmla="*/ 205470 w 402980"/>
                <a:gd name="connsiteY28" fmla="*/ 302966 h 654843"/>
                <a:gd name="connsiteX29" fmla="*/ 225367 w 402980"/>
                <a:gd name="connsiteY29" fmla="*/ 422475 h 654843"/>
                <a:gd name="connsiteX30" fmla="*/ 352608 w 402980"/>
                <a:gd name="connsiteY30" fmla="*/ 604471 h 654843"/>
                <a:gd name="connsiteX31" fmla="*/ 50373 w 402980"/>
                <a:gd name="connsiteY31" fmla="*/ 604471 h 654843"/>
                <a:gd name="connsiteX32" fmla="*/ 50373 w 402980"/>
                <a:gd name="connsiteY32" fmla="*/ 363111 h 654843"/>
                <a:gd name="connsiteX33" fmla="*/ 68280 w 402980"/>
                <a:gd name="connsiteY33" fmla="*/ 320496 h 654843"/>
                <a:gd name="connsiteX34" fmla="*/ 112910 w 402980"/>
                <a:gd name="connsiteY34" fmla="*/ 302236 h 654843"/>
                <a:gd name="connsiteX35" fmla="*/ 113439 w 402980"/>
                <a:gd name="connsiteY35" fmla="*/ 302236 h 654843"/>
                <a:gd name="connsiteX36" fmla="*/ 146509 w 402980"/>
                <a:gd name="connsiteY36" fmla="*/ 302487 h 654843"/>
                <a:gd name="connsiteX37" fmla="*/ 126259 w 402980"/>
                <a:gd name="connsiteY37" fmla="*/ 424011 h 654843"/>
                <a:gd name="connsiteX38" fmla="*/ 130138 w 402980"/>
                <a:gd name="connsiteY38" fmla="*/ 442120 h 654843"/>
                <a:gd name="connsiteX39" fmla="*/ 180510 w 402980"/>
                <a:gd name="connsiteY39" fmla="*/ 517679 h 654843"/>
                <a:gd name="connsiteX40" fmla="*/ 201490 w 402980"/>
                <a:gd name="connsiteY40" fmla="*/ 528912 h 654843"/>
                <a:gd name="connsiteX41" fmla="*/ 222445 w 402980"/>
                <a:gd name="connsiteY41" fmla="*/ 517704 h 654843"/>
                <a:gd name="connsiteX42" fmla="*/ 272818 w 402980"/>
                <a:gd name="connsiteY42" fmla="*/ 442146 h 654843"/>
                <a:gd name="connsiteX43" fmla="*/ 276697 w 402980"/>
                <a:gd name="connsiteY43" fmla="*/ 424037 h 654843"/>
                <a:gd name="connsiteX44" fmla="*/ 256598 w 402980"/>
                <a:gd name="connsiteY44" fmla="*/ 303369 h 654843"/>
                <a:gd name="connsiteX45" fmla="*/ 288988 w 402980"/>
                <a:gd name="connsiteY45" fmla="*/ 303621 h 654843"/>
                <a:gd name="connsiteX46" fmla="*/ 352608 w 402980"/>
                <a:gd name="connsiteY46" fmla="*/ 377366 h 654843"/>
                <a:gd name="connsiteX47" fmla="*/ 352608 w 402980"/>
                <a:gd name="connsiteY47" fmla="*/ 604471 h 654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02980" h="654843">
                  <a:moveTo>
                    <a:pt x="310446" y="255565"/>
                  </a:moveTo>
                  <a:cubicBezTo>
                    <a:pt x="336489" y="228415"/>
                    <a:pt x="352608" y="191643"/>
                    <a:pt x="352608" y="151118"/>
                  </a:cubicBezTo>
                  <a:cubicBezTo>
                    <a:pt x="352608" y="67776"/>
                    <a:pt x="284832" y="0"/>
                    <a:pt x="201490" y="0"/>
                  </a:cubicBezTo>
                  <a:cubicBezTo>
                    <a:pt x="118149" y="0"/>
                    <a:pt x="50373" y="67776"/>
                    <a:pt x="50373" y="151118"/>
                  </a:cubicBezTo>
                  <a:cubicBezTo>
                    <a:pt x="50373" y="190862"/>
                    <a:pt x="65913" y="226954"/>
                    <a:pt x="91074" y="253979"/>
                  </a:cubicBezTo>
                  <a:cubicBezTo>
                    <a:pt x="69111" y="258185"/>
                    <a:pt x="48937" y="268713"/>
                    <a:pt x="32793" y="284731"/>
                  </a:cubicBezTo>
                  <a:cubicBezTo>
                    <a:pt x="11661" y="305711"/>
                    <a:pt x="0" y="333542"/>
                    <a:pt x="0" y="363111"/>
                  </a:cubicBezTo>
                  <a:lnTo>
                    <a:pt x="0" y="629658"/>
                  </a:lnTo>
                  <a:cubicBezTo>
                    <a:pt x="0" y="643586"/>
                    <a:pt x="11258" y="654844"/>
                    <a:pt x="25186" y="654844"/>
                  </a:cubicBezTo>
                  <a:lnTo>
                    <a:pt x="377794" y="654844"/>
                  </a:lnTo>
                  <a:cubicBezTo>
                    <a:pt x="391722" y="654844"/>
                    <a:pt x="402981" y="643586"/>
                    <a:pt x="402981" y="629658"/>
                  </a:cubicBezTo>
                  <a:lnTo>
                    <a:pt x="402981" y="376712"/>
                  </a:lnTo>
                  <a:cubicBezTo>
                    <a:pt x="401318" y="313771"/>
                    <a:pt x="363539" y="266018"/>
                    <a:pt x="310446" y="255565"/>
                  </a:cubicBezTo>
                  <a:close/>
                  <a:moveTo>
                    <a:pt x="201490" y="50373"/>
                  </a:moveTo>
                  <a:cubicBezTo>
                    <a:pt x="247884" y="50373"/>
                    <a:pt x="286645" y="82057"/>
                    <a:pt x="298307" y="124798"/>
                  </a:cubicBezTo>
                  <a:cubicBezTo>
                    <a:pt x="268864" y="120945"/>
                    <a:pt x="241058" y="106563"/>
                    <a:pt x="220355" y="83795"/>
                  </a:cubicBezTo>
                  <a:cubicBezTo>
                    <a:pt x="210809" y="73317"/>
                    <a:pt x="192650" y="73317"/>
                    <a:pt x="183104" y="83795"/>
                  </a:cubicBezTo>
                  <a:cubicBezTo>
                    <a:pt x="162275" y="106689"/>
                    <a:pt x="134293" y="121121"/>
                    <a:pt x="104649" y="124874"/>
                  </a:cubicBezTo>
                  <a:cubicBezTo>
                    <a:pt x="116285" y="82082"/>
                    <a:pt x="155072" y="50373"/>
                    <a:pt x="201490" y="50373"/>
                  </a:cubicBezTo>
                  <a:close/>
                  <a:moveTo>
                    <a:pt x="201742" y="135452"/>
                  </a:moveTo>
                  <a:cubicBezTo>
                    <a:pt x="229548" y="158397"/>
                    <a:pt x="263600" y="171846"/>
                    <a:pt x="299087" y="174969"/>
                  </a:cubicBezTo>
                  <a:cubicBezTo>
                    <a:pt x="288308" y="218995"/>
                    <a:pt x="248790" y="251863"/>
                    <a:pt x="201490" y="251863"/>
                  </a:cubicBezTo>
                  <a:cubicBezTo>
                    <a:pt x="154191" y="251863"/>
                    <a:pt x="114724" y="219020"/>
                    <a:pt x="103919" y="175020"/>
                  </a:cubicBezTo>
                  <a:cubicBezTo>
                    <a:pt x="139557" y="171972"/>
                    <a:pt x="173811" y="158523"/>
                    <a:pt x="201742" y="135452"/>
                  </a:cubicBezTo>
                  <a:close/>
                  <a:moveTo>
                    <a:pt x="225367" y="422475"/>
                  </a:moveTo>
                  <a:lnTo>
                    <a:pt x="201490" y="458315"/>
                  </a:lnTo>
                  <a:lnTo>
                    <a:pt x="177614" y="422475"/>
                  </a:lnTo>
                  <a:lnTo>
                    <a:pt x="197536" y="302890"/>
                  </a:lnTo>
                  <a:lnTo>
                    <a:pt x="205470" y="302966"/>
                  </a:lnTo>
                  <a:lnTo>
                    <a:pt x="225367" y="422475"/>
                  </a:lnTo>
                  <a:close/>
                  <a:moveTo>
                    <a:pt x="352608" y="604471"/>
                  </a:moveTo>
                  <a:lnTo>
                    <a:pt x="50373" y="604471"/>
                  </a:lnTo>
                  <a:lnTo>
                    <a:pt x="50373" y="363111"/>
                  </a:lnTo>
                  <a:cubicBezTo>
                    <a:pt x="50373" y="347067"/>
                    <a:pt x="56720" y="331955"/>
                    <a:pt x="68280" y="320496"/>
                  </a:cubicBezTo>
                  <a:cubicBezTo>
                    <a:pt x="80168" y="308708"/>
                    <a:pt x="96010" y="302236"/>
                    <a:pt x="112910" y="302236"/>
                  </a:cubicBezTo>
                  <a:cubicBezTo>
                    <a:pt x="113086" y="302236"/>
                    <a:pt x="113288" y="302236"/>
                    <a:pt x="113439" y="302236"/>
                  </a:cubicBezTo>
                  <a:lnTo>
                    <a:pt x="146509" y="302487"/>
                  </a:lnTo>
                  <a:lnTo>
                    <a:pt x="126259" y="424011"/>
                  </a:lnTo>
                  <a:cubicBezTo>
                    <a:pt x="125201" y="430308"/>
                    <a:pt x="126612" y="436806"/>
                    <a:pt x="130138" y="442120"/>
                  </a:cubicBezTo>
                  <a:lnTo>
                    <a:pt x="180510" y="517679"/>
                  </a:lnTo>
                  <a:cubicBezTo>
                    <a:pt x="185220" y="524706"/>
                    <a:pt x="193078" y="528912"/>
                    <a:pt x="201490" y="528912"/>
                  </a:cubicBezTo>
                  <a:cubicBezTo>
                    <a:pt x="209903" y="528912"/>
                    <a:pt x="217761" y="524706"/>
                    <a:pt x="222445" y="517704"/>
                  </a:cubicBezTo>
                  <a:lnTo>
                    <a:pt x="272818" y="442146"/>
                  </a:lnTo>
                  <a:cubicBezTo>
                    <a:pt x="276369" y="436831"/>
                    <a:pt x="277754" y="430333"/>
                    <a:pt x="276697" y="424037"/>
                  </a:cubicBezTo>
                  <a:lnTo>
                    <a:pt x="256598" y="303369"/>
                  </a:lnTo>
                  <a:lnTo>
                    <a:pt x="288988" y="303621"/>
                  </a:lnTo>
                  <a:cubicBezTo>
                    <a:pt x="325886" y="303923"/>
                    <a:pt x="351450" y="333819"/>
                    <a:pt x="352608" y="377366"/>
                  </a:cubicBezTo>
                  <a:lnTo>
                    <a:pt x="352608" y="604471"/>
                  </a:lnTo>
                  <a:close/>
                </a:path>
              </a:pathLst>
            </a:custGeom>
            <a:grpFill/>
            <a:ln w="25152" cap="flat">
              <a:noFill/>
              <a:prstDash val="solid"/>
              <a:miter/>
            </a:ln>
          </p:spPr>
          <p:txBody>
            <a:bodyPr rtlCol="0" anchor="ctr"/>
            <a:lstStyle/>
            <a:p>
              <a:endParaRPr lang="en-US"/>
            </a:p>
          </p:txBody>
        </p:sp>
        <p:sp>
          <p:nvSpPr>
            <p:cNvPr id="67" name="Graphic 4">
              <a:extLst>
                <a:ext uri="{FF2B5EF4-FFF2-40B4-BE49-F238E27FC236}">
                  <a16:creationId xmlns:a16="http://schemas.microsoft.com/office/drawing/2014/main" id="{FBE96F54-533B-114C-8B62-8D95C31D7284}"/>
                </a:ext>
              </a:extLst>
            </p:cNvPr>
            <p:cNvSpPr/>
            <p:nvPr/>
          </p:nvSpPr>
          <p:spPr>
            <a:xfrm>
              <a:off x="4743876" y="4356814"/>
              <a:ext cx="402980" cy="654843"/>
            </a:xfrm>
            <a:custGeom>
              <a:avLst/>
              <a:gdLst>
                <a:gd name="connsiteX0" fmla="*/ 310446 w 402980"/>
                <a:gd name="connsiteY0" fmla="*/ 255565 h 654843"/>
                <a:gd name="connsiteX1" fmla="*/ 352608 w 402980"/>
                <a:gd name="connsiteY1" fmla="*/ 151118 h 654843"/>
                <a:gd name="connsiteX2" fmla="*/ 201490 w 402980"/>
                <a:gd name="connsiteY2" fmla="*/ 0 h 654843"/>
                <a:gd name="connsiteX3" fmla="*/ 50373 w 402980"/>
                <a:gd name="connsiteY3" fmla="*/ 151118 h 654843"/>
                <a:gd name="connsiteX4" fmla="*/ 91200 w 402980"/>
                <a:gd name="connsiteY4" fmla="*/ 254105 h 654843"/>
                <a:gd name="connsiteX5" fmla="*/ 32818 w 402980"/>
                <a:gd name="connsiteY5" fmla="*/ 284731 h 654843"/>
                <a:gd name="connsiteX6" fmla="*/ 0 w 402980"/>
                <a:gd name="connsiteY6" fmla="*/ 363111 h 654843"/>
                <a:gd name="connsiteX7" fmla="*/ 0 w 402980"/>
                <a:gd name="connsiteY7" fmla="*/ 629658 h 654843"/>
                <a:gd name="connsiteX8" fmla="*/ 25186 w 402980"/>
                <a:gd name="connsiteY8" fmla="*/ 654844 h 654843"/>
                <a:gd name="connsiteX9" fmla="*/ 377794 w 402980"/>
                <a:gd name="connsiteY9" fmla="*/ 654844 h 654843"/>
                <a:gd name="connsiteX10" fmla="*/ 402981 w 402980"/>
                <a:gd name="connsiteY10" fmla="*/ 629658 h 654843"/>
                <a:gd name="connsiteX11" fmla="*/ 402981 w 402980"/>
                <a:gd name="connsiteY11" fmla="*/ 376712 h 654843"/>
                <a:gd name="connsiteX12" fmla="*/ 310446 w 402980"/>
                <a:gd name="connsiteY12" fmla="*/ 255565 h 654843"/>
                <a:gd name="connsiteX13" fmla="*/ 201490 w 402980"/>
                <a:gd name="connsiteY13" fmla="*/ 50373 h 654843"/>
                <a:gd name="connsiteX14" fmla="*/ 298307 w 402980"/>
                <a:gd name="connsiteY14" fmla="*/ 124798 h 654843"/>
                <a:gd name="connsiteX15" fmla="*/ 220355 w 402980"/>
                <a:gd name="connsiteY15" fmla="*/ 83795 h 654843"/>
                <a:gd name="connsiteX16" fmla="*/ 183104 w 402980"/>
                <a:gd name="connsiteY16" fmla="*/ 83795 h 654843"/>
                <a:gd name="connsiteX17" fmla="*/ 104649 w 402980"/>
                <a:gd name="connsiteY17" fmla="*/ 124874 h 654843"/>
                <a:gd name="connsiteX18" fmla="*/ 201490 w 402980"/>
                <a:gd name="connsiteY18" fmla="*/ 50373 h 654843"/>
                <a:gd name="connsiteX19" fmla="*/ 201742 w 402980"/>
                <a:gd name="connsiteY19" fmla="*/ 135452 h 654843"/>
                <a:gd name="connsiteX20" fmla="*/ 299087 w 402980"/>
                <a:gd name="connsiteY20" fmla="*/ 174969 h 654843"/>
                <a:gd name="connsiteX21" fmla="*/ 201490 w 402980"/>
                <a:gd name="connsiteY21" fmla="*/ 251863 h 654843"/>
                <a:gd name="connsiteX22" fmla="*/ 103919 w 402980"/>
                <a:gd name="connsiteY22" fmla="*/ 175020 h 654843"/>
                <a:gd name="connsiteX23" fmla="*/ 201742 w 402980"/>
                <a:gd name="connsiteY23" fmla="*/ 135452 h 654843"/>
                <a:gd name="connsiteX24" fmla="*/ 225367 w 402980"/>
                <a:gd name="connsiteY24" fmla="*/ 422475 h 654843"/>
                <a:gd name="connsiteX25" fmla="*/ 201490 w 402980"/>
                <a:gd name="connsiteY25" fmla="*/ 458315 h 654843"/>
                <a:gd name="connsiteX26" fmla="*/ 177614 w 402980"/>
                <a:gd name="connsiteY26" fmla="*/ 422475 h 654843"/>
                <a:gd name="connsiteX27" fmla="*/ 197536 w 402980"/>
                <a:gd name="connsiteY27" fmla="*/ 302890 h 654843"/>
                <a:gd name="connsiteX28" fmla="*/ 205470 w 402980"/>
                <a:gd name="connsiteY28" fmla="*/ 302966 h 654843"/>
                <a:gd name="connsiteX29" fmla="*/ 225367 w 402980"/>
                <a:gd name="connsiteY29" fmla="*/ 422475 h 654843"/>
                <a:gd name="connsiteX30" fmla="*/ 352608 w 402980"/>
                <a:gd name="connsiteY30" fmla="*/ 604471 h 654843"/>
                <a:gd name="connsiteX31" fmla="*/ 50373 w 402980"/>
                <a:gd name="connsiteY31" fmla="*/ 604471 h 654843"/>
                <a:gd name="connsiteX32" fmla="*/ 50373 w 402980"/>
                <a:gd name="connsiteY32" fmla="*/ 363111 h 654843"/>
                <a:gd name="connsiteX33" fmla="*/ 68280 w 402980"/>
                <a:gd name="connsiteY33" fmla="*/ 320496 h 654843"/>
                <a:gd name="connsiteX34" fmla="*/ 112910 w 402980"/>
                <a:gd name="connsiteY34" fmla="*/ 302236 h 654843"/>
                <a:gd name="connsiteX35" fmla="*/ 113439 w 402980"/>
                <a:gd name="connsiteY35" fmla="*/ 302236 h 654843"/>
                <a:gd name="connsiteX36" fmla="*/ 146509 w 402980"/>
                <a:gd name="connsiteY36" fmla="*/ 302487 h 654843"/>
                <a:gd name="connsiteX37" fmla="*/ 126259 w 402980"/>
                <a:gd name="connsiteY37" fmla="*/ 424011 h 654843"/>
                <a:gd name="connsiteX38" fmla="*/ 130138 w 402980"/>
                <a:gd name="connsiteY38" fmla="*/ 442120 h 654843"/>
                <a:gd name="connsiteX39" fmla="*/ 180510 w 402980"/>
                <a:gd name="connsiteY39" fmla="*/ 517679 h 654843"/>
                <a:gd name="connsiteX40" fmla="*/ 201490 w 402980"/>
                <a:gd name="connsiteY40" fmla="*/ 528912 h 654843"/>
                <a:gd name="connsiteX41" fmla="*/ 222445 w 402980"/>
                <a:gd name="connsiteY41" fmla="*/ 517704 h 654843"/>
                <a:gd name="connsiteX42" fmla="*/ 272818 w 402980"/>
                <a:gd name="connsiteY42" fmla="*/ 442146 h 654843"/>
                <a:gd name="connsiteX43" fmla="*/ 276697 w 402980"/>
                <a:gd name="connsiteY43" fmla="*/ 424037 h 654843"/>
                <a:gd name="connsiteX44" fmla="*/ 256598 w 402980"/>
                <a:gd name="connsiteY44" fmla="*/ 303369 h 654843"/>
                <a:gd name="connsiteX45" fmla="*/ 288988 w 402980"/>
                <a:gd name="connsiteY45" fmla="*/ 303621 h 654843"/>
                <a:gd name="connsiteX46" fmla="*/ 352608 w 402980"/>
                <a:gd name="connsiteY46" fmla="*/ 377366 h 654843"/>
                <a:gd name="connsiteX47" fmla="*/ 352608 w 402980"/>
                <a:gd name="connsiteY47" fmla="*/ 604471 h 654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02980" h="654843">
                  <a:moveTo>
                    <a:pt x="310446" y="255565"/>
                  </a:moveTo>
                  <a:cubicBezTo>
                    <a:pt x="336489" y="228415"/>
                    <a:pt x="352608" y="191643"/>
                    <a:pt x="352608" y="151118"/>
                  </a:cubicBezTo>
                  <a:cubicBezTo>
                    <a:pt x="352608" y="67776"/>
                    <a:pt x="284832" y="0"/>
                    <a:pt x="201490" y="0"/>
                  </a:cubicBezTo>
                  <a:cubicBezTo>
                    <a:pt x="118149" y="0"/>
                    <a:pt x="50373" y="67776"/>
                    <a:pt x="50373" y="151118"/>
                  </a:cubicBezTo>
                  <a:cubicBezTo>
                    <a:pt x="50373" y="190937"/>
                    <a:pt x="65963" y="227080"/>
                    <a:pt x="91200" y="254105"/>
                  </a:cubicBezTo>
                  <a:cubicBezTo>
                    <a:pt x="69313" y="258361"/>
                    <a:pt x="48962" y="268738"/>
                    <a:pt x="32818" y="284731"/>
                  </a:cubicBezTo>
                  <a:cubicBezTo>
                    <a:pt x="11661" y="305711"/>
                    <a:pt x="0" y="333542"/>
                    <a:pt x="0" y="363111"/>
                  </a:cubicBezTo>
                  <a:lnTo>
                    <a:pt x="0" y="629658"/>
                  </a:lnTo>
                  <a:cubicBezTo>
                    <a:pt x="0" y="643586"/>
                    <a:pt x="11258" y="654844"/>
                    <a:pt x="25186" y="654844"/>
                  </a:cubicBezTo>
                  <a:lnTo>
                    <a:pt x="377794" y="654844"/>
                  </a:lnTo>
                  <a:cubicBezTo>
                    <a:pt x="391723" y="654844"/>
                    <a:pt x="402981" y="643586"/>
                    <a:pt x="402981" y="629658"/>
                  </a:cubicBezTo>
                  <a:lnTo>
                    <a:pt x="402981" y="376712"/>
                  </a:lnTo>
                  <a:cubicBezTo>
                    <a:pt x="401318" y="313771"/>
                    <a:pt x="363539" y="266018"/>
                    <a:pt x="310446" y="255565"/>
                  </a:cubicBezTo>
                  <a:close/>
                  <a:moveTo>
                    <a:pt x="201490" y="50373"/>
                  </a:moveTo>
                  <a:cubicBezTo>
                    <a:pt x="247884" y="50373"/>
                    <a:pt x="286645" y="82057"/>
                    <a:pt x="298307" y="124798"/>
                  </a:cubicBezTo>
                  <a:cubicBezTo>
                    <a:pt x="268864" y="120945"/>
                    <a:pt x="241058" y="106563"/>
                    <a:pt x="220355" y="83795"/>
                  </a:cubicBezTo>
                  <a:cubicBezTo>
                    <a:pt x="210809" y="73317"/>
                    <a:pt x="192650" y="73317"/>
                    <a:pt x="183104" y="83795"/>
                  </a:cubicBezTo>
                  <a:cubicBezTo>
                    <a:pt x="162275" y="106689"/>
                    <a:pt x="134293" y="121121"/>
                    <a:pt x="104649" y="124874"/>
                  </a:cubicBezTo>
                  <a:cubicBezTo>
                    <a:pt x="116285" y="82082"/>
                    <a:pt x="155072" y="50373"/>
                    <a:pt x="201490" y="50373"/>
                  </a:cubicBezTo>
                  <a:close/>
                  <a:moveTo>
                    <a:pt x="201742" y="135452"/>
                  </a:moveTo>
                  <a:cubicBezTo>
                    <a:pt x="229548" y="158397"/>
                    <a:pt x="263600" y="171846"/>
                    <a:pt x="299087" y="174969"/>
                  </a:cubicBezTo>
                  <a:cubicBezTo>
                    <a:pt x="288308" y="218995"/>
                    <a:pt x="248790" y="251863"/>
                    <a:pt x="201490" y="251863"/>
                  </a:cubicBezTo>
                  <a:cubicBezTo>
                    <a:pt x="154191" y="251863"/>
                    <a:pt x="114724" y="219020"/>
                    <a:pt x="103919" y="175020"/>
                  </a:cubicBezTo>
                  <a:cubicBezTo>
                    <a:pt x="139557" y="171972"/>
                    <a:pt x="173811" y="158523"/>
                    <a:pt x="201742" y="135452"/>
                  </a:cubicBezTo>
                  <a:close/>
                  <a:moveTo>
                    <a:pt x="225367" y="422475"/>
                  </a:moveTo>
                  <a:lnTo>
                    <a:pt x="201490" y="458315"/>
                  </a:lnTo>
                  <a:lnTo>
                    <a:pt x="177614" y="422475"/>
                  </a:lnTo>
                  <a:lnTo>
                    <a:pt x="197536" y="302890"/>
                  </a:lnTo>
                  <a:lnTo>
                    <a:pt x="205470" y="302966"/>
                  </a:lnTo>
                  <a:lnTo>
                    <a:pt x="225367" y="422475"/>
                  </a:lnTo>
                  <a:close/>
                  <a:moveTo>
                    <a:pt x="352608" y="604471"/>
                  </a:moveTo>
                  <a:lnTo>
                    <a:pt x="50373" y="604471"/>
                  </a:lnTo>
                  <a:lnTo>
                    <a:pt x="50373" y="363111"/>
                  </a:lnTo>
                  <a:cubicBezTo>
                    <a:pt x="50373" y="347067"/>
                    <a:pt x="56720" y="331955"/>
                    <a:pt x="68280" y="320496"/>
                  </a:cubicBezTo>
                  <a:cubicBezTo>
                    <a:pt x="80168" y="308708"/>
                    <a:pt x="96010" y="302236"/>
                    <a:pt x="112910" y="302236"/>
                  </a:cubicBezTo>
                  <a:cubicBezTo>
                    <a:pt x="113087" y="302236"/>
                    <a:pt x="113288" y="302236"/>
                    <a:pt x="113439" y="302236"/>
                  </a:cubicBezTo>
                  <a:lnTo>
                    <a:pt x="146509" y="302487"/>
                  </a:lnTo>
                  <a:lnTo>
                    <a:pt x="126259" y="424011"/>
                  </a:lnTo>
                  <a:cubicBezTo>
                    <a:pt x="125201" y="430308"/>
                    <a:pt x="126612" y="436806"/>
                    <a:pt x="130138" y="442120"/>
                  </a:cubicBezTo>
                  <a:lnTo>
                    <a:pt x="180510" y="517679"/>
                  </a:lnTo>
                  <a:cubicBezTo>
                    <a:pt x="185220" y="524706"/>
                    <a:pt x="193078" y="528912"/>
                    <a:pt x="201490" y="528912"/>
                  </a:cubicBezTo>
                  <a:cubicBezTo>
                    <a:pt x="209903" y="528912"/>
                    <a:pt x="217761" y="524706"/>
                    <a:pt x="222445" y="517704"/>
                  </a:cubicBezTo>
                  <a:lnTo>
                    <a:pt x="272818" y="442146"/>
                  </a:lnTo>
                  <a:cubicBezTo>
                    <a:pt x="276369" y="436831"/>
                    <a:pt x="277754" y="430333"/>
                    <a:pt x="276697" y="424037"/>
                  </a:cubicBezTo>
                  <a:lnTo>
                    <a:pt x="256598" y="303369"/>
                  </a:lnTo>
                  <a:lnTo>
                    <a:pt x="288988" y="303621"/>
                  </a:lnTo>
                  <a:cubicBezTo>
                    <a:pt x="325885" y="303923"/>
                    <a:pt x="351450" y="333819"/>
                    <a:pt x="352608" y="377366"/>
                  </a:cubicBezTo>
                  <a:lnTo>
                    <a:pt x="352608" y="604471"/>
                  </a:lnTo>
                  <a:close/>
                </a:path>
              </a:pathLst>
            </a:custGeom>
            <a:grpFill/>
            <a:ln w="25152" cap="flat">
              <a:noFill/>
              <a:prstDash val="solid"/>
              <a:miter/>
            </a:ln>
          </p:spPr>
          <p:txBody>
            <a:bodyPr rtlCol="0" anchor="ctr"/>
            <a:lstStyle/>
            <a:p>
              <a:endParaRPr lang="en-US"/>
            </a:p>
          </p:txBody>
        </p:sp>
        <p:sp>
          <p:nvSpPr>
            <p:cNvPr id="68" name="Graphic 4">
              <a:extLst>
                <a:ext uri="{FF2B5EF4-FFF2-40B4-BE49-F238E27FC236}">
                  <a16:creationId xmlns:a16="http://schemas.microsoft.com/office/drawing/2014/main" id="{4FA90BCC-BC10-C240-9DDA-64249894331F}"/>
                </a:ext>
              </a:extLst>
            </p:cNvPr>
            <p:cNvSpPr/>
            <p:nvPr/>
          </p:nvSpPr>
          <p:spPr>
            <a:xfrm>
              <a:off x="3736424" y="3500480"/>
              <a:ext cx="1403053" cy="811981"/>
            </a:xfrm>
            <a:custGeom>
              <a:avLst/>
              <a:gdLst>
                <a:gd name="connsiteX0" fmla="*/ 0 w 1403053"/>
                <a:gd name="connsiteY0" fmla="*/ 654844 h 811981"/>
                <a:gd name="connsiteX1" fmla="*/ 18990 w 1403053"/>
                <a:gd name="connsiteY1" fmla="*/ 811981 h 811981"/>
                <a:gd name="connsiteX2" fmla="*/ 67877 w 1403053"/>
                <a:gd name="connsiteY2" fmla="*/ 799917 h 811981"/>
                <a:gd name="connsiteX3" fmla="*/ 51128 w 1403053"/>
                <a:gd name="connsiteY3" fmla="*/ 680030 h 811981"/>
                <a:gd name="connsiteX4" fmla="*/ 125931 w 1403053"/>
                <a:gd name="connsiteY4" fmla="*/ 680030 h 811981"/>
                <a:gd name="connsiteX5" fmla="*/ 125931 w 1403053"/>
                <a:gd name="connsiteY5" fmla="*/ 629658 h 811981"/>
                <a:gd name="connsiteX6" fmla="*/ 51002 w 1403053"/>
                <a:gd name="connsiteY6" fmla="*/ 629658 h 811981"/>
                <a:gd name="connsiteX7" fmla="*/ 629657 w 1403053"/>
                <a:gd name="connsiteY7" fmla="*/ 51002 h 811981"/>
                <a:gd name="connsiteX8" fmla="*/ 629657 w 1403053"/>
                <a:gd name="connsiteY8" fmla="*/ 125932 h 811981"/>
                <a:gd name="connsiteX9" fmla="*/ 680030 w 1403053"/>
                <a:gd name="connsiteY9" fmla="*/ 125932 h 811981"/>
                <a:gd name="connsiteX10" fmla="*/ 680030 w 1403053"/>
                <a:gd name="connsiteY10" fmla="*/ 51002 h 811981"/>
                <a:gd name="connsiteX11" fmla="*/ 1259315 w 1403053"/>
                <a:gd name="connsiteY11" fmla="*/ 654844 h 811981"/>
                <a:gd name="connsiteX12" fmla="*/ 1257804 w 1403053"/>
                <a:gd name="connsiteY12" fmla="*/ 693253 h 811981"/>
                <a:gd name="connsiteX13" fmla="*/ 1201588 w 1403053"/>
                <a:gd name="connsiteY13" fmla="*/ 637037 h 811981"/>
                <a:gd name="connsiteX14" fmla="*/ 1165974 w 1403053"/>
                <a:gd name="connsiteY14" fmla="*/ 672651 h 811981"/>
                <a:gd name="connsiteX15" fmla="*/ 1266720 w 1403053"/>
                <a:gd name="connsiteY15" fmla="*/ 773396 h 811981"/>
                <a:gd name="connsiteX16" fmla="*/ 1284501 w 1403053"/>
                <a:gd name="connsiteY16" fmla="*/ 780775 h 811981"/>
                <a:gd name="connsiteX17" fmla="*/ 1302308 w 1403053"/>
                <a:gd name="connsiteY17" fmla="*/ 773396 h 811981"/>
                <a:gd name="connsiteX18" fmla="*/ 1403053 w 1403053"/>
                <a:gd name="connsiteY18" fmla="*/ 672651 h 811981"/>
                <a:gd name="connsiteX19" fmla="*/ 1367440 w 1403053"/>
                <a:gd name="connsiteY19" fmla="*/ 637037 h 811981"/>
                <a:gd name="connsiteX20" fmla="*/ 1308025 w 1403053"/>
                <a:gd name="connsiteY20" fmla="*/ 696452 h 811981"/>
                <a:gd name="connsiteX21" fmla="*/ 1309688 w 1403053"/>
                <a:gd name="connsiteY21" fmla="*/ 654844 h 811981"/>
                <a:gd name="connsiteX22" fmla="*/ 654844 w 1403053"/>
                <a:gd name="connsiteY22" fmla="*/ 0 h 811981"/>
                <a:gd name="connsiteX23" fmla="*/ 0 w 1403053"/>
                <a:gd name="connsiteY23" fmla="*/ 654844 h 81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03053" h="811981">
                  <a:moveTo>
                    <a:pt x="0" y="654844"/>
                  </a:moveTo>
                  <a:cubicBezTo>
                    <a:pt x="0" y="708012"/>
                    <a:pt x="6397" y="760878"/>
                    <a:pt x="18990" y="811981"/>
                  </a:cubicBezTo>
                  <a:lnTo>
                    <a:pt x="67877" y="799917"/>
                  </a:lnTo>
                  <a:cubicBezTo>
                    <a:pt x="58256" y="760853"/>
                    <a:pt x="52790" y="720605"/>
                    <a:pt x="51128" y="680030"/>
                  </a:cubicBezTo>
                  <a:lnTo>
                    <a:pt x="125931" y="680030"/>
                  </a:lnTo>
                  <a:lnTo>
                    <a:pt x="125931" y="629658"/>
                  </a:lnTo>
                  <a:lnTo>
                    <a:pt x="51002" y="629658"/>
                  </a:lnTo>
                  <a:cubicBezTo>
                    <a:pt x="63923" y="316365"/>
                    <a:pt x="316365" y="63923"/>
                    <a:pt x="629657" y="51002"/>
                  </a:cubicBezTo>
                  <a:lnTo>
                    <a:pt x="629657" y="125932"/>
                  </a:lnTo>
                  <a:lnTo>
                    <a:pt x="680030" y="125932"/>
                  </a:lnTo>
                  <a:lnTo>
                    <a:pt x="680030" y="51002"/>
                  </a:lnTo>
                  <a:cubicBezTo>
                    <a:pt x="1001684" y="64275"/>
                    <a:pt x="1259315" y="329991"/>
                    <a:pt x="1259315" y="654844"/>
                  </a:cubicBezTo>
                  <a:cubicBezTo>
                    <a:pt x="1259315" y="667664"/>
                    <a:pt x="1258585" y="680483"/>
                    <a:pt x="1257804" y="693253"/>
                  </a:cubicBezTo>
                  <a:lnTo>
                    <a:pt x="1201588" y="637037"/>
                  </a:lnTo>
                  <a:lnTo>
                    <a:pt x="1165974" y="672651"/>
                  </a:lnTo>
                  <a:lnTo>
                    <a:pt x="1266720" y="773396"/>
                  </a:lnTo>
                  <a:cubicBezTo>
                    <a:pt x="1271606" y="778307"/>
                    <a:pt x="1278053" y="780775"/>
                    <a:pt x="1284501" y="780775"/>
                  </a:cubicBezTo>
                  <a:cubicBezTo>
                    <a:pt x="1290949" y="780775"/>
                    <a:pt x="1297397" y="778307"/>
                    <a:pt x="1302308" y="773396"/>
                  </a:cubicBezTo>
                  <a:lnTo>
                    <a:pt x="1403053" y="672651"/>
                  </a:lnTo>
                  <a:lnTo>
                    <a:pt x="1367440" y="637037"/>
                  </a:lnTo>
                  <a:lnTo>
                    <a:pt x="1308025" y="696452"/>
                  </a:lnTo>
                  <a:cubicBezTo>
                    <a:pt x="1308907" y="682599"/>
                    <a:pt x="1309688" y="668721"/>
                    <a:pt x="1309688" y="654844"/>
                  </a:cubicBezTo>
                  <a:cubicBezTo>
                    <a:pt x="1309688" y="293748"/>
                    <a:pt x="1015940" y="0"/>
                    <a:pt x="654844" y="0"/>
                  </a:cubicBezTo>
                  <a:cubicBezTo>
                    <a:pt x="293748" y="0"/>
                    <a:pt x="0" y="293748"/>
                    <a:pt x="0" y="654844"/>
                  </a:cubicBezTo>
                  <a:close/>
                </a:path>
              </a:pathLst>
            </a:custGeom>
            <a:grpFill/>
            <a:ln w="25152" cap="flat">
              <a:noFill/>
              <a:prstDash val="solid"/>
              <a:miter/>
            </a:ln>
          </p:spPr>
          <p:txBody>
            <a:bodyPr rtlCol="0" anchor="ctr"/>
            <a:lstStyle/>
            <a:p>
              <a:endParaRPr lang="en-US"/>
            </a:p>
          </p:txBody>
        </p:sp>
        <p:sp>
          <p:nvSpPr>
            <p:cNvPr id="69" name="Graphic 4">
              <a:extLst>
                <a:ext uri="{FF2B5EF4-FFF2-40B4-BE49-F238E27FC236}">
                  <a16:creationId xmlns:a16="http://schemas.microsoft.com/office/drawing/2014/main" id="{3D77D33C-3272-9E4F-9AD8-2F6E6F966CC9}"/>
                </a:ext>
              </a:extLst>
            </p:cNvPr>
            <p:cNvSpPr/>
            <p:nvPr/>
          </p:nvSpPr>
          <p:spPr>
            <a:xfrm rot="-2985960">
              <a:off x="4189381" y="4041959"/>
              <a:ext cx="428890" cy="50371"/>
            </a:xfrm>
            <a:custGeom>
              <a:avLst/>
              <a:gdLst>
                <a:gd name="connsiteX0" fmla="*/ 0 w 428890"/>
                <a:gd name="connsiteY0" fmla="*/ 0 h 50371"/>
                <a:gd name="connsiteX1" fmla="*/ 428890 w 428890"/>
                <a:gd name="connsiteY1" fmla="*/ 0 h 50371"/>
                <a:gd name="connsiteX2" fmla="*/ 428890 w 428890"/>
                <a:gd name="connsiteY2" fmla="*/ 50372 h 50371"/>
                <a:gd name="connsiteX3" fmla="*/ 0 w 428890"/>
                <a:gd name="connsiteY3" fmla="*/ 50372 h 50371"/>
              </a:gdLst>
              <a:ahLst/>
              <a:cxnLst>
                <a:cxn ang="0">
                  <a:pos x="connsiteX0" y="connsiteY0"/>
                </a:cxn>
                <a:cxn ang="0">
                  <a:pos x="connsiteX1" y="connsiteY1"/>
                </a:cxn>
                <a:cxn ang="0">
                  <a:pos x="connsiteX2" y="connsiteY2"/>
                </a:cxn>
                <a:cxn ang="0">
                  <a:pos x="connsiteX3" y="connsiteY3"/>
                </a:cxn>
              </a:cxnLst>
              <a:rect l="l" t="t" r="r" b="b"/>
              <a:pathLst>
                <a:path w="428890" h="50371">
                  <a:moveTo>
                    <a:pt x="0" y="0"/>
                  </a:moveTo>
                  <a:lnTo>
                    <a:pt x="428890" y="0"/>
                  </a:lnTo>
                  <a:lnTo>
                    <a:pt x="428890" y="50372"/>
                  </a:lnTo>
                  <a:lnTo>
                    <a:pt x="0" y="50372"/>
                  </a:lnTo>
                  <a:close/>
                </a:path>
              </a:pathLst>
            </a:custGeom>
            <a:grpFill/>
            <a:ln w="25152" cap="flat">
              <a:noFill/>
              <a:prstDash val="solid"/>
              <a:miter/>
            </a:ln>
          </p:spPr>
          <p:txBody>
            <a:bodyPr rtlCol="0" anchor="ctr"/>
            <a:lstStyle/>
            <a:p>
              <a:endParaRPr lang="en-US"/>
            </a:p>
          </p:txBody>
        </p:sp>
        <p:sp>
          <p:nvSpPr>
            <p:cNvPr id="70" name="Graphic 4">
              <a:extLst>
                <a:ext uri="{FF2B5EF4-FFF2-40B4-BE49-F238E27FC236}">
                  <a16:creationId xmlns:a16="http://schemas.microsoft.com/office/drawing/2014/main" id="{6E773AC4-1D86-8647-9871-E2E4530E69C9}"/>
                </a:ext>
              </a:extLst>
            </p:cNvPr>
            <p:cNvSpPr/>
            <p:nvPr/>
          </p:nvSpPr>
          <p:spPr>
            <a:xfrm>
              <a:off x="4240150" y="3878275"/>
              <a:ext cx="151117" cy="151117"/>
            </a:xfrm>
            <a:custGeom>
              <a:avLst/>
              <a:gdLst>
                <a:gd name="connsiteX0" fmla="*/ 75559 w 151117"/>
                <a:gd name="connsiteY0" fmla="*/ 151118 h 151117"/>
                <a:gd name="connsiteX1" fmla="*/ 151118 w 151117"/>
                <a:gd name="connsiteY1" fmla="*/ 75559 h 151117"/>
                <a:gd name="connsiteX2" fmla="*/ 75559 w 151117"/>
                <a:gd name="connsiteY2" fmla="*/ 0 h 151117"/>
                <a:gd name="connsiteX3" fmla="*/ 0 w 151117"/>
                <a:gd name="connsiteY3" fmla="*/ 75559 h 151117"/>
                <a:gd name="connsiteX4" fmla="*/ 75559 w 151117"/>
                <a:gd name="connsiteY4" fmla="*/ 151118 h 151117"/>
                <a:gd name="connsiteX5" fmla="*/ 75559 w 151117"/>
                <a:gd name="connsiteY5" fmla="*/ 50373 h 151117"/>
                <a:gd name="connsiteX6" fmla="*/ 100745 w 151117"/>
                <a:gd name="connsiteY6" fmla="*/ 75559 h 151117"/>
                <a:gd name="connsiteX7" fmla="*/ 75559 w 151117"/>
                <a:gd name="connsiteY7" fmla="*/ 100745 h 151117"/>
                <a:gd name="connsiteX8" fmla="*/ 50373 w 151117"/>
                <a:gd name="connsiteY8" fmla="*/ 75559 h 151117"/>
                <a:gd name="connsiteX9" fmla="*/ 75559 w 151117"/>
                <a:gd name="connsiteY9" fmla="*/ 50373 h 151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117" h="151117">
                  <a:moveTo>
                    <a:pt x="75559" y="151118"/>
                  </a:moveTo>
                  <a:cubicBezTo>
                    <a:pt x="117217" y="151118"/>
                    <a:pt x="151118" y="117217"/>
                    <a:pt x="151118" y="75559"/>
                  </a:cubicBezTo>
                  <a:cubicBezTo>
                    <a:pt x="151118" y="33901"/>
                    <a:pt x="117217" y="0"/>
                    <a:pt x="75559" y="0"/>
                  </a:cubicBezTo>
                  <a:cubicBezTo>
                    <a:pt x="33901" y="0"/>
                    <a:pt x="0" y="33901"/>
                    <a:pt x="0" y="75559"/>
                  </a:cubicBezTo>
                  <a:cubicBezTo>
                    <a:pt x="0" y="117217"/>
                    <a:pt x="33901" y="151118"/>
                    <a:pt x="75559" y="151118"/>
                  </a:cubicBezTo>
                  <a:close/>
                  <a:moveTo>
                    <a:pt x="75559" y="50373"/>
                  </a:moveTo>
                  <a:cubicBezTo>
                    <a:pt x="89462" y="50373"/>
                    <a:pt x="100745" y="61656"/>
                    <a:pt x="100745" y="75559"/>
                  </a:cubicBezTo>
                  <a:cubicBezTo>
                    <a:pt x="100745" y="89462"/>
                    <a:pt x="89462" y="100745"/>
                    <a:pt x="75559" y="100745"/>
                  </a:cubicBezTo>
                  <a:cubicBezTo>
                    <a:pt x="61656" y="100745"/>
                    <a:pt x="50373" y="89462"/>
                    <a:pt x="50373" y="75559"/>
                  </a:cubicBezTo>
                  <a:cubicBezTo>
                    <a:pt x="50373" y="61656"/>
                    <a:pt x="61656" y="50373"/>
                    <a:pt x="75559" y="50373"/>
                  </a:cubicBezTo>
                  <a:close/>
                </a:path>
              </a:pathLst>
            </a:custGeom>
            <a:grpFill/>
            <a:ln w="25152" cap="flat">
              <a:noFill/>
              <a:prstDash val="solid"/>
              <a:miter/>
            </a:ln>
          </p:spPr>
          <p:txBody>
            <a:bodyPr rtlCol="0" anchor="ctr"/>
            <a:lstStyle/>
            <a:p>
              <a:endParaRPr lang="en-US"/>
            </a:p>
          </p:txBody>
        </p:sp>
        <p:sp>
          <p:nvSpPr>
            <p:cNvPr id="71" name="Graphic 4">
              <a:extLst>
                <a:ext uri="{FF2B5EF4-FFF2-40B4-BE49-F238E27FC236}">
                  <a16:creationId xmlns:a16="http://schemas.microsoft.com/office/drawing/2014/main" id="{56210503-8B4F-2F48-9E08-67DFF2E3772A}"/>
                </a:ext>
              </a:extLst>
            </p:cNvPr>
            <p:cNvSpPr/>
            <p:nvPr/>
          </p:nvSpPr>
          <p:spPr>
            <a:xfrm>
              <a:off x="4416454" y="4104951"/>
              <a:ext cx="151117" cy="151117"/>
            </a:xfrm>
            <a:custGeom>
              <a:avLst/>
              <a:gdLst>
                <a:gd name="connsiteX0" fmla="*/ 75559 w 151117"/>
                <a:gd name="connsiteY0" fmla="*/ 0 h 151117"/>
                <a:gd name="connsiteX1" fmla="*/ 0 w 151117"/>
                <a:gd name="connsiteY1" fmla="*/ 75559 h 151117"/>
                <a:gd name="connsiteX2" fmla="*/ 75559 w 151117"/>
                <a:gd name="connsiteY2" fmla="*/ 151118 h 151117"/>
                <a:gd name="connsiteX3" fmla="*/ 151118 w 151117"/>
                <a:gd name="connsiteY3" fmla="*/ 75559 h 151117"/>
                <a:gd name="connsiteX4" fmla="*/ 75559 w 151117"/>
                <a:gd name="connsiteY4" fmla="*/ 0 h 151117"/>
                <a:gd name="connsiteX5" fmla="*/ 75559 w 151117"/>
                <a:gd name="connsiteY5" fmla="*/ 100745 h 151117"/>
                <a:gd name="connsiteX6" fmla="*/ 50373 w 151117"/>
                <a:gd name="connsiteY6" fmla="*/ 75559 h 151117"/>
                <a:gd name="connsiteX7" fmla="*/ 75559 w 151117"/>
                <a:gd name="connsiteY7" fmla="*/ 50373 h 151117"/>
                <a:gd name="connsiteX8" fmla="*/ 100745 w 151117"/>
                <a:gd name="connsiteY8" fmla="*/ 75559 h 151117"/>
                <a:gd name="connsiteX9" fmla="*/ 75559 w 151117"/>
                <a:gd name="connsiteY9" fmla="*/ 100745 h 151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117" h="151117">
                  <a:moveTo>
                    <a:pt x="75559" y="0"/>
                  </a:moveTo>
                  <a:cubicBezTo>
                    <a:pt x="33901" y="0"/>
                    <a:pt x="0" y="33901"/>
                    <a:pt x="0" y="75559"/>
                  </a:cubicBezTo>
                  <a:cubicBezTo>
                    <a:pt x="0" y="117217"/>
                    <a:pt x="33901" y="151118"/>
                    <a:pt x="75559" y="151118"/>
                  </a:cubicBezTo>
                  <a:cubicBezTo>
                    <a:pt x="117217" y="151118"/>
                    <a:pt x="151118" y="117217"/>
                    <a:pt x="151118" y="75559"/>
                  </a:cubicBezTo>
                  <a:cubicBezTo>
                    <a:pt x="151118" y="33901"/>
                    <a:pt x="117217" y="0"/>
                    <a:pt x="75559" y="0"/>
                  </a:cubicBezTo>
                  <a:close/>
                  <a:moveTo>
                    <a:pt x="75559" y="100745"/>
                  </a:moveTo>
                  <a:cubicBezTo>
                    <a:pt x="61656" y="100745"/>
                    <a:pt x="50373" y="89462"/>
                    <a:pt x="50373" y="75559"/>
                  </a:cubicBezTo>
                  <a:cubicBezTo>
                    <a:pt x="50373" y="61656"/>
                    <a:pt x="61656" y="50373"/>
                    <a:pt x="75559" y="50373"/>
                  </a:cubicBezTo>
                  <a:cubicBezTo>
                    <a:pt x="89462" y="50373"/>
                    <a:pt x="100745" y="61656"/>
                    <a:pt x="100745" y="75559"/>
                  </a:cubicBezTo>
                  <a:cubicBezTo>
                    <a:pt x="100745" y="89462"/>
                    <a:pt x="89462" y="100745"/>
                    <a:pt x="75559" y="100745"/>
                  </a:cubicBezTo>
                  <a:close/>
                </a:path>
              </a:pathLst>
            </a:custGeom>
            <a:grpFill/>
            <a:ln w="25152" cap="flat">
              <a:noFill/>
              <a:prstDash val="solid"/>
              <a:miter/>
            </a:ln>
          </p:spPr>
          <p:txBody>
            <a:bodyPr rtlCol="0" anchor="ctr"/>
            <a:lstStyle/>
            <a:p>
              <a:endParaRPr lang="en-US"/>
            </a:p>
          </p:txBody>
        </p:sp>
        <p:sp>
          <p:nvSpPr>
            <p:cNvPr id="72" name="Graphic 4">
              <a:extLst>
                <a:ext uri="{FF2B5EF4-FFF2-40B4-BE49-F238E27FC236}">
                  <a16:creationId xmlns:a16="http://schemas.microsoft.com/office/drawing/2014/main" id="{002A29C6-6209-F748-BEEB-0F5B52A93662}"/>
                </a:ext>
              </a:extLst>
            </p:cNvPr>
            <p:cNvSpPr/>
            <p:nvPr/>
          </p:nvSpPr>
          <p:spPr>
            <a:xfrm>
              <a:off x="3963101" y="3658640"/>
              <a:ext cx="856334" cy="817080"/>
            </a:xfrm>
            <a:custGeom>
              <a:avLst/>
              <a:gdLst>
                <a:gd name="connsiteX0" fmla="*/ 744255 w 856334"/>
                <a:gd name="connsiteY0" fmla="*/ 511241 h 817080"/>
                <a:gd name="connsiteX1" fmla="*/ 846990 w 856334"/>
                <a:gd name="connsiteY1" fmla="*/ 428101 h 817080"/>
                <a:gd name="connsiteX2" fmla="*/ 856334 w 856334"/>
                <a:gd name="connsiteY2" fmla="*/ 408532 h 817080"/>
                <a:gd name="connsiteX3" fmla="*/ 846990 w 856334"/>
                <a:gd name="connsiteY3" fmla="*/ 388962 h 817080"/>
                <a:gd name="connsiteX4" fmla="*/ 744255 w 856334"/>
                <a:gd name="connsiteY4" fmla="*/ 305822 h 817080"/>
                <a:gd name="connsiteX5" fmla="*/ 778508 w 856334"/>
                <a:gd name="connsiteY5" fmla="*/ 178153 h 817080"/>
                <a:gd name="connsiteX6" fmla="*/ 774554 w 856334"/>
                <a:gd name="connsiteY6" fmla="*/ 156820 h 817080"/>
                <a:gd name="connsiteX7" fmla="*/ 755488 w 856334"/>
                <a:gd name="connsiteY7" fmla="*/ 146468 h 817080"/>
                <a:gd name="connsiteX8" fmla="*/ 623462 w 856334"/>
                <a:gd name="connsiteY8" fmla="*/ 139668 h 817080"/>
                <a:gd name="connsiteX9" fmla="*/ 576237 w 856334"/>
                <a:gd name="connsiteY9" fmla="*/ 16179 h 817080"/>
                <a:gd name="connsiteX10" fmla="*/ 560496 w 856334"/>
                <a:gd name="connsiteY10" fmla="*/ 1219 h 817080"/>
                <a:gd name="connsiteX11" fmla="*/ 538987 w 856334"/>
                <a:gd name="connsiteY11" fmla="*/ 4065 h 817080"/>
                <a:gd name="connsiteX12" fmla="*/ 428167 w 856334"/>
                <a:gd name="connsiteY12" fmla="*/ 76249 h 817080"/>
                <a:gd name="connsiteX13" fmla="*/ 317373 w 856334"/>
                <a:gd name="connsiteY13" fmla="*/ 4090 h 817080"/>
                <a:gd name="connsiteX14" fmla="*/ 295863 w 856334"/>
                <a:gd name="connsiteY14" fmla="*/ 1244 h 817080"/>
                <a:gd name="connsiteX15" fmla="*/ 280122 w 856334"/>
                <a:gd name="connsiteY15" fmla="*/ 16205 h 817080"/>
                <a:gd name="connsiteX16" fmla="*/ 232898 w 856334"/>
                <a:gd name="connsiteY16" fmla="*/ 139693 h 817080"/>
                <a:gd name="connsiteX17" fmla="*/ 100871 w 856334"/>
                <a:gd name="connsiteY17" fmla="*/ 146493 h 817080"/>
                <a:gd name="connsiteX18" fmla="*/ 81805 w 856334"/>
                <a:gd name="connsiteY18" fmla="*/ 156845 h 817080"/>
                <a:gd name="connsiteX19" fmla="*/ 77851 w 856334"/>
                <a:gd name="connsiteY19" fmla="*/ 178178 h 817080"/>
                <a:gd name="connsiteX20" fmla="*/ 112104 w 856334"/>
                <a:gd name="connsiteY20" fmla="*/ 305847 h 817080"/>
                <a:gd name="connsiteX21" fmla="*/ 9369 w 856334"/>
                <a:gd name="connsiteY21" fmla="*/ 388987 h 817080"/>
                <a:gd name="connsiteX22" fmla="*/ 0 w 856334"/>
                <a:gd name="connsiteY22" fmla="*/ 408532 h 817080"/>
                <a:gd name="connsiteX23" fmla="*/ 9344 w 856334"/>
                <a:gd name="connsiteY23" fmla="*/ 428101 h 817080"/>
                <a:gd name="connsiteX24" fmla="*/ 112079 w 856334"/>
                <a:gd name="connsiteY24" fmla="*/ 511241 h 817080"/>
                <a:gd name="connsiteX25" fmla="*/ 77826 w 856334"/>
                <a:gd name="connsiteY25" fmla="*/ 638911 h 817080"/>
                <a:gd name="connsiteX26" fmla="*/ 81780 w 856334"/>
                <a:gd name="connsiteY26" fmla="*/ 660244 h 817080"/>
                <a:gd name="connsiteX27" fmla="*/ 100846 w 856334"/>
                <a:gd name="connsiteY27" fmla="*/ 670595 h 817080"/>
                <a:gd name="connsiteX28" fmla="*/ 232873 w 856334"/>
                <a:gd name="connsiteY28" fmla="*/ 677395 h 817080"/>
                <a:gd name="connsiteX29" fmla="*/ 280097 w 856334"/>
                <a:gd name="connsiteY29" fmla="*/ 800884 h 817080"/>
                <a:gd name="connsiteX30" fmla="*/ 295838 w 856334"/>
                <a:gd name="connsiteY30" fmla="*/ 815845 h 817080"/>
                <a:gd name="connsiteX31" fmla="*/ 317347 w 856334"/>
                <a:gd name="connsiteY31" fmla="*/ 812998 h 817080"/>
                <a:gd name="connsiteX32" fmla="*/ 428167 w 856334"/>
                <a:gd name="connsiteY32" fmla="*/ 740815 h 817080"/>
                <a:gd name="connsiteX33" fmla="*/ 538962 w 856334"/>
                <a:gd name="connsiteY33" fmla="*/ 812973 h 817080"/>
                <a:gd name="connsiteX34" fmla="*/ 552713 w 856334"/>
                <a:gd name="connsiteY34" fmla="*/ 817053 h 817080"/>
                <a:gd name="connsiteX35" fmla="*/ 560496 w 856334"/>
                <a:gd name="connsiteY35" fmla="*/ 815819 h 817080"/>
                <a:gd name="connsiteX36" fmla="*/ 576237 w 856334"/>
                <a:gd name="connsiteY36" fmla="*/ 800859 h 817080"/>
                <a:gd name="connsiteX37" fmla="*/ 623462 w 856334"/>
                <a:gd name="connsiteY37" fmla="*/ 677370 h 817080"/>
                <a:gd name="connsiteX38" fmla="*/ 755488 w 856334"/>
                <a:gd name="connsiteY38" fmla="*/ 670570 h 817080"/>
                <a:gd name="connsiteX39" fmla="*/ 774554 w 856334"/>
                <a:gd name="connsiteY39" fmla="*/ 660218 h 817080"/>
                <a:gd name="connsiteX40" fmla="*/ 778508 w 856334"/>
                <a:gd name="connsiteY40" fmla="*/ 638886 h 817080"/>
                <a:gd name="connsiteX41" fmla="*/ 744255 w 856334"/>
                <a:gd name="connsiteY41" fmla="*/ 511241 h 817080"/>
                <a:gd name="connsiteX42" fmla="*/ 604496 w 856334"/>
                <a:gd name="connsiteY42" fmla="*/ 627929 h 817080"/>
                <a:gd name="connsiteX43" fmla="*/ 582282 w 856334"/>
                <a:gd name="connsiteY43" fmla="*/ 644099 h 817080"/>
                <a:gd name="connsiteX44" fmla="*/ 540322 w 856334"/>
                <a:gd name="connsiteY44" fmla="*/ 753760 h 817080"/>
                <a:gd name="connsiteX45" fmla="*/ 441919 w 856334"/>
                <a:gd name="connsiteY45" fmla="*/ 689661 h 817080"/>
                <a:gd name="connsiteX46" fmla="*/ 428167 w 856334"/>
                <a:gd name="connsiteY46" fmla="*/ 685581 h 817080"/>
                <a:gd name="connsiteX47" fmla="*/ 414415 w 856334"/>
                <a:gd name="connsiteY47" fmla="*/ 689661 h 817080"/>
                <a:gd name="connsiteX48" fmla="*/ 316013 w 856334"/>
                <a:gd name="connsiteY48" fmla="*/ 753760 h 817080"/>
                <a:gd name="connsiteX49" fmla="*/ 274052 w 856334"/>
                <a:gd name="connsiteY49" fmla="*/ 644099 h 817080"/>
                <a:gd name="connsiteX50" fmla="*/ 251838 w 856334"/>
                <a:gd name="connsiteY50" fmla="*/ 627929 h 817080"/>
                <a:gd name="connsiteX51" fmla="*/ 134545 w 856334"/>
                <a:gd name="connsiteY51" fmla="*/ 621910 h 817080"/>
                <a:gd name="connsiteX52" fmla="*/ 164970 w 856334"/>
                <a:gd name="connsiteY52" fmla="*/ 508496 h 817080"/>
                <a:gd name="connsiteX53" fmla="*/ 156482 w 856334"/>
                <a:gd name="connsiteY53" fmla="*/ 482403 h 817080"/>
                <a:gd name="connsiteX54" fmla="*/ 65233 w 856334"/>
                <a:gd name="connsiteY54" fmla="*/ 408532 h 817080"/>
                <a:gd name="connsiteX55" fmla="*/ 156482 w 856334"/>
                <a:gd name="connsiteY55" fmla="*/ 334660 h 817080"/>
                <a:gd name="connsiteX56" fmla="*/ 164970 w 856334"/>
                <a:gd name="connsiteY56" fmla="*/ 308567 h 817080"/>
                <a:gd name="connsiteX57" fmla="*/ 134545 w 856334"/>
                <a:gd name="connsiteY57" fmla="*/ 195153 h 817080"/>
                <a:gd name="connsiteX58" fmla="*/ 251838 w 856334"/>
                <a:gd name="connsiteY58" fmla="*/ 189134 h 817080"/>
                <a:gd name="connsiteX59" fmla="*/ 274052 w 856334"/>
                <a:gd name="connsiteY59" fmla="*/ 172964 h 817080"/>
                <a:gd name="connsiteX60" fmla="*/ 316013 w 856334"/>
                <a:gd name="connsiteY60" fmla="*/ 63303 h 817080"/>
                <a:gd name="connsiteX61" fmla="*/ 414415 w 856334"/>
                <a:gd name="connsiteY61" fmla="*/ 127402 h 817080"/>
                <a:gd name="connsiteX62" fmla="*/ 441919 w 856334"/>
                <a:gd name="connsiteY62" fmla="*/ 127402 h 817080"/>
                <a:gd name="connsiteX63" fmla="*/ 540322 w 856334"/>
                <a:gd name="connsiteY63" fmla="*/ 63303 h 817080"/>
                <a:gd name="connsiteX64" fmla="*/ 582282 w 856334"/>
                <a:gd name="connsiteY64" fmla="*/ 172964 h 817080"/>
                <a:gd name="connsiteX65" fmla="*/ 604496 w 856334"/>
                <a:gd name="connsiteY65" fmla="*/ 189134 h 817080"/>
                <a:gd name="connsiteX66" fmla="*/ 721789 w 856334"/>
                <a:gd name="connsiteY66" fmla="*/ 195153 h 817080"/>
                <a:gd name="connsiteX67" fmla="*/ 691364 w 856334"/>
                <a:gd name="connsiteY67" fmla="*/ 308567 h 817080"/>
                <a:gd name="connsiteX68" fmla="*/ 699852 w 856334"/>
                <a:gd name="connsiteY68" fmla="*/ 334660 h 817080"/>
                <a:gd name="connsiteX69" fmla="*/ 791102 w 856334"/>
                <a:gd name="connsiteY69" fmla="*/ 408532 h 817080"/>
                <a:gd name="connsiteX70" fmla="*/ 699852 w 856334"/>
                <a:gd name="connsiteY70" fmla="*/ 482403 h 817080"/>
                <a:gd name="connsiteX71" fmla="*/ 691364 w 856334"/>
                <a:gd name="connsiteY71" fmla="*/ 508496 h 817080"/>
                <a:gd name="connsiteX72" fmla="*/ 721789 w 856334"/>
                <a:gd name="connsiteY72" fmla="*/ 621910 h 817080"/>
                <a:gd name="connsiteX73" fmla="*/ 604496 w 856334"/>
                <a:gd name="connsiteY73" fmla="*/ 627929 h 81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856334" h="817080">
                  <a:moveTo>
                    <a:pt x="744255" y="511241"/>
                  </a:moveTo>
                  <a:lnTo>
                    <a:pt x="846990" y="428101"/>
                  </a:lnTo>
                  <a:cubicBezTo>
                    <a:pt x="852884" y="423341"/>
                    <a:pt x="856334" y="416138"/>
                    <a:pt x="856334" y="408532"/>
                  </a:cubicBezTo>
                  <a:cubicBezTo>
                    <a:pt x="856334" y="400925"/>
                    <a:pt x="852884" y="393722"/>
                    <a:pt x="846990" y="388962"/>
                  </a:cubicBezTo>
                  <a:lnTo>
                    <a:pt x="744255" y="305822"/>
                  </a:lnTo>
                  <a:lnTo>
                    <a:pt x="778508" y="178153"/>
                  </a:lnTo>
                  <a:cubicBezTo>
                    <a:pt x="780473" y="170823"/>
                    <a:pt x="779037" y="162965"/>
                    <a:pt x="774554" y="156820"/>
                  </a:cubicBezTo>
                  <a:cubicBezTo>
                    <a:pt x="770071" y="150674"/>
                    <a:pt x="763069" y="146846"/>
                    <a:pt x="755488" y="146468"/>
                  </a:cubicBezTo>
                  <a:lnTo>
                    <a:pt x="623462" y="139668"/>
                  </a:lnTo>
                  <a:lnTo>
                    <a:pt x="576237" y="16179"/>
                  </a:lnTo>
                  <a:cubicBezTo>
                    <a:pt x="573542" y="9077"/>
                    <a:pt x="567750" y="3586"/>
                    <a:pt x="560496" y="1219"/>
                  </a:cubicBezTo>
                  <a:cubicBezTo>
                    <a:pt x="553293" y="-1098"/>
                    <a:pt x="545334" y="-91"/>
                    <a:pt x="538987" y="4065"/>
                  </a:cubicBezTo>
                  <a:lnTo>
                    <a:pt x="428167" y="76249"/>
                  </a:lnTo>
                  <a:lnTo>
                    <a:pt x="317373" y="4090"/>
                  </a:lnTo>
                  <a:cubicBezTo>
                    <a:pt x="311026" y="-66"/>
                    <a:pt x="303117" y="-1073"/>
                    <a:pt x="295863" y="1244"/>
                  </a:cubicBezTo>
                  <a:cubicBezTo>
                    <a:pt x="288610" y="3612"/>
                    <a:pt x="282817" y="9102"/>
                    <a:pt x="280122" y="16205"/>
                  </a:cubicBezTo>
                  <a:lnTo>
                    <a:pt x="232898" y="139693"/>
                  </a:lnTo>
                  <a:lnTo>
                    <a:pt x="100871" y="146493"/>
                  </a:lnTo>
                  <a:cubicBezTo>
                    <a:pt x="93290" y="146896"/>
                    <a:pt x="86288" y="150699"/>
                    <a:pt x="81805" y="156845"/>
                  </a:cubicBezTo>
                  <a:cubicBezTo>
                    <a:pt x="77322" y="162990"/>
                    <a:pt x="75886" y="170849"/>
                    <a:pt x="77851" y="178178"/>
                  </a:cubicBezTo>
                  <a:lnTo>
                    <a:pt x="112104" y="305847"/>
                  </a:lnTo>
                  <a:lnTo>
                    <a:pt x="9369" y="388987"/>
                  </a:lnTo>
                  <a:cubicBezTo>
                    <a:pt x="3451" y="393722"/>
                    <a:pt x="0" y="400925"/>
                    <a:pt x="0" y="408532"/>
                  </a:cubicBezTo>
                  <a:cubicBezTo>
                    <a:pt x="0" y="416138"/>
                    <a:pt x="3451" y="423341"/>
                    <a:pt x="9344" y="428101"/>
                  </a:cubicBezTo>
                  <a:lnTo>
                    <a:pt x="112079" y="511241"/>
                  </a:lnTo>
                  <a:lnTo>
                    <a:pt x="77826" y="638911"/>
                  </a:lnTo>
                  <a:cubicBezTo>
                    <a:pt x="75861" y="646240"/>
                    <a:pt x="77297" y="654098"/>
                    <a:pt x="81780" y="660244"/>
                  </a:cubicBezTo>
                  <a:cubicBezTo>
                    <a:pt x="86263" y="666389"/>
                    <a:pt x="93265" y="670217"/>
                    <a:pt x="100846" y="670595"/>
                  </a:cubicBezTo>
                  <a:lnTo>
                    <a:pt x="232873" y="677395"/>
                  </a:lnTo>
                  <a:lnTo>
                    <a:pt x="280097" y="800884"/>
                  </a:lnTo>
                  <a:cubicBezTo>
                    <a:pt x="282792" y="807986"/>
                    <a:pt x="288585" y="813477"/>
                    <a:pt x="295838" y="815845"/>
                  </a:cubicBezTo>
                  <a:cubicBezTo>
                    <a:pt x="303092" y="818187"/>
                    <a:pt x="311026" y="817179"/>
                    <a:pt x="317347" y="812998"/>
                  </a:cubicBezTo>
                  <a:lnTo>
                    <a:pt x="428167" y="740815"/>
                  </a:lnTo>
                  <a:lnTo>
                    <a:pt x="538962" y="812973"/>
                  </a:lnTo>
                  <a:cubicBezTo>
                    <a:pt x="543092" y="815668"/>
                    <a:pt x="547878" y="817053"/>
                    <a:pt x="552713" y="817053"/>
                  </a:cubicBezTo>
                  <a:cubicBezTo>
                    <a:pt x="555333" y="817053"/>
                    <a:pt x="557952" y="816625"/>
                    <a:pt x="560496" y="815819"/>
                  </a:cubicBezTo>
                  <a:cubicBezTo>
                    <a:pt x="567750" y="813452"/>
                    <a:pt x="573542" y="807961"/>
                    <a:pt x="576237" y="800859"/>
                  </a:cubicBezTo>
                  <a:lnTo>
                    <a:pt x="623462" y="677370"/>
                  </a:lnTo>
                  <a:lnTo>
                    <a:pt x="755488" y="670570"/>
                  </a:lnTo>
                  <a:cubicBezTo>
                    <a:pt x="763069" y="670167"/>
                    <a:pt x="770071" y="666364"/>
                    <a:pt x="774554" y="660218"/>
                  </a:cubicBezTo>
                  <a:cubicBezTo>
                    <a:pt x="779037" y="654073"/>
                    <a:pt x="780473" y="646215"/>
                    <a:pt x="778508" y="638886"/>
                  </a:cubicBezTo>
                  <a:lnTo>
                    <a:pt x="744255" y="511241"/>
                  </a:lnTo>
                  <a:close/>
                  <a:moveTo>
                    <a:pt x="604496" y="627929"/>
                  </a:moveTo>
                  <a:cubicBezTo>
                    <a:pt x="594548" y="628458"/>
                    <a:pt x="585833" y="634780"/>
                    <a:pt x="582282" y="644099"/>
                  </a:cubicBezTo>
                  <a:lnTo>
                    <a:pt x="540322" y="753760"/>
                  </a:lnTo>
                  <a:lnTo>
                    <a:pt x="441919" y="689661"/>
                  </a:lnTo>
                  <a:cubicBezTo>
                    <a:pt x="437738" y="686941"/>
                    <a:pt x="432927" y="685581"/>
                    <a:pt x="428167" y="685581"/>
                  </a:cubicBezTo>
                  <a:cubicBezTo>
                    <a:pt x="423407" y="685581"/>
                    <a:pt x="418596" y="686941"/>
                    <a:pt x="414415" y="689661"/>
                  </a:cubicBezTo>
                  <a:lnTo>
                    <a:pt x="316013" y="753760"/>
                  </a:lnTo>
                  <a:lnTo>
                    <a:pt x="274052" y="644099"/>
                  </a:lnTo>
                  <a:cubicBezTo>
                    <a:pt x="270501" y="634805"/>
                    <a:pt x="261786" y="628458"/>
                    <a:pt x="251838" y="627929"/>
                  </a:cubicBezTo>
                  <a:lnTo>
                    <a:pt x="134545" y="621910"/>
                  </a:lnTo>
                  <a:lnTo>
                    <a:pt x="164970" y="508496"/>
                  </a:lnTo>
                  <a:cubicBezTo>
                    <a:pt x="167564" y="498900"/>
                    <a:pt x="164240" y="488674"/>
                    <a:pt x="156482" y="482403"/>
                  </a:cubicBezTo>
                  <a:lnTo>
                    <a:pt x="65233" y="408532"/>
                  </a:lnTo>
                  <a:lnTo>
                    <a:pt x="156482" y="334660"/>
                  </a:lnTo>
                  <a:cubicBezTo>
                    <a:pt x="164240" y="328389"/>
                    <a:pt x="167539" y="318163"/>
                    <a:pt x="164970" y="308567"/>
                  </a:cubicBezTo>
                  <a:lnTo>
                    <a:pt x="134545" y="195153"/>
                  </a:lnTo>
                  <a:lnTo>
                    <a:pt x="251838" y="189134"/>
                  </a:lnTo>
                  <a:cubicBezTo>
                    <a:pt x="261786" y="188605"/>
                    <a:pt x="270501" y="182283"/>
                    <a:pt x="274052" y="172964"/>
                  </a:cubicBezTo>
                  <a:lnTo>
                    <a:pt x="316013" y="63303"/>
                  </a:lnTo>
                  <a:lnTo>
                    <a:pt x="414415" y="127402"/>
                  </a:lnTo>
                  <a:cubicBezTo>
                    <a:pt x="422777" y="132868"/>
                    <a:pt x="433557" y="132868"/>
                    <a:pt x="441919" y="127402"/>
                  </a:cubicBezTo>
                  <a:lnTo>
                    <a:pt x="540322" y="63303"/>
                  </a:lnTo>
                  <a:lnTo>
                    <a:pt x="582282" y="172964"/>
                  </a:lnTo>
                  <a:cubicBezTo>
                    <a:pt x="585833" y="182258"/>
                    <a:pt x="594548" y="188605"/>
                    <a:pt x="604496" y="189134"/>
                  </a:cubicBezTo>
                  <a:lnTo>
                    <a:pt x="721789" y="195153"/>
                  </a:lnTo>
                  <a:lnTo>
                    <a:pt x="691364" y="308567"/>
                  </a:lnTo>
                  <a:cubicBezTo>
                    <a:pt x="688770" y="318163"/>
                    <a:pt x="692094" y="328389"/>
                    <a:pt x="699852" y="334660"/>
                  </a:cubicBezTo>
                  <a:lnTo>
                    <a:pt x="791102" y="408532"/>
                  </a:lnTo>
                  <a:lnTo>
                    <a:pt x="699852" y="482403"/>
                  </a:lnTo>
                  <a:cubicBezTo>
                    <a:pt x="692094" y="488674"/>
                    <a:pt x="688795" y="498900"/>
                    <a:pt x="691364" y="508496"/>
                  </a:cubicBezTo>
                  <a:lnTo>
                    <a:pt x="721789" y="621910"/>
                  </a:lnTo>
                  <a:lnTo>
                    <a:pt x="604496" y="627929"/>
                  </a:lnTo>
                  <a:close/>
                </a:path>
              </a:pathLst>
            </a:custGeom>
            <a:grpFill/>
            <a:ln w="25152" cap="flat">
              <a:noFill/>
              <a:prstDash val="solid"/>
              <a:miter/>
            </a:ln>
          </p:spPr>
          <p:txBody>
            <a:bodyPr rtlCol="0" anchor="ctr"/>
            <a:lstStyle/>
            <a:p>
              <a:endParaRPr lang="en-US"/>
            </a:p>
          </p:txBody>
        </p:sp>
      </p:grpSp>
      <p:grpSp>
        <p:nvGrpSpPr>
          <p:cNvPr id="73" name="Group 72">
            <a:extLst>
              <a:ext uri="{FF2B5EF4-FFF2-40B4-BE49-F238E27FC236}">
                <a16:creationId xmlns:a16="http://schemas.microsoft.com/office/drawing/2014/main" id="{E038C137-C733-1E43-87BF-AA18C30B1769}"/>
              </a:ext>
            </a:extLst>
          </p:cNvPr>
          <p:cNvGrpSpPr/>
          <p:nvPr/>
        </p:nvGrpSpPr>
        <p:grpSpPr>
          <a:xfrm>
            <a:off x="2084387" y="5424603"/>
            <a:ext cx="619821" cy="613284"/>
            <a:chOff x="3723136" y="3514229"/>
            <a:chExt cx="1085919" cy="1074467"/>
          </a:xfrm>
          <a:solidFill>
            <a:schemeClr val="accent1"/>
          </a:solidFill>
        </p:grpSpPr>
        <p:sp>
          <p:nvSpPr>
            <p:cNvPr id="74" name="Graphic 24">
              <a:extLst>
                <a:ext uri="{FF2B5EF4-FFF2-40B4-BE49-F238E27FC236}">
                  <a16:creationId xmlns:a16="http://schemas.microsoft.com/office/drawing/2014/main" id="{6FF7736B-9F30-534F-8C01-E0281C50EAD0}"/>
                </a:ext>
              </a:extLst>
            </p:cNvPr>
            <p:cNvSpPr/>
            <p:nvPr/>
          </p:nvSpPr>
          <p:spPr>
            <a:xfrm>
              <a:off x="4559396" y="3676780"/>
              <a:ext cx="249659" cy="848104"/>
            </a:xfrm>
            <a:custGeom>
              <a:avLst/>
              <a:gdLst>
                <a:gd name="connsiteX0" fmla="*/ 247955 w 249659"/>
                <a:gd name="connsiteY0" fmla="*/ 367367 h 848104"/>
                <a:gd name="connsiteX1" fmla="*/ 91692 w 249659"/>
                <a:gd name="connsiteY1" fmla="*/ 35761 h 848104"/>
                <a:gd name="connsiteX2" fmla="*/ 200253 w 249659"/>
                <a:gd name="connsiteY2" fmla="*/ 47140 h 848104"/>
                <a:gd name="connsiteX3" fmla="*/ 218347 w 249659"/>
                <a:gd name="connsiteY3" fmla="*/ 32510 h 848104"/>
                <a:gd name="connsiteX4" fmla="*/ 203543 w 249659"/>
                <a:gd name="connsiteY4" fmla="*/ 14630 h 848104"/>
                <a:gd name="connsiteX5" fmla="*/ 43991 w 249659"/>
                <a:gd name="connsiteY5" fmla="*/ 0 h 848104"/>
                <a:gd name="connsiteX6" fmla="*/ 32477 w 249659"/>
                <a:gd name="connsiteY6" fmla="*/ 4877 h 848104"/>
                <a:gd name="connsiteX7" fmla="*/ 27542 w 249659"/>
                <a:gd name="connsiteY7" fmla="*/ 16255 h 848104"/>
                <a:gd name="connsiteX8" fmla="*/ 24252 w 249659"/>
                <a:gd name="connsiteY8" fmla="*/ 160926 h 848104"/>
                <a:gd name="connsiteX9" fmla="*/ 40701 w 249659"/>
                <a:gd name="connsiteY9" fmla="*/ 177181 h 848104"/>
                <a:gd name="connsiteX10" fmla="*/ 40701 w 249659"/>
                <a:gd name="connsiteY10" fmla="*/ 177181 h 848104"/>
                <a:gd name="connsiteX11" fmla="*/ 57150 w 249659"/>
                <a:gd name="connsiteY11" fmla="*/ 160926 h 848104"/>
                <a:gd name="connsiteX12" fmla="*/ 58795 w 249659"/>
                <a:gd name="connsiteY12" fmla="*/ 52017 h 848104"/>
                <a:gd name="connsiteX13" fmla="*/ 213413 w 249659"/>
                <a:gd name="connsiteY13" fmla="*/ 372244 h 848104"/>
                <a:gd name="connsiteX14" fmla="*/ 6159 w 249659"/>
                <a:gd name="connsiteY14" fmla="*/ 819261 h 848104"/>
                <a:gd name="connsiteX15" fmla="*/ 2869 w 249659"/>
                <a:gd name="connsiteY15" fmla="*/ 842018 h 848104"/>
                <a:gd name="connsiteX16" fmla="*/ 25897 w 249659"/>
                <a:gd name="connsiteY16" fmla="*/ 845269 h 848104"/>
                <a:gd name="connsiteX17" fmla="*/ 247955 w 249659"/>
                <a:gd name="connsiteY17" fmla="*/ 367367 h 848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9659" h="848104">
                  <a:moveTo>
                    <a:pt x="247955" y="367367"/>
                  </a:moveTo>
                  <a:cubicBezTo>
                    <a:pt x="238086" y="240577"/>
                    <a:pt x="182160" y="123539"/>
                    <a:pt x="91692" y="35761"/>
                  </a:cubicBezTo>
                  <a:lnTo>
                    <a:pt x="200253" y="47140"/>
                  </a:lnTo>
                  <a:cubicBezTo>
                    <a:pt x="208478" y="48766"/>
                    <a:pt x="216702" y="42263"/>
                    <a:pt x="218347" y="32510"/>
                  </a:cubicBezTo>
                  <a:cubicBezTo>
                    <a:pt x="219992" y="24383"/>
                    <a:pt x="213413" y="16255"/>
                    <a:pt x="203543" y="14630"/>
                  </a:cubicBezTo>
                  <a:cubicBezTo>
                    <a:pt x="203543" y="14630"/>
                    <a:pt x="43991" y="0"/>
                    <a:pt x="43991" y="0"/>
                  </a:cubicBezTo>
                  <a:cubicBezTo>
                    <a:pt x="40701" y="0"/>
                    <a:pt x="35767" y="1626"/>
                    <a:pt x="32477" y="4877"/>
                  </a:cubicBezTo>
                  <a:cubicBezTo>
                    <a:pt x="29187" y="8128"/>
                    <a:pt x="27542" y="13004"/>
                    <a:pt x="27542" y="16255"/>
                  </a:cubicBezTo>
                  <a:lnTo>
                    <a:pt x="24252" y="160926"/>
                  </a:lnTo>
                  <a:cubicBezTo>
                    <a:pt x="24252" y="170679"/>
                    <a:pt x="30832" y="177181"/>
                    <a:pt x="40701" y="177181"/>
                  </a:cubicBezTo>
                  <a:cubicBezTo>
                    <a:pt x="40701" y="177181"/>
                    <a:pt x="40701" y="177181"/>
                    <a:pt x="40701" y="177181"/>
                  </a:cubicBezTo>
                  <a:cubicBezTo>
                    <a:pt x="48926" y="177181"/>
                    <a:pt x="57150" y="170679"/>
                    <a:pt x="57150" y="160926"/>
                  </a:cubicBezTo>
                  <a:lnTo>
                    <a:pt x="58795" y="52017"/>
                  </a:lnTo>
                  <a:cubicBezTo>
                    <a:pt x="149263" y="136543"/>
                    <a:pt x="203543" y="248704"/>
                    <a:pt x="213413" y="372244"/>
                  </a:cubicBezTo>
                  <a:cubicBezTo>
                    <a:pt x="228216" y="547799"/>
                    <a:pt x="150907" y="715228"/>
                    <a:pt x="6159" y="819261"/>
                  </a:cubicBezTo>
                  <a:cubicBezTo>
                    <a:pt x="-421" y="824137"/>
                    <a:pt x="-2065" y="835516"/>
                    <a:pt x="2869" y="842018"/>
                  </a:cubicBezTo>
                  <a:cubicBezTo>
                    <a:pt x="7804" y="848520"/>
                    <a:pt x="19318" y="850146"/>
                    <a:pt x="25897" y="845269"/>
                  </a:cubicBezTo>
                  <a:cubicBezTo>
                    <a:pt x="180515" y="733108"/>
                    <a:pt x="262759" y="554302"/>
                    <a:pt x="247955" y="367367"/>
                  </a:cubicBezTo>
                  <a:close/>
                </a:path>
              </a:pathLst>
            </a:custGeom>
            <a:grpFill/>
            <a:ln w="16389" cap="flat">
              <a:noFill/>
              <a:prstDash val="solid"/>
              <a:miter/>
            </a:ln>
          </p:spPr>
          <p:txBody>
            <a:bodyPr rtlCol="0" anchor="ctr"/>
            <a:lstStyle/>
            <a:p>
              <a:endParaRPr lang="en-US"/>
            </a:p>
          </p:txBody>
        </p:sp>
        <p:sp>
          <p:nvSpPr>
            <p:cNvPr id="75" name="Graphic 24">
              <a:extLst>
                <a:ext uri="{FF2B5EF4-FFF2-40B4-BE49-F238E27FC236}">
                  <a16:creationId xmlns:a16="http://schemas.microsoft.com/office/drawing/2014/main" id="{B6B069D5-D0B3-4246-9A52-0B6B84AC6233}"/>
                </a:ext>
              </a:extLst>
            </p:cNvPr>
            <p:cNvSpPr/>
            <p:nvPr/>
          </p:nvSpPr>
          <p:spPr>
            <a:xfrm>
              <a:off x="3723136" y="3710916"/>
              <a:ext cx="220658" cy="791627"/>
            </a:xfrm>
            <a:custGeom>
              <a:avLst/>
              <a:gdLst>
                <a:gd name="connsiteX0" fmla="*/ 204210 w 220658"/>
                <a:gd name="connsiteY0" fmla="*/ 609569 h 791627"/>
                <a:gd name="connsiteX1" fmla="*/ 204210 w 220658"/>
                <a:gd name="connsiteY1" fmla="*/ 609569 h 791627"/>
                <a:gd name="connsiteX2" fmla="*/ 187762 w 220658"/>
                <a:gd name="connsiteY2" fmla="*/ 625824 h 791627"/>
                <a:gd name="connsiteX3" fmla="*/ 186117 w 220658"/>
                <a:gd name="connsiteY3" fmla="*/ 739611 h 791627"/>
                <a:gd name="connsiteX4" fmla="*/ 34789 w 220658"/>
                <a:gd name="connsiteY4" fmla="*/ 421009 h 791627"/>
                <a:gd name="connsiteX5" fmla="*/ 179537 w 220658"/>
                <a:gd name="connsiteY5" fmla="*/ 27634 h 791627"/>
                <a:gd name="connsiteX6" fmla="*/ 179537 w 220658"/>
                <a:gd name="connsiteY6" fmla="*/ 4877 h 791627"/>
                <a:gd name="connsiteX7" fmla="*/ 156509 w 220658"/>
                <a:gd name="connsiteY7" fmla="*/ 4877 h 791627"/>
                <a:gd name="connsiteX8" fmla="*/ 1891 w 220658"/>
                <a:gd name="connsiteY8" fmla="*/ 424260 h 791627"/>
                <a:gd name="connsiteX9" fmla="*/ 154864 w 220658"/>
                <a:gd name="connsiteY9" fmla="*/ 754240 h 791627"/>
                <a:gd name="connsiteX10" fmla="*/ 47948 w 220658"/>
                <a:gd name="connsiteY10" fmla="*/ 742862 h 791627"/>
                <a:gd name="connsiteX11" fmla="*/ 29854 w 220658"/>
                <a:gd name="connsiteY11" fmla="*/ 757491 h 791627"/>
                <a:gd name="connsiteX12" fmla="*/ 44658 w 220658"/>
                <a:gd name="connsiteY12" fmla="*/ 775372 h 791627"/>
                <a:gd name="connsiteX13" fmla="*/ 200921 w 220658"/>
                <a:gd name="connsiteY13" fmla="*/ 791627 h 791627"/>
                <a:gd name="connsiteX14" fmla="*/ 214079 w 220658"/>
                <a:gd name="connsiteY14" fmla="*/ 786751 h 791627"/>
                <a:gd name="connsiteX15" fmla="*/ 219014 w 220658"/>
                <a:gd name="connsiteY15" fmla="*/ 775372 h 791627"/>
                <a:gd name="connsiteX16" fmla="*/ 220659 w 220658"/>
                <a:gd name="connsiteY16" fmla="*/ 625824 h 791627"/>
                <a:gd name="connsiteX17" fmla="*/ 204210 w 220658"/>
                <a:gd name="connsiteY17" fmla="*/ 609569 h 791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0658" h="791627">
                  <a:moveTo>
                    <a:pt x="204210" y="609569"/>
                  </a:moveTo>
                  <a:cubicBezTo>
                    <a:pt x="204210" y="609569"/>
                    <a:pt x="204210" y="609569"/>
                    <a:pt x="204210" y="609569"/>
                  </a:cubicBezTo>
                  <a:cubicBezTo>
                    <a:pt x="194341" y="609569"/>
                    <a:pt x="187762" y="616071"/>
                    <a:pt x="187762" y="625824"/>
                  </a:cubicBezTo>
                  <a:lnTo>
                    <a:pt x="186117" y="739611"/>
                  </a:lnTo>
                  <a:cubicBezTo>
                    <a:pt x="98939" y="655084"/>
                    <a:pt x="44658" y="542923"/>
                    <a:pt x="34789" y="421009"/>
                  </a:cubicBezTo>
                  <a:cubicBezTo>
                    <a:pt x="23275" y="274712"/>
                    <a:pt x="75910" y="131667"/>
                    <a:pt x="179537" y="27634"/>
                  </a:cubicBezTo>
                  <a:cubicBezTo>
                    <a:pt x="186117" y="21132"/>
                    <a:pt x="186117" y="11379"/>
                    <a:pt x="179537" y="4877"/>
                  </a:cubicBezTo>
                  <a:cubicBezTo>
                    <a:pt x="172958" y="-1626"/>
                    <a:pt x="163089" y="-1626"/>
                    <a:pt x="156509" y="4877"/>
                  </a:cubicBezTo>
                  <a:cubicBezTo>
                    <a:pt x="44658" y="115412"/>
                    <a:pt x="-11268" y="268210"/>
                    <a:pt x="1891" y="424260"/>
                  </a:cubicBezTo>
                  <a:cubicBezTo>
                    <a:pt x="11761" y="549425"/>
                    <a:pt x="66041" y="664837"/>
                    <a:pt x="154864" y="754240"/>
                  </a:cubicBezTo>
                  <a:lnTo>
                    <a:pt x="47948" y="742862"/>
                  </a:lnTo>
                  <a:cubicBezTo>
                    <a:pt x="38078" y="741236"/>
                    <a:pt x="31499" y="747738"/>
                    <a:pt x="29854" y="757491"/>
                  </a:cubicBezTo>
                  <a:cubicBezTo>
                    <a:pt x="28209" y="765619"/>
                    <a:pt x="34789" y="773746"/>
                    <a:pt x="44658" y="775372"/>
                  </a:cubicBezTo>
                  <a:lnTo>
                    <a:pt x="200921" y="791627"/>
                  </a:lnTo>
                  <a:cubicBezTo>
                    <a:pt x="205855" y="791627"/>
                    <a:pt x="210790" y="790002"/>
                    <a:pt x="214079" y="786751"/>
                  </a:cubicBezTo>
                  <a:cubicBezTo>
                    <a:pt x="217369" y="783500"/>
                    <a:pt x="219014" y="778623"/>
                    <a:pt x="219014" y="775372"/>
                  </a:cubicBezTo>
                  <a:lnTo>
                    <a:pt x="220659" y="625824"/>
                  </a:lnTo>
                  <a:cubicBezTo>
                    <a:pt x="220659" y="616071"/>
                    <a:pt x="214079" y="609569"/>
                    <a:pt x="204210" y="609569"/>
                  </a:cubicBezTo>
                  <a:close/>
                </a:path>
              </a:pathLst>
            </a:custGeom>
            <a:grpFill/>
            <a:ln w="16389" cap="flat">
              <a:noFill/>
              <a:prstDash val="solid"/>
              <a:miter/>
            </a:ln>
          </p:spPr>
          <p:txBody>
            <a:bodyPr rtlCol="0" anchor="ctr"/>
            <a:lstStyle/>
            <a:p>
              <a:endParaRPr lang="en-US"/>
            </a:p>
          </p:txBody>
        </p:sp>
        <p:sp>
          <p:nvSpPr>
            <p:cNvPr id="76" name="Graphic 24">
              <a:extLst>
                <a:ext uri="{FF2B5EF4-FFF2-40B4-BE49-F238E27FC236}">
                  <a16:creationId xmlns:a16="http://schemas.microsoft.com/office/drawing/2014/main" id="{1F405E9F-E123-B44E-A360-B56EAED6209F}"/>
                </a:ext>
              </a:extLst>
            </p:cNvPr>
            <p:cNvSpPr/>
            <p:nvPr/>
          </p:nvSpPr>
          <p:spPr>
            <a:xfrm>
              <a:off x="4216843" y="3514229"/>
              <a:ext cx="32897" cy="100782"/>
            </a:xfrm>
            <a:custGeom>
              <a:avLst/>
              <a:gdLst>
                <a:gd name="connsiteX0" fmla="*/ 16449 w 32897"/>
                <a:gd name="connsiteY0" fmla="*/ 100782 h 100782"/>
                <a:gd name="connsiteX1" fmla="*/ 32897 w 32897"/>
                <a:gd name="connsiteY1" fmla="*/ 84527 h 100782"/>
                <a:gd name="connsiteX2" fmla="*/ 32897 w 32897"/>
                <a:gd name="connsiteY2" fmla="*/ 16255 h 100782"/>
                <a:gd name="connsiteX3" fmla="*/ 16449 w 32897"/>
                <a:gd name="connsiteY3" fmla="*/ 0 h 100782"/>
                <a:gd name="connsiteX4" fmla="*/ 0 w 32897"/>
                <a:gd name="connsiteY4" fmla="*/ 16255 h 100782"/>
                <a:gd name="connsiteX5" fmla="*/ 0 w 32897"/>
                <a:gd name="connsiteY5" fmla="*/ 84527 h 100782"/>
                <a:gd name="connsiteX6" fmla="*/ 16449 w 32897"/>
                <a:gd name="connsiteY6" fmla="*/ 100782 h 100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897" h="100782">
                  <a:moveTo>
                    <a:pt x="16449" y="100782"/>
                  </a:moveTo>
                  <a:cubicBezTo>
                    <a:pt x="26318" y="100782"/>
                    <a:pt x="32897" y="94280"/>
                    <a:pt x="32897" y="84527"/>
                  </a:cubicBezTo>
                  <a:lnTo>
                    <a:pt x="32897" y="16255"/>
                  </a:lnTo>
                  <a:cubicBezTo>
                    <a:pt x="32897" y="6502"/>
                    <a:pt x="26318" y="0"/>
                    <a:pt x="16449" y="0"/>
                  </a:cubicBezTo>
                  <a:cubicBezTo>
                    <a:pt x="6579" y="0"/>
                    <a:pt x="0" y="6502"/>
                    <a:pt x="0" y="16255"/>
                  </a:cubicBezTo>
                  <a:lnTo>
                    <a:pt x="0" y="84527"/>
                  </a:lnTo>
                  <a:cubicBezTo>
                    <a:pt x="0" y="92655"/>
                    <a:pt x="6579" y="100782"/>
                    <a:pt x="16449" y="100782"/>
                  </a:cubicBezTo>
                  <a:close/>
                </a:path>
              </a:pathLst>
            </a:custGeom>
            <a:grpFill/>
            <a:ln w="16389" cap="flat">
              <a:noFill/>
              <a:prstDash val="solid"/>
              <a:miter/>
            </a:ln>
          </p:spPr>
          <p:txBody>
            <a:bodyPr rtlCol="0" anchor="ctr"/>
            <a:lstStyle/>
            <a:p>
              <a:endParaRPr lang="en-US"/>
            </a:p>
          </p:txBody>
        </p:sp>
        <p:sp>
          <p:nvSpPr>
            <p:cNvPr id="77" name="Graphic 24">
              <a:extLst>
                <a:ext uri="{FF2B5EF4-FFF2-40B4-BE49-F238E27FC236}">
                  <a16:creationId xmlns:a16="http://schemas.microsoft.com/office/drawing/2014/main" id="{D4EF8C18-D4AD-864D-9434-C19EF4070497}"/>
                </a:ext>
              </a:extLst>
            </p:cNvPr>
            <p:cNvSpPr/>
            <p:nvPr/>
          </p:nvSpPr>
          <p:spPr>
            <a:xfrm>
              <a:off x="4456994" y="3632891"/>
              <a:ext cx="80598" cy="81275"/>
            </a:xfrm>
            <a:custGeom>
              <a:avLst/>
              <a:gdLst>
                <a:gd name="connsiteX0" fmla="*/ 52636 w 80598"/>
                <a:gd name="connsiteY0" fmla="*/ 4877 h 81275"/>
                <a:gd name="connsiteX1" fmla="*/ 4935 w 80598"/>
                <a:gd name="connsiteY1" fmla="*/ 53642 h 81275"/>
                <a:gd name="connsiteX2" fmla="*/ 4935 w 80598"/>
                <a:gd name="connsiteY2" fmla="*/ 76399 h 81275"/>
                <a:gd name="connsiteX3" fmla="*/ 27963 w 80598"/>
                <a:gd name="connsiteY3" fmla="*/ 76399 h 81275"/>
                <a:gd name="connsiteX4" fmla="*/ 75664 w 80598"/>
                <a:gd name="connsiteY4" fmla="*/ 27634 h 81275"/>
                <a:gd name="connsiteX5" fmla="*/ 75664 w 80598"/>
                <a:gd name="connsiteY5" fmla="*/ 4877 h 81275"/>
                <a:gd name="connsiteX6" fmla="*/ 52636 w 80598"/>
                <a:gd name="connsiteY6" fmla="*/ 4877 h 8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598" h="81275">
                  <a:moveTo>
                    <a:pt x="52636" y="4877"/>
                  </a:moveTo>
                  <a:lnTo>
                    <a:pt x="4935" y="53642"/>
                  </a:lnTo>
                  <a:cubicBezTo>
                    <a:pt x="-1645" y="60144"/>
                    <a:pt x="-1645" y="69897"/>
                    <a:pt x="4935" y="76399"/>
                  </a:cubicBezTo>
                  <a:cubicBezTo>
                    <a:pt x="11514" y="82901"/>
                    <a:pt x="21383" y="82901"/>
                    <a:pt x="27963" y="76399"/>
                  </a:cubicBezTo>
                  <a:lnTo>
                    <a:pt x="75664" y="27634"/>
                  </a:lnTo>
                  <a:cubicBezTo>
                    <a:pt x="82243" y="21132"/>
                    <a:pt x="82243" y="11379"/>
                    <a:pt x="75664" y="4877"/>
                  </a:cubicBezTo>
                  <a:cubicBezTo>
                    <a:pt x="69084" y="-1626"/>
                    <a:pt x="59215" y="-1626"/>
                    <a:pt x="52636" y="4877"/>
                  </a:cubicBezTo>
                  <a:close/>
                </a:path>
              </a:pathLst>
            </a:custGeom>
            <a:grpFill/>
            <a:ln w="16389" cap="flat">
              <a:noFill/>
              <a:prstDash val="solid"/>
              <a:miter/>
            </a:ln>
          </p:spPr>
          <p:txBody>
            <a:bodyPr rtlCol="0" anchor="ctr"/>
            <a:lstStyle/>
            <a:p>
              <a:endParaRPr lang="en-US"/>
            </a:p>
          </p:txBody>
        </p:sp>
        <p:sp>
          <p:nvSpPr>
            <p:cNvPr id="78" name="Graphic 24">
              <a:extLst>
                <a:ext uri="{FF2B5EF4-FFF2-40B4-BE49-F238E27FC236}">
                  <a16:creationId xmlns:a16="http://schemas.microsoft.com/office/drawing/2014/main" id="{58619D92-BD27-6546-BEE2-3F25B030F267}"/>
                </a:ext>
              </a:extLst>
            </p:cNvPr>
            <p:cNvSpPr/>
            <p:nvPr/>
          </p:nvSpPr>
          <p:spPr>
            <a:xfrm>
              <a:off x="3928991" y="3631266"/>
              <a:ext cx="80598" cy="81275"/>
            </a:xfrm>
            <a:custGeom>
              <a:avLst/>
              <a:gdLst>
                <a:gd name="connsiteX0" fmla="*/ 52636 w 80598"/>
                <a:gd name="connsiteY0" fmla="*/ 76399 h 81275"/>
                <a:gd name="connsiteX1" fmla="*/ 75664 w 80598"/>
                <a:gd name="connsiteY1" fmla="*/ 76399 h 81275"/>
                <a:gd name="connsiteX2" fmla="*/ 75664 w 80598"/>
                <a:gd name="connsiteY2" fmla="*/ 53642 h 81275"/>
                <a:gd name="connsiteX3" fmla="*/ 27963 w 80598"/>
                <a:gd name="connsiteY3" fmla="*/ 4877 h 81275"/>
                <a:gd name="connsiteX4" fmla="*/ 4935 w 80598"/>
                <a:gd name="connsiteY4" fmla="*/ 4877 h 81275"/>
                <a:gd name="connsiteX5" fmla="*/ 4935 w 80598"/>
                <a:gd name="connsiteY5" fmla="*/ 27634 h 81275"/>
                <a:gd name="connsiteX6" fmla="*/ 52636 w 80598"/>
                <a:gd name="connsiteY6" fmla="*/ 76399 h 8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598" h="81275">
                  <a:moveTo>
                    <a:pt x="52636" y="76399"/>
                  </a:moveTo>
                  <a:cubicBezTo>
                    <a:pt x="59215" y="82901"/>
                    <a:pt x="69085" y="82901"/>
                    <a:pt x="75664" y="76399"/>
                  </a:cubicBezTo>
                  <a:cubicBezTo>
                    <a:pt x="82243" y="69897"/>
                    <a:pt x="82243" y="60144"/>
                    <a:pt x="75664" y="53642"/>
                  </a:cubicBezTo>
                  <a:lnTo>
                    <a:pt x="27963" y="4877"/>
                  </a:lnTo>
                  <a:cubicBezTo>
                    <a:pt x="21383" y="-1626"/>
                    <a:pt x="11514" y="-1626"/>
                    <a:pt x="4935" y="4877"/>
                  </a:cubicBezTo>
                  <a:cubicBezTo>
                    <a:pt x="-1645" y="11379"/>
                    <a:pt x="-1645" y="21132"/>
                    <a:pt x="4935" y="27634"/>
                  </a:cubicBezTo>
                  <a:lnTo>
                    <a:pt x="52636" y="76399"/>
                  </a:lnTo>
                  <a:close/>
                </a:path>
              </a:pathLst>
            </a:custGeom>
            <a:grpFill/>
            <a:ln w="16389" cap="flat">
              <a:noFill/>
              <a:prstDash val="solid"/>
              <a:miter/>
            </a:ln>
          </p:spPr>
          <p:txBody>
            <a:bodyPr rtlCol="0" anchor="ctr"/>
            <a:lstStyle/>
            <a:p>
              <a:endParaRPr lang="en-US"/>
            </a:p>
          </p:txBody>
        </p:sp>
        <p:sp>
          <p:nvSpPr>
            <p:cNvPr id="79" name="Graphic 24">
              <a:extLst>
                <a:ext uri="{FF2B5EF4-FFF2-40B4-BE49-F238E27FC236}">
                  <a16:creationId xmlns:a16="http://schemas.microsoft.com/office/drawing/2014/main" id="{12ED3E8E-D3D7-3F4F-B6DF-EA66008C660F}"/>
                </a:ext>
              </a:extLst>
            </p:cNvPr>
            <p:cNvSpPr/>
            <p:nvPr/>
          </p:nvSpPr>
          <p:spPr>
            <a:xfrm>
              <a:off x="4344819" y="3543868"/>
              <a:ext cx="59154" cy="95146"/>
            </a:xfrm>
            <a:custGeom>
              <a:avLst/>
              <a:gdLst>
                <a:gd name="connsiteX0" fmla="*/ 10193 w 59154"/>
                <a:gd name="connsiteY0" fmla="*/ 93900 h 95146"/>
                <a:gd name="connsiteX1" fmla="*/ 31576 w 59154"/>
                <a:gd name="connsiteY1" fmla="*/ 85773 h 95146"/>
                <a:gd name="connsiteX2" fmla="*/ 57894 w 59154"/>
                <a:gd name="connsiteY2" fmla="*/ 22378 h 95146"/>
                <a:gd name="connsiteX3" fmla="*/ 49670 w 59154"/>
                <a:gd name="connsiteY3" fmla="*/ 1246 h 95146"/>
                <a:gd name="connsiteX4" fmla="*/ 28287 w 59154"/>
                <a:gd name="connsiteY4" fmla="*/ 9373 h 95146"/>
                <a:gd name="connsiteX5" fmla="*/ 1969 w 59154"/>
                <a:gd name="connsiteY5" fmla="*/ 72769 h 95146"/>
                <a:gd name="connsiteX6" fmla="*/ 10193 w 59154"/>
                <a:gd name="connsiteY6" fmla="*/ 93900 h 9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54" h="95146">
                  <a:moveTo>
                    <a:pt x="10193" y="93900"/>
                  </a:moveTo>
                  <a:cubicBezTo>
                    <a:pt x="18418" y="97151"/>
                    <a:pt x="28287" y="93900"/>
                    <a:pt x="31576" y="85773"/>
                  </a:cubicBezTo>
                  <a:lnTo>
                    <a:pt x="57894" y="22378"/>
                  </a:lnTo>
                  <a:cubicBezTo>
                    <a:pt x="61184" y="14250"/>
                    <a:pt x="57894" y="4497"/>
                    <a:pt x="49670" y="1246"/>
                  </a:cubicBezTo>
                  <a:cubicBezTo>
                    <a:pt x="41446" y="-2005"/>
                    <a:pt x="31576" y="1246"/>
                    <a:pt x="28287" y="9373"/>
                  </a:cubicBezTo>
                  <a:lnTo>
                    <a:pt x="1969" y="72769"/>
                  </a:lnTo>
                  <a:cubicBezTo>
                    <a:pt x="-2966" y="80896"/>
                    <a:pt x="1969" y="90649"/>
                    <a:pt x="10193" y="93900"/>
                  </a:cubicBezTo>
                  <a:close/>
                </a:path>
              </a:pathLst>
            </a:custGeom>
            <a:grpFill/>
            <a:ln w="16389" cap="flat">
              <a:noFill/>
              <a:prstDash val="solid"/>
              <a:miter/>
            </a:ln>
          </p:spPr>
          <p:txBody>
            <a:bodyPr rtlCol="0" anchor="ctr"/>
            <a:lstStyle/>
            <a:p>
              <a:endParaRPr lang="en-US"/>
            </a:p>
          </p:txBody>
        </p:sp>
        <p:sp>
          <p:nvSpPr>
            <p:cNvPr id="80" name="Graphic 24">
              <a:extLst>
                <a:ext uri="{FF2B5EF4-FFF2-40B4-BE49-F238E27FC236}">
                  <a16:creationId xmlns:a16="http://schemas.microsoft.com/office/drawing/2014/main" id="{4212E910-5AD9-8A49-8611-9ACD0F6CEE81}"/>
                </a:ext>
              </a:extLst>
            </p:cNvPr>
            <p:cNvSpPr/>
            <p:nvPr/>
          </p:nvSpPr>
          <p:spPr>
            <a:xfrm>
              <a:off x="4059320" y="3545520"/>
              <a:ext cx="58446" cy="95819"/>
            </a:xfrm>
            <a:custGeom>
              <a:avLst/>
              <a:gdLst>
                <a:gd name="connsiteX0" fmla="*/ 27579 w 58446"/>
                <a:gd name="connsiteY0" fmla="*/ 85746 h 95819"/>
                <a:gd name="connsiteX1" fmla="*/ 48962 w 58446"/>
                <a:gd name="connsiteY1" fmla="*/ 93874 h 95819"/>
                <a:gd name="connsiteX2" fmla="*/ 57186 w 58446"/>
                <a:gd name="connsiteY2" fmla="*/ 72742 h 95819"/>
                <a:gd name="connsiteX3" fmla="*/ 30868 w 58446"/>
                <a:gd name="connsiteY3" fmla="*/ 10972 h 95819"/>
                <a:gd name="connsiteX4" fmla="*/ 9485 w 58446"/>
                <a:gd name="connsiteY4" fmla="*/ 1219 h 95819"/>
                <a:gd name="connsiteX5" fmla="*/ 1261 w 58446"/>
                <a:gd name="connsiteY5" fmla="*/ 22351 h 95819"/>
                <a:gd name="connsiteX6" fmla="*/ 27579 w 58446"/>
                <a:gd name="connsiteY6" fmla="*/ 85746 h 95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446" h="95819">
                  <a:moveTo>
                    <a:pt x="27579" y="85746"/>
                  </a:moveTo>
                  <a:cubicBezTo>
                    <a:pt x="30868" y="93874"/>
                    <a:pt x="40737" y="98750"/>
                    <a:pt x="48962" y="93874"/>
                  </a:cubicBezTo>
                  <a:cubicBezTo>
                    <a:pt x="57186" y="90623"/>
                    <a:pt x="60476" y="80870"/>
                    <a:pt x="57186" y="72742"/>
                  </a:cubicBezTo>
                  <a:lnTo>
                    <a:pt x="30868" y="10972"/>
                  </a:lnTo>
                  <a:cubicBezTo>
                    <a:pt x="27579" y="1219"/>
                    <a:pt x="17709" y="-2032"/>
                    <a:pt x="9485" y="1219"/>
                  </a:cubicBezTo>
                  <a:cubicBezTo>
                    <a:pt x="1261" y="4470"/>
                    <a:pt x="-2029" y="14223"/>
                    <a:pt x="1261" y="22351"/>
                  </a:cubicBezTo>
                  <a:lnTo>
                    <a:pt x="27579" y="85746"/>
                  </a:lnTo>
                  <a:close/>
                </a:path>
              </a:pathLst>
            </a:custGeom>
            <a:grpFill/>
            <a:ln w="16389" cap="flat">
              <a:noFill/>
              <a:prstDash val="solid"/>
              <a:miter/>
            </a:ln>
          </p:spPr>
          <p:txBody>
            <a:bodyPr rtlCol="0" anchor="ctr"/>
            <a:lstStyle/>
            <a:p>
              <a:endParaRPr lang="en-US"/>
            </a:p>
          </p:txBody>
        </p:sp>
        <p:sp>
          <p:nvSpPr>
            <p:cNvPr id="81" name="Graphic 24">
              <a:extLst>
                <a:ext uri="{FF2B5EF4-FFF2-40B4-BE49-F238E27FC236}">
                  <a16:creationId xmlns:a16="http://schemas.microsoft.com/office/drawing/2014/main" id="{8920AB33-3F26-2144-8A5F-1CC343613127}"/>
                </a:ext>
              </a:extLst>
            </p:cNvPr>
            <p:cNvSpPr/>
            <p:nvPr/>
          </p:nvSpPr>
          <p:spPr>
            <a:xfrm>
              <a:off x="3950667" y="3642136"/>
              <a:ext cx="565541" cy="946560"/>
            </a:xfrm>
            <a:custGeom>
              <a:avLst/>
              <a:gdLst>
                <a:gd name="connsiteX0" fmla="*/ 266176 w 565541"/>
                <a:gd name="connsiteY0" fmla="*/ 509 h 946560"/>
                <a:gd name="connsiteX1" fmla="*/ 1352 w 565541"/>
                <a:gd name="connsiteY1" fmla="*/ 260592 h 946560"/>
                <a:gd name="connsiteX2" fmla="*/ 81950 w 565541"/>
                <a:gd name="connsiteY2" fmla="*/ 488164 h 946560"/>
                <a:gd name="connsiteX3" fmla="*/ 160904 w 565541"/>
                <a:gd name="connsiteY3" fmla="*/ 657218 h 946560"/>
                <a:gd name="connsiteX4" fmla="*/ 131296 w 565541"/>
                <a:gd name="connsiteY4" fmla="*/ 657218 h 946560"/>
                <a:gd name="connsiteX5" fmla="*/ 113203 w 565541"/>
                <a:gd name="connsiteY5" fmla="*/ 665346 h 946560"/>
                <a:gd name="connsiteX6" fmla="*/ 104978 w 565541"/>
                <a:gd name="connsiteY6" fmla="*/ 683227 h 946560"/>
                <a:gd name="connsiteX7" fmla="*/ 104978 w 565541"/>
                <a:gd name="connsiteY7" fmla="*/ 793762 h 946560"/>
                <a:gd name="connsiteX8" fmla="*/ 131296 w 565541"/>
                <a:gd name="connsiteY8" fmla="*/ 819770 h 946560"/>
                <a:gd name="connsiteX9" fmla="*/ 131296 w 565541"/>
                <a:gd name="connsiteY9" fmla="*/ 819770 h 946560"/>
                <a:gd name="connsiteX10" fmla="*/ 202026 w 565541"/>
                <a:gd name="connsiteY10" fmla="*/ 819770 h 946560"/>
                <a:gd name="connsiteX11" fmla="*/ 202026 w 565541"/>
                <a:gd name="connsiteY11" fmla="*/ 858782 h 946560"/>
                <a:gd name="connsiteX12" fmla="*/ 169128 w 565541"/>
                <a:gd name="connsiteY12" fmla="*/ 858782 h 946560"/>
                <a:gd name="connsiteX13" fmla="*/ 152680 w 565541"/>
                <a:gd name="connsiteY13" fmla="*/ 875038 h 946560"/>
                <a:gd name="connsiteX14" fmla="*/ 169128 w 565541"/>
                <a:gd name="connsiteY14" fmla="*/ 891293 h 946560"/>
                <a:gd name="connsiteX15" fmla="*/ 169128 w 565541"/>
                <a:gd name="connsiteY15" fmla="*/ 891293 h 946560"/>
                <a:gd name="connsiteX16" fmla="*/ 203671 w 565541"/>
                <a:gd name="connsiteY16" fmla="*/ 891293 h 946560"/>
                <a:gd name="connsiteX17" fmla="*/ 266176 w 565541"/>
                <a:gd name="connsiteY17" fmla="*/ 946560 h 946560"/>
                <a:gd name="connsiteX18" fmla="*/ 266176 w 565541"/>
                <a:gd name="connsiteY18" fmla="*/ 946560 h 946560"/>
                <a:gd name="connsiteX19" fmla="*/ 302363 w 565541"/>
                <a:gd name="connsiteY19" fmla="*/ 946560 h 946560"/>
                <a:gd name="connsiteX20" fmla="*/ 364868 w 565541"/>
                <a:gd name="connsiteY20" fmla="*/ 891293 h 946560"/>
                <a:gd name="connsiteX21" fmla="*/ 399410 w 565541"/>
                <a:gd name="connsiteY21" fmla="*/ 891293 h 946560"/>
                <a:gd name="connsiteX22" fmla="*/ 415859 w 565541"/>
                <a:gd name="connsiteY22" fmla="*/ 875038 h 946560"/>
                <a:gd name="connsiteX23" fmla="*/ 399410 w 565541"/>
                <a:gd name="connsiteY23" fmla="*/ 858782 h 946560"/>
                <a:gd name="connsiteX24" fmla="*/ 399410 w 565541"/>
                <a:gd name="connsiteY24" fmla="*/ 858782 h 946560"/>
                <a:gd name="connsiteX25" fmla="*/ 366513 w 565541"/>
                <a:gd name="connsiteY25" fmla="*/ 858782 h 946560"/>
                <a:gd name="connsiteX26" fmla="*/ 366513 w 565541"/>
                <a:gd name="connsiteY26" fmla="*/ 819770 h 946560"/>
                <a:gd name="connsiteX27" fmla="*/ 437242 w 565541"/>
                <a:gd name="connsiteY27" fmla="*/ 819770 h 946560"/>
                <a:gd name="connsiteX28" fmla="*/ 463560 w 565541"/>
                <a:gd name="connsiteY28" fmla="*/ 793762 h 946560"/>
                <a:gd name="connsiteX29" fmla="*/ 463560 w 565541"/>
                <a:gd name="connsiteY29" fmla="*/ 683227 h 946560"/>
                <a:gd name="connsiteX30" fmla="*/ 437242 w 565541"/>
                <a:gd name="connsiteY30" fmla="*/ 657218 h 946560"/>
                <a:gd name="connsiteX31" fmla="*/ 407634 w 565541"/>
                <a:gd name="connsiteY31" fmla="*/ 657218 h 946560"/>
                <a:gd name="connsiteX32" fmla="*/ 486588 w 565541"/>
                <a:gd name="connsiteY32" fmla="*/ 486539 h 946560"/>
                <a:gd name="connsiteX33" fmla="*/ 565542 w 565541"/>
                <a:gd name="connsiteY33" fmla="*/ 286600 h 946560"/>
                <a:gd name="connsiteX34" fmla="*/ 266176 w 565541"/>
                <a:gd name="connsiteY34" fmla="*/ 509 h 946560"/>
                <a:gd name="connsiteX35" fmla="*/ 335260 w 565541"/>
                <a:gd name="connsiteY35" fmla="*/ 879914 h 946560"/>
                <a:gd name="connsiteX36" fmla="*/ 304008 w 565541"/>
                <a:gd name="connsiteY36" fmla="*/ 912424 h 946560"/>
                <a:gd name="connsiteX37" fmla="*/ 267821 w 565541"/>
                <a:gd name="connsiteY37" fmla="*/ 912424 h 946560"/>
                <a:gd name="connsiteX38" fmla="*/ 267821 w 565541"/>
                <a:gd name="connsiteY38" fmla="*/ 912424 h 946560"/>
                <a:gd name="connsiteX39" fmla="*/ 236568 w 565541"/>
                <a:gd name="connsiteY39" fmla="*/ 879914 h 946560"/>
                <a:gd name="connsiteX40" fmla="*/ 234923 w 565541"/>
                <a:gd name="connsiteY40" fmla="*/ 816519 h 946560"/>
                <a:gd name="connsiteX41" fmla="*/ 236568 w 565541"/>
                <a:gd name="connsiteY41" fmla="*/ 816519 h 946560"/>
                <a:gd name="connsiteX42" fmla="*/ 333615 w 565541"/>
                <a:gd name="connsiteY42" fmla="*/ 816519 h 946560"/>
                <a:gd name="connsiteX43" fmla="*/ 335260 w 565541"/>
                <a:gd name="connsiteY43" fmla="*/ 879914 h 946560"/>
                <a:gd name="connsiteX44" fmla="*/ 430663 w 565541"/>
                <a:gd name="connsiteY44" fmla="*/ 784009 h 946560"/>
                <a:gd name="connsiteX45" fmla="*/ 335260 w 565541"/>
                <a:gd name="connsiteY45" fmla="*/ 784009 h 946560"/>
                <a:gd name="connsiteX46" fmla="*/ 335260 w 565541"/>
                <a:gd name="connsiteY46" fmla="*/ 784009 h 946560"/>
                <a:gd name="connsiteX47" fmla="*/ 285914 w 565541"/>
                <a:gd name="connsiteY47" fmla="*/ 784009 h 946560"/>
                <a:gd name="connsiteX48" fmla="*/ 139521 w 565541"/>
                <a:gd name="connsiteY48" fmla="*/ 784009 h 946560"/>
                <a:gd name="connsiteX49" fmla="*/ 139521 w 565541"/>
                <a:gd name="connsiteY49" fmla="*/ 688103 h 946560"/>
                <a:gd name="connsiteX50" fmla="*/ 221764 w 565541"/>
                <a:gd name="connsiteY50" fmla="*/ 688103 h 946560"/>
                <a:gd name="connsiteX51" fmla="*/ 381316 w 565541"/>
                <a:gd name="connsiteY51" fmla="*/ 688103 h 946560"/>
                <a:gd name="connsiteX52" fmla="*/ 381316 w 565541"/>
                <a:gd name="connsiteY52" fmla="*/ 688103 h 946560"/>
                <a:gd name="connsiteX53" fmla="*/ 430663 w 565541"/>
                <a:gd name="connsiteY53" fmla="*/ 688103 h 946560"/>
                <a:gd name="connsiteX54" fmla="*/ 430663 w 565541"/>
                <a:gd name="connsiteY54" fmla="*/ 784009 h 946560"/>
                <a:gd name="connsiteX55" fmla="*/ 463560 w 565541"/>
                <a:gd name="connsiteY55" fmla="*/ 462156 h 946560"/>
                <a:gd name="connsiteX56" fmla="*/ 374737 w 565541"/>
                <a:gd name="connsiteY56" fmla="*/ 655593 h 946560"/>
                <a:gd name="connsiteX57" fmla="*/ 368158 w 565541"/>
                <a:gd name="connsiteY57" fmla="*/ 655593 h 946560"/>
                <a:gd name="connsiteX58" fmla="*/ 299073 w 565541"/>
                <a:gd name="connsiteY58" fmla="*/ 655593 h 946560"/>
                <a:gd name="connsiteX59" fmla="*/ 297428 w 565541"/>
                <a:gd name="connsiteY59" fmla="*/ 411765 h 946560"/>
                <a:gd name="connsiteX60" fmla="*/ 366513 w 565541"/>
                <a:gd name="connsiteY60" fmla="*/ 328864 h 946560"/>
                <a:gd name="connsiteX61" fmla="*/ 280979 w 565541"/>
                <a:gd name="connsiteY61" fmla="*/ 244337 h 946560"/>
                <a:gd name="connsiteX62" fmla="*/ 195446 w 565541"/>
                <a:gd name="connsiteY62" fmla="*/ 328864 h 946560"/>
                <a:gd name="connsiteX63" fmla="*/ 262886 w 565541"/>
                <a:gd name="connsiteY63" fmla="*/ 411765 h 946560"/>
                <a:gd name="connsiteX64" fmla="*/ 264531 w 565541"/>
                <a:gd name="connsiteY64" fmla="*/ 655593 h 946560"/>
                <a:gd name="connsiteX65" fmla="*/ 192157 w 565541"/>
                <a:gd name="connsiteY65" fmla="*/ 655593 h 946560"/>
                <a:gd name="connsiteX66" fmla="*/ 103334 w 565541"/>
                <a:gd name="connsiteY66" fmla="*/ 463782 h 946560"/>
                <a:gd name="connsiteX67" fmla="*/ 30959 w 565541"/>
                <a:gd name="connsiteY67" fmla="*/ 260592 h 946560"/>
                <a:gd name="connsiteX68" fmla="*/ 264531 w 565541"/>
                <a:gd name="connsiteY68" fmla="*/ 29768 h 946560"/>
                <a:gd name="connsiteX69" fmla="*/ 279335 w 565541"/>
                <a:gd name="connsiteY69" fmla="*/ 29768 h 946560"/>
                <a:gd name="connsiteX70" fmla="*/ 529355 w 565541"/>
                <a:gd name="connsiteY70" fmla="*/ 283349 h 946560"/>
                <a:gd name="connsiteX71" fmla="*/ 463560 w 565541"/>
                <a:gd name="connsiteY71" fmla="*/ 462156 h 946560"/>
                <a:gd name="connsiteX72" fmla="*/ 282624 w 565541"/>
                <a:gd name="connsiteY72" fmla="*/ 380880 h 946560"/>
                <a:gd name="connsiteX73" fmla="*/ 229988 w 565541"/>
                <a:gd name="connsiteY73" fmla="*/ 328864 h 946560"/>
                <a:gd name="connsiteX74" fmla="*/ 282624 w 565541"/>
                <a:gd name="connsiteY74" fmla="*/ 278473 h 946560"/>
                <a:gd name="connsiteX75" fmla="*/ 335260 w 565541"/>
                <a:gd name="connsiteY75" fmla="*/ 330489 h 946560"/>
                <a:gd name="connsiteX76" fmla="*/ 282624 w 565541"/>
                <a:gd name="connsiteY76" fmla="*/ 380880 h 946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565541" h="946560">
                  <a:moveTo>
                    <a:pt x="266176" y="509"/>
                  </a:moveTo>
                  <a:cubicBezTo>
                    <a:pt x="128007" y="8637"/>
                    <a:pt x="12866" y="120797"/>
                    <a:pt x="1352" y="260592"/>
                  </a:cubicBezTo>
                  <a:cubicBezTo>
                    <a:pt x="-6873" y="345119"/>
                    <a:pt x="22735" y="428020"/>
                    <a:pt x="81950" y="488164"/>
                  </a:cubicBezTo>
                  <a:cubicBezTo>
                    <a:pt x="128007" y="535304"/>
                    <a:pt x="155969" y="595449"/>
                    <a:pt x="160904" y="657218"/>
                  </a:cubicBezTo>
                  <a:lnTo>
                    <a:pt x="131296" y="657218"/>
                  </a:lnTo>
                  <a:cubicBezTo>
                    <a:pt x="124717" y="657218"/>
                    <a:pt x="118137" y="660469"/>
                    <a:pt x="113203" y="665346"/>
                  </a:cubicBezTo>
                  <a:cubicBezTo>
                    <a:pt x="108268" y="670222"/>
                    <a:pt x="104978" y="676724"/>
                    <a:pt x="104978" y="683227"/>
                  </a:cubicBezTo>
                  <a:lnTo>
                    <a:pt x="104978" y="793762"/>
                  </a:lnTo>
                  <a:cubicBezTo>
                    <a:pt x="104978" y="808391"/>
                    <a:pt x="116493" y="819770"/>
                    <a:pt x="131296" y="819770"/>
                  </a:cubicBezTo>
                  <a:cubicBezTo>
                    <a:pt x="131296" y="819770"/>
                    <a:pt x="131296" y="819770"/>
                    <a:pt x="131296" y="819770"/>
                  </a:cubicBezTo>
                  <a:lnTo>
                    <a:pt x="202026" y="819770"/>
                  </a:lnTo>
                  <a:lnTo>
                    <a:pt x="202026" y="858782"/>
                  </a:lnTo>
                  <a:lnTo>
                    <a:pt x="169128" y="858782"/>
                  </a:lnTo>
                  <a:cubicBezTo>
                    <a:pt x="159259" y="858782"/>
                    <a:pt x="152680" y="866910"/>
                    <a:pt x="152680" y="875038"/>
                  </a:cubicBezTo>
                  <a:cubicBezTo>
                    <a:pt x="152680" y="884791"/>
                    <a:pt x="159259" y="891293"/>
                    <a:pt x="169128" y="891293"/>
                  </a:cubicBezTo>
                  <a:cubicBezTo>
                    <a:pt x="169128" y="891293"/>
                    <a:pt x="169128" y="891293"/>
                    <a:pt x="169128" y="891293"/>
                  </a:cubicBezTo>
                  <a:lnTo>
                    <a:pt x="203671" y="891293"/>
                  </a:lnTo>
                  <a:cubicBezTo>
                    <a:pt x="208605" y="922178"/>
                    <a:pt x="234923" y="946560"/>
                    <a:pt x="266176" y="946560"/>
                  </a:cubicBezTo>
                  <a:cubicBezTo>
                    <a:pt x="266176" y="946560"/>
                    <a:pt x="266176" y="946560"/>
                    <a:pt x="266176" y="946560"/>
                  </a:cubicBezTo>
                  <a:lnTo>
                    <a:pt x="302363" y="946560"/>
                  </a:lnTo>
                  <a:cubicBezTo>
                    <a:pt x="333615" y="946560"/>
                    <a:pt x="359933" y="922178"/>
                    <a:pt x="364868" y="891293"/>
                  </a:cubicBezTo>
                  <a:lnTo>
                    <a:pt x="399410" y="891293"/>
                  </a:lnTo>
                  <a:cubicBezTo>
                    <a:pt x="409279" y="891293"/>
                    <a:pt x="415859" y="883165"/>
                    <a:pt x="415859" y="875038"/>
                  </a:cubicBezTo>
                  <a:cubicBezTo>
                    <a:pt x="415859" y="865284"/>
                    <a:pt x="409279" y="858782"/>
                    <a:pt x="399410" y="858782"/>
                  </a:cubicBezTo>
                  <a:cubicBezTo>
                    <a:pt x="399410" y="858782"/>
                    <a:pt x="399410" y="858782"/>
                    <a:pt x="399410" y="858782"/>
                  </a:cubicBezTo>
                  <a:lnTo>
                    <a:pt x="366513" y="858782"/>
                  </a:lnTo>
                  <a:lnTo>
                    <a:pt x="366513" y="819770"/>
                  </a:lnTo>
                  <a:lnTo>
                    <a:pt x="437242" y="819770"/>
                  </a:lnTo>
                  <a:cubicBezTo>
                    <a:pt x="452046" y="819770"/>
                    <a:pt x="463560" y="808391"/>
                    <a:pt x="463560" y="793762"/>
                  </a:cubicBezTo>
                  <a:lnTo>
                    <a:pt x="463560" y="683227"/>
                  </a:lnTo>
                  <a:cubicBezTo>
                    <a:pt x="463560" y="668597"/>
                    <a:pt x="452046" y="657218"/>
                    <a:pt x="437242" y="657218"/>
                  </a:cubicBezTo>
                  <a:lnTo>
                    <a:pt x="407634" y="657218"/>
                  </a:lnTo>
                  <a:cubicBezTo>
                    <a:pt x="414214" y="593823"/>
                    <a:pt x="440532" y="533679"/>
                    <a:pt x="486588" y="486539"/>
                  </a:cubicBezTo>
                  <a:cubicBezTo>
                    <a:pt x="537579" y="432897"/>
                    <a:pt x="565542" y="361374"/>
                    <a:pt x="565542" y="286600"/>
                  </a:cubicBezTo>
                  <a:cubicBezTo>
                    <a:pt x="565542" y="122423"/>
                    <a:pt x="429018" y="-9244"/>
                    <a:pt x="266176" y="509"/>
                  </a:cubicBezTo>
                  <a:close/>
                  <a:moveTo>
                    <a:pt x="335260" y="879914"/>
                  </a:moveTo>
                  <a:cubicBezTo>
                    <a:pt x="335260" y="897795"/>
                    <a:pt x="322101" y="912424"/>
                    <a:pt x="304008" y="912424"/>
                  </a:cubicBezTo>
                  <a:lnTo>
                    <a:pt x="267821" y="912424"/>
                  </a:lnTo>
                  <a:lnTo>
                    <a:pt x="267821" y="912424"/>
                  </a:lnTo>
                  <a:cubicBezTo>
                    <a:pt x="251372" y="912424"/>
                    <a:pt x="236568" y="897795"/>
                    <a:pt x="236568" y="879914"/>
                  </a:cubicBezTo>
                  <a:cubicBezTo>
                    <a:pt x="236568" y="868535"/>
                    <a:pt x="236568" y="873412"/>
                    <a:pt x="234923" y="816519"/>
                  </a:cubicBezTo>
                  <a:lnTo>
                    <a:pt x="236568" y="816519"/>
                  </a:lnTo>
                  <a:lnTo>
                    <a:pt x="333615" y="816519"/>
                  </a:lnTo>
                  <a:lnTo>
                    <a:pt x="335260" y="879914"/>
                  </a:lnTo>
                  <a:close/>
                  <a:moveTo>
                    <a:pt x="430663" y="784009"/>
                  </a:moveTo>
                  <a:lnTo>
                    <a:pt x="335260" y="784009"/>
                  </a:lnTo>
                  <a:cubicBezTo>
                    <a:pt x="335260" y="784009"/>
                    <a:pt x="335260" y="784009"/>
                    <a:pt x="335260" y="784009"/>
                  </a:cubicBezTo>
                  <a:lnTo>
                    <a:pt x="285914" y="784009"/>
                  </a:lnTo>
                  <a:lnTo>
                    <a:pt x="139521" y="784009"/>
                  </a:lnTo>
                  <a:lnTo>
                    <a:pt x="139521" y="688103"/>
                  </a:lnTo>
                  <a:lnTo>
                    <a:pt x="221764" y="688103"/>
                  </a:lnTo>
                  <a:lnTo>
                    <a:pt x="381316" y="688103"/>
                  </a:lnTo>
                  <a:cubicBezTo>
                    <a:pt x="381316" y="688103"/>
                    <a:pt x="381316" y="688103"/>
                    <a:pt x="381316" y="688103"/>
                  </a:cubicBezTo>
                  <a:lnTo>
                    <a:pt x="430663" y="688103"/>
                  </a:lnTo>
                  <a:lnTo>
                    <a:pt x="430663" y="784009"/>
                  </a:lnTo>
                  <a:close/>
                  <a:moveTo>
                    <a:pt x="463560" y="462156"/>
                  </a:moveTo>
                  <a:cubicBezTo>
                    <a:pt x="412569" y="515798"/>
                    <a:pt x="381316" y="584070"/>
                    <a:pt x="374737" y="655593"/>
                  </a:cubicBezTo>
                  <a:lnTo>
                    <a:pt x="368158" y="655593"/>
                  </a:lnTo>
                  <a:lnTo>
                    <a:pt x="299073" y="655593"/>
                  </a:lnTo>
                  <a:lnTo>
                    <a:pt x="297428" y="411765"/>
                  </a:lnTo>
                  <a:cubicBezTo>
                    <a:pt x="336905" y="403637"/>
                    <a:pt x="366513" y="369502"/>
                    <a:pt x="366513" y="328864"/>
                  </a:cubicBezTo>
                  <a:cubicBezTo>
                    <a:pt x="366513" y="283349"/>
                    <a:pt x="328681" y="244337"/>
                    <a:pt x="280979" y="244337"/>
                  </a:cubicBezTo>
                  <a:cubicBezTo>
                    <a:pt x="234923" y="244337"/>
                    <a:pt x="195446" y="281724"/>
                    <a:pt x="195446" y="328864"/>
                  </a:cubicBezTo>
                  <a:cubicBezTo>
                    <a:pt x="195446" y="369502"/>
                    <a:pt x="225054" y="403637"/>
                    <a:pt x="262886" y="411765"/>
                  </a:cubicBezTo>
                  <a:lnTo>
                    <a:pt x="264531" y="655593"/>
                  </a:lnTo>
                  <a:lnTo>
                    <a:pt x="192157" y="655593"/>
                  </a:lnTo>
                  <a:cubicBezTo>
                    <a:pt x="185577" y="584070"/>
                    <a:pt x="154325" y="517424"/>
                    <a:pt x="103334" y="463782"/>
                  </a:cubicBezTo>
                  <a:cubicBezTo>
                    <a:pt x="50698" y="410139"/>
                    <a:pt x="24380" y="336991"/>
                    <a:pt x="30959" y="260592"/>
                  </a:cubicBezTo>
                  <a:cubicBezTo>
                    <a:pt x="42473" y="137053"/>
                    <a:pt x="142810" y="37896"/>
                    <a:pt x="264531" y="29768"/>
                  </a:cubicBezTo>
                  <a:cubicBezTo>
                    <a:pt x="269465" y="29768"/>
                    <a:pt x="274400" y="29768"/>
                    <a:pt x="279335" y="29768"/>
                  </a:cubicBezTo>
                  <a:cubicBezTo>
                    <a:pt x="415859" y="29768"/>
                    <a:pt x="529355" y="143555"/>
                    <a:pt x="529355" y="283349"/>
                  </a:cubicBezTo>
                  <a:cubicBezTo>
                    <a:pt x="532644" y="351621"/>
                    <a:pt x="507971" y="415016"/>
                    <a:pt x="463560" y="462156"/>
                  </a:cubicBezTo>
                  <a:close/>
                  <a:moveTo>
                    <a:pt x="282624" y="380880"/>
                  </a:moveTo>
                  <a:cubicBezTo>
                    <a:pt x="254662" y="380880"/>
                    <a:pt x="229988" y="358123"/>
                    <a:pt x="229988" y="328864"/>
                  </a:cubicBezTo>
                  <a:cubicBezTo>
                    <a:pt x="229988" y="299604"/>
                    <a:pt x="254662" y="278473"/>
                    <a:pt x="282624" y="278473"/>
                  </a:cubicBezTo>
                  <a:cubicBezTo>
                    <a:pt x="310587" y="278473"/>
                    <a:pt x="335260" y="301230"/>
                    <a:pt x="335260" y="330489"/>
                  </a:cubicBezTo>
                  <a:cubicBezTo>
                    <a:pt x="335260" y="359748"/>
                    <a:pt x="310587" y="380880"/>
                    <a:pt x="282624" y="380880"/>
                  </a:cubicBezTo>
                  <a:close/>
                </a:path>
              </a:pathLst>
            </a:custGeom>
            <a:grpFill/>
            <a:ln w="16389" cap="flat">
              <a:noFill/>
              <a:prstDash val="solid"/>
              <a:miter/>
            </a:ln>
          </p:spPr>
          <p:txBody>
            <a:bodyPr rtlCol="0" anchor="ctr"/>
            <a:lstStyle/>
            <a:p>
              <a:endParaRPr lang="en-US"/>
            </a:p>
          </p:txBody>
        </p:sp>
      </p:grpSp>
      <p:sp>
        <p:nvSpPr>
          <p:cNvPr id="82" name="Graphic 5">
            <a:extLst>
              <a:ext uri="{FF2B5EF4-FFF2-40B4-BE49-F238E27FC236}">
                <a16:creationId xmlns:a16="http://schemas.microsoft.com/office/drawing/2014/main" id="{4F6BC4C5-43A5-4944-8504-69637BD9ACE7}"/>
              </a:ext>
            </a:extLst>
          </p:cNvPr>
          <p:cNvSpPr/>
          <p:nvPr/>
        </p:nvSpPr>
        <p:spPr>
          <a:xfrm>
            <a:off x="4560682" y="5547885"/>
            <a:ext cx="601078" cy="457116"/>
          </a:xfrm>
          <a:custGeom>
            <a:avLst/>
            <a:gdLst>
              <a:gd name="connsiteX0" fmla="*/ 1130451 w 1130451"/>
              <a:gd name="connsiteY0" fmla="*/ 0 h 859700"/>
              <a:gd name="connsiteX1" fmla="*/ 1130451 w 1130451"/>
              <a:gd name="connsiteY1" fmla="*/ 736886 h 859700"/>
              <a:gd name="connsiteX2" fmla="*/ 816437 w 1130451"/>
              <a:gd name="connsiteY2" fmla="*/ 736886 h 859700"/>
              <a:gd name="connsiteX3" fmla="*/ 816437 w 1130451"/>
              <a:gd name="connsiteY3" fmla="*/ 675479 h 859700"/>
              <a:gd name="connsiteX4" fmla="*/ 1067648 w 1130451"/>
              <a:gd name="connsiteY4" fmla="*/ 675479 h 859700"/>
              <a:gd name="connsiteX5" fmla="*/ 1067648 w 1130451"/>
              <a:gd name="connsiteY5" fmla="*/ 61407 h 859700"/>
              <a:gd name="connsiteX6" fmla="*/ 62803 w 1130451"/>
              <a:gd name="connsiteY6" fmla="*/ 61407 h 859700"/>
              <a:gd name="connsiteX7" fmla="*/ 62803 w 1130451"/>
              <a:gd name="connsiteY7" fmla="*/ 429850 h 859700"/>
              <a:gd name="connsiteX8" fmla="*/ 0 w 1130451"/>
              <a:gd name="connsiteY8" fmla="*/ 429850 h 859700"/>
              <a:gd name="connsiteX9" fmla="*/ 0 w 1130451"/>
              <a:gd name="connsiteY9" fmla="*/ 0 h 859700"/>
              <a:gd name="connsiteX10" fmla="*/ 345416 w 1130451"/>
              <a:gd name="connsiteY10" fmla="*/ 245629 h 859700"/>
              <a:gd name="connsiteX11" fmla="*/ 251211 w 1130451"/>
              <a:gd name="connsiteY11" fmla="*/ 337740 h 859700"/>
              <a:gd name="connsiteX12" fmla="*/ 345416 w 1130451"/>
              <a:gd name="connsiteY12" fmla="*/ 429850 h 859700"/>
              <a:gd name="connsiteX13" fmla="*/ 439620 w 1130451"/>
              <a:gd name="connsiteY13" fmla="*/ 337740 h 859700"/>
              <a:gd name="connsiteX14" fmla="*/ 345416 w 1130451"/>
              <a:gd name="connsiteY14" fmla="*/ 245629 h 859700"/>
              <a:gd name="connsiteX15" fmla="*/ 345416 w 1130451"/>
              <a:gd name="connsiteY15" fmla="*/ 184222 h 859700"/>
              <a:gd name="connsiteX16" fmla="*/ 502423 w 1130451"/>
              <a:gd name="connsiteY16" fmla="*/ 337740 h 859700"/>
              <a:gd name="connsiteX17" fmla="*/ 345416 w 1130451"/>
              <a:gd name="connsiteY17" fmla="*/ 491258 h 859700"/>
              <a:gd name="connsiteX18" fmla="*/ 188409 w 1130451"/>
              <a:gd name="connsiteY18" fmla="*/ 337740 h 859700"/>
              <a:gd name="connsiteX19" fmla="*/ 345416 w 1130451"/>
              <a:gd name="connsiteY19" fmla="*/ 184222 h 859700"/>
              <a:gd name="connsiteX20" fmla="*/ 565226 w 1130451"/>
              <a:gd name="connsiteY20" fmla="*/ 614072 h 859700"/>
              <a:gd name="connsiteX21" fmla="*/ 125606 w 1130451"/>
              <a:gd name="connsiteY21" fmla="*/ 614072 h 859700"/>
              <a:gd name="connsiteX22" fmla="*/ 62803 w 1130451"/>
              <a:gd name="connsiteY22" fmla="*/ 675479 h 859700"/>
              <a:gd name="connsiteX23" fmla="*/ 62803 w 1130451"/>
              <a:gd name="connsiteY23" fmla="*/ 798294 h 859700"/>
              <a:gd name="connsiteX24" fmla="*/ 628028 w 1130451"/>
              <a:gd name="connsiteY24" fmla="*/ 798294 h 859700"/>
              <a:gd name="connsiteX25" fmla="*/ 628028 w 1130451"/>
              <a:gd name="connsiteY25" fmla="*/ 675479 h 859700"/>
              <a:gd name="connsiteX26" fmla="*/ 565226 w 1130451"/>
              <a:gd name="connsiteY26" fmla="*/ 614072 h 859700"/>
              <a:gd name="connsiteX27" fmla="*/ 565226 w 1130451"/>
              <a:gd name="connsiteY27" fmla="*/ 552665 h 859700"/>
              <a:gd name="connsiteX28" fmla="*/ 690831 w 1130451"/>
              <a:gd name="connsiteY28" fmla="*/ 675479 h 859700"/>
              <a:gd name="connsiteX29" fmla="*/ 690831 w 1130451"/>
              <a:gd name="connsiteY29" fmla="*/ 859701 h 859700"/>
              <a:gd name="connsiteX30" fmla="*/ 0 w 1130451"/>
              <a:gd name="connsiteY30" fmla="*/ 859701 h 859700"/>
              <a:gd name="connsiteX31" fmla="*/ 0 w 1130451"/>
              <a:gd name="connsiteY31" fmla="*/ 675479 h 859700"/>
              <a:gd name="connsiteX32" fmla="*/ 125606 w 1130451"/>
              <a:gd name="connsiteY32" fmla="*/ 552665 h 85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30451" h="859700">
                <a:moveTo>
                  <a:pt x="1130451" y="0"/>
                </a:moveTo>
                <a:lnTo>
                  <a:pt x="1130451" y="736886"/>
                </a:lnTo>
                <a:lnTo>
                  <a:pt x="816437" y="736886"/>
                </a:lnTo>
                <a:lnTo>
                  <a:pt x="816437" y="675479"/>
                </a:lnTo>
                <a:lnTo>
                  <a:pt x="1067648" y="675479"/>
                </a:lnTo>
                <a:lnTo>
                  <a:pt x="1067648" y="61407"/>
                </a:lnTo>
                <a:lnTo>
                  <a:pt x="62803" y="61407"/>
                </a:lnTo>
                <a:lnTo>
                  <a:pt x="62803" y="429850"/>
                </a:lnTo>
                <a:lnTo>
                  <a:pt x="0" y="429850"/>
                </a:lnTo>
                <a:lnTo>
                  <a:pt x="0" y="0"/>
                </a:lnTo>
                <a:close/>
                <a:moveTo>
                  <a:pt x="345416" y="245629"/>
                </a:moveTo>
                <a:cubicBezTo>
                  <a:pt x="293388" y="245629"/>
                  <a:pt x="251211" y="286868"/>
                  <a:pt x="251211" y="337740"/>
                </a:cubicBezTo>
                <a:cubicBezTo>
                  <a:pt x="251211" y="388609"/>
                  <a:pt x="293388" y="429850"/>
                  <a:pt x="345416" y="429850"/>
                </a:cubicBezTo>
                <a:cubicBezTo>
                  <a:pt x="397443" y="429850"/>
                  <a:pt x="439620" y="388609"/>
                  <a:pt x="439620" y="337740"/>
                </a:cubicBezTo>
                <a:cubicBezTo>
                  <a:pt x="439560" y="286893"/>
                  <a:pt x="397418" y="245687"/>
                  <a:pt x="345416" y="245629"/>
                </a:cubicBezTo>
                <a:moveTo>
                  <a:pt x="345416" y="184222"/>
                </a:moveTo>
                <a:cubicBezTo>
                  <a:pt x="432128" y="184222"/>
                  <a:pt x="502423" y="252954"/>
                  <a:pt x="502423" y="337740"/>
                </a:cubicBezTo>
                <a:cubicBezTo>
                  <a:pt x="502423" y="422525"/>
                  <a:pt x="432128" y="491258"/>
                  <a:pt x="345416" y="491258"/>
                </a:cubicBezTo>
                <a:cubicBezTo>
                  <a:pt x="258703" y="491258"/>
                  <a:pt x="188409" y="422525"/>
                  <a:pt x="188409" y="337740"/>
                </a:cubicBezTo>
                <a:cubicBezTo>
                  <a:pt x="188409" y="252954"/>
                  <a:pt x="258703" y="184222"/>
                  <a:pt x="345416" y="184222"/>
                </a:cubicBezTo>
                <a:close/>
                <a:moveTo>
                  <a:pt x="565226" y="614072"/>
                </a:moveTo>
                <a:lnTo>
                  <a:pt x="125606" y="614072"/>
                </a:lnTo>
                <a:cubicBezTo>
                  <a:pt x="90937" y="614109"/>
                  <a:pt x="62842" y="641582"/>
                  <a:pt x="62803" y="675479"/>
                </a:cubicBezTo>
                <a:lnTo>
                  <a:pt x="62803" y="798294"/>
                </a:lnTo>
                <a:lnTo>
                  <a:pt x="628028" y="798294"/>
                </a:lnTo>
                <a:lnTo>
                  <a:pt x="628028" y="675479"/>
                </a:lnTo>
                <a:cubicBezTo>
                  <a:pt x="627991" y="641582"/>
                  <a:pt x="599893" y="614109"/>
                  <a:pt x="565226" y="614072"/>
                </a:cubicBezTo>
                <a:moveTo>
                  <a:pt x="565226" y="552665"/>
                </a:moveTo>
                <a:cubicBezTo>
                  <a:pt x="634598" y="552665"/>
                  <a:pt x="690831" y="607649"/>
                  <a:pt x="690831" y="675479"/>
                </a:cubicBezTo>
                <a:lnTo>
                  <a:pt x="690831" y="859701"/>
                </a:lnTo>
                <a:lnTo>
                  <a:pt x="0" y="859701"/>
                </a:lnTo>
                <a:lnTo>
                  <a:pt x="0" y="675479"/>
                </a:lnTo>
                <a:cubicBezTo>
                  <a:pt x="0" y="607649"/>
                  <a:pt x="56236" y="552665"/>
                  <a:pt x="125606" y="552665"/>
                </a:cubicBezTo>
                <a:close/>
              </a:path>
            </a:pathLst>
          </a:custGeom>
          <a:solidFill>
            <a:schemeClr val="accent1"/>
          </a:solidFill>
          <a:ln w="62706" cap="flat">
            <a:noFill/>
            <a:prstDash val="solid"/>
            <a:miter/>
          </a:ln>
        </p:spPr>
        <p:txBody>
          <a:bodyPr rtlCol="0" anchor="ctr"/>
          <a:lstStyle/>
          <a:p>
            <a:endParaRPr lang="en-US"/>
          </a:p>
        </p:txBody>
      </p:sp>
      <p:sp>
        <p:nvSpPr>
          <p:cNvPr id="83" name="Graphic 7">
            <a:extLst>
              <a:ext uri="{FF2B5EF4-FFF2-40B4-BE49-F238E27FC236}">
                <a16:creationId xmlns:a16="http://schemas.microsoft.com/office/drawing/2014/main" id="{F499FAFD-99BC-C64D-A04F-D3321DB28FB2}"/>
              </a:ext>
            </a:extLst>
          </p:cNvPr>
          <p:cNvSpPr/>
          <p:nvPr/>
        </p:nvSpPr>
        <p:spPr>
          <a:xfrm>
            <a:off x="5391946" y="5523010"/>
            <a:ext cx="661611" cy="443017"/>
          </a:xfrm>
          <a:custGeom>
            <a:avLst/>
            <a:gdLst>
              <a:gd name="connsiteX0" fmla="*/ 1754165 w 1789239"/>
              <a:gd name="connsiteY0" fmla="*/ 325556 h 1198081"/>
              <a:gd name="connsiteX1" fmla="*/ 909038 w 1789239"/>
              <a:gd name="connsiteY1" fmla="*/ 3281 h 1198081"/>
              <a:gd name="connsiteX2" fmla="*/ 875233 w 1789239"/>
              <a:gd name="connsiteY2" fmla="*/ 3281 h 1198081"/>
              <a:gd name="connsiteX3" fmla="*/ 30106 w 1789239"/>
              <a:gd name="connsiteY3" fmla="*/ 325556 h 1198081"/>
              <a:gd name="connsiteX4" fmla="*/ 3231 w 1789239"/>
              <a:gd name="connsiteY4" fmla="*/ 385340 h 1198081"/>
              <a:gd name="connsiteX5" fmla="*/ 25632 w 1789239"/>
              <a:gd name="connsiteY5" fmla="*/ 409649 h 1198081"/>
              <a:gd name="connsiteX6" fmla="*/ 329380 w 1789239"/>
              <a:gd name="connsiteY6" fmla="*/ 558392 h 1198081"/>
              <a:gd name="connsiteX7" fmla="*/ 329380 w 1789239"/>
              <a:gd name="connsiteY7" fmla="*/ 943858 h 1198081"/>
              <a:gd name="connsiteX8" fmla="*/ 423836 w 1789239"/>
              <a:gd name="connsiteY8" fmla="*/ 1089684 h 1198081"/>
              <a:gd name="connsiteX9" fmla="*/ 894621 w 1789239"/>
              <a:gd name="connsiteY9" fmla="*/ 1198081 h 1198081"/>
              <a:gd name="connsiteX10" fmla="*/ 1365407 w 1789239"/>
              <a:gd name="connsiteY10" fmla="*/ 1089684 h 1198081"/>
              <a:gd name="connsiteX11" fmla="*/ 1459862 w 1789239"/>
              <a:gd name="connsiteY11" fmla="*/ 943858 h 1198081"/>
              <a:gd name="connsiteX12" fmla="*/ 1459862 w 1789239"/>
              <a:gd name="connsiteY12" fmla="*/ 558392 h 1198081"/>
              <a:gd name="connsiteX13" fmla="*/ 1553821 w 1789239"/>
              <a:gd name="connsiteY13" fmla="*/ 509783 h 1198081"/>
              <a:gd name="connsiteX14" fmla="*/ 1553821 w 1789239"/>
              <a:gd name="connsiteY14" fmla="*/ 964760 h 1198081"/>
              <a:gd name="connsiteX15" fmla="*/ 1616569 w 1789239"/>
              <a:gd name="connsiteY15" fmla="*/ 995762 h 1198081"/>
              <a:gd name="connsiteX16" fmla="*/ 1648276 w 1789239"/>
              <a:gd name="connsiteY16" fmla="*/ 964760 h 1198081"/>
              <a:gd name="connsiteX17" fmla="*/ 1648276 w 1789239"/>
              <a:gd name="connsiteY17" fmla="*/ 466035 h 1198081"/>
              <a:gd name="connsiteX18" fmla="*/ 1763611 w 1789239"/>
              <a:gd name="connsiteY18" fmla="*/ 409649 h 1198081"/>
              <a:gd name="connsiteX19" fmla="*/ 1783998 w 1789239"/>
              <a:gd name="connsiteY19" fmla="*/ 347459 h 1198081"/>
              <a:gd name="connsiteX20" fmla="*/ 1759137 w 1789239"/>
              <a:gd name="connsiteY20" fmla="*/ 325556 h 1198081"/>
              <a:gd name="connsiteX21" fmla="*/ 157869 w 1789239"/>
              <a:gd name="connsiteY21" fmla="*/ 374165 h 1198081"/>
              <a:gd name="connsiteX22" fmla="*/ 889650 w 1789239"/>
              <a:gd name="connsiteY22" fmla="*/ 95151 h 1198081"/>
              <a:gd name="connsiteX23" fmla="*/ 1621431 w 1789239"/>
              <a:gd name="connsiteY23" fmla="*/ 373679 h 1198081"/>
              <a:gd name="connsiteX24" fmla="*/ 967203 w 1789239"/>
              <a:gd name="connsiteY24" fmla="*/ 695954 h 1198081"/>
              <a:gd name="connsiteX25" fmla="*/ 889650 w 1789239"/>
              <a:gd name="connsiteY25" fmla="*/ 731438 h 1198081"/>
              <a:gd name="connsiteX26" fmla="*/ 812097 w 1789239"/>
              <a:gd name="connsiteY26" fmla="*/ 695954 h 1198081"/>
              <a:gd name="connsiteX27" fmla="*/ 1360435 w 1789239"/>
              <a:gd name="connsiteY27" fmla="*/ 799976 h 1198081"/>
              <a:gd name="connsiteX28" fmla="*/ 1360435 w 1789239"/>
              <a:gd name="connsiteY28" fmla="*/ 945802 h 1198081"/>
              <a:gd name="connsiteX29" fmla="*/ 889650 w 1789239"/>
              <a:gd name="connsiteY29" fmla="*/ 1107183 h 1198081"/>
              <a:gd name="connsiteX30" fmla="*/ 418864 w 1789239"/>
              <a:gd name="connsiteY30" fmla="*/ 943858 h 1198081"/>
              <a:gd name="connsiteX31" fmla="*/ 418864 w 1789239"/>
              <a:gd name="connsiteY31" fmla="*/ 603598 h 1198081"/>
              <a:gd name="connsiteX32" fmla="*/ 645557 w 1789239"/>
              <a:gd name="connsiteY32" fmla="*/ 714911 h 1198081"/>
              <a:gd name="connsiteX33" fmla="*/ 790223 w 1789239"/>
              <a:gd name="connsiteY33" fmla="*/ 786366 h 1198081"/>
              <a:gd name="connsiteX34" fmla="*/ 866285 w 1789239"/>
              <a:gd name="connsiteY34" fmla="*/ 823795 h 1198081"/>
              <a:gd name="connsiteX35" fmla="*/ 909038 w 1789239"/>
              <a:gd name="connsiteY35" fmla="*/ 823795 h 1198081"/>
              <a:gd name="connsiteX36" fmla="*/ 989077 w 1789239"/>
              <a:gd name="connsiteY36" fmla="*/ 786366 h 1198081"/>
              <a:gd name="connsiteX37" fmla="*/ 1135731 w 1789239"/>
              <a:gd name="connsiteY37" fmla="*/ 715397 h 1198081"/>
              <a:gd name="connsiteX38" fmla="*/ 1362424 w 1789239"/>
              <a:gd name="connsiteY38" fmla="*/ 604084 h 1198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789239" h="1198081">
                <a:moveTo>
                  <a:pt x="1754165" y="325556"/>
                </a:moveTo>
                <a:lnTo>
                  <a:pt x="909038" y="3281"/>
                </a:lnTo>
                <a:cubicBezTo>
                  <a:pt x="898216" y="-1094"/>
                  <a:pt x="886056" y="-1094"/>
                  <a:pt x="875233" y="3281"/>
                </a:cubicBezTo>
                <a:lnTo>
                  <a:pt x="30106" y="325556"/>
                </a:lnTo>
                <a:cubicBezTo>
                  <a:pt x="5800" y="334811"/>
                  <a:pt x="-6233" y="361575"/>
                  <a:pt x="3231" y="385340"/>
                </a:cubicBezTo>
                <a:cubicBezTo>
                  <a:pt x="7413" y="395844"/>
                  <a:pt x="15381" y="404492"/>
                  <a:pt x="25632" y="409649"/>
                </a:cubicBezTo>
                <a:lnTo>
                  <a:pt x="329380" y="558392"/>
                </a:lnTo>
                <a:lnTo>
                  <a:pt x="329380" y="943858"/>
                </a:lnTo>
                <a:cubicBezTo>
                  <a:pt x="333118" y="1005115"/>
                  <a:pt x="368795" y="1060198"/>
                  <a:pt x="423836" y="1089684"/>
                </a:cubicBezTo>
                <a:cubicBezTo>
                  <a:pt x="532211" y="1161139"/>
                  <a:pt x="716647" y="1198081"/>
                  <a:pt x="894621" y="1198081"/>
                </a:cubicBezTo>
                <a:cubicBezTo>
                  <a:pt x="1072595" y="1198081"/>
                  <a:pt x="1257032" y="1161139"/>
                  <a:pt x="1365407" y="1089684"/>
                </a:cubicBezTo>
                <a:cubicBezTo>
                  <a:pt x="1420449" y="1060198"/>
                  <a:pt x="1456124" y="1005115"/>
                  <a:pt x="1459862" y="943858"/>
                </a:cubicBezTo>
                <a:lnTo>
                  <a:pt x="1459862" y="558392"/>
                </a:lnTo>
                <a:lnTo>
                  <a:pt x="1553821" y="509783"/>
                </a:lnTo>
                <a:lnTo>
                  <a:pt x="1553821" y="964760"/>
                </a:lnTo>
                <a:cubicBezTo>
                  <a:pt x="1562396" y="990265"/>
                  <a:pt x="1590489" y="1004142"/>
                  <a:pt x="1616569" y="995762"/>
                </a:cubicBezTo>
                <a:cubicBezTo>
                  <a:pt x="1631577" y="990935"/>
                  <a:pt x="1643344" y="979430"/>
                  <a:pt x="1648276" y="964760"/>
                </a:cubicBezTo>
                <a:lnTo>
                  <a:pt x="1648276" y="466035"/>
                </a:lnTo>
                <a:lnTo>
                  <a:pt x="1763611" y="409649"/>
                </a:lnTo>
                <a:cubicBezTo>
                  <a:pt x="1786802" y="397978"/>
                  <a:pt x="1795929" y="370135"/>
                  <a:pt x="1783998" y="347459"/>
                </a:cubicBezTo>
                <a:cubicBezTo>
                  <a:pt x="1778724" y="337436"/>
                  <a:pt x="1769880" y="329644"/>
                  <a:pt x="1759137" y="325556"/>
                </a:cubicBezTo>
                <a:close/>
                <a:moveTo>
                  <a:pt x="157869" y="374165"/>
                </a:moveTo>
                <a:lnTo>
                  <a:pt x="889650" y="95151"/>
                </a:lnTo>
                <a:lnTo>
                  <a:pt x="1621431" y="373679"/>
                </a:lnTo>
                <a:lnTo>
                  <a:pt x="967203" y="695954"/>
                </a:lnTo>
                <a:lnTo>
                  <a:pt x="889650" y="731438"/>
                </a:lnTo>
                <a:lnTo>
                  <a:pt x="812097" y="695954"/>
                </a:lnTo>
                <a:close/>
                <a:moveTo>
                  <a:pt x="1360435" y="799976"/>
                </a:moveTo>
                <a:lnTo>
                  <a:pt x="1360435" y="945802"/>
                </a:lnTo>
                <a:cubicBezTo>
                  <a:pt x="1360435" y="1013368"/>
                  <a:pt x="1181467" y="1107183"/>
                  <a:pt x="889650" y="1107183"/>
                </a:cubicBezTo>
                <a:cubicBezTo>
                  <a:pt x="597833" y="1107183"/>
                  <a:pt x="418864" y="1011424"/>
                  <a:pt x="418864" y="943858"/>
                </a:cubicBezTo>
                <a:lnTo>
                  <a:pt x="418864" y="603598"/>
                </a:lnTo>
                <a:lnTo>
                  <a:pt x="645557" y="714911"/>
                </a:lnTo>
                <a:lnTo>
                  <a:pt x="790223" y="786366"/>
                </a:lnTo>
                <a:lnTo>
                  <a:pt x="866285" y="823795"/>
                </a:lnTo>
                <a:cubicBezTo>
                  <a:pt x="879613" y="830882"/>
                  <a:pt x="895710" y="830882"/>
                  <a:pt x="909038" y="823795"/>
                </a:cubicBezTo>
                <a:lnTo>
                  <a:pt x="989077" y="786366"/>
                </a:lnTo>
                <a:lnTo>
                  <a:pt x="1135731" y="715397"/>
                </a:lnTo>
                <a:lnTo>
                  <a:pt x="1362424" y="604084"/>
                </a:lnTo>
                <a:close/>
              </a:path>
            </a:pathLst>
          </a:custGeom>
          <a:solidFill>
            <a:schemeClr val="accent1"/>
          </a:solidFill>
          <a:ln w="49477" cap="flat">
            <a:noFill/>
            <a:prstDash val="solid"/>
            <a:miter/>
          </a:ln>
        </p:spPr>
        <p:txBody>
          <a:bodyPr rtlCol="0" anchor="ctr"/>
          <a:lstStyle/>
          <a:p>
            <a:endParaRPr lang="en-US"/>
          </a:p>
        </p:txBody>
      </p:sp>
      <p:grpSp>
        <p:nvGrpSpPr>
          <p:cNvPr id="84" name="Graphic 24">
            <a:extLst>
              <a:ext uri="{FF2B5EF4-FFF2-40B4-BE49-F238E27FC236}">
                <a16:creationId xmlns:a16="http://schemas.microsoft.com/office/drawing/2014/main" id="{11ADC807-1962-FD4B-9C99-0DA1E5EECF46}"/>
              </a:ext>
            </a:extLst>
          </p:cNvPr>
          <p:cNvGrpSpPr/>
          <p:nvPr/>
        </p:nvGrpSpPr>
        <p:grpSpPr>
          <a:xfrm>
            <a:off x="6228639" y="5477701"/>
            <a:ext cx="456176" cy="485225"/>
            <a:chOff x="9481821" y="1473544"/>
            <a:chExt cx="1104870" cy="1175228"/>
          </a:xfrm>
          <a:solidFill>
            <a:schemeClr val="accent1"/>
          </a:solidFill>
        </p:grpSpPr>
        <p:sp>
          <p:nvSpPr>
            <p:cNvPr id="85" name="Graphic 24">
              <a:extLst>
                <a:ext uri="{FF2B5EF4-FFF2-40B4-BE49-F238E27FC236}">
                  <a16:creationId xmlns:a16="http://schemas.microsoft.com/office/drawing/2014/main" id="{8E00F6FF-548C-6344-A885-165698D7F516}"/>
                </a:ext>
              </a:extLst>
            </p:cNvPr>
            <p:cNvSpPr/>
            <p:nvPr/>
          </p:nvSpPr>
          <p:spPr>
            <a:xfrm>
              <a:off x="9481821" y="1473544"/>
              <a:ext cx="731340" cy="1175228"/>
            </a:xfrm>
            <a:custGeom>
              <a:avLst/>
              <a:gdLst>
                <a:gd name="connsiteX0" fmla="*/ 705763 w 731340"/>
                <a:gd name="connsiteY0" fmla="*/ 9677 h 1175228"/>
                <a:gd name="connsiteX1" fmla="*/ 608580 w 731340"/>
                <a:gd name="connsiteY1" fmla="*/ 0 h 1175228"/>
                <a:gd name="connsiteX2" fmla="*/ 608331 w 731340"/>
                <a:gd name="connsiteY2" fmla="*/ 0 h 1175228"/>
                <a:gd name="connsiteX3" fmla="*/ 118587 w 731340"/>
                <a:gd name="connsiteY3" fmla="*/ 470211 h 1175228"/>
                <a:gd name="connsiteX4" fmla="*/ 105621 w 731340"/>
                <a:gd name="connsiteY4" fmla="*/ 513002 h 1175228"/>
                <a:gd name="connsiteX5" fmla="*/ 6788 w 731340"/>
                <a:gd name="connsiteY5" fmla="*/ 680002 h 1175228"/>
                <a:gd name="connsiteX6" fmla="*/ 24270 w 731340"/>
                <a:gd name="connsiteY6" fmla="*/ 746785 h 1175228"/>
                <a:gd name="connsiteX7" fmla="*/ 49208 w 731340"/>
                <a:gd name="connsiteY7" fmla="*/ 753512 h 1175228"/>
                <a:gd name="connsiteX8" fmla="*/ 114067 w 731340"/>
                <a:gd name="connsiteY8" fmla="*/ 753512 h 1175228"/>
                <a:gd name="connsiteX9" fmla="*/ 114067 w 731340"/>
                <a:gd name="connsiteY9" fmla="*/ 883726 h 1175228"/>
                <a:gd name="connsiteX10" fmla="*/ 215083 w 731340"/>
                <a:gd name="connsiteY10" fmla="*/ 983934 h 1175228"/>
                <a:gd name="connsiteX11" fmla="*/ 311783 w 731340"/>
                <a:gd name="connsiteY11" fmla="*/ 983934 h 1175228"/>
                <a:gd name="connsiteX12" fmla="*/ 311783 w 731340"/>
                <a:gd name="connsiteY12" fmla="*/ 1143567 h 1175228"/>
                <a:gd name="connsiteX13" fmla="*/ 343699 w 731340"/>
                <a:gd name="connsiteY13" fmla="*/ 1175228 h 1175228"/>
                <a:gd name="connsiteX14" fmla="*/ 375615 w 731340"/>
                <a:gd name="connsiteY14" fmla="*/ 1143567 h 1175228"/>
                <a:gd name="connsiteX15" fmla="*/ 375615 w 731340"/>
                <a:gd name="connsiteY15" fmla="*/ 952273 h 1175228"/>
                <a:gd name="connsiteX16" fmla="*/ 343699 w 731340"/>
                <a:gd name="connsiteY16" fmla="*/ 920612 h 1175228"/>
                <a:gd name="connsiteX17" fmla="*/ 215083 w 731340"/>
                <a:gd name="connsiteY17" fmla="*/ 920612 h 1175228"/>
                <a:gd name="connsiteX18" fmla="*/ 177900 w 731340"/>
                <a:gd name="connsiteY18" fmla="*/ 883726 h 1175228"/>
                <a:gd name="connsiteX19" fmla="*/ 177900 w 731340"/>
                <a:gd name="connsiteY19" fmla="*/ 721851 h 1175228"/>
                <a:gd name="connsiteX20" fmla="*/ 145984 w 731340"/>
                <a:gd name="connsiteY20" fmla="*/ 690190 h 1175228"/>
                <a:gd name="connsiteX21" fmla="*/ 74780 w 731340"/>
                <a:gd name="connsiteY21" fmla="*/ 690190 h 1175228"/>
                <a:gd name="connsiteX22" fmla="*/ 160665 w 731340"/>
                <a:gd name="connsiteY22" fmla="*/ 545073 h 1175228"/>
                <a:gd name="connsiteX23" fmla="*/ 182357 w 731340"/>
                <a:gd name="connsiteY23" fmla="*/ 472955 h 1175228"/>
                <a:gd name="connsiteX24" fmla="*/ 608361 w 731340"/>
                <a:gd name="connsiteY24" fmla="*/ 63322 h 1175228"/>
                <a:gd name="connsiteX25" fmla="*/ 608580 w 731340"/>
                <a:gd name="connsiteY25" fmla="*/ 63322 h 1175228"/>
                <a:gd name="connsiteX26" fmla="*/ 693076 w 731340"/>
                <a:gd name="connsiteY26" fmla="*/ 71731 h 1175228"/>
                <a:gd name="connsiteX27" fmla="*/ 730697 w 731340"/>
                <a:gd name="connsiteY27" fmla="*/ 46996 h 1175228"/>
                <a:gd name="connsiteX28" fmla="*/ 705763 w 731340"/>
                <a:gd name="connsiteY28" fmla="*/ 9677 h 117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31340" h="1175228">
                  <a:moveTo>
                    <a:pt x="705763" y="9677"/>
                  </a:moveTo>
                  <a:cubicBezTo>
                    <a:pt x="673773" y="3250"/>
                    <a:pt x="641217" y="8"/>
                    <a:pt x="608580" y="0"/>
                  </a:cubicBezTo>
                  <a:lnTo>
                    <a:pt x="608331" y="0"/>
                  </a:lnTo>
                  <a:cubicBezTo>
                    <a:pt x="374772" y="84"/>
                    <a:pt x="132753" y="145519"/>
                    <a:pt x="118587" y="470211"/>
                  </a:cubicBezTo>
                  <a:cubicBezTo>
                    <a:pt x="117840" y="485309"/>
                    <a:pt x="113389" y="499998"/>
                    <a:pt x="105621" y="513002"/>
                  </a:cubicBezTo>
                  <a:lnTo>
                    <a:pt x="6788" y="680002"/>
                  </a:lnTo>
                  <a:cubicBezTo>
                    <a:pt x="-6974" y="703233"/>
                    <a:pt x="853" y="733133"/>
                    <a:pt x="24270" y="746785"/>
                  </a:cubicBezTo>
                  <a:cubicBezTo>
                    <a:pt x="31829" y="751193"/>
                    <a:pt x="40439" y="753515"/>
                    <a:pt x="49208" y="753512"/>
                  </a:cubicBezTo>
                  <a:lnTo>
                    <a:pt x="114067" y="753512"/>
                  </a:lnTo>
                  <a:lnTo>
                    <a:pt x="114067" y="883726"/>
                  </a:lnTo>
                  <a:cubicBezTo>
                    <a:pt x="114133" y="939042"/>
                    <a:pt x="159321" y="983869"/>
                    <a:pt x="215083" y="983934"/>
                  </a:cubicBezTo>
                  <a:lnTo>
                    <a:pt x="311783" y="983934"/>
                  </a:lnTo>
                  <a:lnTo>
                    <a:pt x="311783" y="1143567"/>
                  </a:lnTo>
                  <a:cubicBezTo>
                    <a:pt x="311783" y="1161052"/>
                    <a:pt x="326072" y="1175228"/>
                    <a:pt x="343699" y="1175228"/>
                  </a:cubicBezTo>
                  <a:cubicBezTo>
                    <a:pt x="361325" y="1175228"/>
                    <a:pt x="375615" y="1161052"/>
                    <a:pt x="375615" y="1143567"/>
                  </a:cubicBezTo>
                  <a:lnTo>
                    <a:pt x="375615" y="952273"/>
                  </a:lnTo>
                  <a:cubicBezTo>
                    <a:pt x="375613" y="934787"/>
                    <a:pt x="361325" y="920612"/>
                    <a:pt x="343699" y="920612"/>
                  </a:cubicBezTo>
                  <a:lnTo>
                    <a:pt x="215083" y="920612"/>
                  </a:lnTo>
                  <a:cubicBezTo>
                    <a:pt x="194555" y="920592"/>
                    <a:pt x="177919" y="904089"/>
                    <a:pt x="177900" y="883726"/>
                  </a:cubicBezTo>
                  <a:lnTo>
                    <a:pt x="177900" y="721851"/>
                  </a:lnTo>
                  <a:cubicBezTo>
                    <a:pt x="177900" y="704365"/>
                    <a:pt x="163611" y="690190"/>
                    <a:pt x="145984" y="690190"/>
                  </a:cubicBezTo>
                  <a:lnTo>
                    <a:pt x="74780" y="690190"/>
                  </a:lnTo>
                  <a:lnTo>
                    <a:pt x="160665" y="545073"/>
                  </a:lnTo>
                  <a:cubicBezTo>
                    <a:pt x="173699" y="523142"/>
                    <a:pt x="181145" y="498386"/>
                    <a:pt x="182357" y="472955"/>
                  </a:cubicBezTo>
                  <a:cubicBezTo>
                    <a:pt x="195557" y="170718"/>
                    <a:pt x="420092" y="63391"/>
                    <a:pt x="608361" y="63322"/>
                  </a:cubicBezTo>
                  <a:lnTo>
                    <a:pt x="608580" y="63322"/>
                  </a:lnTo>
                  <a:cubicBezTo>
                    <a:pt x="636958" y="63328"/>
                    <a:pt x="665263" y="66146"/>
                    <a:pt x="693076" y="71731"/>
                  </a:cubicBezTo>
                  <a:cubicBezTo>
                    <a:pt x="710351" y="75205"/>
                    <a:pt x="727193" y="64132"/>
                    <a:pt x="730697" y="46996"/>
                  </a:cubicBezTo>
                  <a:cubicBezTo>
                    <a:pt x="734200" y="29861"/>
                    <a:pt x="723036" y="13152"/>
                    <a:pt x="705763" y="9677"/>
                  </a:cubicBezTo>
                  <a:close/>
                </a:path>
              </a:pathLst>
            </a:custGeom>
            <a:grpFill/>
            <a:ln w="15907" cap="flat">
              <a:noFill/>
              <a:prstDash val="solid"/>
              <a:miter/>
            </a:ln>
          </p:spPr>
          <p:txBody>
            <a:bodyPr rtlCol="0" anchor="ctr"/>
            <a:lstStyle/>
            <a:p>
              <a:endParaRPr lang="en-US"/>
            </a:p>
          </p:txBody>
        </p:sp>
        <p:sp>
          <p:nvSpPr>
            <p:cNvPr id="86" name="Graphic 24">
              <a:extLst>
                <a:ext uri="{FF2B5EF4-FFF2-40B4-BE49-F238E27FC236}">
                  <a16:creationId xmlns:a16="http://schemas.microsoft.com/office/drawing/2014/main" id="{840C0F0C-0A10-EA40-92FC-014254F0EA9B}"/>
                </a:ext>
              </a:extLst>
            </p:cNvPr>
            <p:cNvSpPr/>
            <p:nvPr/>
          </p:nvSpPr>
          <p:spPr>
            <a:xfrm>
              <a:off x="10290531" y="1846440"/>
              <a:ext cx="296161" cy="802330"/>
            </a:xfrm>
            <a:custGeom>
              <a:avLst/>
              <a:gdLst>
                <a:gd name="connsiteX0" fmla="*/ 16098 w 296161"/>
                <a:gd name="connsiteY0" fmla="*/ 489790 h 802330"/>
                <a:gd name="connsiteX1" fmla="*/ 0 w 296161"/>
                <a:gd name="connsiteY1" fmla="*/ 517292 h 802330"/>
                <a:gd name="connsiteX2" fmla="*/ 0 w 296161"/>
                <a:gd name="connsiteY2" fmla="*/ 770670 h 802330"/>
                <a:gd name="connsiteX3" fmla="*/ 31916 w 296161"/>
                <a:gd name="connsiteY3" fmla="*/ 802331 h 802330"/>
                <a:gd name="connsiteX4" fmla="*/ 63832 w 296161"/>
                <a:gd name="connsiteY4" fmla="*/ 770670 h 802330"/>
                <a:gd name="connsiteX5" fmla="*/ 63832 w 296161"/>
                <a:gd name="connsiteY5" fmla="*/ 535271 h 802330"/>
                <a:gd name="connsiteX6" fmla="*/ 150666 w 296161"/>
                <a:gd name="connsiteY6" fmla="*/ 466941 h 802330"/>
                <a:gd name="connsiteX7" fmla="*/ 287012 w 296161"/>
                <a:gd name="connsiteY7" fmla="*/ 25685 h 802330"/>
                <a:gd name="connsiteX8" fmla="*/ 249652 w 296161"/>
                <a:gd name="connsiteY8" fmla="*/ 575 h 802330"/>
                <a:gd name="connsiteX9" fmla="*/ 224340 w 296161"/>
                <a:gd name="connsiteY9" fmla="*/ 37637 h 802330"/>
                <a:gd name="connsiteX10" fmla="*/ 224364 w 296161"/>
                <a:gd name="connsiteY10" fmla="*/ 37759 h 802330"/>
                <a:gd name="connsiteX11" fmla="*/ 105582 w 296161"/>
                <a:gd name="connsiteY11" fmla="*/ 422109 h 802330"/>
                <a:gd name="connsiteX12" fmla="*/ 16098 w 296161"/>
                <a:gd name="connsiteY12" fmla="*/ 489790 h 802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6161" h="802330">
                  <a:moveTo>
                    <a:pt x="16098" y="489790"/>
                  </a:moveTo>
                  <a:cubicBezTo>
                    <a:pt x="6145" y="495427"/>
                    <a:pt x="2" y="505923"/>
                    <a:pt x="0" y="517292"/>
                  </a:cubicBezTo>
                  <a:lnTo>
                    <a:pt x="0" y="770670"/>
                  </a:lnTo>
                  <a:cubicBezTo>
                    <a:pt x="0" y="788156"/>
                    <a:pt x="14290" y="802331"/>
                    <a:pt x="31916" y="802331"/>
                  </a:cubicBezTo>
                  <a:cubicBezTo>
                    <a:pt x="49543" y="802331"/>
                    <a:pt x="63832" y="788156"/>
                    <a:pt x="63832" y="770670"/>
                  </a:cubicBezTo>
                  <a:lnTo>
                    <a:pt x="63832" y="535271"/>
                  </a:lnTo>
                  <a:cubicBezTo>
                    <a:pt x="95297" y="515836"/>
                    <a:pt x="124428" y="492912"/>
                    <a:pt x="150666" y="466941"/>
                  </a:cubicBezTo>
                  <a:cubicBezTo>
                    <a:pt x="267426" y="351601"/>
                    <a:pt x="318558" y="186121"/>
                    <a:pt x="287012" y="25685"/>
                  </a:cubicBezTo>
                  <a:cubicBezTo>
                    <a:pt x="283685" y="8517"/>
                    <a:pt x="266959" y="-2724"/>
                    <a:pt x="249652" y="575"/>
                  </a:cubicBezTo>
                  <a:cubicBezTo>
                    <a:pt x="232346" y="3875"/>
                    <a:pt x="221013" y="20469"/>
                    <a:pt x="224340" y="37637"/>
                  </a:cubicBezTo>
                  <a:cubicBezTo>
                    <a:pt x="224348" y="37676"/>
                    <a:pt x="224356" y="37717"/>
                    <a:pt x="224364" y="37759"/>
                  </a:cubicBezTo>
                  <a:cubicBezTo>
                    <a:pt x="251827" y="177508"/>
                    <a:pt x="207284" y="321642"/>
                    <a:pt x="105582" y="422109"/>
                  </a:cubicBezTo>
                  <a:cubicBezTo>
                    <a:pt x="78916" y="448511"/>
                    <a:pt x="48824" y="471272"/>
                    <a:pt x="16098" y="489790"/>
                  </a:cubicBezTo>
                  <a:close/>
                </a:path>
              </a:pathLst>
            </a:custGeom>
            <a:grpFill/>
            <a:ln w="15907" cap="flat">
              <a:noFill/>
              <a:prstDash val="solid"/>
              <a:miter/>
            </a:ln>
          </p:spPr>
          <p:txBody>
            <a:bodyPr rtlCol="0" anchor="ctr"/>
            <a:lstStyle/>
            <a:p>
              <a:endParaRPr lang="en-US"/>
            </a:p>
          </p:txBody>
        </p:sp>
        <p:sp>
          <p:nvSpPr>
            <p:cNvPr id="87" name="Graphic 24">
              <a:extLst>
                <a:ext uri="{FF2B5EF4-FFF2-40B4-BE49-F238E27FC236}">
                  <a16:creationId xmlns:a16="http://schemas.microsoft.com/office/drawing/2014/main" id="{CDC82524-A41E-C24B-B011-5EBE8DD6C1B4}"/>
                </a:ext>
              </a:extLst>
            </p:cNvPr>
            <p:cNvSpPr/>
            <p:nvPr/>
          </p:nvSpPr>
          <p:spPr>
            <a:xfrm>
              <a:off x="10163490" y="1521197"/>
              <a:ext cx="375108" cy="372115"/>
            </a:xfrm>
            <a:custGeom>
              <a:avLst/>
              <a:gdLst>
                <a:gd name="connsiteX0" fmla="*/ 187553 w 375108"/>
                <a:gd name="connsiteY0" fmla="*/ 0 h 372115"/>
                <a:gd name="connsiteX1" fmla="*/ 155637 w 375108"/>
                <a:gd name="connsiteY1" fmla="*/ 31661 h 372115"/>
                <a:gd name="connsiteX2" fmla="*/ 155637 w 375108"/>
                <a:gd name="connsiteY2" fmla="*/ 154394 h 372115"/>
                <a:gd name="connsiteX3" fmla="*/ 31916 w 375108"/>
                <a:gd name="connsiteY3" fmla="*/ 154394 h 372115"/>
                <a:gd name="connsiteX4" fmla="*/ 0 w 375108"/>
                <a:gd name="connsiteY4" fmla="*/ 186054 h 372115"/>
                <a:gd name="connsiteX5" fmla="*/ 31916 w 375108"/>
                <a:gd name="connsiteY5" fmla="*/ 217715 h 372115"/>
                <a:gd name="connsiteX6" fmla="*/ 155637 w 375108"/>
                <a:gd name="connsiteY6" fmla="*/ 217715 h 372115"/>
                <a:gd name="connsiteX7" fmla="*/ 155637 w 375108"/>
                <a:gd name="connsiteY7" fmla="*/ 340454 h 372115"/>
                <a:gd name="connsiteX8" fmla="*/ 187553 w 375108"/>
                <a:gd name="connsiteY8" fmla="*/ 372115 h 372115"/>
                <a:gd name="connsiteX9" fmla="*/ 219469 w 375108"/>
                <a:gd name="connsiteY9" fmla="*/ 340454 h 372115"/>
                <a:gd name="connsiteX10" fmla="*/ 219469 w 375108"/>
                <a:gd name="connsiteY10" fmla="*/ 217715 h 372115"/>
                <a:gd name="connsiteX11" fmla="*/ 343192 w 375108"/>
                <a:gd name="connsiteY11" fmla="*/ 217715 h 372115"/>
                <a:gd name="connsiteX12" fmla="*/ 375108 w 375108"/>
                <a:gd name="connsiteY12" fmla="*/ 186054 h 372115"/>
                <a:gd name="connsiteX13" fmla="*/ 343192 w 375108"/>
                <a:gd name="connsiteY13" fmla="*/ 154394 h 372115"/>
                <a:gd name="connsiteX14" fmla="*/ 219469 w 375108"/>
                <a:gd name="connsiteY14" fmla="*/ 154394 h 372115"/>
                <a:gd name="connsiteX15" fmla="*/ 219469 w 375108"/>
                <a:gd name="connsiteY15" fmla="*/ 31661 h 372115"/>
                <a:gd name="connsiteX16" fmla="*/ 187553 w 375108"/>
                <a:gd name="connsiteY16" fmla="*/ 0 h 372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5108" h="372115">
                  <a:moveTo>
                    <a:pt x="187553" y="0"/>
                  </a:moveTo>
                  <a:cubicBezTo>
                    <a:pt x="169928" y="2"/>
                    <a:pt x="155639" y="14176"/>
                    <a:pt x="155637" y="31661"/>
                  </a:cubicBezTo>
                  <a:lnTo>
                    <a:pt x="155637" y="154394"/>
                  </a:lnTo>
                  <a:lnTo>
                    <a:pt x="31916" y="154394"/>
                  </a:lnTo>
                  <a:cubicBezTo>
                    <a:pt x="14289" y="154394"/>
                    <a:pt x="0" y="168568"/>
                    <a:pt x="0" y="186054"/>
                  </a:cubicBezTo>
                  <a:cubicBezTo>
                    <a:pt x="0" y="203539"/>
                    <a:pt x="14289" y="217715"/>
                    <a:pt x="31916" y="217715"/>
                  </a:cubicBezTo>
                  <a:lnTo>
                    <a:pt x="155637" y="217715"/>
                  </a:lnTo>
                  <a:lnTo>
                    <a:pt x="155637" y="340454"/>
                  </a:lnTo>
                  <a:cubicBezTo>
                    <a:pt x="155637" y="357941"/>
                    <a:pt x="169928" y="372115"/>
                    <a:pt x="187553" y="372115"/>
                  </a:cubicBezTo>
                  <a:cubicBezTo>
                    <a:pt x="205180" y="372115"/>
                    <a:pt x="219469" y="357941"/>
                    <a:pt x="219469" y="340454"/>
                  </a:cubicBezTo>
                  <a:lnTo>
                    <a:pt x="219469" y="217715"/>
                  </a:lnTo>
                  <a:lnTo>
                    <a:pt x="343192" y="217715"/>
                  </a:lnTo>
                  <a:cubicBezTo>
                    <a:pt x="360818" y="217715"/>
                    <a:pt x="375108" y="203539"/>
                    <a:pt x="375108" y="186054"/>
                  </a:cubicBezTo>
                  <a:cubicBezTo>
                    <a:pt x="375108" y="168568"/>
                    <a:pt x="360818" y="154394"/>
                    <a:pt x="343192" y="154394"/>
                  </a:cubicBezTo>
                  <a:lnTo>
                    <a:pt x="219469" y="154394"/>
                  </a:lnTo>
                  <a:lnTo>
                    <a:pt x="219469" y="31661"/>
                  </a:lnTo>
                  <a:cubicBezTo>
                    <a:pt x="219469" y="14176"/>
                    <a:pt x="205180" y="2"/>
                    <a:pt x="187553" y="0"/>
                  </a:cubicBezTo>
                  <a:close/>
                </a:path>
              </a:pathLst>
            </a:custGeom>
            <a:grpFill/>
            <a:ln w="15907" cap="flat">
              <a:noFill/>
              <a:prstDash val="solid"/>
              <a:miter/>
            </a:ln>
          </p:spPr>
          <p:txBody>
            <a:bodyPr rtlCol="0" anchor="ctr"/>
            <a:lstStyle/>
            <a:p>
              <a:endParaRPr lang="en-US"/>
            </a:p>
          </p:txBody>
        </p:sp>
      </p:grpSp>
      <p:grpSp>
        <p:nvGrpSpPr>
          <p:cNvPr id="88" name="Graphic 6" descr="Head with gears outline">
            <a:extLst>
              <a:ext uri="{FF2B5EF4-FFF2-40B4-BE49-F238E27FC236}">
                <a16:creationId xmlns:a16="http://schemas.microsoft.com/office/drawing/2014/main" id="{621FFCA3-8DC4-2047-B3B3-571A23B6E747}"/>
              </a:ext>
            </a:extLst>
          </p:cNvPr>
          <p:cNvGrpSpPr/>
          <p:nvPr/>
        </p:nvGrpSpPr>
        <p:grpSpPr>
          <a:xfrm flipH="1">
            <a:off x="7024266" y="5473294"/>
            <a:ext cx="444836" cy="527983"/>
            <a:chOff x="6092563" y="2167251"/>
            <a:chExt cx="2355573" cy="2795867"/>
          </a:xfrm>
          <a:solidFill>
            <a:schemeClr val="accent1"/>
          </a:solidFill>
        </p:grpSpPr>
        <p:sp>
          <p:nvSpPr>
            <p:cNvPr id="89" name="Graphic 6" descr="Head with gears outline">
              <a:extLst>
                <a:ext uri="{FF2B5EF4-FFF2-40B4-BE49-F238E27FC236}">
                  <a16:creationId xmlns:a16="http://schemas.microsoft.com/office/drawing/2014/main" id="{08A738D8-ED10-804A-ABAD-733D72CEF9C9}"/>
                </a:ext>
              </a:extLst>
            </p:cNvPr>
            <p:cNvSpPr/>
            <p:nvPr/>
          </p:nvSpPr>
          <p:spPr>
            <a:xfrm>
              <a:off x="7090532" y="2681569"/>
              <a:ext cx="276992" cy="276992"/>
            </a:xfrm>
            <a:custGeom>
              <a:avLst/>
              <a:gdLst>
                <a:gd name="connsiteX0" fmla="*/ 138496 w 276992"/>
                <a:gd name="connsiteY0" fmla="*/ 276992 h 276992"/>
                <a:gd name="connsiteX1" fmla="*/ 276992 w 276992"/>
                <a:gd name="connsiteY1" fmla="*/ 138496 h 276992"/>
                <a:gd name="connsiteX2" fmla="*/ 138496 w 276992"/>
                <a:gd name="connsiteY2" fmla="*/ 0 h 276992"/>
                <a:gd name="connsiteX3" fmla="*/ 0 w 276992"/>
                <a:gd name="connsiteY3" fmla="*/ 138496 h 276992"/>
                <a:gd name="connsiteX4" fmla="*/ 138496 w 276992"/>
                <a:gd name="connsiteY4" fmla="*/ 276992 h 276992"/>
                <a:gd name="connsiteX5" fmla="*/ 138496 w 276992"/>
                <a:gd name="connsiteY5" fmla="*/ 69248 h 276992"/>
                <a:gd name="connsiteX6" fmla="*/ 207744 w 276992"/>
                <a:gd name="connsiteY6" fmla="*/ 138496 h 276992"/>
                <a:gd name="connsiteX7" fmla="*/ 138496 w 276992"/>
                <a:gd name="connsiteY7" fmla="*/ 207744 h 276992"/>
                <a:gd name="connsiteX8" fmla="*/ 69248 w 276992"/>
                <a:gd name="connsiteY8" fmla="*/ 138496 h 276992"/>
                <a:gd name="connsiteX9" fmla="*/ 138496 w 276992"/>
                <a:gd name="connsiteY9" fmla="*/ 69248 h 27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992" h="276992">
                  <a:moveTo>
                    <a:pt x="138496" y="276992"/>
                  </a:moveTo>
                  <a:cubicBezTo>
                    <a:pt x="214984" y="276992"/>
                    <a:pt x="276992" y="214984"/>
                    <a:pt x="276992" y="138496"/>
                  </a:cubicBezTo>
                  <a:cubicBezTo>
                    <a:pt x="276992" y="62008"/>
                    <a:pt x="214984" y="0"/>
                    <a:pt x="138496" y="0"/>
                  </a:cubicBezTo>
                  <a:cubicBezTo>
                    <a:pt x="62008" y="0"/>
                    <a:pt x="0" y="62008"/>
                    <a:pt x="0" y="138496"/>
                  </a:cubicBezTo>
                  <a:cubicBezTo>
                    <a:pt x="454" y="214797"/>
                    <a:pt x="62195" y="276538"/>
                    <a:pt x="138496" y="276992"/>
                  </a:cubicBezTo>
                  <a:close/>
                  <a:moveTo>
                    <a:pt x="138496" y="69248"/>
                  </a:moveTo>
                  <a:cubicBezTo>
                    <a:pt x="176742" y="69248"/>
                    <a:pt x="207744" y="100250"/>
                    <a:pt x="207744" y="138496"/>
                  </a:cubicBezTo>
                  <a:cubicBezTo>
                    <a:pt x="207744" y="176742"/>
                    <a:pt x="176742" y="207744"/>
                    <a:pt x="138496" y="207744"/>
                  </a:cubicBezTo>
                  <a:cubicBezTo>
                    <a:pt x="100250" y="207744"/>
                    <a:pt x="69248" y="176742"/>
                    <a:pt x="69248" y="138496"/>
                  </a:cubicBezTo>
                  <a:cubicBezTo>
                    <a:pt x="69733" y="100455"/>
                    <a:pt x="100455" y="69733"/>
                    <a:pt x="138496" y="69248"/>
                  </a:cubicBezTo>
                  <a:close/>
                </a:path>
              </a:pathLst>
            </a:custGeom>
            <a:grpFill/>
            <a:ln w="34528" cap="flat">
              <a:noFill/>
              <a:prstDash val="solid"/>
              <a:miter/>
            </a:ln>
          </p:spPr>
          <p:txBody>
            <a:bodyPr rtlCol="0" anchor="ctr"/>
            <a:lstStyle/>
            <a:p>
              <a:endParaRPr lang="en-US"/>
            </a:p>
          </p:txBody>
        </p:sp>
        <p:sp>
          <p:nvSpPr>
            <p:cNvPr id="90" name="Graphic 6" descr="Head with gears outline">
              <a:extLst>
                <a:ext uri="{FF2B5EF4-FFF2-40B4-BE49-F238E27FC236}">
                  <a16:creationId xmlns:a16="http://schemas.microsoft.com/office/drawing/2014/main" id="{44711486-34BA-D640-A549-1234CAF63BDE}"/>
                </a:ext>
              </a:extLst>
            </p:cNvPr>
            <p:cNvSpPr/>
            <p:nvPr/>
          </p:nvSpPr>
          <p:spPr>
            <a:xfrm>
              <a:off x="6675044" y="3350955"/>
              <a:ext cx="276992" cy="276992"/>
            </a:xfrm>
            <a:custGeom>
              <a:avLst/>
              <a:gdLst>
                <a:gd name="connsiteX0" fmla="*/ 138496 w 276992"/>
                <a:gd name="connsiteY0" fmla="*/ 276992 h 276992"/>
                <a:gd name="connsiteX1" fmla="*/ 276992 w 276992"/>
                <a:gd name="connsiteY1" fmla="*/ 138496 h 276992"/>
                <a:gd name="connsiteX2" fmla="*/ 138496 w 276992"/>
                <a:gd name="connsiteY2" fmla="*/ 0 h 276992"/>
                <a:gd name="connsiteX3" fmla="*/ 0 w 276992"/>
                <a:gd name="connsiteY3" fmla="*/ 138496 h 276992"/>
                <a:gd name="connsiteX4" fmla="*/ 138496 w 276992"/>
                <a:gd name="connsiteY4" fmla="*/ 276992 h 276992"/>
                <a:gd name="connsiteX5" fmla="*/ 138496 w 276992"/>
                <a:gd name="connsiteY5" fmla="*/ 69248 h 276992"/>
                <a:gd name="connsiteX6" fmla="*/ 207744 w 276992"/>
                <a:gd name="connsiteY6" fmla="*/ 138496 h 276992"/>
                <a:gd name="connsiteX7" fmla="*/ 138496 w 276992"/>
                <a:gd name="connsiteY7" fmla="*/ 207744 h 276992"/>
                <a:gd name="connsiteX8" fmla="*/ 69248 w 276992"/>
                <a:gd name="connsiteY8" fmla="*/ 138496 h 276992"/>
                <a:gd name="connsiteX9" fmla="*/ 138496 w 276992"/>
                <a:gd name="connsiteY9" fmla="*/ 69248 h 27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992" h="276992">
                  <a:moveTo>
                    <a:pt x="138496" y="276992"/>
                  </a:moveTo>
                  <a:cubicBezTo>
                    <a:pt x="214984" y="276992"/>
                    <a:pt x="276992" y="214984"/>
                    <a:pt x="276992" y="138496"/>
                  </a:cubicBezTo>
                  <a:cubicBezTo>
                    <a:pt x="276992" y="62008"/>
                    <a:pt x="214984" y="0"/>
                    <a:pt x="138496" y="0"/>
                  </a:cubicBezTo>
                  <a:cubicBezTo>
                    <a:pt x="62008" y="0"/>
                    <a:pt x="0" y="62008"/>
                    <a:pt x="0" y="138496"/>
                  </a:cubicBezTo>
                  <a:cubicBezTo>
                    <a:pt x="0" y="214984"/>
                    <a:pt x="62008" y="276992"/>
                    <a:pt x="138496" y="276992"/>
                  </a:cubicBezTo>
                  <a:close/>
                  <a:moveTo>
                    <a:pt x="138496" y="69248"/>
                  </a:moveTo>
                  <a:cubicBezTo>
                    <a:pt x="176742" y="69248"/>
                    <a:pt x="207744" y="100250"/>
                    <a:pt x="207744" y="138496"/>
                  </a:cubicBezTo>
                  <a:cubicBezTo>
                    <a:pt x="207744" y="176742"/>
                    <a:pt x="176742" y="207744"/>
                    <a:pt x="138496" y="207744"/>
                  </a:cubicBezTo>
                  <a:cubicBezTo>
                    <a:pt x="100250" y="207744"/>
                    <a:pt x="69248" y="176742"/>
                    <a:pt x="69248" y="138496"/>
                  </a:cubicBezTo>
                  <a:cubicBezTo>
                    <a:pt x="69248" y="100250"/>
                    <a:pt x="100250" y="69248"/>
                    <a:pt x="138496" y="69248"/>
                  </a:cubicBezTo>
                  <a:close/>
                </a:path>
              </a:pathLst>
            </a:custGeom>
            <a:grpFill/>
            <a:ln w="34528" cap="flat">
              <a:noFill/>
              <a:prstDash val="solid"/>
              <a:miter/>
            </a:ln>
          </p:spPr>
          <p:txBody>
            <a:bodyPr rtlCol="0" anchor="ctr"/>
            <a:lstStyle/>
            <a:p>
              <a:endParaRPr lang="en-US"/>
            </a:p>
          </p:txBody>
        </p:sp>
        <p:sp>
          <p:nvSpPr>
            <p:cNvPr id="91" name="Graphic 6" descr="Head with gears outline">
              <a:extLst>
                <a:ext uri="{FF2B5EF4-FFF2-40B4-BE49-F238E27FC236}">
                  <a16:creationId xmlns:a16="http://schemas.microsoft.com/office/drawing/2014/main" id="{DC6E5CE1-68A9-F848-9FD8-91FD62B5A3C6}"/>
                </a:ext>
              </a:extLst>
            </p:cNvPr>
            <p:cNvSpPr/>
            <p:nvPr/>
          </p:nvSpPr>
          <p:spPr>
            <a:xfrm>
              <a:off x="6421354" y="3090444"/>
              <a:ext cx="788007" cy="788111"/>
            </a:xfrm>
            <a:custGeom>
              <a:avLst/>
              <a:gdLst>
                <a:gd name="connsiteX0" fmla="*/ 112078 w 788007"/>
                <a:gd name="connsiteY0" fmla="*/ 550695 h 788111"/>
                <a:gd name="connsiteX1" fmla="*/ 82405 w 788007"/>
                <a:gd name="connsiteY1" fmla="*/ 636424 h 788111"/>
                <a:gd name="connsiteX2" fmla="*/ 148191 w 788007"/>
                <a:gd name="connsiteY2" fmla="*/ 702383 h 788111"/>
                <a:gd name="connsiteX3" fmla="*/ 233920 w 788007"/>
                <a:gd name="connsiteY3" fmla="*/ 675999 h 788111"/>
                <a:gd name="connsiteX4" fmla="*/ 306630 w 788007"/>
                <a:gd name="connsiteY4" fmla="*/ 705672 h 788111"/>
                <a:gd name="connsiteX5" fmla="*/ 346136 w 788007"/>
                <a:gd name="connsiteY5" fmla="*/ 788112 h 788111"/>
                <a:gd name="connsiteX6" fmla="*/ 438444 w 788007"/>
                <a:gd name="connsiteY6" fmla="*/ 788112 h 788111"/>
                <a:gd name="connsiteX7" fmla="*/ 474730 w 788007"/>
                <a:gd name="connsiteY7" fmla="*/ 708961 h 788111"/>
                <a:gd name="connsiteX8" fmla="*/ 547440 w 788007"/>
                <a:gd name="connsiteY8" fmla="*/ 679288 h 788111"/>
                <a:gd name="connsiteX9" fmla="*/ 633135 w 788007"/>
                <a:gd name="connsiteY9" fmla="*/ 708961 h 788111"/>
                <a:gd name="connsiteX10" fmla="*/ 698920 w 788007"/>
                <a:gd name="connsiteY10" fmla="*/ 643176 h 788111"/>
                <a:gd name="connsiteX11" fmla="*/ 672641 w 788007"/>
                <a:gd name="connsiteY11" fmla="*/ 557274 h 788111"/>
                <a:gd name="connsiteX12" fmla="*/ 702313 w 788007"/>
                <a:gd name="connsiteY12" fmla="*/ 484736 h 788111"/>
                <a:gd name="connsiteX13" fmla="*/ 784719 w 788007"/>
                <a:gd name="connsiteY13" fmla="*/ 445161 h 788111"/>
                <a:gd name="connsiteX14" fmla="*/ 788008 w 788007"/>
                <a:gd name="connsiteY14" fmla="*/ 346240 h 788111"/>
                <a:gd name="connsiteX15" fmla="*/ 705499 w 788007"/>
                <a:gd name="connsiteY15" fmla="*/ 306838 h 788111"/>
                <a:gd name="connsiteX16" fmla="*/ 675826 w 788007"/>
                <a:gd name="connsiteY16" fmla="*/ 234128 h 788111"/>
                <a:gd name="connsiteX17" fmla="*/ 705499 w 788007"/>
                <a:gd name="connsiteY17" fmla="*/ 148398 h 788111"/>
                <a:gd name="connsiteX18" fmla="*/ 639713 w 788007"/>
                <a:gd name="connsiteY18" fmla="*/ 82440 h 788111"/>
                <a:gd name="connsiteX19" fmla="*/ 553984 w 788007"/>
                <a:gd name="connsiteY19" fmla="*/ 112113 h 788111"/>
                <a:gd name="connsiteX20" fmla="*/ 481447 w 788007"/>
                <a:gd name="connsiteY20" fmla="*/ 82440 h 788111"/>
                <a:gd name="connsiteX21" fmla="*/ 441906 w 788007"/>
                <a:gd name="connsiteY21" fmla="*/ 0 h 788111"/>
                <a:gd name="connsiteX22" fmla="*/ 346136 w 788007"/>
                <a:gd name="connsiteY22" fmla="*/ 0 h 788111"/>
                <a:gd name="connsiteX23" fmla="*/ 306596 w 788007"/>
                <a:gd name="connsiteY23" fmla="*/ 82440 h 788111"/>
                <a:gd name="connsiteX24" fmla="*/ 233885 w 788007"/>
                <a:gd name="connsiteY24" fmla="*/ 112113 h 788111"/>
                <a:gd name="connsiteX25" fmla="*/ 148156 w 788007"/>
                <a:gd name="connsiteY25" fmla="*/ 82440 h 788111"/>
                <a:gd name="connsiteX26" fmla="*/ 82371 w 788007"/>
                <a:gd name="connsiteY26" fmla="*/ 148398 h 788111"/>
                <a:gd name="connsiteX27" fmla="*/ 112078 w 788007"/>
                <a:gd name="connsiteY27" fmla="*/ 234128 h 788111"/>
                <a:gd name="connsiteX28" fmla="*/ 82405 w 788007"/>
                <a:gd name="connsiteY28" fmla="*/ 306665 h 788111"/>
                <a:gd name="connsiteX29" fmla="*/ 0 w 788007"/>
                <a:gd name="connsiteY29" fmla="*/ 346240 h 788111"/>
                <a:gd name="connsiteX30" fmla="*/ 0 w 788007"/>
                <a:gd name="connsiteY30" fmla="*/ 438582 h 788111"/>
                <a:gd name="connsiteX31" fmla="*/ 82405 w 788007"/>
                <a:gd name="connsiteY31" fmla="*/ 478158 h 788111"/>
                <a:gd name="connsiteX32" fmla="*/ 112078 w 788007"/>
                <a:gd name="connsiteY32" fmla="*/ 550695 h 788111"/>
                <a:gd name="connsiteX33" fmla="*/ 69248 w 788007"/>
                <a:gd name="connsiteY33" fmla="*/ 389936 h 788111"/>
                <a:gd name="connsiteX34" fmla="*/ 112390 w 788007"/>
                <a:gd name="connsiteY34" fmla="*/ 369161 h 788111"/>
                <a:gd name="connsiteX35" fmla="*/ 141716 w 788007"/>
                <a:gd name="connsiteY35" fmla="*/ 355104 h 788111"/>
                <a:gd name="connsiteX36" fmla="*/ 149576 w 788007"/>
                <a:gd name="connsiteY36" fmla="*/ 323527 h 788111"/>
                <a:gd name="connsiteX37" fmla="*/ 172220 w 788007"/>
                <a:gd name="connsiteY37" fmla="*/ 268544 h 788111"/>
                <a:gd name="connsiteX38" fmla="*/ 187801 w 788007"/>
                <a:gd name="connsiteY38" fmla="*/ 241260 h 788111"/>
                <a:gd name="connsiteX39" fmla="*/ 177413 w 788007"/>
                <a:gd name="connsiteY39" fmla="*/ 211553 h 788111"/>
                <a:gd name="connsiteX40" fmla="*/ 161902 w 788007"/>
                <a:gd name="connsiteY40" fmla="*/ 166784 h 788111"/>
                <a:gd name="connsiteX41" fmla="*/ 166542 w 788007"/>
                <a:gd name="connsiteY41" fmla="*/ 162144 h 788111"/>
                <a:gd name="connsiteX42" fmla="*/ 211310 w 788007"/>
                <a:gd name="connsiteY42" fmla="*/ 177621 h 788111"/>
                <a:gd name="connsiteX43" fmla="*/ 241018 w 788007"/>
                <a:gd name="connsiteY43" fmla="*/ 188008 h 788111"/>
                <a:gd name="connsiteX44" fmla="*/ 268301 w 788007"/>
                <a:gd name="connsiteY44" fmla="*/ 172428 h 788111"/>
                <a:gd name="connsiteX45" fmla="*/ 323284 w 788007"/>
                <a:gd name="connsiteY45" fmla="*/ 149783 h 788111"/>
                <a:gd name="connsiteX46" fmla="*/ 354827 w 788007"/>
                <a:gd name="connsiteY46" fmla="*/ 141889 h 788111"/>
                <a:gd name="connsiteX47" fmla="*/ 368919 w 788007"/>
                <a:gd name="connsiteY47" fmla="*/ 112563 h 788111"/>
                <a:gd name="connsiteX48" fmla="*/ 389693 w 788007"/>
                <a:gd name="connsiteY48" fmla="*/ 69421 h 788111"/>
                <a:gd name="connsiteX49" fmla="*/ 398142 w 788007"/>
                <a:gd name="connsiteY49" fmla="*/ 69421 h 788111"/>
                <a:gd name="connsiteX50" fmla="*/ 418916 w 788007"/>
                <a:gd name="connsiteY50" fmla="*/ 112563 h 788111"/>
                <a:gd name="connsiteX51" fmla="*/ 433008 w 788007"/>
                <a:gd name="connsiteY51" fmla="*/ 141889 h 788111"/>
                <a:gd name="connsiteX52" fmla="*/ 464550 w 788007"/>
                <a:gd name="connsiteY52" fmla="*/ 149783 h 788111"/>
                <a:gd name="connsiteX53" fmla="*/ 519533 w 788007"/>
                <a:gd name="connsiteY53" fmla="*/ 172428 h 788111"/>
                <a:gd name="connsiteX54" fmla="*/ 546817 w 788007"/>
                <a:gd name="connsiteY54" fmla="*/ 188008 h 788111"/>
                <a:gd name="connsiteX55" fmla="*/ 576524 w 788007"/>
                <a:gd name="connsiteY55" fmla="*/ 177621 h 788111"/>
                <a:gd name="connsiteX56" fmla="*/ 621293 w 788007"/>
                <a:gd name="connsiteY56" fmla="*/ 162144 h 788111"/>
                <a:gd name="connsiteX57" fmla="*/ 625898 w 788007"/>
                <a:gd name="connsiteY57" fmla="*/ 166784 h 788111"/>
                <a:gd name="connsiteX58" fmla="*/ 610317 w 788007"/>
                <a:gd name="connsiteY58" fmla="*/ 211484 h 788111"/>
                <a:gd name="connsiteX59" fmla="*/ 599930 w 788007"/>
                <a:gd name="connsiteY59" fmla="*/ 241191 h 788111"/>
                <a:gd name="connsiteX60" fmla="*/ 615511 w 788007"/>
                <a:gd name="connsiteY60" fmla="*/ 268475 h 788111"/>
                <a:gd name="connsiteX61" fmla="*/ 638155 w 788007"/>
                <a:gd name="connsiteY61" fmla="*/ 323458 h 788111"/>
                <a:gd name="connsiteX62" fmla="*/ 646015 w 788007"/>
                <a:gd name="connsiteY62" fmla="*/ 355035 h 788111"/>
                <a:gd name="connsiteX63" fmla="*/ 675341 w 788007"/>
                <a:gd name="connsiteY63" fmla="*/ 369092 h 788111"/>
                <a:gd name="connsiteX64" fmla="*/ 716890 w 788007"/>
                <a:gd name="connsiteY64" fmla="*/ 389105 h 788111"/>
                <a:gd name="connsiteX65" fmla="*/ 716509 w 788007"/>
                <a:gd name="connsiteY65" fmla="*/ 400912 h 788111"/>
                <a:gd name="connsiteX66" fmla="*/ 671914 w 788007"/>
                <a:gd name="connsiteY66" fmla="*/ 422309 h 788111"/>
                <a:gd name="connsiteX67" fmla="*/ 642587 w 788007"/>
                <a:gd name="connsiteY67" fmla="*/ 436401 h 788111"/>
                <a:gd name="connsiteX68" fmla="*/ 634693 w 788007"/>
                <a:gd name="connsiteY68" fmla="*/ 467943 h 788111"/>
                <a:gd name="connsiteX69" fmla="*/ 612083 w 788007"/>
                <a:gd name="connsiteY69" fmla="*/ 522926 h 788111"/>
                <a:gd name="connsiteX70" fmla="*/ 597195 w 788007"/>
                <a:gd name="connsiteY70" fmla="*/ 548964 h 788111"/>
                <a:gd name="connsiteX71" fmla="*/ 606024 w 788007"/>
                <a:gd name="connsiteY71" fmla="*/ 577632 h 788111"/>
                <a:gd name="connsiteX72" fmla="*/ 620151 w 788007"/>
                <a:gd name="connsiteY72" fmla="*/ 623544 h 788111"/>
                <a:gd name="connsiteX73" fmla="*/ 614334 w 788007"/>
                <a:gd name="connsiteY73" fmla="*/ 629361 h 788111"/>
                <a:gd name="connsiteX74" fmla="*/ 569600 w 788007"/>
                <a:gd name="connsiteY74" fmla="*/ 613849 h 788111"/>
                <a:gd name="connsiteX75" fmla="*/ 539892 w 788007"/>
                <a:gd name="connsiteY75" fmla="*/ 603462 h 788111"/>
                <a:gd name="connsiteX76" fmla="*/ 512574 w 788007"/>
                <a:gd name="connsiteY76" fmla="*/ 619077 h 788111"/>
                <a:gd name="connsiteX77" fmla="*/ 457626 w 788007"/>
                <a:gd name="connsiteY77" fmla="*/ 641687 h 788111"/>
                <a:gd name="connsiteX78" fmla="*/ 425321 w 788007"/>
                <a:gd name="connsiteY78" fmla="*/ 649754 h 788111"/>
                <a:gd name="connsiteX79" fmla="*/ 411472 w 788007"/>
                <a:gd name="connsiteY79" fmla="*/ 680016 h 788111"/>
                <a:gd name="connsiteX80" fmla="*/ 394021 w 788007"/>
                <a:gd name="connsiteY80" fmla="*/ 718864 h 788111"/>
                <a:gd name="connsiteX81" fmla="*/ 389728 w 788007"/>
                <a:gd name="connsiteY81" fmla="*/ 718864 h 788111"/>
                <a:gd name="connsiteX82" fmla="*/ 368954 w 788007"/>
                <a:gd name="connsiteY82" fmla="*/ 675722 h 788111"/>
                <a:gd name="connsiteX83" fmla="*/ 354862 w 788007"/>
                <a:gd name="connsiteY83" fmla="*/ 646396 h 788111"/>
                <a:gd name="connsiteX84" fmla="*/ 323319 w 788007"/>
                <a:gd name="connsiteY84" fmla="*/ 638501 h 788111"/>
                <a:gd name="connsiteX85" fmla="*/ 268336 w 788007"/>
                <a:gd name="connsiteY85" fmla="*/ 615857 h 788111"/>
                <a:gd name="connsiteX86" fmla="*/ 242299 w 788007"/>
                <a:gd name="connsiteY86" fmla="*/ 600969 h 788111"/>
                <a:gd name="connsiteX87" fmla="*/ 213630 w 788007"/>
                <a:gd name="connsiteY87" fmla="*/ 609798 h 788111"/>
                <a:gd name="connsiteX88" fmla="*/ 167753 w 788007"/>
                <a:gd name="connsiteY88" fmla="*/ 623925 h 788111"/>
                <a:gd name="connsiteX89" fmla="*/ 161937 w 788007"/>
                <a:gd name="connsiteY89" fmla="*/ 618108 h 788111"/>
                <a:gd name="connsiteX90" fmla="*/ 177517 w 788007"/>
                <a:gd name="connsiteY90" fmla="*/ 573443 h 788111"/>
                <a:gd name="connsiteX91" fmla="*/ 187905 w 788007"/>
                <a:gd name="connsiteY91" fmla="*/ 543736 h 788111"/>
                <a:gd name="connsiteX92" fmla="*/ 172324 w 788007"/>
                <a:gd name="connsiteY92" fmla="*/ 516452 h 788111"/>
                <a:gd name="connsiteX93" fmla="*/ 149680 w 788007"/>
                <a:gd name="connsiteY93" fmla="*/ 461469 h 788111"/>
                <a:gd name="connsiteX94" fmla="*/ 141820 w 788007"/>
                <a:gd name="connsiteY94" fmla="*/ 429892 h 788111"/>
                <a:gd name="connsiteX95" fmla="*/ 112493 w 788007"/>
                <a:gd name="connsiteY95" fmla="*/ 415834 h 788111"/>
                <a:gd name="connsiteX96" fmla="*/ 69352 w 788007"/>
                <a:gd name="connsiteY96" fmla="*/ 395060 h 788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8007" h="788111">
                  <a:moveTo>
                    <a:pt x="112078" y="550695"/>
                  </a:moveTo>
                  <a:lnTo>
                    <a:pt x="82405" y="636424"/>
                  </a:lnTo>
                  <a:lnTo>
                    <a:pt x="148191" y="702383"/>
                  </a:lnTo>
                  <a:lnTo>
                    <a:pt x="233920" y="675999"/>
                  </a:lnTo>
                  <a:cubicBezTo>
                    <a:pt x="256637" y="689264"/>
                    <a:pt x="281116" y="699256"/>
                    <a:pt x="306630" y="705672"/>
                  </a:cubicBezTo>
                  <a:lnTo>
                    <a:pt x="346136" y="788112"/>
                  </a:lnTo>
                  <a:lnTo>
                    <a:pt x="438444" y="788112"/>
                  </a:lnTo>
                  <a:lnTo>
                    <a:pt x="474730" y="708961"/>
                  </a:lnTo>
                  <a:cubicBezTo>
                    <a:pt x="500244" y="702546"/>
                    <a:pt x="524720" y="692553"/>
                    <a:pt x="547440" y="679288"/>
                  </a:cubicBezTo>
                  <a:lnTo>
                    <a:pt x="633135" y="708961"/>
                  </a:lnTo>
                  <a:lnTo>
                    <a:pt x="698920" y="643176"/>
                  </a:lnTo>
                  <a:lnTo>
                    <a:pt x="672641" y="557274"/>
                  </a:lnTo>
                  <a:cubicBezTo>
                    <a:pt x="685884" y="534605"/>
                    <a:pt x="695870" y="510188"/>
                    <a:pt x="702313" y="484736"/>
                  </a:cubicBezTo>
                  <a:lnTo>
                    <a:pt x="784719" y="445161"/>
                  </a:lnTo>
                  <a:lnTo>
                    <a:pt x="788008" y="346240"/>
                  </a:lnTo>
                  <a:lnTo>
                    <a:pt x="705499" y="306838"/>
                  </a:lnTo>
                  <a:cubicBezTo>
                    <a:pt x="699066" y="281331"/>
                    <a:pt x="689077" y="256851"/>
                    <a:pt x="675826" y="234128"/>
                  </a:cubicBezTo>
                  <a:lnTo>
                    <a:pt x="705499" y="148398"/>
                  </a:lnTo>
                  <a:lnTo>
                    <a:pt x="639713" y="82440"/>
                  </a:lnTo>
                  <a:lnTo>
                    <a:pt x="553984" y="112113"/>
                  </a:lnTo>
                  <a:cubicBezTo>
                    <a:pt x="531312" y="98876"/>
                    <a:pt x="506896" y="88887"/>
                    <a:pt x="481447" y="82440"/>
                  </a:cubicBezTo>
                  <a:lnTo>
                    <a:pt x="441906" y="0"/>
                  </a:lnTo>
                  <a:lnTo>
                    <a:pt x="346136" y="0"/>
                  </a:lnTo>
                  <a:lnTo>
                    <a:pt x="306596" y="82440"/>
                  </a:lnTo>
                  <a:cubicBezTo>
                    <a:pt x="281088" y="88873"/>
                    <a:pt x="256609" y="98862"/>
                    <a:pt x="233885" y="112113"/>
                  </a:cubicBezTo>
                  <a:lnTo>
                    <a:pt x="148156" y="82440"/>
                  </a:lnTo>
                  <a:lnTo>
                    <a:pt x="82371" y="148398"/>
                  </a:lnTo>
                  <a:lnTo>
                    <a:pt x="112078" y="234128"/>
                  </a:lnTo>
                  <a:cubicBezTo>
                    <a:pt x="98827" y="256792"/>
                    <a:pt x="88838" y="281213"/>
                    <a:pt x="82405" y="306665"/>
                  </a:cubicBezTo>
                  <a:lnTo>
                    <a:pt x="0" y="346240"/>
                  </a:lnTo>
                  <a:lnTo>
                    <a:pt x="0" y="438582"/>
                  </a:lnTo>
                  <a:lnTo>
                    <a:pt x="82405" y="478158"/>
                  </a:lnTo>
                  <a:cubicBezTo>
                    <a:pt x="88838" y="503610"/>
                    <a:pt x="98827" y="528030"/>
                    <a:pt x="112078" y="550695"/>
                  </a:cubicBezTo>
                  <a:close/>
                  <a:moveTo>
                    <a:pt x="69248" y="389936"/>
                  </a:moveTo>
                  <a:lnTo>
                    <a:pt x="112390" y="369161"/>
                  </a:lnTo>
                  <a:lnTo>
                    <a:pt x="141716" y="355104"/>
                  </a:lnTo>
                  <a:lnTo>
                    <a:pt x="149576" y="323527"/>
                  </a:lnTo>
                  <a:cubicBezTo>
                    <a:pt x="154465" y="304214"/>
                    <a:pt x="162089" y="285697"/>
                    <a:pt x="172220" y="268544"/>
                  </a:cubicBezTo>
                  <a:lnTo>
                    <a:pt x="187801" y="241260"/>
                  </a:lnTo>
                  <a:lnTo>
                    <a:pt x="177413" y="211553"/>
                  </a:lnTo>
                  <a:lnTo>
                    <a:pt x="161902" y="166784"/>
                  </a:lnTo>
                  <a:lnTo>
                    <a:pt x="166542" y="162144"/>
                  </a:lnTo>
                  <a:lnTo>
                    <a:pt x="211310" y="177621"/>
                  </a:lnTo>
                  <a:lnTo>
                    <a:pt x="241018" y="188008"/>
                  </a:lnTo>
                  <a:lnTo>
                    <a:pt x="268301" y="172428"/>
                  </a:lnTo>
                  <a:cubicBezTo>
                    <a:pt x="285458" y="162303"/>
                    <a:pt x="303975" y="154679"/>
                    <a:pt x="323284" y="149783"/>
                  </a:cubicBezTo>
                  <a:lnTo>
                    <a:pt x="354827" y="141889"/>
                  </a:lnTo>
                  <a:lnTo>
                    <a:pt x="368919" y="112563"/>
                  </a:lnTo>
                  <a:lnTo>
                    <a:pt x="389693" y="69421"/>
                  </a:lnTo>
                  <a:lnTo>
                    <a:pt x="398142" y="69421"/>
                  </a:lnTo>
                  <a:lnTo>
                    <a:pt x="418916" y="112563"/>
                  </a:lnTo>
                  <a:lnTo>
                    <a:pt x="433008" y="141889"/>
                  </a:lnTo>
                  <a:lnTo>
                    <a:pt x="464550" y="149783"/>
                  </a:lnTo>
                  <a:cubicBezTo>
                    <a:pt x="483860" y="154679"/>
                    <a:pt x="502377" y="162303"/>
                    <a:pt x="519533" y="172428"/>
                  </a:cubicBezTo>
                  <a:lnTo>
                    <a:pt x="546817" y="188008"/>
                  </a:lnTo>
                  <a:lnTo>
                    <a:pt x="576524" y="177621"/>
                  </a:lnTo>
                  <a:lnTo>
                    <a:pt x="621293" y="162144"/>
                  </a:lnTo>
                  <a:lnTo>
                    <a:pt x="625898" y="166784"/>
                  </a:lnTo>
                  <a:lnTo>
                    <a:pt x="610317" y="211484"/>
                  </a:lnTo>
                  <a:lnTo>
                    <a:pt x="599930" y="241191"/>
                  </a:lnTo>
                  <a:lnTo>
                    <a:pt x="615511" y="268475"/>
                  </a:lnTo>
                  <a:cubicBezTo>
                    <a:pt x="625621" y="285638"/>
                    <a:pt x="633245" y="304151"/>
                    <a:pt x="638155" y="323458"/>
                  </a:cubicBezTo>
                  <a:lnTo>
                    <a:pt x="646015" y="355035"/>
                  </a:lnTo>
                  <a:lnTo>
                    <a:pt x="675341" y="369092"/>
                  </a:lnTo>
                  <a:lnTo>
                    <a:pt x="716890" y="389105"/>
                  </a:lnTo>
                  <a:lnTo>
                    <a:pt x="716509" y="400912"/>
                  </a:lnTo>
                  <a:lnTo>
                    <a:pt x="671914" y="422309"/>
                  </a:lnTo>
                  <a:lnTo>
                    <a:pt x="642587" y="436401"/>
                  </a:lnTo>
                  <a:lnTo>
                    <a:pt x="634693" y="467943"/>
                  </a:lnTo>
                  <a:cubicBezTo>
                    <a:pt x="629825" y="487257"/>
                    <a:pt x="622211" y="505774"/>
                    <a:pt x="612083" y="522926"/>
                  </a:cubicBezTo>
                  <a:lnTo>
                    <a:pt x="597195" y="548964"/>
                  </a:lnTo>
                  <a:lnTo>
                    <a:pt x="606024" y="577632"/>
                  </a:lnTo>
                  <a:lnTo>
                    <a:pt x="620151" y="623544"/>
                  </a:lnTo>
                  <a:lnTo>
                    <a:pt x="614334" y="629361"/>
                  </a:lnTo>
                  <a:lnTo>
                    <a:pt x="569600" y="613849"/>
                  </a:lnTo>
                  <a:lnTo>
                    <a:pt x="539892" y="603462"/>
                  </a:lnTo>
                  <a:lnTo>
                    <a:pt x="512574" y="619077"/>
                  </a:lnTo>
                  <a:cubicBezTo>
                    <a:pt x="495425" y="629184"/>
                    <a:pt x="476922" y="636794"/>
                    <a:pt x="457626" y="641687"/>
                  </a:cubicBezTo>
                  <a:lnTo>
                    <a:pt x="425321" y="649754"/>
                  </a:lnTo>
                  <a:lnTo>
                    <a:pt x="411472" y="680016"/>
                  </a:lnTo>
                  <a:lnTo>
                    <a:pt x="394021" y="718864"/>
                  </a:lnTo>
                  <a:lnTo>
                    <a:pt x="389728" y="718864"/>
                  </a:lnTo>
                  <a:lnTo>
                    <a:pt x="368954" y="675722"/>
                  </a:lnTo>
                  <a:lnTo>
                    <a:pt x="354862" y="646396"/>
                  </a:lnTo>
                  <a:lnTo>
                    <a:pt x="323319" y="638501"/>
                  </a:lnTo>
                  <a:cubicBezTo>
                    <a:pt x="304006" y="633613"/>
                    <a:pt x="285489" y="625988"/>
                    <a:pt x="268336" y="615857"/>
                  </a:cubicBezTo>
                  <a:lnTo>
                    <a:pt x="242299" y="600969"/>
                  </a:lnTo>
                  <a:lnTo>
                    <a:pt x="213630" y="609798"/>
                  </a:lnTo>
                  <a:lnTo>
                    <a:pt x="167753" y="623925"/>
                  </a:lnTo>
                  <a:lnTo>
                    <a:pt x="161937" y="618108"/>
                  </a:lnTo>
                  <a:lnTo>
                    <a:pt x="177517" y="573443"/>
                  </a:lnTo>
                  <a:lnTo>
                    <a:pt x="187905" y="543736"/>
                  </a:lnTo>
                  <a:lnTo>
                    <a:pt x="172324" y="516452"/>
                  </a:lnTo>
                  <a:cubicBezTo>
                    <a:pt x="162200" y="499296"/>
                    <a:pt x="154575" y="480779"/>
                    <a:pt x="149680" y="461469"/>
                  </a:cubicBezTo>
                  <a:lnTo>
                    <a:pt x="141820" y="429892"/>
                  </a:lnTo>
                  <a:lnTo>
                    <a:pt x="112493" y="415834"/>
                  </a:lnTo>
                  <a:lnTo>
                    <a:pt x="69352" y="395060"/>
                  </a:lnTo>
                  <a:close/>
                </a:path>
              </a:pathLst>
            </a:custGeom>
            <a:grpFill/>
            <a:ln w="34528" cap="flat">
              <a:noFill/>
              <a:prstDash val="solid"/>
              <a:miter/>
            </a:ln>
          </p:spPr>
          <p:txBody>
            <a:bodyPr rtlCol="0" anchor="ctr"/>
            <a:lstStyle/>
            <a:p>
              <a:endParaRPr lang="en-US"/>
            </a:p>
          </p:txBody>
        </p:sp>
        <p:sp>
          <p:nvSpPr>
            <p:cNvPr id="92" name="Graphic 6" descr="Head with gears outline">
              <a:extLst>
                <a:ext uri="{FF2B5EF4-FFF2-40B4-BE49-F238E27FC236}">
                  <a16:creationId xmlns:a16="http://schemas.microsoft.com/office/drawing/2014/main" id="{B7B4128A-E4E1-CB42-BFF9-D0D077284030}"/>
                </a:ext>
              </a:extLst>
            </p:cNvPr>
            <p:cNvSpPr/>
            <p:nvPr/>
          </p:nvSpPr>
          <p:spPr>
            <a:xfrm>
              <a:off x="6833449" y="2424348"/>
              <a:ext cx="787938" cy="784822"/>
            </a:xfrm>
            <a:custGeom>
              <a:avLst/>
              <a:gdLst>
                <a:gd name="connsiteX0" fmla="*/ 112078 w 787938"/>
                <a:gd name="connsiteY0" fmla="*/ 550695 h 784822"/>
                <a:gd name="connsiteX1" fmla="*/ 82405 w 787938"/>
                <a:gd name="connsiteY1" fmla="*/ 636424 h 784822"/>
                <a:gd name="connsiteX2" fmla="*/ 148191 w 787938"/>
                <a:gd name="connsiteY2" fmla="*/ 702383 h 784822"/>
                <a:gd name="connsiteX3" fmla="*/ 233920 w 787938"/>
                <a:gd name="connsiteY3" fmla="*/ 672710 h 784822"/>
                <a:gd name="connsiteX4" fmla="*/ 306457 w 787938"/>
                <a:gd name="connsiteY4" fmla="*/ 702383 h 784822"/>
                <a:gd name="connsiteX5" fmla="*/ 345998 w 787938"/>
                <a:gd name="connsiteY5" fmla="*/ 784822 h 784822"/>
                <a:gd name="connsiteX6" fmla="*/ 438305 w 787938"/>
                <a:gd name="connsiteY6" fmla="*/ 784822 h 784822"/>
                <a:gd name="connsiteX7" fmla="*/ 477881 w 787938"/>
                <a:gd name="connsiteY7" fmla="*/ 705672 h 784822"/>
                <a:gd name="connsiteX8" fmla="*/ 550591 w 787938"/>
                <a:gd name="connsiteY8" fmla="*/ 675999 h 784822"/>
                <a:gd name="connsiteX9" fmla="*/ 636285 w 787938"/>
                <a:gd name="connsiteY9" fmla="*/ 705672 h 784822"/>
                <a:gd name="connsiteX10" fmla="*/ 702244 w 787938"/>
                <a:gd name="connsiteY10" fmla="*/ 639713 h 784822"/>
                <a:gd name="connsiteX11" fmla="*/ 672571 w 787938"/>
                <a:gd name="connsiteY11" fmla="*/ 553984 h 784822"/>
                <a:gd name="connsiteX12" fmla="*/ 705533 w 787938"/>
                <a:gd name="connsiteY12" fmla="*/ 481447 h 784822"/>
                <a:gd name="connsiteX13" fmla="*/ 787939 w 787938"/>
                <a:gd name="connsiteY13" fmla="*/ 441872 h 784822"/>
                <a:gd name="connsiteX14" fmla="*/ 787939 w 787938"/>
                <a:gd name="connsiteY14" fmla="*/ 342951 h 784822"/>
                <a:gd name="connsiteX15" fmla="*/ 705533 w 787938"/>
                <a:gd name="connsiteY15" fmla="*/ 303376 h 784822"/>
                <a:gd name="connsiteX16" fmla="*/ 675861 w 787938"/>
                <a:gd name="connsiteY16" fmla="*/ 230838 h 784822"/>
                <a:gd name="connsiteX17" fmla="*/ 705533 w 787938"/>
                <a:gd name="connsiteY17" fmla="*/ 145075 h 784822"/>
                <a:gd name="connsiteX18" fmla="*/ 639748 w 787938"/>
                <a:gd name="connsiteY18" fmla="*/ 79289 h 784822"/>
                <a:gd name="connsiteX19" fmla="*/ 554019 w 787938"/>
                <a:gd name="connsiteY19" fmla="*/ 108962 h 784822"/>
                <a:gd name="connsiteX20" fmla="*/ 481481 w 787938"/>
                <a:gd name="connsiteY20" fmla="*/ 79289 h 784822"/>
                <a:gd name="connsiteX21" fmla="*/ 441768 w 787938"/>
                <a:gd name="connsiteY21" fmla="*/ 0 h 784822"/>
                <a:gd name="connsiteX22" fmla="*/ 349460 w 787938"/>
                <a:gd name="connsiteY22" fmla="*/ 0 h 784822"/>
                <a:gd name="connsiteX23" fmla="*/ 309885 w 787938"/>
                <a:gd name="connsiteY23" fmla="*/ 82440 h 784822"/>
                <a:gd name="connsiteX24" fmla="*/ 237174 w 787938"/>
                <a:gd name="connsiteY24" fmla="*/ 112113 h 784822"/>
                <a:gd name="connsiteX25" fmla="*/ 151480 w 787938"/>
                <a:gd name="connsiteY25" fmla="*/ 82440 h 784822"/>
                <a:gd name="connsiteX26" fmla="*/ 85694 w 787938"/>
                <a:gd name="connsiteY26" fmla="*/ 148398 h 784822"/>
                <a:gd name="connsiteX27" fmla="*/ 112078 w 787938"/>
                <a:gd name="connsiteY27" fmla="*/ 234128 h 784822"/>
                <a:gd name="connsiteX28" fmla="*/ 82405 w 787938"/>
                <a:gd name="connsiteY28" fmla="*/ 306665 h 784822"/>
                <a:gd name="connsiteX29" fmla="*/ 0 w 787938"/>
                <a:gd name="connsiteY29" fmla="*/ 346240 h 784822"/>
                <a:gd name="connsiteX30" fmla="*/ 0 w 787938"/>
                <a:gd name="connsiteY30" fmla="*/ 438582 h 784822"/>
                <a:gd name="connsiteX31" fmla="*/ 82405 w 787938"/>
                <a:gd name="connsiteY31" fmla="*/ 478158 h 784822"/>
                <a:gd name="connsiteX32" fmla="*/ 112078 w 787938"/>
                <a:gd name="connsiteY32" fmla="*/ 550695 h 784822"/>
                <a:gd name="connsiteX33" fmla="*/ 69248 w 787938"/>
                <a:gd name="connsiteY33" fmla="*/ 389797 h 784822"/>
                <a:gd name="connsiteX34" fmla="*/ 112389 w 787938"/>
                <a:gd name="connsiteY34" fmla="*/ 369023 h 784822"/>
                <a:gd name="connsiteX35" fmla="*/ 141716 w 787938"/>
                <a:gd name="connsiteY35" fmla="*/ 354965 h 784822"/>
                <a:gd name="connsiteX36" fmla="*/ 149576 w 787938"/>
                <a:gd name="connsiteY36" fmla="*/ 323388 h 784822"/>
                <a:gd name="connsiteX37" fmla="*/ 172220 w 787938"/>
                <a:gd name="connsiteY37" fmla="*/ 268405 h 784822"/>
                <a:gd name="connsiteX38" fmla="*/ 187074 w 787938"/>
                <a:gd name="connsiteY38" fmla="*/ 242368 h 784822"/>
                <a:gd name="connsiteX39" fmla="*/ 178279 w 787938"/>
                <a:gd name="connsiteY39" fmla="*/ 213699 h 784822"/>
                <a:gd name="connsiteX40" fmla="*/ 164152 w 787938"/>
                <a:gd name="connsiteY40" fmla="*/ 167788 h 784822"/>
                <a:gd name="connsiteX41" fmla="*/ 169969 w 787938"/>
                <a:gd name="connsiteY41" fmla="*/ 162006 h 784822"/>
                <a:gd name="connsiteX42" fmla="*/ 214704 w 787938"/>
                <a:gd name="connsiteY42" fmla="*/ 177483 h 784822"/>
                <a:gd name="connsiteX43" fmla="*/ 244411 w 787938"/>
                <a:gd name="connsiteY43" fmla="*/ 187870 h 784822"/>
                <a:gd name="connsiteX44" fmla="*/ 271729 w 787938"/>
                <a:gd name="connsiteY44" fmla="*/ 172289 h 784822"/>
                <a:gd name="connsiteX45" fmla="*/ 326678 w 787938"/>
                <a:gd name="connsiteY45" fmla="*/ 149645 h 784822"/>
                <a:gd name="connsiteX46" fmla="*/ 358255 w 787938"/>
                <a:gd name="connsiteY46" fmla="*/ 141751 h 784822"/>
                <a:gd name="connsiteX47" fmla="*/ 372312 w 787938"/>
                <a:gd name="connsiteY47" fmla="*/ 112424 h 784822"/>
                <a:gd name="connsiteX48" fmla="*/ 393086 w 787938"/>
                <a:gd name="connsiteY48" fmla="*/ 69283 h 784822"/>
                <a:gd name="connsiteX49" fmla="*/ 399042 w 787938"/>
                <a:gd name="connsiteY49" fmla="*/ 69283 h 784822"/>
                <a:gd name="connsiteX50" fmla="*/ 419470 w 787938"/>
                <a:gd name="connsiteY50" fmla="*/ 110139 h 784822"/>
                <a:gd name="connsiteX51" fmla="*/ 433666 w 787938"/>
                <a:gd name="connsiteY51" fmla="*/ 138496 h 784822"/>
                <a:gd name="connsiteX52" fmla="*/ 464550 w 787938"/>
                <a:gd name="connsiteY52" fmla="*/ 146217 h 784822"/>
                <a:gd name="connsiteX53" fmla="*/ 519533 w 787938"/>
                <a:gd name="connsiteY53" fmla="*/ 168827 h 784822"/>
                <a:gd name="connsiteX54" fmla="*/ 546817 w 787938"/>
                <a:gd name="connsiteY54" fmla="*/ 184442 h 784822"/>
                <a:gd name="connsiteX55" fmla="*/ 576524 w 787938"/>
                <a:gd name="connsiteY55" fmla="*/ 174055 h 784822"/>
                <a:gd name="connsiteX56" fmla="*/ 621293 w 787938"/>
                <a:gd name="connsiteY56" fmla="*/ 158543 h 784822"/>
                <a:gd name="connsiteX57" fmla="*/ 625898 w 787938"/>
                <a:gd name="connsiteY57" fmla="*/ 163183 h 784822"/>
                <a:gd name="connsiteX58" fmla="*/ 610248 w 787938"/>
                <a:gd name="connsiteY58" fmla="*/ 208194 h 784822"/>
                <a:gd name="connsiteX59" fmla="*/ 599861 w 787938"/>
                <a:gd name="connsiteY59" fmla="*/ 237867 h 784822"/>
                <a:gd name="connsiteX60" fmla="*/ 615442 w 787938"/>
                <a:gd name="connsiteY60" fmla="*/ 265185 h 784822"/>
                <a:gd name="connsiteX61" fmla="*/ 638086 w 787938"/>
                <a:gd name="connsiteY61" fmla="*/ 320168 h 784822"/>
                <a:gd name="connsiteX62" fmla="*/ 645946 w 787938"/>
                <a:gd name="connsiteY62" fmla="*/ 351711 h 784822"/>
                <a:gd name="connsiteX63" fmla="*/ 675272 w 787938"/>
                <a:gd name="connsiteY63" fmla="*/ 365803 h 784822"/>
                <a:gd name="connsiteX64" fmla="*/ 718414 w 787938"/>
                <a:gd name="connsiteY64" fmla="*/ 386577 h 784822"/>
                <a:gd name="connsiteX65" fmla="*/ 718414 w 787938"/>
                <a:gd name="connsiteY65" fmla="*/ 398176 h 784822"/>
                <a:gd name="connsiteX66" fmla="*/ 675272 w 787938"/>
                <a:gd name="connsiteY66" fmla="*/ 418951 h 784822"/>
                <a:gd name="connsiteX67" fmla="*/ 645946 w 787938"/>
                <a:gd name="connsiteY67" fmla="*/ 433008 h 784822"/>
                <a:gd name="connsiteX68" fmla="*/ 638086 w 787938"/>
                <a:gd name="connsiteY68" fmla="*/ 464585 h 784822"/>
                <a:gd name="connsiteX69" fmla="*/ 612153 w 787938"/>
                <a:gd name="connsiteY69" fmla="*/ 519568 h 784822"/>
                <a:gd name="connsiteX70" fmla="*/ 596572 w 787938"/>
                <a:gd name="connsiteY70" fmla="*/ 546852 h 784822"/>
                <a:gd name="connsiteX71" fmla="*/ 606959 w 787938"/>
                <a:gd name="connsiteY71" fmla="*/ 576559 h 784822"/>
                <a:gd name="connsiteX72" fmla="*/ 622436 w 787938"/>
                <a:gd name="connsiteY72" fmla="*/ 621328 h 784822"/>
                <a:gd name="connsiteX73" fmla="*/ 617796 w 787938"/>
                <a:gd name="connsiteY73" fmla="*/ 625968 h 784822"/>
                <a:gd name="connsiteX74" fmla="*/ 573062 w 787938"/>
                <a:gd name="connsiteY74" fmla="*/ 610491 h 784822"/>
                <a:gd name="connsiteX75" fmla="*/ 543355 w 787938"/>
                <a:gd name="connsiteY75" fmla="*/ 600103 h 784822"/>
                <a:gd name="connsiteX76" fmla="*/ 516036 w 787938"/>
                <a:gd name="connsiteY76" fmla="*/ 615684 h 784822"/>
                <a:gd name="connsiteX77" fmla="*/ 461088 w 787938"/>
                <a:gd name="connsiteY77" fmla="*/ 638328 h 784822"/>
                <a:gd name="connsiteX78" fmla="*/ 430169 w 787938"/>
                <a:gd name="connsiteY78" fmla="*/ 646049 h 784822"/>
                <a:gd name="connsiteX79" fmla="*/ 415938 w 787938"/>
                <a:gd name="connsiteY79" fmla="*/ 674545 h 784822"/>
                <a:gd name="connsiteX80" fmla="*/ 395510 w 787938"/>
                <a:gd name="connsiteY80" fmla="*/ 715401 h 784822"/>
                <a:gd name="connsiteX81" fmla="*/ 389589 w 787938"/>
                <a:gd name="connsiteY81" fmla="*/ 715401 h 784822"/>
                <a:gd name="connsiteX82" fmla="*/ 368815 w 787938"/>
                <a:gd name="connsiteY82" fmla="*/ 672225 h 784822"/>
                <a:gd name="connsiteX83" fmla="*/ 354723 w 787938"/>
                <a:gd name="connsiteY83" fmla="*/ 642899 h 784822"/>
                <a:gd name="connsiteX84" fmla="*/ 323181 w 787938"/>
                <a:gd name="connsiteY84" fmla="*/ 635004 h 784822"/>
                <a:gd name="connsiteX85" fmla="*/ 268198 w 787938"/>
                <a:gd name="connsiteY85" fmla="*/ 612395 h 784822"/>
                <a:gd name="connsiteX86" fmla="*/ 240914 w 787938"/>
                <a:gd name="connsiteY86" fmla="*/ 596814 h 784822"/>
                <a:gd name="connsiteX87" fmla="*/ 211206 w 787938"/>
                <a:gd name="connsiteY87" fmla="*/ 607201 h 784822"/>
                <a:gd name="connsiteX88" fmla="*/ 166438 w 787938"/>
                <a:gd name="connsiteY88" fmla="*/ 622678 h 784822"/>
                <a:gd name="connsiteX89" fmla="*/ 161833 w 787938"/>
                <a:gd name="connsiteY89" fmla="*/ 618039 h 784822"/>
                <a:gd name="connsiteX90" fmla="*/ 177310 w 787938"/>
                <a:gd name="connsiteY90" fmla="*/ 573270 h 784822"/>
                <a:gd name="connsiteX91" fmla="*/ 187697 w 787938"/>
                <a:gd name="connsiteY91" fmla="*/ 543562 h 784822"/>
                <a:gd name="connsiteX92" fmla="*/ 172116 w 787938"/>
                <a:gd name="connsiteY92" fmla="*/ 516279 h 784822"/>
                <a:gd name="connsiteX93" fmla="*/ 149472 w 787938"/>
                <a:gd name="connsiteY93" fmla="*/ 461296 h 784822"/>
                <a:gd name="connsiteX94" fmla="*/ 141612 w 787938"/>
                <a:gd name="connsiteY94" fmla="*/ 429719 h 784822"/>
                <a:gd name="connsiteX95" fmla="*/ 112286 w 787938"/>
                <a:gd name="connsiteY95" fmla="*/ 415661 h 784822"/>
                <a:gd name="connsiteX96" fmla="*/ 69144 w 787938"/>
                <a:gd name="connsiteY96" fmla="*/ 394887 h 78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787938" h="784822">
                  <a:moveTo>
                    <a:pt x="112078" y="550695"/>
                  </a:moveTo>
                  <a:lnTo>
                    <a:pt x="82405" y="636424"/>
                  </a:lnTo>
                  <a:lnTo>
                    <a:pt x="148191" y="702383"/>
                  </a:lnTo>
                  <a:lnTo>
                    <a:pt x="233920" y="672710"/>
                  </a:lnTo>
                  <a:cubicBezTo>
                    <a:pt x="256592" y="685947"/>
                    <a:pt x="281009" y="695936"/>
                    <a:pt x="306457" y="702383"/>
                  </a:cubicBezTo>
                  <a:lnTo>
                    <a:pt x="345998" y="784822"/>
                  </a:lnTo>
                  <a:lnTo>
                    <a:pt x="438305" y="784822"/>
                  </a:lnTo>
                  <a:lnTo>
                    <a:pt x="477881" y="705672"/>
                  </a:lnTo>
                  <a:cubicBezTo>
                    <a:pt x="503388" y="699239"/>
                    <a:pt x="527867" y="689250"/>
                    <a:pt x="550591" y="675999"/>
                  </a:cubicBezTo>
                  <a:lnTo>
                    <a:pt x="636285" y="705672"/>
                  </a:lnTo>
                  <a:lnTo>
                    <a:pt x="702244" y="639713"/>
                  </a:lnTo>
                  <a:lnTo>
                    <a:pt x="672571" y="553984"/>
                  </a:lnTo>
                  <a:cubicBezTo>
                    <a:pt x="686850" y="531440"/>
                    <a:pt x="697944" y="507031"/>
                    <a:pt x="705533" y="481447"/>
                  </a:cubicBezTo>
                  <a:lnTo>
                    <a:pt x="787939" y="441872"/>
                  </a:lnTo>
                  <a:lnTo>
                    <a:pt x="787939" y="342951"/>
                  </a:lnTo>
                  <a:lnTo>
                    <a:pt x="705533" y="303376"/>
                  </a:lnTo>
                  <a:cubicBezTo>
                    <a:pt x="699090" y="277923"/>
                    <a:pt x="689104" y="253507"/>
                    <a:pt x="675861" y="230838"/>
                  </a:cubicBezTo>
                  <a:lnTo>
                    <a:pt x="705533" y="145075"/>
                  </a:lnTo>
                  <a:lnTo>
                    <a:pt x="639748" y="79289"/>
                  </a:lnTo>
                  <a:lnTo>
                    <a:pt x="554019" y="108962"/>
                  </a:lnTo>
                  <a:cubicBezTo>
                    <a:pt x="531354" y="95711"/>
                    <a:pt x="506934" y="85722"/>
                    <a:pt x="481481" y="79289"/>
                  </a:cubicBezTo>
                  <a:lnTo>
                    <a:pt x="441768" y="0"/>
                  </a:lnTo>
                  <a:lnTo>
                    <a:pt x="349460" y="0"/>
                  </a:lnTo>
                  <a:lnTo>
                    <a:pt x="309885" y="82440"/>
                  </a:lnTo>
                  <a:cubicBezTo>
                    <a:pt x="284370" y="88856"/>
                    <a:pt x="259891" y="98848"/>
                    <a:pt x="237174" y="112113"/>
                  </a:cubicBezTo>
                  <a:lnTo>
                    <a:pt x="151480" y="82440"/>
                  </a:lnTo>
                  <a:lnTo>
                    <a:pt x="85694" y="148398"/>
                  </a:lnTo>
                  <a:lnTo>
                    <a:pt x="112078" y="234128"/>
                  </a:lnTo>
                  <a:cubicBezTo>
                    <a:pt x="98841" y="256799"/>
                    <a:pt x="88852" y="281216"/>
                    <a:pt x="82405" y="306665"/>
                  </a:cubicBezTo>
                  <a:lnTo>
                    <a:pt x="0" y="346240"/>
                  </a:lnTo>
                  <a:lnTo>
                    <a:pt x="0" y="438582"/>
                  </a:lnTo>
                  <a:lnTo>
                    <a:pt x="82405" y="478158"/>
                  </a:lnTo>
                  <a:cubicBezTo>
                    <a:pt x="88859" y="503603"/>
                    <a:pt x="98848" y="528020"/>
                    <a:pt x="112078" y="550695"/>
                  </a:cubicBezTo>
                  <a:close/>
                  <a:moveTo>
                    <a:pt x="69248" y="389797"/>
                  </a:moveTo>
                  <a:lnTo>
                    <a:pt x="112389" y="369023"/>
                  </a:lnTo>
                  <a:lnTo>
                    <a:pt x="141716" y="354965"/>
                  </a:lnTo>
                  <a:lnTo>
                    <a:pt x="149576" y="323388"/>
                  </a:lnTo>
                  <a:cubicBezTo>
                    <a:pt x="154479" y="304078"/>
                    <a:pt x="162103" y="285568"/>
                    <a:pt x="172220" y="268405"/>
                  </a:cubicBezTo>
                  <a:lnTo>
                    <a:pt x="187074" y="242368"/>
                  </a:lnTo>
                  <a:lnTo>
                    <a:pt x="178279" y="213699"/>
                  </a:lnTo>
                  <a:lnTo>
                    <a:pt x="164152" y="167788"/>
                  </a:lnTo>
                  <a:lnTo>
                    <a:pt x="169969" y="162006"/>
                  </a:lnTo>
                  <a:lnTo>
                    <a:pt x="214704" y="177483"/>
                  </a:lnTo>
                  <a:lnTo>
                    <a:pt x="244411" y="187870"/>
                  </a:lnTo>
                  <a:lnTo>
                    <a:pt x="271729" y="172289"/>
                  </a:lnTo>
                  <a:cubicBezTo>
                    <a:pt x="288872" y="162158"/>
                    <a:pt x="307375" y="154534"/>
                    <a:pt x="326678" y="149645"/>
                  </a:cubicBezTo>
                  <a:lnTo>
                    <a:pt x="358255" y="141751"/>
                  </a:lnTo>
                  <a:lnTo>
                    <a:pt x="372312" y="112424"/>
                  </a:lnTo>
                  <a:lnTo>
                    <a:pt x="393086" y="69283"/>
                  </a:lnTo>
                  <a:lnTo>
                    <a:pt x="399042" y="69283"/>
                  </a:lnTo>
                  <a:lnTo>
                    <a:pt x="419470" y="110139"/>
                  </a:lnTo>
                  <a:lnTo>
                    <a:pt x="433666" y="138496"/>
                  </a:lnTo>
                  <a:lnTo>
                    <a:pt x="464550" y="146217"/>
                  </a:lnTo>
                  <a:cubicBezTo>
                    <a:pt x="483857" y="151106"/>
                    <a:pt x="502370" y="158720"/>
                    <a:pt x="519533" y="168827"/>
                  </a:cubicBezTo>
                  <a:lnTo>
                    <a:pt x="546817" y="184442"/>
                  </a:lnTo>
                  <a:lnTo>
                    <a:pt x="576524" y="174055"/>
                  </a:lnTo>
                  <a:lnTo>
                    <a:pt x="621293" y="158543"/>
                  </a:lnTo>
                  <a:lnTo>
                    <a:pt x="625898" y="163183"/>
                  </a:lnTo>
                  <a:lnTo>
                    <a:pt x="610248" y="208194"/>
                  </a:lnTo>
                  <a:lnTo>
                    <a:pt x="599861" y="237867"/>
                  </a:lnTo>
                  <a:lnTo>
                    <a:pt x="615442" y="265185"/>
                  </a:lnTo>
                  <a:cubicBezTo>
                    <a:pt x="625566" y="282345"/>
                    <a:pt x="633190" y="300858"/>
                    <a:pt x="638086" y="320168"/>
                  </a:cubicBezTo>
                  <a:lnTo>
                    <a:pt x="645946" y="351711"/>
                  </a:lnTo>
                  <a:lnTo>
                    <a:pt x="675272" y="365803"/>
                  </a:lnTo>
                  <a:lnTo>
                    <a:pt x="718414" y="386577"/>
                  </a:lnTo>
                  <a:lnTo>
                    <a:pt x="718414" y="398176"/>
                  </a:lnTo>
                  <a:lnTo>
                    <a:pt x="675272" y="418951"/>
                  </a:lnTo>
                  <a:lnTo>
                    <a:pt x="645946" y="433008"/>
                  </a:lnTo>
                  <a:lnTo>
                    <a:pt x="638086" y="464585"/>
                  </a:lnTo>
                  <a:cubicBezTo>
                    <a:pt x="631857" y="483957"/>
                    <a:pt x="623142" y="502439"/>
                    <a:pt x="612153" y="519568"/>
                  </a:cubicBezTo>
                  <a:lnTo>
                    <a:pt x="596572" y="546852"/>
                  </a:lnTo>
                  <a:lnTo>
                    <a:pt x="606959" y="576559"/>
                  </a:lnTo>
                  <a:lnTo>
                    <a:pt x="622436" y="621328"/>
                  </a:lnTo>
                  <a:lnTo>
                    <a:pt x="617796" y="625968"/>
                  </a:lnTo>
                  <a:lnTo>
                    <a:pt x="573062" y="610491"/>
                  </a:lnTo>
                  <a:lnTo>
                    <a:pt x="543355" y="600103"/>
                  </a:lnTo>
                  <a:lnTo>
                    <a:pt x="516036" y="615684"/>
                  </a:lnTo>
                  <a:cubicBezTo>
                    <a:pt x="498894" y="625815"/>
                    <a:pt x="480391" y="633439"/>
                    <a:pt x="461088" y="638328"/>
                  </a:cubicBezTo>
                  <a:lnTo>
                    <a:pt x="430169" y="646049"/>
                  </a:lnTo>
                  <a:lnTo>
                    <a:pt x="415938" y="674545"/>
                  </a:lnTo>
                  <a:lnTo>
                    <a:pt x="395510" y="715401"/>
                  </a:lnTo>
                  <a:lnTo>
                    <a:pt x="389589" y="715401"/>
                  </a:lnTo>
                  <a:lnTo>
                    <a:pt x="368815" y="672225"/>
                  </a:lnTo>
                  <a:lnTo>
                    <a:pt x="354723" y="642899"/>
                  </a:lnTo>
                  <a:lnTo>
                    <a:pt x="323181" y="635004"/>
                  </a:lnTo>
                  <a:cubicBezTo>
                    <a:pt x="303867" y="630129"/>
                    <a:pt x="285354" y="622515"/>
                    <a:pt x="268198" y="612395"/>
                  </a:cubicBezTo>
                  <a:lnTo>
                    <a:pt x="240914" y="596814"/>
                  </a:lnTo>
                  <a:lnTo>
                    <a:pt x="211206" y="607201"/>
                  </a:lnTo>
                  <a:lnTo>
                    <a:pt x="166438" y="622678"/>
                  </a:lnTo>
                  <a:lnTo>
                    <a:pt x="161833" y="618039"/>
                  </a:lnTo>
                  <a:lnTo>
                    <a:pt x="177310" y="573270"/>
                  </a:lnTo>
                  <a:lnTo>
                    <a:pt x="187697" y="543562"/>
                  </a:lnTo>
                  <a:lnTo>
                    <a:pt x="172116" y="516279"/>
                  </a:lnTo>
                  <a:cubicBezTo>
                    <a:pt x="162006" y="499116"/>
                    <a:pt x="154382" y="480602"/>
                    <a:pt x="149472" y="461296"/>
                  </a:cubicBezTo>
                  <a:lnTo>
                    <a:pt x="141612" y="429719"/>
                  </a:lnTo>
                  <a:lnTo>
                    <a:pt x="112286" y="415661"/>
                  </a:lnTo>
                  <a:lnTo>
                    <a:pt x="69144" y="394887"/>
                  </a:lnTo>
                  <a:close/>
                </a:path>
              </a:pathLst>
            </a:custGeom>
            <a:grpFill/>
            <a:ln w="34528" cap="flat">
              <a:noFill/>
              <a:prstDash val="solid"/>
              <a:miter/>
            </a:ln>
          </p:spPr>
          <p:txBody>
            <a:bodyPr rtlCol="0" anchor="ctr"/>
            <a:lstStyle/>
            <a:p>
              <a:endParaRPr lang="en-US"/>
            </a:p>
          </p:txBody>
        </p:sp>
        <p:sp>
          <p:nvSpPr>
            <p:cNvPr id="93" name="Graphic 6" descr="Head with gears outline">
              <a:extLst>
                <a:ext uri="{FF2B5EF4-FFF2-40B4-BE49-F238E27FC236}">
                  <a16:creationId xmlns:a16="http://schemas.microsoft.com/office/drawing/2014/main" id="{60D14D0C-B859-4E40-AD84-C727452769BB}"/>
                </a:ext>
              </a:extLst>
            </p:cNvPr>
            <p:cNvSpPr/>
            <p:nvPr/>
          </p:nvSpPr>
          <p:spPr>
            <a:xfrm>
              <a:off x="6092563" y="2167251"/>
              <a:ext cx="2355573" cy="2795867"/>
            </a:xfrm>
            <a:custGeom>
              <a:avLst/>
              <a:gdLst>
                <a:gd name="connsiteX0" fmla="*/ 409361 w 2355573"/>
                <a:gd name="connsiteY0" fmla="*/ 1919637 h 2795867"/>
                <a:gd name="connsiteX1" fmla="*/ 409361 w 2355573"/>
                <a:gd name="connsiteY1" fmla="*/ 2795867 h 2795867"/>
                <a:gd name="connsiteX2" fmla="*/ 1503479 w 2355573"/>
                <a:gd name="connsiteY2" fmla="*/ 2795867 h 2795867"/>
                <a:gd name="connsiteX3" fmla="*/ 1503479 w 2355573"/>
                <a:gd name="connsiteY3" fmla="*/ 2380379 h 2795867"/>
                <a:gd name="connsiteX4" fmla="*/ 1673137 w 2355573"/>
                <a:gd name="connsiteY4" fmla="*/ 2380379 h 2795867"/>
                <a:gd name="connsiteX5" fmla="*/ 1963979 w 2355573"/>
                <a:gd name="connsiteY5" fmla="*/ 2259195 h 2795867"/>
                <a:gd name="connsiteX6" fmla="*/ 2081700 w 2355573"/>
                <a:gd name="connsiteY6" fmla="*/ 1964891 h 2795867"/>
                <a:gd name="connsiteX7" fmla="*/ 2081700 w 2355573"/>
                <a:gd name="connsiteY7" fmla="*/ 1757147 h 2795867"/>
                <a:gd name="connsiteX8" fmla="*/ 2234046 w 2355573"/>
                <a:gd name="connsiteY8" fmla="*/ 1757147 h 2795867"/>
                <a:gd name="connsiteX9" fmla="*/ 2320606 w 2355573"/>
                <a:gd name="connsiteY9" fmla="*/ 1514779 h 2795867"/>
                <a:gd name="connsiteX10" fmla="*/ 2081700 w 2355573"/>
                <a:gd name="connsiteY10" fmla="*/ 1099291 h 2795867"/>
                <a:gd name="connsiteX11" fmla="*/ 2081700 w 2355573"/>
                <a:gd name="connsiteY11" fmla="*/ 1081979 h 2795867"/>
                <a:gd name="connsiteX12" fmla="*/ 1081963 w 2355573"/>
                <a:gd name="connsiteY12" fmla="*/ 811 h 2795867"/>
                <a:gd name="connsiteX13" fmla="*/ 797 w 2355573"/>
                <a:gd name="connsiteY13" fmla="*/ 1000547 h 2795867"/>
                <a:gd name="connsiteX14" fmla="*/ 797 w 2355573"/>
                <a:gd name="connsiteY14" fmla="*/ 1081979 h 2795867"/>
                <a:gd name="connsiteX15" fmla="*/ 409361 w 2355573"/>
                <a:gd name="connsiteY15" fmla="*/ 1919637 h 2795867"/>
                <a:gd name="connsiteX16" fmla="*/ 544948 w 2355573"/>
                <a:gd name="connsiteY16" fmla="*/ 206061 h 2795867"/>
                <a:gd name="connsiteX17" fmla="*/ 1877031 w 2355573"/>
                <a:gd name="connsiteY17" fmla="*/ 545359 h 2795867"/>
                <a:gd name="connsiteX18" fmla="*/ 2012626 w 2355573"/>
                <a:gd name="connsiteY18" fmla="*/ 1079001 h 2795867"/>
                <a:gd name="connsiteX19" fmla="*/ 2012626 w 2355573"/>
                <a:gd name="connsiteY19" fmla="*/ 1117295 h 2795867"/>
                <a:gd name="connsiteX20" fmla="*/ 2021835 w 2355573"/>
                <a:gd name="connsiteY20" fmla="*/ 1133326 h 2795867"/>
                <a:gd name="connsiteX21" fmla="*/ 2260741 w 2355573"/>
                <a:gd name="connsiteY21" fmla="*/ 1548814 h 2795867"/>
                <a:gd name="connsiteX22" fmla="*/ 2261676 w 2355573"/>
                <a:gd name="connsiteY22" fmla="*/ 1550407 h 2795867"/>
                <a:gd name="connsiteX23" fmla="*/ 2262680 w 2355573"/>
                <a:gd name="connsiteY23" fmla="*/ 1551965 h 2795867"/>
                <a:gd name="connsiteX24" fmla="*/ 2280200 w 2355573"/>
                <a:gd name="connsiteY24" fmla="*/ 1649293 h 2795867"/>
                <a:gd name="connsiteX25" fmla="*/ 2229510 w 2355573"/>
                <a:gd name="connsiteY25" fmla="*/ 1687380 h 2795867"/>
                <a:gd name="connsiteX26" fmla="*/ 2012452 w 2355573"/>
                <a:gd name="connsiteY26" fmla="*/ 1687380 h 2795867"/>
                <a:gd name="connsiteX27" fmla="*/ 2012452 w 2355573"/>
                <a:gd name="connsiteY27" fmla="*/ 1964372 h 2795867"/>
                <a:gd name="connsiteX28" fmla="*/ 1914986 w 2355573"/>
                <a:gd name="connsiteY28" fmla="*/ 2209821 h 2795867"/>
                <a:gd name="connsiteX29" fmla="*/ 1673137 w 2355573"/>
                <a:gd name="connsiteY29" fmla="*/ 2311027 h 2795867"/>
                <a:gd name="connsiteX30" fmla="*/ 1434231 w 2355573"/>
                <a:gd name="connsiteY30" fmla="*/ 2311027 h 2795867"/>
                <a:gd name="connsiteX31" fmla="*/ 1434231 w 2355573"/>
                <a:gd name="connsiteY31" fmla="*/ 2726515 h 2795867"/>
                <a:gd name="connsiteX32" fmla="*/ 478609 w 2355573"/>
                <a:gd name="connsiteY32" fmla="*/ 2726515 h 2795867"/>
                <a:gd name="connsiteX33" fmla="*/ 478609 w 2355573"/>
                <a:gd name="connsiteY33" fmla="*/ 1885671 h 2795867"/>
                <a:gd name="connsiteX34" fmla="*/ 451740 w 2355573"/>
                <a:gd name="connsiteY34" fmla="*/ 1864897 h 2795867"/>
                <a:gd name="connsiteX35" fmla="*/ 70045 w 2355573"/>
                <a:gd name="connsiteY35" fmla="*/ 1081494 h 2795867"/>
                <a:gd name="connsiteX36" fmla="*/ 70045 w 2355573"/>
                <a:gd name="connsiteY36" fmla="*/ 1080248 h 2795867"/>
                <a:gd name="connsiteX37" fmla="*/ 70045 w 2355573"/>
                <a:gd name="connsiteY37" fmla="*/ 1079001 h 2795867"/>
                <a:gd name="connsiteX38" fmla="*/ 544983 w 2355573"/>
                <a:gd name="connsiteY38" fmla="*/ 206061 h 2795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55573" h="2795867">
                  <a:moveTo>
                    <a:pt x="409361" y="1919637"/>
                  </a:moveTo>
                  <a:lnTo>
                    <a:pt x="409361" y="2795867"/>
                  </a:lnTo>
                  <a:lnTo>
                    <a:pt x="1503479" y="2795867"/>
                  </a:lnTo>
                  <a:lnTo>
                    <a:pt x="1503479" y="2380379"/>
                  </a:lnTo>
                  <a:lnTo>
                    <a:pt x="1673137" y="2380379"/>
                  </a:lnTo>
                  <a:cubicBezTo>
                    <a:pt x="1782324" y="2380182"/>
                    <a:pt x="1886954" y="2336583"/>
                    <a:pt x="1963979" y="2259195"/>
                  </a:cubicBezTo>
                  <a:cubicBezTo>
                    <a:pt x="2039933" y="2180093"/>
                    <a:pt x="2082150" y="2074556"/>
                    <a:pt x="2081700" y="1964891"/>
                  </a:cubicBezTo>
                  <a:lnTo>
                    <a:pt x="2081700" y="1757147"/>
                  </a:lnTo>
                  <a:lnTo>
                    <a:pt x="2234046" y="1757147"/>
                  </a:lnTo>
                  <a:cubicBezTo>
                    <a:pt x="2324068" y="1746760"/>
                    <a:pt x="2403704" y="1642888"/>
                    <a:pt x="2320606" y="1514779"/>
                  </a:cubicBezTo>
                  <a:lnTo>
                    <a:pt x="2081700" y="1099291"/>
                  </a:lnTo>
                  <a:lnTo>
                    <a:pt x="2081700" y="1081979"/>
                  </a:lnTo>
                  <a:cubicBezTo>
                    <a:pt x="2104189" y="507352"/>
                    <a:pt x="1656590" y="23298"/>
                    <a:pt x="1081963" y="811"/>
                  </a:cubicBezTo>
                  <a:cubicBezTo>
                    <a:pt x="507340" y="-21675"/>
                    <a:pt x="23286" y="425923"/>
                    <a:pt x="797" y="1000547"/>
                  </a:cubicBezTo>
                  <a:cubicBezTo>
                    <a:pt x="-266" y="1027681"/>
                    <a:pt x="-266" y="1054844"/>
                    <a:pt x="797" y="1081979"/>
                  </a:cubicBezTo>
                  <a:cubicBezTo>
                    <a:pt x="-397" y="1409474"/>
                    <a:pt x="150550" y="1718957"/>
                    <a:pt x="409361" y="1919637"/>
                  </a:cubicBezTo>
                  <a:close/>
                  <a:moveTo>
                    <a:pt x="544948" y="206061"/>
                  </a:moveTo>
                  <a:cubicBezTo>
                    <a:pt x="1006486" y="-68089"/>
                    <a:pt x="1602881" y="83821"/>
                    <a:pt x="1877031" y="545359"/>
                  </a:cubicBezTo>
                  <a:cubicBezTo>
                    <a:pt x="1972718" y="706454"/>
                    <a:pt x="2019806" y="891768"/>
                    <a:pt x="2012626" y="1079001"/>
                  </a:cubicBezTo>
                  <a:lnTo>
                    <a:pt x="2012626" y="1117295"/>
                  </a:lnTo>
                  <a:lnTo>
                    <a:pt x="2021835" y="1133326"/>
                  </a:lnTo>
                  <a:lnTo>
                    <a:pt x="2260741" y="1548814"/>
                  </a:lnTo>
                  <a:lnTo>
                    <a:pt x="2261676" y="1550407"/>
                  </a:lnTo>
                  <a:lnTo>
                    <a:pt x="2262680" y="1551965"/>
                  </a:lnTo>
                  <a:cubicBezTo>
                    <a:pt x="2285162" y="1579100"/>
                    <a:pt x="2291806" y="1616020"/>
                    <a:pt x="2280200" y="1649293"/>
                  </a:cubicBezTo>
                  <a:cubicBezTo>
                    <a:pt x="2270380" y="1669375"/>
                    <a:pt x="2251534" y="1683540"/>
                    <a:pt x="2229510" y="1687380"/>
                  </a:cubicBezTo>
                  <a:lnTo>
                    <a:pt x="2012452" y="1687380"/>
                  </a:lnTo>
                  <a:lnTo>
                    <a:pt x="2012452" y="1964372"/>
                  </a:lnTo>
                  <a:cubicBezTo>
                    <a:pt x="2012823" y="2055693"/>
                    <a:pt x="1977905" y="2143631"/>
                    <a:pt x="1914986" y="2209821"/>
                  </a:cubicBezTo>
                  <a:cubicBezTo>
                    <a:pt x="1851136" y="2274523"/>
                    <a:pt x="1764039" y="2310972"/>
                    <a:pt x="1673137" y="2311027"/>
                  </a:cubicBezTo>
                  <a:lnTo>
                    <a:pt x="1434231" y="2311027"/>
                  </a:lnTo>
                  <a:lnTo>
                    <a:pt x="1434231" y="2726515"/>
                  </a:lnTo>
                  <a:lnTo>
                    <a:pt x="478609" y="2726515"/>
                  </a:lnTo>
                  <a:lnTo>
                    <a:pt x="478609" y="1885671"/>
                  </a:lnTo>
                  <a:lnTo>
                    <a:pt x="451740" y="1864897"/>
                  </a:lnTo>
                  <a:cubicBezTo>
                    <a:pt x="209306" y="1677571"/>
                    <a:pt x="68151" y="1387861"/>
                    <a:pt x="70045" y="1081494"/>
                  </a:cubicBezTo>
                  <a:lnTo>
                    <a:pt x="70045" y="1080248"/>
                  </a:lnTo>
                  <a:lnTo>
                    <a:pt x="70045" y="1079001"/>
                  </a:lnTo>
                  <a:cubicBezTo>
                    <a:pt x="55988" y="722869"/>
                    <a:pt x="238339" y="387709"/>
                    <a:pt x="544983" y="206061"/>
                  </a:cubicBezTo>
                  <a:close/>
                </a:path>
              </a:pathLst>
            </a:custGeom>
            <a:grpFill/>
            <a:ln w="12700" cap="flat">
              <a:noFill/>
              <a:prstDash val="solid"/>
              <a:miter/>
            </a:ln>
          </p:spPr>
          <p:txBody>
            <a:bodyPr rtlCol="0" anchor="ctr"/>
            <a:lstStyle/>
            <a:p>
              <a:endParaRPr lang="en-US"/>
            </a:p>
          </p:txBody>
        </p:sp>
      </p:grpSp>
      <p:grpSp>
        <p:nvGrpSpPr>
          <p:cNvPr id="94" name="Group 93">
            <a:extLst>
              <a:ext uri="{FF2B5EF4-FFF2-40B4-BE49-F238E27FC236}">
                <a16:creationId xmlns:a16="http://schemas.microsoft.com/office/drawing/2014/main" id="{1F16C340-61B5-3E43-8097-34899024E449}"/>
              </a:ext>
            </a:extLst>
          </p:cNvPr>
          <p:cNvGrpSpPr/>
          <p:nvPr/>
        </p:nvGrpSpPr>
        <p:grpSpPr>
          <a:xfrm>
            <a:off x="7795105" y="5464785"/>
            <a:ext cx="523546" cy="527983"/>
            <a:chOff x="8216751" y="3550334"/>
            <a:chExt cx="1199670" cy="1209837"/>
          </a:xfrm>
          <a:solidFill>
            <a:schemeClr val="accent1"/>
          </a:solidFill>
        </p:grpSpPr>
        <p:sp>
          <p:nvSpPr>
            <p:cNvPr id="95" name="Graphic 30">
              <a:extLst>
                <a:ext uri="{FF2B5EF4-FFF2-40B4-BE49-F238E27FC236}">
                  <a16:creationId xmlns:a16="http://schemas.microsoft.com/office/drawing/2014/main" id="{04424DC9-9480-0746-B074-A71B9FCC4A26}"/>
                </a:ext>
              </a:extLst>
            </p:cNvPr>
            <p:cNvSpPr/>
            <p:nvPr/>
          </p:nvSpPr>
          <p:spPr>
            <a:xfrm>
              <a:off x="8908086" y="4018816"/>
              <a:ext cx="386334" cy="453028"/>
            </a:xfrm>
            <a:custGeom>
              <a:avLst/>
              <a:gdLst>
                <a:gd name="connsiteX0" fmla="*/ 214718 w 429435"/>
                <a:gd name="connsiteY0" fmla="*/ 503570 h 503569"/>
                <a:gd name="connsiteX1" fmla="*/ 0 w 429435"/>
                <a:gd name="connsiteY1" fmla="*/ 360274 h 503569"/>
                <a:gd name="connsiteX2" fmla="*/ 0 w 429435"/>
                <a:gd name="connsiteY2" fmla="*/ 143296 h 503569"/>
                <a:gd name="connsiteX3" fmla="*/ 214718 w 429435"/>
                <a:gd name="connsiteY3" fmla="*/ 0 h 503569"/>
                <a:gd name="connsiteX4" fmla="*/ 429435 w 429435"/>
                <a:gd name="connsiteY4" fmla="*/ 143296 h 503569"/>
                <a:gd name="connsiteX5" fmla="*/ 429435 w 429435"/>
                <a:gd name="connsiteY5" fmla="*/ 360274 h 503569"/>
                <a:gd name="connsiteX6" fmla="*/ 67806 w 429435"/>
                <a:gd name="connsiteY6" fmla="*/ 322755 h 503569"/>
                <a:gd name="connsiteX7" fmla="*/ 214718 w 429435"/>
                <a:gd name="connsiteY7" fmla="*/ 423107 h 503569"/>
                <a:gd name="connsiteX8" fmla="*/ 361630 w 429435"/>
                <a:gd name="connsiteY8" fmla="*/ 325015 h 503569"/>
                <a:gd name="connsiteX9" fmla="*/ 361630 w 429435"/>
                <a:gd name="connsiteY9" fmla="*/ 180363 h 503569"/>
                <a:gd name="connsiteX10" fmla="*/ 214718 w 429435"/>
                <a:gd name="connsiteY10" fmla="*/ 81819 h 503569"/>
                <a:gd name="connsiteX11" fmla="*/ 67806 w 429435"/>
                <a:gd name="connsiteY11" fmla="*/ 179911 h 503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9435" h="503569">
                  <a:moveTo>
                    <a:pt x="214718" y="503570"/>
                  </a:moveTo>
                  <a:lnTo>
                    <a:pt x="0" y="360274"/>
                  </a:lnTo>
                  <a:lnTo>
                    <a:pt x="0" y="143296"/>
                  </a:lnTo>
                  <a:lnTo>
                    <a:pt x="214718" y="0"/>
                  </a:lnTo>
                  <a:lnTo>
                    <a:pt x="429435" y="143296"/>
                  </a:lnTo>
                  <a:lnTo>
                    <a:pt x="429435" y="360274"/>
                  </a:lnTo>
                  <a:close/>
                  <a:moveTo>
                    <a:pt x="67806" y="322755"/>
                  </a:moveTo>
                  <a:lnTo>
                    <a:pt x="214718" y="423107"/>
                  </a:lnTo>
                  <a:lnTo>
                    <a:pt x="361630" y="325015"/>
                  </a:lnTo>
                  <a:lnTo>
                    <a:pt x="361630" y="180363"/>
                  </a:lnTo>
                  <a:lnTo>
                    <a:pt x="214718" y="81819"/>
                  </a:lnTo>
                  <a:lnTo>
                    <a:pt x="67806" y="179911"/>
                  </a:lnTo>
                  <a:close/>
                </a:path>
              </a:pathLst>
            </a:custGeom>
            <a:grpFill/>
            <a:ln w="44946" cap="flat">
              <a:noFill/>
              <a:prstDash val="solid"/>
              <a:miter/>
            </a:ln>
          </p:spPr>
          <p:txBody>
            <a:bodyPr rtlCol="0" anchor="ctr"/>
            <a:lstStyle/>
            <a:p>
              <a:endParaRPr lang="en-US"/>
            </a:p>
          </p:txBody>
        </p:sp>
        <p:sp>
          <p:nvSpPr>
            <p:cNvPr id="96" name="Graphic 30">
              <a:extLst>
                <a:ext uri="{FF2B5EF4-FFF2-40B4-BE49-F238E27FC236}">
                  <a16:creationId xmlns:a16="http://schemas.microsoft.com/office/drawing/2014/main" id="{D7FDCB54-9D1C-8848-91AF-0FFBA241535D}"/>
                </a:ext>
              </a:extLst>
            </p:cNvPr>
            <p:cNvSpPr/>
            <p:nvPr/>
          </p:nvSpPr>
          <p:spPr>
            <a:xfrm>
              <a:off x="9070754" y="4272576"/>
              <a:ext cx="61000" cy="162666"/>
            </a:xfrm>
            <a:custGeom>
              <a:avLst/>
              <a:gdLst>
                <a:gd name="connsiteX0" fmla="*/ 0 w 67805"/>
                <a:gd name="connsiteY0" fmla="*/ 0 h 180814"/>
                <a:gd name="connsiteX1" fmla="*/ 67806 w 67805"/>
                <a:gd name="connsiteY1" fmla="*/ 0 h 180814"/>
                <a:gd name="connsiteX2" fmla="*/ 67806 w 67805"/>
                <a:gd name="connsiteY2" fmla="*/ 180815 h 180814"/>
                <a:gd name="connsiteX3" fmla="*/ 0 w 67805"/>
                <a:gd name="connsiteY3" fmla="*/ 180815 h 180814"/>
              </a:gdLst>
              <a:ahLst/>
              <a:cxnLst>
                <a:cxn ang="0">
                  <a:pos x="connsiteX0" y="connsiteY0"/>
                </a:cxn>
                <a:cxn ang="0">
                  <a:pos x="connsiteX1" y="connsiteY1"/>
                </a:cxn>
                <a:cxn ang="0">
                  <a:pos x="connsiteX2" y="connsiteY2"/>
                </a:cxn>
                <a:cxn ang="0">
                  <a:pos x="connsiteX3" y="connsiteY3"/>
                </a:cxn>
              </a:cxnLst>
              <a:rect l="l" t="t" r="r" b="b"/>
              <a:pathLst>
                <a:path w="67805" h="180814">
                  <a:moveTo>
                    <a:pt x="0" y="0"/>
                  </a:moveTo>
                  <a:lnTo>
                    <a:pt x="67806" y="0"/>
                  </a:lnTo>
                  <a:lnTo>
                    <a:pt x="67806" y="180815"/>
                  </a:lnTo>
                  <a:lnTo>
                    <a:pt x="0" y="180815"/>
                  </a:lnTo>
                  <a:close/>
                </a:path>
              </a:pathLst>
            </a:custGeom>
            <a:grpFill/>
            <a:ln w="44946" cap="flat">
              <a:noFill/>
              <a:prstDash val="solid"/>
              <a:miter/>
            </a:ln>
          </p:spPr>
          <p:txBody>
            <a:bodyPr rtlCol="0" anchor="ctr"/>
            <a:lstStyle/>
            <a:p>
              <a:endParaRPr lang="en-US"/>
            </a:p>
          </p:txBody>
        </p:sp>
        <p:sp>
          <p:nvSpPr>
            <p:cNvPr id="97" name="Graphic 30">
              <a:extLst>
                <a:ext uri="{FF2B5EF4-FFF2-40B4-BE49-F238E27FC236}">
                  <a16:creationId xmlns:a16="http://schemas.microsoft.com/office/drawing/2014/main" id="{121D2B94-83DD-4F4B-BF5F-299BC45C3980}"/>
                </a:ext>
              </a:extLst>
            </p:cNvPr>
            <p:cNvSpPr/>
            <p:nvPr/>
          </p:nvSpPr>
          <p:spPr>
            <a:xfrm>
              <a:off x="8921507" y="4138783"/>
              <a:ext cx="359494" cy="170393"/>
            </a:xfrm>
            <a:custGeom>
              <a:avLst/>
              <a:gdLst>
                <a:gd name="connsiteX0" fmla="*/ 199800 w 399600"/>
                <a:gd name="connsiteY0" fmla="*/ 189404 h 189403"/>
                <a:gd name="connsiteX1" fmla="*/ 0 w 399600"/>
                <a:gd name="connsiteY1" fmla="*/ 56505 h 189403"/>
                <a:gd name="connsiteX2" fmla="*/ 37971 w 399600"/>
                <a:gd name="connsiteY2" fmla="*/ 0 h 189403"/>
                <a:gd name="connsiteX3" fmla="*/ 199800 w 399600"/>
                <a:gd name="connsiteY3" fmla="*/ 108037 h 189403"/>
                <a:gd name="connsiteX4" fmla="*/ 361630 w 399600"/>
                <a:gd name="connsiteY4" fmla="*/ 0 h 189403"/>
                <a:gd name="connsiteX5" fmla="*/ 399601 w 399600"/>
                <a:gd name="connsiteY5" fmla="*/ 56505 h 189403"/>
                <a:gd name="connsiteX6" fmla="*/ 199800 w 399600"/>
                <a:gd name="connsiteY6" fmla="*/ 189404 h 18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600" h="189403">
                  <a:moveTo>
                    <a:pt x="199800" y="189404"/>
                  </a:moveTo>
                  <a:lnTo>
                    <a:pt x="0" y="56505"/>
                  </a:lnTo>
                  <a:lnTo>
                    <a:pt x="37971" y="0"/>
                  </a:lnTo>
                  <a:lnTo>
                    <a:pt x="199800" y="108037"/>
                  </a:lnTo>
                  <a:lnTo>
                    <a:pt x="361630" y="0"/>
                  </a:lnTo>
                  <a:lnTo>
                    <a:pt x="399601" y="56505"/>
                  </a:lnTo>
                  <a:lnTo>
                    <a:pt x="199800" y="189404"/>
                  </a:lnTo>
                  <a:close/>
                </a:path>
              </a:pathLst>
            </a:custGeom>
            <a:grpFill/>
            <a:ln w="44946" cap="flat">
              <a:noFill/>
              <a:prstDash val="solid"/>
              <a:miter/>
            </a:ln>
          </p:spPr>
          <p:txBody>
            <a:bodyPr rtlCol="0" anchor="ctr"/>
            <a:lstStyle/>
            <a:p>
              <a:endParaRPr lang="en-US"/>
            </a:p>
          </p:txBody>
        </p:sp>
        <p:sp>
          <p:nvSpPr>
            <p:cNvPr id="98" name="Graphic 30">
              <a:extLst>
                <a:ext uri="{FF2B5EF4-FFF2-40B4-BE49-F238E27FC236}">
                  <a16:creationId xmlns:a16="http://schemas.microsoft.com/office/drawing/2014/main" id="{76739779-E795-064F-B29B-72B2A005C5A8}"/>
                </a:ext>
              </a:extLst>
            </p:cNvPr>
            <p:cNvSpPr/>
            <p:nvPr/>
          </p:nvSpPr>
          <p:spPr>
            <a:xfrm>
              <a:off x="8786086" y="3987909"/>
              <a:ext cx="61000" cy="732003"/>
            </a:xfrm>
            <a:custGeom>
              <a:avLst/>
              <a:gdLst>
                <a:gd name="connsiteX0" fmla="*/ 0 w 67805"/>
                <a:gd name="connsiteY0" fmla="*/ 0 h 813667"/>
                <a:gd name="connsiteX1" fmla="*/ 67806 w 67805"/>
                <a:gd name="connsiteY1" fmla="*/ 0 h 813667"/>
                <a:gd name="connsiteX2" fmla="*/ 67806 w 67805"/>
                <a:gd name="connsiteY2" fmla="*/ 813667 h 813667"/>
                <a:gd name="connsiteX3" fmla="*/ 0 w 67805"/>
                <a:gd name="connsiteY3" fmla="*/ 813667 h 813667"/>
              </a:gdLst>
              <a:ahLst/>
              <a:cxnLst>
                <a:cxn ang="0">
                  <a:pos x="connsiteX0" y="connsiteY0"/>
                </a:cxn>
                <a:cxn ang="0">
                  <a:pos x="connsiteX1" y="connsiteY1"/>
                </a:cxn>
                <a:cxn ang="0">
                  <a:pos x="connsiteX2" y="connsiteY2"/>
                </a:cxn>
                <a:cxn ang="0">
                  <a:pos x="connsiteX3" y="connsiteY3"/>
                </a:cxn>
              </a:cxnLst>
              <a:rect l="l" t="t" r="r" b="b"/>
              <a:pathLst>
                <a:path w="67805" h="813667">
                  <a:moveTo>
                    <a:pt x="0" y="0"/>
                  </a:moveTo>
                  <a:lnTo>
                    <a:pt x="67806" y="0"/>
                  </a:lnTo>
                  <a:lnTo>
                    <a:pt x="67806" y="813667"/>
                  </a:lnTo>
                  <a:lnTo>
                    <a:pt x="0" y="813667"/>
                  </a:lnTo>
                  <a:close/>
                </a:path>
              </a:pathLst>
            </a:custGeom>
            <a:grpFill/>
            <a:ln w="44946" cap="flat">
              <a:noFill/>
              <a:prstDash val="solid"/>
              <a:miter/>
            </a:ln>
          </p:spPr>
          <p:txBody>
            <a:bodyPr rtlCol="0" anchor="ctr"/>
            <a:lstStyle/>
            <a:p>
              <a:endParaRPr lang="en-US"/>
            </a:p>
          </p:txBody>
        </p:sp>
        <p:sp>
          <p:nvSpPr>
            <p:cNvPr id="99" name="Graphic 30">
              <a:extLst>
                <a:ext uri="{FF2B5EF4-FFF2-40B4-BE49-F238E27FC236}">
                  <a16:creationId xmlns:a16="http://schemas.microsoft.com/office/drawing/2014/main" id="{749AFF89-3D9B-E141-BEE4-6042BC5BD143}"/>
                </a:ext>
              </a:extLst>
            </p:cNvPr>
            <p:cNvSpPr/>
            <p:nvPr/>
          </p:nvSpPr>
          <p:spPr>
            <a:xfrm>
              <a:off x="9070754" y="4516577"/>
              <a:ext cx="61000" cy="122000"/>
            </a:xfrm>
            <a:custGeom>
              <a:avLst/>
              <a:gdLst>
                <a:gd name="connsiteX0" fmla="*/ 0 w 67805"/>
                <a:gd name="connsiteY0" fmla="*/ 0 h 135611"/>
                <a:gd name="connsiteX1" fmla="*/ 67806 w 67805"/>
                <a:gd name="connsiteY1" fmla="*/ 0 h 135611"/>
                <a:gd name="connsiteX2" fmla="*/ 67806 w 67805"/>
                <a:gd name="connsiteY2" fmla="*/ 135611 h 135611"/>
                <a:gd name="connsiteX3" fmla="*/ 0 w 67805"/>
                <a:gd name="connsiteY3" fmla="*/ 135611 h 135611"/>
              </a:gdLst>
              <a:ahLst/>
              <a:cxnLst>
                <a:cxn ang="0">
                  <a:pos x="connsiteX0" y="connsiteY0"/>
                </a:cxn>
                <a:cxn ang="0">
                  <a:pos x="connsiteX1" y="connsiteY1"/>
                </a:cxn>
                <a:cxn ang="0">
                  <a:pos x="connsiteX2" y="connsiteY2"/>
                </a:cxn>
                <a:cxn ang="0">
                  <a:pos x="connsiteX3" y="connsiteY3"/>
                </a:cxn>
              </a:cxnLst>
              <a:rect l="l" t="t" r="r" b="b"/>
              <a:pathLst>
                <a:path w="67805" h="135611">
                  <a:moveTo>
                    <a:pt x="0" y="0"/>
                  </a:moveTo>
                  <a:lnTo>
                    <a:pt x="67806" y="0"/>
                  </a:lnTo>
                  <a:lnTo>
                    <a:pt x="67806" y="135611"/>
                  </a:lnTo>
                  <a:lnTo>
                    <a:pt x="0" y="135611"/>
                  </a:lnTo>
                  <a:close/>
                </a:path>
              </a:pathLst>
            </a:custGeom>
            <a:grpFill/>
            <a:ln w="44946" cap="flat">
              <a:noFill/>
              <a:prstDash val="solid"/>
              <a:miter/>
            </a:ln>
          </p:spPr>
          <p:txBody>
            <a:bodyPr rtlCol="0" anchor="ctr"/>
            <a:lstStyle/>
            <a:p>
              <a:endParaRPr lang="en-US"/>
            </a:p>
          </p:txBody>
        </p:sp>
        <p:sp>
          <p:nvSpPr>
            <p:cNvPr id="100" name="Graphic 30">
              <a:extLst>
                <a:ext uri="{FF2B5EF4-FFF2-40B4-BE49-F238E27FC236}">
                  <a16:creationId xmlns:a16="http://schemas.microsoft.com/office/drawing/2014/main" id="{B4502D56-99BF-C84B-B89E-5F52EA338C2B}"/>
                </a:ext>
              </a:extLst>
            </p:cNvPr>
            <p:cNvSpPr/>
            <p:nvPr/>
          </p:nvSpPr>
          <p:spPr>
            <a:xfrm>
              <a:off x="8501419" y="3906575"/>
              <a:ext cx="61000" cy="732003"/>
            </a:xfrm>
            <a:custGeom>
              <a:avLst/>
              <a:gdLst>
                <a:gd name="connsiteX0" fmla="*/ 0 w 67805"/>
                <a:gd name="connsiteY0" fmla="*/ 0 h 813667"/>
                <a:gd name="connsiteX1" fmla="*/ 67806 w 67805"/>
                <a:gd name="connsiteY1" fmla="*/ 0 h 813667"/>
                <a:gd name="connsiteX2" fmla="*/ 67806 w 67805"/>
                <a:gd name="connsiteY2" fmla="*/ 813667 h 813667"/>
                <a:gd name="connsiteX3" fmla="*/ 0 w 67805"/>
                <a:gd name="connsiteY3" fmla="*/ 813667 h 813667"/>
              </a:gdLst>
              <a:ahLst/>
              <a:cxnLst>
                <a:cxn ang="0">
                  <a:pos x="connsiteX0" y="connsiteY0"/>
                </a:cxn>
                <a:cxn ang="0">
                  <a:pos x="connsiteX1" y="connsiteY1"/>
                </a:cxn>
                <a:cxn ang="0">
                  <a:pos x="connsiteX2" y="connsiteY2"/>
                </a:cxn>
                <a:cxn ang="0">
                  <a:pos x="connsiteX3" y="connsiteY3"/>
                </a:cxn>
              </a:cxnLst>
              <a:rect l="l" t="t" r="r" b="b"/>
              <a:pathLst>
                <a:path w="67805" h="813667">
                  <a:moveTo>
                    <a:pt x="0" y="0"/>
                  </a:moveTo>
                  <a:lnTo>
                    <a:pt x="67806" y="0"/>
                  </a:lnTo>
                  <a:lnTo>
                    <a:pt x="67806" y="813667"/>
                  </a:lnTo>
                  <a:lnTo>
                    <a:pt x="0" y="813667"/>
                  </a:lnTo>
                  <a:close/>
                </a:path>
              </a:pathLst>
            </a:custGeom>
            <a:grpFill/>
            <a:ln w="44946" cap="flat">
              <a:noFill/>
              <a:prstDash val="solid"/>
              <a:miter/>
            </a:ln>
          </p:spPr>
          <p:txBody>
            <a:bodyPr rtlCol="0" anchor="ctr"/>
            <a:lstStyle/>
            <a:p>
              <a:endParaRPr lang="en-US"/>
            </a:p>
          </p:txBody>
        </p:sp>
        <p:sp>
          <p:nvSpPr>
            <p:cNvPr id="101" name="Graphic 30">
              <a:extLst>
                <a:ext uri="{FF2B5EF4-FFF2-40B4-BE49-F238E27FC236}">
                  <a16:creationId xmlns:a16="http://schemas.microsoft.com/office/drawing/2014/main" id="{A0983B35-8C7C-354A-897A-B388AA054056}"/>
                </a:ext>
              </a:extLst>
            </p:cNvPr>
            <p:cNvSpPr/>
            <p:nvPr/>
          </p:nvSpPr>
          <p:spPr>
            <a:xfrm>
              <a:off x="8216751" y="3874855"/>
              <a:ext cx="1199670" cy="885316"/>
            </a:xfrm>
            <a:custGeom>
              <a:avLst/>
              <a:gdLst>
                <a:gd name="connsiteX0" fmla="*/ 1333510 w 1333509"/>
                <a:gd name="connsiteY0" fmla="*/ 984085 h 984085"/>
                <a:gd name="connsiteX1" fmla="*/ 983181 w 1333509"/>
                <a:gd name="connsiteY1" fmla="*/ 884185 h 984085"/>
                <a:gd name="connsiteX2" fmla="*/ 666755 w 1333509"/>
                <a:gd name="connsiteY2" fmla="*/ 974592 h 984085"/>
                <a:gd name="connsiteX3" fmla="*/ 350329 w 1333509"/>
                <a:gd name="connsiteY3" fmla="*/ 884185 h 984085"/>
                <a:gd name="connsiteX4" fmla="*/ 0 w 1333509"/>
                <a:gd name="connsiteY4" fmla="*/ 984085 h 984085"/>
                <a:gd name="connsiteX5" fmla="*/ 0 w 1333509"/>
                <a:gd name="connsiteY5" fmla="*/ 99900 h 984085"/>
                <a:gd name="connsiteX6" fmla="*/ 350329 w 1333509"/>
                <a:gd name="connsiteY6" fmla="*/ 0 h 984085"/>
                <a:gd name="connsiteX7" fmla="*/ 666755 w 1333509"/>
                <a:gd name="connsiteY7" fmla="*/ 90407 h 984085"/>
                <a:gd name="connsiteX8" fmla="*/ 827228 w 1333509"/>
                <a:gd name="connsiteY8" fmla="*/ 44300 h 984085"/>
                <a:gd name="connsiteX9" fmla="*/ 845762 w 1333509"/>
                <a:gd name="connsiteY9" fmla="*/ 109845 h 984085"/>
                <a:gd name="connsiteX10" fmla="*/ 666755 w 1333509"/>
                <a:gd name="connsiteY10" fmla="*/ 160925 h 984085"/>
                <a:gd name="connsiteX11" fmla="*/ 350329 w 1333509"/>
                <a:gd name="connsiteY11" fmla="*/ 70518 h 984085"/>
                <a:gd name="connsiteX12" fmla="*/ 67806 w 1333509"/>
                <a:gd name="connsiteY12" fmla="*/ 150980 h 984085"/>
                <a:gd name="connsiteX13" fmla="*/ 67806 w 1333509"/>
                <a:gd name="connsiteY13" fmla="*/ 894130 h 984085"/>
                <a:gd name="connsiteX14" fmla="*/ 350329 w 1333509"/>
                <a:gd name="connsiteY14" fmla="*/ 813667 h 984085"/>
                <a:gd name="connsiteX15" fmla="*/ 666755 w 1333509"/>
                <a:gd name="connsiteY15" fmla="*/ 904075 h 984085"/>
                <a:gd name="connsiteX16" fmla="*/ 983181 w 1333509"/>
                <a:gd name="connsiteY16" fmla="*/ 813667 h 984085"/>
                <a:gd name="connsiteX17" fmla="*/ 1265704 w 1333509"/>
                <a:gd name="connsiteY17" fmla="*/ 894130 h 984085"/>
                <a:gd name="connsiteX18" fmla="*/ 1265704 w 1333509"/>
                <a:gd name="connsiteY18" fmla="*/ 150980 h 984085"/>
                <a:gd name="connsiteX19" fmla="*/ 1120600 w 1333509"/>
                <a:gd name="connsiteY19" fmla="*/ 109845 h 984085"/>
                <a:gd name="connsiteX20" fmla="*/ 1139134 w 1333509"/>
                <a:gd name="connsiteY20" fmla="*/ 44300 h 984085"/>
                <a:gd name="connsiteX21" fmla="*/ 1333510 w 1333509"/>
                <a:gd name="connsiteY21" fmla="*/ 99900 h 984085"/>
                <a:gd name="connsiteX22" fmla="*/ 1333510 w 1333509"/>
                <a:gd name="connsiteY22" fmla="*/ 984085 h 984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33509" h="984085">
                  <a:moveTo>
                    <a:pt x="1333510" y="984085"/>
                  </a:moveTo>
                  <a:lnTo>
                    <a:pt x="983181" y="884185"/>
                  </a:lnTo>
                  <a:lnTo>
                    <a:pt x="666755" y="974592"/>
                  </a:lnTo>
                  <a:lnTo>
                    <a:pt x="350329" y="884185"/>
                  </a:lnTo>
                  <a:lnTo>
                    <a:pt x="0" y="984085"/>
                  </a:lnTo>
                  <a:lnTo>
                    <a:pt x="0" y="99900"/>
                  </a:lnTo>
                  <a:lnTo>
                    <a:pt x="350329" y="0"/>
                  </a:lnTo>
                  <a:lnTo>
                    <a:pt x="666755" y="90407"/>
                  </a:lnTo>
                  <a:lnTo>
                    <a:pt x="827228" y="44300"/>
                  </a:lnTo>
                  <a:lnTo>
                    <a:pt x="845762" y="109845"/>
                  </a:lnTo>
                  <a:lnTo>
                    <a:pt x="666755" y="160925"/>
                  </a:lnTo>
                  <a:lnTo>
                    <a:pt x="350329" y="70518"/>
                  </a:lnTo>
                  <a:lnTo>
                    <a:pt x="67806" y="150980"/>
                  </a:lnTo>
                  <a:lnTo>
                    <a:pt x="67806" y="894130"/>
                  </a:lnTo>
                  <a:lnTo>
                    <a:pt x="350329" y="813667"/>
                  </a:lnTo>
                  <a:lnTo>
                    <a:pt x="666755" y="904075"/>
                  </a:lnTo>
                  <a:lnTo>
                    <a:pt x="983181" y="813667"/>
                  </a:lnTo>
                  <a:lnTo>
                    <a:pt x="1265704" y="894130"/>
                  </a:lnTo>
                  <a:lnTo>
                    <a:pt x="1265704" y="150980"/>
                  </a:lnTo>
                  <a:lnTo>
                    <a:pt x="1120600" y="109845"/>
                  </a:lnTo>
                  <a:lnTo>
                    <a:pt x="1139134" y="44300"/>
                  </a:lnTo>
                  <a:lnTo>
                    <a:pt x="1333510" y="99900"/>
                  </a:lnTo>
                  <a:lnTo>
                    <a:pt x="1333510" y="984085"/>
                  </a:lnTo>
                  <a:close/>
                </a:path>
              </a:pathLst>
            </a:custGeom>
            <a:grpFill/>
            <a:ln w="44946" cap="flat">
              <a:noFill/>
              <a:prstDash val="solid"/>
              <a:miter/>
            </a:ln>
          </p:spPr>
          <p:txBody>
            <a:bodyPr rtlCol="0" anchor="ctr"/>
            <a:lstStyle/>
            <a:p>
              <a:endParaRPr lang="en-US"/>
            </a:p>
          </p:txBody>
        </p:sp>
        <p:sp>
          <p:nvSpPr>
            <p:cNvPr id="102" name="Graphic 30">
              <a:extLst>
                <a:ext uri="{FF2B5EF4-FFF2-40B4-BE49-F238E27FC236}">
                  <a16:creationId xmlns:a16="http://schemas.microsoft.com/office/drawing/2014/main" id="{D4355297-B4FF-8341-B57B-D2AD334B463E}"/>
                </a:ext>
              </a:extLst>
            </p:cNvPr>
            <p:cNvSpPr/>
            <p:nvPr/>
          </p:nvSpPr>
          <p:spPr>
            <a:xfrm>
              <a:off x="8908086" y="3550334"/>
              <a:ext cx="386334" cy="433914"/>
            </a:xfrm>
            <a:custGeom>
              <a:avLst/>
              <a:gdLst>
                <a:gd name="connsiteX0" fmla="*/ 214718 w 429435"/>
                <a:gd name="connsiteY0" fmla="*/ 482324 h 482323"/>
                <a:gd name="connsiteX1" fmla="*/ 195280 w 429435"/>
                <a:gd name="connsiteY1" fmla="*/ 468763 h 482323"/>
                <a:gd name="connsiteX2" fmla="*/ 0 w 429435"/>
                <a:gd name="connsiteY2" fmla="*/ 214718 h 482323"/>
                <a:gd name="connsiteX3" fmla="*/ 214718 w 429435"/>
                <a:gd name="connsiteY3" fmla="*/ 0 h 482323"/>
                <a:gd name="connsiteX4" fmla="*/ 429435 w 429435"/>
                <a:gd name="connsiteY4" fmla="*/ 214718 h 482323"/>
                <a:gd name="connsiteX5" fmla="*/ 234155 w 429435"/>
                <a:gd name="connsiteY5" fmla="*/ 468763 h 482323"/>
                <a:gd name="connsiteX6" fmla="*/ 214718 w 429435"/>
                <a:gd name="connsiteY6" fmla="*/ 68258 h 482323"/>
                <a:gd name="connsiteX7" fmla="*/ 67806 w 429435"/>
                <a:gd name="connsiteY7" fmla="*/ 215170 h 482323"/>
                <a:gd name="connsiteX8" fmla="*/ 214718 w 429435"/>
                <a:gd name="connsiteY8" fmla="*/ 399149 h 482323"/>
                <a:gd name="connsiteX9" fmla="*/ 361630 w 429435"/>
                <a:gd name="connsiteY9" fmla="*/ 215170 h 482323"/>
                <a:gd name="connsiteX10" fmla="*/ 214718 w 429435"/>
                <a:gd name="connsiteY10" fmla="*/ 68258 h 482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9435" h="482323">
                  <a:moveTo>
                    <a:pt x="214718" y="482324"/>
                  </a:moveTo>
                  <a:lnTo>
                    <a:pt x="195280" y="468763"/>
                  </a:lnTo>
                  <a:cubicBezTo>
                    <a:pt x="175390" y="454750"/>
                    <a:pt x="0" y="329083"/>
                    <a:pt x="0" y="214718"/>
                  </a:cubicBezTo>
                  <a:cubicBezTo>
                    <a:pt x="0" y="96133"/>
                    <a:pt x="96130" y="0"/>
                    <a:pt x="214718" y="0"/>
                  </a:cubicBezTo>
                  <a:cubicBezTo>
                    <a:pt x="333305" y="0"/>
                    <a:pt x="429435" y="96133"/>
                    <a:pt x="429435" y="214718"/>
                  </a:cubicBezTo>
                  <a:cubicBezTo>
                    <a:pt x="429435" y="329083"/>
                    <a:pt x="254045" y="454750"/>
                    <a:pt x="234155" y="468763"/>
                  </a:cubicBezTo>
                  <a:close/>
                  <a:moveTo>
                    <a:pt x="214718" y="68258"/>
                  </a:moveTo>
                  <a:cubicBezTo>
                    <a:pt x="133581" y="68258"/>
                    <a:pt x="67806" y="134032"/>
                    <a:pt x="67806" y="215170"/>
                  </a:cubicBezTo>
                  <a:cubicBezTo>
                    <a:pt x="67806" y="269414"/>
                    <a:pt x="150980" y="350781"/>
                    <a:pt x="214718" y="399149"/>
                  </a:cubicBezTo>
                  <a:cubicBezTo>
                    <a:pt x="278455" y="350781"/>
                    <a:pt x="361630" y="268962"/>
                    <a:pt x="361630" y="215170"/>
                  </a:cubicBezTo>
                  <a:cubicBezTo>
                    <a:pt x="361630" y="134032"/>
                    <a:pt x="295854" y="68258"/>
                    <a:pt x="214718" y="68258"/>
                  </a:cubicBezTo>
                  <a:close/>
                </a:path>
              </a:pathLst>
            </a:custGeom>
            <a:grpFill/>
            <a:ln w="44946" cap="flat">
              <a:noFill/>
              <a:prstDash val="solid"/>
              <a:miter/>
            </a:ln>
          </p:spPr>
          <p:txBody>
            <a:bodyPr rtlCol="0" anchor="ctr"/>
            <a:lstStyle/>
            <a:p>
              <a:endParaRPr lang="en-US"/>
            </a:p>
          </p:txBody>
        </p:sp>
        <p:sp>
          <p:nvSpPr>
            <p:cNvPr id="103" name="Graphic 30">
              <a:extLst>
                <a:ext uri="{FF2B5EF4-FFF2-40B4-BE49-F238E27FC236}">
                  <a16:creationId xmlns:a16="http://schemas.microsoft.com/office/drawing/2014/main" id="{8593A5E3-2E60-3140-BA00-6BCF083EACCE}"/>
                </a:ext>
              </a:extLst>
            </p:cNvPr>
            <p:cNvSpPr/>
            <p:nvPr/>
          </p:nvSpPr>
          <p:spPr>
            <a:xfrm>
              <a:off x="9040253" y="3657287"/>
              <a:ext cx="122000" cy="122000"/>
            </a:xfrm>
            <a:custGeom>
              <a:avLst/>
              <a:gdLst>
                <a:gd name="connsiteX0" fmla="*/ 67806 w 135611"/>
                <a:gd name="connsiteY0" fmla="*/ 135611 h 135611"/>
                <a:gd name="connsiteX1" fmla="*/ 135611 w 135611"/>
                <a:gd name="connsiteY1" fmla="*/ 67806 h 135611"/>
                <a:gd name="connsiteX2" fmla="*/ 67806 w 135611"/>
                <a:gd name="connsiteY2" fmla="*/ 0 h 135611"/>
                <a:gd name="connsiteX3" fmla="*/ 0 w 135611"/>
                <a:gd name="connsiteY3" fmla="*/ 67806 h 135611"/>
                <a:gd name="connsiteX4" fmla="*/ 67806 w 135611"/>
                <a:gd name="connsiteY4" fmla="*/ 135611 h 135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11" h="135611">
                  <a:moveTo>
                    <a:pt x="67806" y="135611"/>
                  </a:moveTo>
                  <a:cubicBezTo>
                    <a:pt x="105252" y="135611"/>
                    <a:pt x="135611" y="105254"/>
                    <a:pt x="135611" y="67806"/>
                  </a:cubicBezTo>
                  <a:cubicBezTo>
                    <a:pt x="135611" y="30357"/>
                    <a:pt x="105252" y="0"/>
                    <a:pt x="67806" y="0"/>
                  </a:cubicBezTo>
                  <a:cubicBezTo>
                    <a:pt x="30359" y="0"/>
                    <a:pt x="0" y="30357"/>
                    <a:pt x="0" y="67806"/>
                  </a:cubicBezTo>
                  <a:cubicBezTo>
                    <a:pt x="0" y="105254"/>
                    <a:pt x="30359" y="135611"/>
                    <a:pt x="67806" y="135611"/>
                  </a:cubicBezTo>
                  <a:close/>
                </a:path>
              </a:pathLst>
            </a:custGeom>
            <a:grpFill/>
            <a:ln w="44946" cap="flat">
              <a:noFill/>
              <a:prstDash val="solid"/>
              <a:miter/>
            </a:ln>
          </p:spPr>
          <p:txBody>
            <a:bodyPr rtlCol="0" anchor="ctr"/>
            <a:lstStyle/>
            <a:p>
              <a:endParaRPr lang="en-US"/>
            </a:p>
          </p:txBody>
        </p:sp>
      </p:grpSp>
      <p:grpSp>
        <p:nvGrpSpPr>
          <p:cNvPr id="104" name="Group 103">
            <a:extLst>
              <a:ext uri="{FF2B5EF4-FFF2-40B4-BE49-F238E27FC236}">
                <a16:creationId xmlns:a16="http://schemas.microsoft.com/office/drawing/2014/main" id="{E8601DA7-4633-D444-8C52-A44B5C06CDEA}"/>
              </a:ext>
            </a:extLst>
          </p:cNvPr>
          <p:cNvGrpSpPr/>
          <p:nvPr/>
        </p:nvGrpSpPr>
        <p:grpSpPr>
          <a:xfrm>
            <a:off x="3733230" y="5424119"/>
            <a:ext cx="619102" cy="618658"/>
            <a:chOff x="4109369" y="1698022"/>
            <a:chExt cx="1008869" cy="1008145"/>
          </a:xfrm>
          <a:solidFill>
            <a:schemeClr val="accent1"/>
          </a:solidFill>
        </p:grpSpPr>
        <p:sp>
          <p:nvSpPr>
            <p:cNvPr id="105" name="Graphic 28">
              <a:extLst>
                <a:ext uri="{FF2B5EF4-FFF2-40B4-BE49-F238E27FC236}">
                  <a16:creationId xmlns:a16="http://schemas.microsoft.com/office/drawing/2014/main" id="{ABA94B9D-5D0A-6E47-A44C-9AD4726A54EC}"/>
                </a:ext>
              </a:extLst>
            </p:cNvPr>
            <p:cNvSpPr/>
            <p:nvPr/>
          </p:nvSpPr>
          <p:spPr>
            <a:xfrm>
              <a:off x="4662631" y="1698022"/>
              <a:ext cx="455607" cy="422382"/>
            </a:xfrm>
            <a:custGeom>
              <a:avLst/>
              <a:gdLst>
                <a:gd name="connsiteX0" fmla="*/ 441601 w 455607"/>
                <a:gd name="connsiteY0" fmla="*/ 148615 h 422382"/>
                <a:gd name="connsiteX1" fmla="*/ 303827 w 455607"/>
                <a:gd name="connsiteY1" fmla="*/ 129186 h 422382"/>
                <a:gd name="connsiteX2" fmla="*/ 242303 w 455607"/>
                <a:gd name="connsiteY2" fmla="*/ 8189 h 422382"/>
                <a:gd name="connsiteX3" fmla="*/ 213290 w 455607"/>
                <a:gd name="connsiteY3" fmla="*/ 8189 h 422382"/>
                <a:gd name="connsiteX4" fmla="*/ 151766 w 455607"/>
                <a:gd name="connsiteY4" fmla="*/ 129186 h 422382"/>
                <a:gd name="connsiteX5" fmla="*/ 13992 w 455607"/>
                <a:gd name="connsiteY5" fmla="*/ 148615 h 422382"/>
                <a:gd name="connsiteX6" fmla="*/ 763 w 455607"/>
                <a:gd name="connsiteY6" fmla="*/ 159794 h 422382"/>
                <a:gd name="connsiteX7" fmla="*/ 5092 w 455607"/>
                <a:gd name="connsiteY7" fmla="*/ 176554 h 422382"/>
                <a:gd name="connsiteX8" fmla="*/ 104497 w 455607"/>
                <a:gd name="connsiteY8" fmla="*/ 270605 h 422382"/>
                <a:gd name="connsiteX9" fmla="*/ 81065 w 455607"/>
                <a:gd name="connsiteY9" fmla="*/ 403270 h 422382"/>
                <a:gd name="connsiteX10" fmla="*/ 87411 w 455607"/>
                <a:gd name="connsiteY10" fmla="*/ 419184 h 422382"/>
                <a:gd name="connsiteX11" fmla="*/ 104480 w 455607"/>
                <a:gd name="connsiteY11" fmla="*/ 420600 h 422382"/>
                <a:gd name="connsiteX12" fmla="*/ 227789 w 455607"/>
                <a:gd name="connsiteY12" fmla="*/ 357644 h 422382"/>
                <a:gd name="connsiteX13" fmla="*/ 351129 w 455607"/>
                <a:gd name="connsiteY13" fmla="*/ 420583 h 422382"/>
                <a:gd name="connsiteX14" fmla="*/ 358517 w 455607"/>
                <a:gd name="connsiteY14" fmla="*/ 422357 h 422382"/>
                <a:gd name="connsiteX15" fmla="*/ 368199 w 455607"/>
                <a:gd name="connsiteY15" fmla="*/ 419168 h 422382"/>
                <a:gd name="connsiteX16" fmla="*/ 374545 w 455607"/>
                <a:gd name="connsiteY16" fmla="*/ 403254 h 422382"/>
                <a:gd name="connsiteX17" fmla="*/ 351113 w 455607"/>
                <a:gd name="connsiteY17" fmla="*/ 270589 h 422382"/>
                <a:gd name="connsiteX18" fmla="*/ 450518 w 455607"/>
                <a:gd name="connsiteY18" fmla="*/ 176538 h 422382"/>
                <a:gd name="connsiteX19" fmla="*/ 454846 w 455607"/>
                <a:gd name="connsiteY19" fmla="*/ 159778 h 422382"/>
                <a:gd name="connsiteX20" fmla="*/ 441601 w 455607"/>
                <a:gd name="connsiteY20" fmla="*/ 148615 h 422382"/>
                <a:gd name="connsiteX21" fmla="*/ 227789 w 455607"/>
                <a:gd name="connsiteY21" fmla="*/ 323098 h 422382"/>
                <a:gd name="connsiteX22" fmla="*/ 220401 w 455607"/>
                <a:gd name="connsiteY22" fmla="*/ 324872 h 422382"/>
                <a:gd name="connsiteX23" fmla="*/ 178973 w 455607"/>
                <a:gd name="connsiteY23" fmla="*/ 346026 h 422382"/>
                <a:gd name="connsiteX24" fmla="*/ 178973 w 455607"/>
                <a:gd name="connsiteY24" fmla="*/ 331072 h 422382"/>
                <a:gd name="connsiteX25" fmla="*/ 193162 w 455607"/>
                <a:gd name="connsiteY25" fmla="*/ 296608 h 422382"/>
                <a:gd name="connsiteX26" fmla="*/ 227789 w 455607"/>
                <a:gd name="connsiteY26" fmla="*/ 282256 h 422382"/>
                <a:gd name="connsiteX27" fmla="*/ 276604 w 455607"/>
                <a:gd name="connsiteY27" fmla="*/ 331072 h 422382"/>
                <a:gd name="connsiteX28" fmla="*/ 276604 w 455607"/>
                <a:gd name="connsiteY28" fmla="*/ 346026 h 422382"/>
                <a:gd name="connsiteX29" fmla="*/ 235176 w 455607"/>
                <a:gd name="connsiteY29" fmla="*/ 324888 h 422382"/>
                <a:gd name="connsiteX30" fmla="*/ 227789 w 455607"/>
                <a:gd name="connsiteY30" fmla="*/ 323098 h 422382"/>
                <a:gd name="connsiteX31" fmla="*/ 195245 w 455607"/>
                <a:gd name="connsiteY31" fmla="*/ 217169 h 422382"/>
                <a:gd name="connsiteX32" fmla="*/ 227789 w 455607"/>
                <a:gd name="connsiteY32" fmla="*/ 184625 h 422382"/>
                <a:gd name="connsiteX33" fmla="*/ 260332 w 455607"/>
                <a:gd name="connsiteY33" fmla="*/ 217169 h 422382"/>
                <a:gd name="connsiteX34" fmla="*/ 227789 w 455607"/>
                <a:gd name="connsiteY34" fmla="*/ 249712 h 422382"/>
                <a:gd name="connsiteX35" fmla="*/ 195245 w 455607"/>
                <a:gd name="connsiteY35" fmla="*/ 217169 h 422382"/>
                <a:gd name="connsiteX36" fmla="*/ 322361 w 455607"/>
                <a:gd name="connsiteY36" fmla="*/ 252967 h 422382"/>
                <a:gd name="connsiteX37" fmla="*/ 317528 w 455607"/>
                <a:gd name="connsiteY37" fmla="*/ 267611 h 422382"/>
                <a:gd name="connsiteX38" fmla="*/ 336810 w 455607"/>
                <a:gd name="connsiteY38" fmla="*/ 376731 h 422382"/>
                <a:gd name="connsiteX39" fmla="*/ 309148 w 455607"/>
                <a:gd name="connsiteY39" fmla="*/ 362623 h 422382"/>
                <a:gd name="connsiteX40" fmla="*/ 309148 w 455607"/>
                <a:gd name="connsiteY40" fmla="*/ 331072 h 422382"/>
                <a:gd name="connsiteX41" fmla="*/ 273236 w 455607"/>
                <a:gd name="connsiteY41" fmla="*/ 263625 h 422382"/>
                <a:gd name="connsiteX42" fmla="*/ 292876 w 455607"/>
                <a:gd name="connsiteY42" fmla="*/ 217169 h 422382"/>
                <a:gd name="connsiteX43" fmla="*/ 227789 w 455607"/>
                <a:gd name="connsiteY43" fmla="*/ 152081 h 422382"/>
                <a:gd name="connsiteX44" fmla="*/ 162701 w 455607"/>
                <a:gd name="connsiteY44" fmla="*/ 217169 h 422382"/>
                <a:gd name="connsiteX45" fmla="*/ 182358 w 455607"/>
                <a:gd name="connsiteY45" fmla="*/ 263641 h 422382"/>
                <a:gd name="connsiteX46" fmla="*/ 170154 w 455607"/>
                <a:gd name="connsiteY46" fmla="*/ 273583 h 422382"/>
                <a:gd name="connsiteX47" fmla="*/ 146429 w 455607"/>
                <a:gd name="connsiteY47" fmla="*/ 331072 h 422382"/>
                <a:gd name="connsiteX48" fmla="*/ 146429 w 455607"/>
                <a:gd name="connsiteY48" fmla="*/ 362623 h 422382"/>
                <a:gd name="connsiteX49" fmla="*/ 118767 w 455607"/>
                <a:gd name="connsiteY49" fmla="*/ 376731 h 422382"/>
                <a:gd name="connsiteX50" fmla="*/ 138049 w 455607"/>
                <a:gd name="connsiteY50" fmla="*/ 267611 h 422382"/>
                <a:gd name="connsiteX51" fmla="*/ 133216 w 455607"/>
                <a:gd name="connsiteY51" fmla="*/ 252967 h 422382"/>
                <a:gd name="connsiteX52" fmla="*/ 51987 w 455607"/>
                <a:gd name="connsiteY52" fmla="*/ 176115 h 422382"/>
                <a:gd name="connsiteX53" fmla="*/ 164703 w 455607"/>
                <a:gd name="connsiteY53" fmla="*/ 160217 h 422382"/>
                <a:gd name="connsiteX54" fmla="*/ 176939 w 455607"/>
                <a:gd name="connsiteY54" fmla="*/ 151479 h 422382"/>
                <a:gd name="connsiteX55" fmla="*/ 227789 w 455607"/>
                <a:gd name="connsiteY55" fmla="*/ 51456 h 422382"/>
                <a:gd name="connsiteX56" fmla="*/ 278654 w 455607"/>
                <a:gd name="connsiteY56" fmla="*/ 151479 h 422382"/>
                <a:gd name="connsiteX57" fmla="*/ 290891 w 455607"/>
                <a:gd name="connsiteY57" fmla="*/ 160217 h 422382"/>
                <a:gd name="connsiteX58" fmla="*/ 403606 w 455607"/>
                <a:gd name="connsiteY58" fmla="*/ 176115 h 422382"/>
                <a:gd name="connsiteX59" fmla="*/ 322361 w 455607"/>
                <a:gd name="connsiteY59" fmla="*/ 252967 h 42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55607" h="422382">
                  <a:moveTo>
                    <a:pt x="441601" y="148615"/>
                  </a:moveTo>
                  <a:lnTo>
                    <a:pt x="303827" y="129186"/>
                  </a:lnTo>
                  <a:lnTo>
                    <a:pt x="242303" y="8189"/>
                  </a:lnTo>
                  <a:cubicBezTo>
                    <a:pt x="236738" y="-2730"/>
                    <a:pt x="218855" y="-2730"/>
                    <a:pt x="213290" y="8189"/>
                  </a:cubicBezTo>
                  <a:lnTo>
                    <a:pt x="151766" y="129186"/>
                  </a:lnTo>
                  <a:lnTo>
                    <a:pt x="13992" y="148615"/>
                  </a:lnTo>
                  <a:cubicBezTo>
                    <a:pt x="7809" y="149494"/>
                    <a:pt x="2667" y="153822"/>
                    <a:pt x="763" y="159794"/>
                  </a:cubicBezTo>
                  <a:cubicBezTo>
                    <a:pt x="-1124" y="165749"/>
                    <a:pt x="552" y="172258"/>
                    <a:pt x="5092" y="176554"/>
                  </a:cubicBezTo>
                  <a:lnTo>
                    <a:pt x="104497" y="270605"/>
                  </a:lnTo>
                  <a:lnTo>
                    <a:pt x="81065" y="403270"/>
                  </a:lnTo>
                  <a:cubicBezTo>
                    <a:pt x="79991" y="409356"/>
                    <a:pt x="82448" y="415506"/>
                    <a:pt x="87411" y="419184"/>
                  </a:cubicBezTo>
                  <a:cubicBezTo>
                    <a:pt x="92390" y="422861"/>
                    <a:pt x="99029" y="423415"/>
                    <a:pt x="104480" y="420600"/>
                  </a:cubicBezTo>
                  <a:lnTo>
                    <a:pt x="227789" y="357644"/>
                  </a:lnTo>
                  <a:lnTo>
                    <a:pt x="351129" y="420583"/>
                  </a:lnTo>
                  <a:cubicBezTo>
                    <a:pt x="353456" y="421771"/>
                    <a:pt x="355995" y="422357"/>
                    <a:pt x="358517" y="422357"/>
                  </a:cubicBezTo>
                  <a:cubicBezTo>
                    <a:pt x="361934" y="422357"/>
                    <a:pt x="365335" y="421283"/>
                    <a:pt x="368199" y="419168"/>
                  </a:cubicBezTo>
                  <a:cubicBezTo>
                    <a:pt x="373161" y="415490"/>
                    <a:pt x="375619" y="409339"/>
                    <a:pt x="374545" y="403254"/>
                  </a:cubicBezTo>
                  <a:lnTo>
                    <a:pt x="351113" y="270589"/>
                  </a:lnTo>
                  <a:lnTo>
                    <a:pt x="450518" y="176538"/>
                  </a:lnTo>
                  <a:cubicBezTo>
                    <a:pt x="455042" y="172242"/>
                    <a:pt x="456734" y="165717"/>
                    <a:pt x="454846" y="159778"/>
                  </a:cubicBezTo>
                  <a:cubicBezTo>
                    <a:pt x="452926" y="153822"/>
                    <a:pt x="447784" y="149478"/>
                    <a:pt x="441601" y="148615"/>
                  </a:cubicBezTo>
                  <a:close/>
                  <a:moveTo>
                    <a:pt x="227789" y="323098"/>
                  </a:moveTo>
                  <a:cubicBezTo>
                    <a:pt x="225250" y="323098"/>
                    <a:pt x="222712" y="323700"/>
                    <a:pt x="220401" y="324872"/>
                  </a:cubicBezTo>
                  <a:lnTo>
                    <a:pt x="178973" y="346026"/>
                  </a:lnTo>
                  <a:lnTo>
                    <a:pt x="178973" y="331072"/>
                  </a:lnTo>
                  <a:cubicBezTo>
                    <a:pt x="178973" y="318136"/>
                    <a:pt x="184066" y="305834"/>
                    <a:pt x="193162" y="296608"/>
                  </a:cubicBezTo>
                  <a:cubicBezTo>
                    <a:pt x="202551" y="287349"/>
                    <a:pt x="214852" y="282256"/>
                    <a:pt x="227789" y="282256"/>
                  </a:cubicBezTo>
                  <a:cubicBezTo>
                    <a:pt x="254702" y="282256"/>
                    <a:pt x="276604" y="304158"/>
                    <a:pt x="276604" y="331072"/>
                  </a:cubicBezTo>
                  <a:lnTo>
                    <a:pt x="276604" y="346026"/>
                  </a:lnTo>
                  <a:lnTo>
                    <a:pt x="235176" y="324888"/>
                  </a:lnTo>
                  <a:cubicBezTo>
                    <a:pt x="232865" y="323700"/>
                    <a:pt x="230327" y="323098"/>
                    <a:pt x="227789" y="323098"/>
                  </a:cubicBezTo>
                  <a:close/>
                  <a:moveTo>
                    <a:pt x="195245" y="217169"/>
                  </a:moveTo>
                  <a:cubicBezTo>
                    <a:pt x="195245" y="199221"/>
                    <a:pt x="209841" y="184625"/>
                    <a:pt x="227789" y="184625"/>
                  </a:cubicBezTo>
                  <a:cubicBezTo>
                    <a:pt x="245736" y="184625"/>
                    <a:pt x="260332" y="199221"/>
                    <a:pt x="260332" y="217169"/>
                  </a:cubicBezTo>
                  <a:cubicBezTo>
                    <a:pt x="260332" y="235116"/>
                    <a:pt x="245736" y="249712"/>
                    <a:pt x="227789" y="249712"/>
                  </a:cubicBezTo>
                  <a:cubicBezTo>
                    <a:pt x="209841" y="249712"/>
                    <a:pt x="195245" y="235116"/>
                    <a:pt x="195245" y="217169"/>
                  </a:cubicBezTo>
                  <a:close/>
                  <a:moveTo>
                    <a:pt x="322361" y="252967"/>
                  </a:moveTo>
                  <a:cubicBezTo>
                    <a:pt x="318390" y="256725"/>
                    <a:pt x="316584" y="262225"/>
                    <a:pt x="317528" y="267611"/>
                  </a:cubicBezTo>
                  <a:lnTo>
                    <a:pt x="336810" y="376731"/>
                  </a:lnTo>
                  <a:lnTo>
                    <a:pt x="309148" y="362623"/>
                  </a:lnTo>
                  <a:lnTo>
                    <a:pt x="309148" y="331072"/>
                  </a:lnTo>
                  <a:cubicBezTo>
                    <a:pt x="309148" y="303035"/>
                    <a:pt x="294894" y="278269"/>
                    <a:pt x="273236" y="263625"/>
                  </a:cubicBezTo>
                  <a:cubicBezTo>
                    <a:pt x="285326" y="251811"/>
                    <a:pt x="292876" y="235377"/>
                    <a:pt x="292876" y="217169"/>
                  </a:cubicBezTo>
                  <a:cubicBezTo>
                    <a:pt x="292876" y="181273"/>
                    <a:pt x="263684" y="152081"/>
                    <a:pt x="227789" y="152081"/>
                  </a:cubicBezTo>
                  <a:cubicBezTo>
                    <a:pt x="191893" y="152081"/>
                    <a:pt x="162701" y="181273"/>
                    <a:pt x="162701" y="217169"/>
                  </a:cubicBezTo>
                  <a:cubicBezTo>
                    <a:pt x="162701" y="235377"/>
                    <a:pt x="170268" y="251828"/>
                    <a:pt x="182358" y="263641"/>
                  </a:cubicBezTo>
                  <a:cubicBezTo>
                    <a:pt x="178045" y="266537"/>
                    <a:pt x="173945" y="269841"/>
                    <a:pt x="170154" y="273583"/>
                  </a:cubicBezTo>
                  <a:cubicBezTo>
                    <a:pt x="154858" y="289123"/>
                    <a:pt x="146429" y="309528"/>
                    <a:pt x="146429" y="331072"/>
                  </a:cubicBezTo>
                  <a:lnTo>
                    <a:pt x="146429" y="362623"/>
                  </a:lnTo>
                  <a:lnTo>
                    <a:pt x="118767" y="376731"/>
                  </a:lnTo>
                  <a:lnTo>
                    <a:pt x="138049" y="267611"/>
                  </a:lnTo>
                  <a:cubicBezTo>
                    <a:pt x="139009" y="262225"/>
                    <a:pt x="137187" y="256725"/>
                    <a:pt x="133216" y="252967"/>
                  </a:cubicBezTo>
                  <a:lnTo>
                    <a:pt x="51987" y="176115"/>
                  </a:lnTo>
                  <a:lnTo>
                    <a:pt x="164703" y="160217"/>
                  </a:lnTo>
                  <a:cubicBezTo>
                    <a:pt x="169958" y="159485"/>
                    <a:pt x="174531" y="156214"/>
                    <a:pt x="176939" y="151479"/>
                  </a:cubicBezTo>
                  <a:lnTo>
                    <a:pt x="227789" y="51456"/>
                  </a:lnTo>
                  <a:lnTo>
                    <a:pt x="278654" y="151479"/>
                  </a:lnTo>
                  <a:cubicBezTo>
                    <a:pt x="281063" y="156214"/>
                    <a:pt x="285635" y="159485"/>
                    <a:pt x="290891" y="160217"/>
                  </a:cubicBezTo>
                  <a:lnTo>
                    <a:pt x="403606" y="176115"/>
                  </a:lnTo>
                  <a:lnTo>
                    <a:pt x="322361" y="252967"/>
                  </a:lnTo>
                  <a:close/>
                </a:path>
              </a:pathLst>
            </a:custGeom>
            <a:grpFill/>
            <a:ln w="16222" cap="flat">
              <a:noFill/>
              <a:prstDash val="solid"/>
              <a:miter/>
            </a:ln>
          </p:spPr>
          <p:txBody>
            <a:bodyPr rtlCol="0" anchor="ctr"/>
            <a:lstStyle/>
            <a:p>
              <a:endParaRPr lang="en-US"/>
            </a:p>
          </p:txBody>
        </p:sp>
        <p:sp>
          <p:nvSpPr>
            <p:cNvPr id="106" name="Graphic 28">
              <a:extLst>
                <a:ext uri="{FF2B5EF4-FFF2-40B4-BE49-F238E27FC236}">
                  <a16:creationId xmlns:a16="http://schemas.microsoft.com/office/drawing/2014/main" id="{1DA013FD-AB25-E84F-87C0-D476BAA49EBD}"/>
                </a:ext>
              </a:extLst>
            </p:cNvPr>
            <p:cNvSpPr/>
            <p:nvPr/>
          </p:nvSpPr>
          <p:spPr>
            <a:xfrm>
              <a:off x="4109369" y="2445817"/>
              <a:ext cx="162718" cy="260350"/>
            </a:xfrm>
            <a:custGeom>
              <a:avLst/>
              <a:gdLst>
                <a:gd name="connsiteX0" fmla="*/ 146447 w 162718"/>
                <a:gd name="connsiteY0" fmla="*/ 260350 h 260350"/>
                <a:gd name="connsiteX1" fmla="*/ 162719 w 162718"/>
                <a:gd name="connsiteY1" fmla="*/ 244078 h 260350"/>
                <a:gd name="connsiteX2" fmla="*/ 162719 w 162718"/>
                <a:gd name="connsiteY2" fmla="*/ 178991 h 260350"/>
                <a:gd name="connsiteX3" fmla="*/ 126807 w 162718"/>
                <a:gd name="connsiteY3" fmla="*/ 111544 h 260350"/>
                <a:gd name="connsiteX4" fmla="*/ 146447 w 162718"/>
                <a:gd name="connsiteY4" fmla="*/ 65088 h 260350"/>
                <a:gd name="connsiteX5" fmla="*/ 81359 w 162718"/>
                <a:gd name="connsiteY5" fmla="*/ 0 h 260350"/>
                <a:gd name="connsiteX6" fmla="*/ 16272 w 162718"/>
                <a:gd name="connsiteY6" fmla="*/ 65088 h 260350"/>
                <a:gd name="connsiteX7" fmla="*/ 35945 w 162718"/>
                <a:gd name="connsiteY7" fmla="*/ 111576 h 260350"/>
                <a:gd name="connsiteX8" fmla="*/ 23724 w 162718"/>
                <a:gd name="connsiteY8" fmla="*/ 121518 h 260350"/>
                <a:gd name="connsiteX9" fmla="*/ 0 w 162718"/>
                <a:gd name="connsiteY9" fmla="*/ 178991 h 260350"/>
                <a:gd name="connsiteX10" fmla="*/ 0 w 162718"/>
                <a:gd name="connsiteY10" fmla="*/ 244078 h 260350"/>
                <a:gd name="connsiteX11" fmla="*/ 16272 w 162718"/>
                <a:gd name="connsiteY11" fmla="*/ 260350 h 260350"/>
                <a:gd name="connsiteX12" fmla="*/ 146447 w 162718"/>
                <a:gd name="connsiteY12" fmla="*/ 260350 h 260350"/>
                <a:gd name="connsiteX13" fmla="*/ 48816 w 162718"/>
                <a:gd name="connsiteY13" fmla="*/ 65088 h 260350"/>
                <a:gd name="connsiteX14" fmla="*/ 81359 w 162718"/>
                <a:gd name="connsiteY14" fmla="*/ 32544 h 260350"/>
                <a:gd name="connsiteX15" fmla="*/ 113903 w 162718"/>
                <a:gd name="connsiteY15" fmla="*/ 65088 h 260350"/>
                <a:gd name="connsiteX16" fmla="*/ 81359 w 162718"/>
                <a:gd name="connsiteY16" fmla="*/ 97631 h 260350"/>
                <a:gd name="connsiteX17" fmla="*/ 48816 w 162718"/>
                <a:gd name="connsiteY17" fmla="*/ 65088 h 260350"/>
                <a:gd name="connsiteX18" fmla="*/ 32544 w 162718"/>
                <a:gd name="connsiteY18" fmla="*/ 178991 h 260350"/>
                <a:gd name="connsiteX19" fmla="*/ 46733 w 162718"/>
                <a:gd name="connsiteY19" fmla="*/ 144527 h 260350"/>
                <a:gd name="connsiteX20" fmla="*/ 81359 w 162718"/>
                <a:gd name="connsiteY20" fmla="*/ 130175 h 260350"/>
                <a:gd name="connsiteX21" fmla="*/ 130175 w 162718"/>
                <a:gd name="connsiteY21" fmla="*/ 178991 h 260350"/>
                <a:gd name="connsiteX22" fmla="*/ 130175 w 162718"/>
                <a:gd name="connsiteY22" fmla="*/ 227806 h 260350"/>
                <a:gd name="connsiteX23" fmla="*/ 32544 w 162718"/>
                <a:gd name="connsiteY23" fmla="*/ 227806 h 260350"/>
                <a:gd name="connsiteX24" fmla="*/ 32544 w 162718"/>
                <a:gd name="connsiteY24" fmla="*/ 178991 h 260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2718" h="260350">
                  <a:moveTo>
                    <a:pt x="146447" y="260350"/>
                  </a:moveTo>
                  <a:cubicBezTo>
                    <a:pt x="155445" y="260350"/>
                    <a:pt x="162719" y="253060"/>
                    <a:pt x="162719" y="244078"/>
                  </a:cubicBezTo>
                  <a:lnTo>
                    <a:pt x="162719" y="178991"/>
                  </a:lnTo>
                  <a:cubicBezTo>
                    <a:pt x="162719" y="150954"/>
                    <a:pt x="148465" y="126188"/>
                    <a:pt x="126807" y="111544"/>
                  </a:cubicBezTo>
                  <a:cubicBezTo>
                    <a:pt x="138897" y="99714"/>
                    <a:pt x="146447" y="83296"/>
                    <a:pt x="146447" y="65088"/>
                  </a:cubicBezTo>
                  <a:cubicBezTo>
                    <a:pt x="146447" y="29192"/>
                    <a:pt x="117255" y="0"/>
                    <a:pt x="81359" y="0"/>
                  </a:cubicBezTo>
                  <a:cubicBezTo>
                    <a:pt x="45464" y="0"/>
                    <a:pt x="16272" y="29192"/>
                    <a:pt x="16272" y="65088"/>
                  </a:cubicBezTo>
                  <a:cubicBezTo>
                    <a:pt x="16272" y="83296"/>
                    <a:pt x="23838" y="99747"/>
                    <a:pt x="35945" y="111576"/>
                  </a:cubicBezTo>
                  <a:cubicBezTo>
                    <a:pt x="31633" y="114473"/>
                    <a:pt x="27532" y="117776"/>
                    <a:pt x="23724" y="121518"/>
                  </a:cubicBezTo>
                  <a:cubicBezTo>
                    <a:pt x="8429" y="137025"/>
                    <a:pt x="0" y="157447"/>
                    <a:pt x="0" y="178991"/>
                  </a:cubicBezTo>
                  <a:lnTo>
                    <a:pt x="0" y="244078"/>
                  </a:lnTo>
                  <a:cubicBezTo>
                    <a:pt x="0" y="253060"/>
                    <a:pt x="7274" y="260350"/>
                    <a:pt x="16272" y="260350"/>
                  </a:cubicBezTo>
                  <a:lnTo>
                    <a:pt x="146447" y="260350"/>
                  </a:lnTo>
                  <a:close/>
                  <a:moveTo>
                    <a:pt x="48816" y="65088"/>
                  </a:moveTo>
                  <a:cubicBezTo>
                    <a:pt x="48816" y="47140"/>
                    <a:pt x="63411" y="32544"/>
                    <a:pt x="81359" y="32544"/>
                  </a:cubicBezTo>
                  <a:cubicBezTo>
                    <a:pt x="99307" y="32544"/>
                    <a:pt x="113903" y="47140"/>
                    <a:pt x="113903" y="65088"/>
                  </a:cubicBezTo>
                  <a:cubicBezTo>
                    <a:pt x="113903" y="83035"/>
                    <a:pt x="99307" y="97631"/>
                    <a:pt x="81359" y="97631"/>
                  </a:cubicBezTo>
                  <a:cubicBezTo>
                    <a:pt x="63411" y="97631"/>
                    <a:pt x="48816" y="83035"/>
                    <a:pt x="48816" y="65088"/>
                  </a:cubicBezTo>
                  <a:close/>
                  <a:moveTo>
                    <a:pt x="32544" y="178991"/>
                  </a:moveTo>
                  <a:cubicBezTo>
                    <a:pt x="32544" y="166055"/>
                    <a:pt x="37637" y="153753"/>
                    <a:pt x="46733" y="144527"/>
                  </a:cubicBezTo>
                  <a:cubicBezTo>
                    <a:pt x="56122" y="135268"/>
                    <a:pt x="68423" y="130175"/>
                    <a:pt x="81359" y="130175"/>
                  </a:cubicBezTo>
                  <a:cubicBezTo>
                    <a:pt x="108273" y="130175"/>
                    <a:pt x="130175" y="152077"/>
                    <a:pt x="130175" y="178991"/>
                  </a:cubicBezTo>
                  <a:lnTo>
                    <a:pt x="130175" y="227806"/>
                  </a:lnTo>
                  <a:lnTo>
                    <a:pt x="32544" y="227806"/>
                  </a:lnTo>
                  <a:lnTo>
                    <a:pt x="32544" y="178991"/>
                  </a:lnTo>
                  <a:close/>
                </a:path>
              </a:pathLst>
            </a:custGeom>
            <a:grpFill/>
            <a:ln w="16222" cap="flat">
              <a:noFill/>
              <a:prstDash val="solid"/>
              <a:miter/>
            </a:ln>
          </p:spPr>
          <p:txBody>
            <a:bodyPr rtlCol="0" anchor="ctr"/>
            <a:lstStyle/>
            <a:p>
              <a:endParaRPr lang="en-US"/>
            </a:p>
          </p:txBody>
        </p:sp>
        <p:sp>
          <p:nvSpPr>
            <p:cNvPr id="107" name="Graphic 28">
              <a:extLst>
                <a:ext uri="{FF2B5EF4-FFF2-40B4-BE49-F238E27FC236}">
                  <a16:creationId xmlns:a16="http://schemas.microsoft.com/office/drawing/2014/main" id="{C6167D15-B2F5-0840-A892-C7DD2B60F3D2}"/>
                </a:ext>
              </a:extLst>
            </p:cNvPr>
            <p:cNvSpPr/>
            <p:nvPr/>
          </p:nvSpPr>
          <p:spPr>
            <a:xfrm>
              <a:off x="4743973" y="2104103"/>
              <a:ext cx="223038" cy="178994"/>
            </a:xfrm>
            <a:custGeom>
              <a:avLst/>
              <a:gdLst>
                <a:gd name="connsiteX0" fmla="*/ 0 w 223038"/>
                <a:gd name="connsiteY0" fmla="*/ 146451 h 178994"/>
                <a:gd name="connsiteX1" fmla="*/ 0 w 223038"/>
                <a:gd name="connsiteY1" fmla="*/ 178995 h 178994"/>
                <a:gd name="connsiteX2" fmla="*/ 146447 w 223038"/>
                <a:gd name="connsiteY2" fmla="*/ 178995 h 178994"/>
                <a:gd name="connsiteX3" fmla="*/ 162719 w 223038"/>
                <a:gd name="connsiteY3" fmla="*/ 162723 h 178994"/>
                <a:gd name="connsiteX4" fmla="*/ 162719 w 223038"/>
                <a:gd name="connsiteY4" fmla="*/ 55556 h 178994"/>
                <a:gd name="connsiteX5" fmla="*/ 200030 w 223038"/>
                <a:gd name="connsiteY5" fmla="*/ 92868 h 178994"/>
                <a:gd name="connsiteX6" fmla="*/ 223039 w 223038"/>
                <a:gd name="connsiteY6" fmla="*/ 69859 h 178994"/>
                <a:gd name="connsiteX7" fmla="*/ 157951 w 223038"/>
                <a:gd name="connsiteY7" fmla="*/ 4772 h 178994"/>
                <a:gd name="connsiteX8" fmla="*/ 134943 w 223038"/>
                <a:gd name="connsiteY8" fmla="*/ 4772 h 178994"/>
                <a:gd name="connsiteX9" fmla="*/ 69855 w 223038"/>
                <a:gd name="connsiteY9" fmla="*/ 69859 h 178994"/>
                <a:gd name="connsiteX10" fmla="*/ 92864 w 223038"/>
                <a:gd name="connsiteY10" fmla="*/ 92868 h 178994"/>
                <a:gd name="connsiteX11" fmla="*/ 130175 w 223038"/>
                <a:gd name="connsiteY11" fmla="*/ 55556 h 178994"/>
                <a:gd name="connsiteX12" fmla="*/ 130175 w 223038"/>
                <a:gd name="connsiteY12" fmla="*/ 146451 h 178994"/>
                <a:gd name="connsiteX13" fmla="*/ 0 w 223038"/>
                <a:gd name="connsiteY13" fmla="*/ 146451 h 17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3038" h="178994">
                  <a:moveTo>
                    <a:pt x="0" y="146451"/>
                  </a:moveTo>
                  <a:lnTo>
                    <a:pt x="0" y="178995"/>
                  </a:lnTo>
                  <a:lnTo>
                    <a:pt x="146447" y="178995"/>
                  </a:lnTo>
                  <a:cubicBezTo>
                    <a:pt x="155445" y="178995"/>
                    <a:pt x="162719" y="171705"/>
                    <a:pt x="162719" y="162723"/>
                  </a:cubicBezTo>
                  <a:lnTo>
                    <a:pt x="162719" y="55556"/>
                  </a:lnTo>
                  <a:lnTo>
                    <a:pt x="200030" y="92868"/>
                  </a:lnTo>
                  <a:lnTo>
                    <a:pt x="223039" y="69859"/>
                  </a:lnTo>
                  <a:lnTo>
                    <a:pt x="157951" y="4772"/>
                  </a:lnTo>
                  <a:cubicBezTo>
                    <a:pt x="151589" y="-1591"/>
                    <a:pt x="141305" y="-1591"/>
                    <a:pt x="134943" y="4772"/>
                  </a:cubicBezTo>
                  <a:lnTo>
                    <a:pt x="69855" y="69859"/>
                  </a:lnTo>
                  <a:lnTo>
                    <a:pt x="92864" y="92868"/>
                  </a:lnTo>
                  <a:lnTo>
                    <a:pt x="130175" y="55556"/>
                  </a:lnTo>
                  <a:lnTo>
                    <a:pt x="130175" y="146451"/>
                  </a:lnTo>
                  <a:lnTo>
                    <a:pt x="0" y="146451"/>
                  </a:lnTo>
                  <a:close/>
                </a:path>
              </a:pathLst>
            </a:custGeom>
            <a:grpFill/>
            <a:ln w="16222" cap="flat">
              <a:noFill/>
              <a:prstDash val="solid"/>
              <a:miter/>
            </a:ln>
          </p:spPr>
          <p:txBody>
            <a:bodyPr rtlCol="0" anchor="ctr"/>
            <a:lstStyle/>
            <a:p>
              <a:endParaRPr lang="en-US"/>
            </a:p>
          </p:txBody>
        </p:sp>
        <p:sp>
          <p:nvSpPr>
            <p:cNvPr id="108" name="Graphic 28">
              <a:extLst>
                <a:ext uri="{FF2B5EF4-FFF2-40B4-BE49-F238E27FC236}">
                  <a16:creationId xmlns:a16="http://schemas.microsoft.com/office/drawing/2014/main" id="{7369E062-B3A9-2746-AA5A-CA6BC1878009}"/>
                </a:ext>
              </a:extLst>
            </p:cNvPr>
            <p:cNvSpPr/>
            <p:nvPr/>
          </p:nvSpPr>
          <p:spPr>
            <a:xfrm>
              <a:off x="4174457" y="2206506"/>
              <a:ext cx="178994" cy="206766"/>
            </a:xfrm>
            <a:custGeom>
              <a:avLst/>
              <a:gdLst>
                <a:gd name="connsiteX0" fmla="*/ 109135 w 178994"/>
                <a:gd name="connsiteY0" fmla="*/ 153183 h 206766"/>
                <a:gd name="connsiteX1" fmla="*/ 174223 w 178994"/>
                <a:gd name="connsiteY1" fmla="*/ 88096 h 206766"/>
                <a:gd name="connsiteX2" fmla="*/ 174223 w 178994"/>
                <a:gd name="connsiteY2" fmla="*/ 65088 h 206766"/>
                <a:gd name="connsiteX3" fmla="*/ 109135 w 178994"/>
                <a:gd name="connsiteY3" fmla="*/ 0 h 206766"/>
                <a:gd name="connsiteX4" fmla="*/ 86127 w 178994"/>
                <a:gd name="connsiteY4" fmla="*/ 23008 h 206766"/>
                <a:gd name="connsiteX5" fmla="*/ 123438 w 178994"/>
                <a:gd name="connsiteY5" fmla="*/ 60320 h 206766"/>
                <a:gd name="connsiteX6" fmla="*/ 16272 w 178994"/>
                <a:gd name="connsiteY6" fmla="*/ 60320 h 206766"/>
                <a:gd name="connsiteX7" fmla="*/ 0 w 178994"/>
                <a:gd name="connsiteY7" fmla="*/ 76592 h 206766"/>
                <a:gd name="connsiteX8" fmla="*/ 0 w 178994"/>
                <a:gd name="connsiteY8" fmla="*/ 206767 h 206766"/>
                <a:gd name="connsiteX9" fmla="*/ 32544 w 178994"/>
                <a:gd name="connsiteY9" fmla="*/ 206767 h 206766"/>
                <a:gd name="connsiteX10" fmla="*/ 32544 w 178994"/>
                <a:gd name="connsiteY10" fmla="*/ 92864 h 206766"/>
                <a:gd name="connsiteX11" fmla="*/ 123438 w 178994"/>
                <a:gd name="connsiteY11" fmla="*/ 92864 h 206766"/>
                <a:gd name="connsiteX12" fmla="*/ 86127 w 178994"/>
                <a:gd name="connsiteY12" fmla="*/ 130175 h 206766"/>
                <a:gd name="connsiteX13" fmla="*/ 109135 w 178994"/>
                <a:gd name="connsiteY13" fmla="*/ 153183 h 206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994" h="206766">
                  <a:moveTo>
                    <a:pt x="109135" y="153183"/>
                  </a:moveTo>
                  <a:lnTo>
                    <a:pt x="174223" y="88096"/>
                  </a:lnTo>
                  <a:cubicBezTo>
                    <a:pt x="180585" y="81734"/>
                    <a:pt x="180585" y="71450"/>
                    <a:pt x="174223" y="65088"/>
                  </a:cubicBezTo>
                  <a:lnTo>
                    <a:pt x="109135" y="0"/>
                  </a:lnTo>
                  <a:lnTo>
                    <a:pt x="86127" y="23008"/>
                  </a:lnTo>
                  <a:lnTo>
                    <a:pt x="123438" y="60320"/>
                  </a:lnTo>
                  <a:lnTo>
                    <a:pt x="16272" y="60320"/>
                  </a:lnTo>
                  <a:cubicBezTo>
                    <a:pt x="7274" y="60320"/>
                    <a:pt x="0" y="67610"/>
                    <a:pt x="0" y="76592"/>
                  </a:cubicBezTo>
                  <a:lnTo>
                    <a:pt x="0" y="206767"/>
                  </a:lnTo>
                  <a:lnTo>
                    <a:pt x="32544" y="206767"/>
                  </a:lnTo>
                  <a:lnTo>
                    <a:pt x="32544" y="92864"/>
                  </a:lnTo>
                  <a:lnTo>
                    <a:pt x="123438" y="92864"/>
                  </a:lnTo>
                  <a:lnTo>
                    <a:pt x="86127" y="130175"/>
                  </a:lnTo>
                  <a:lnTo>
                    <a:pt x="109135" y="153183"/>
                  </a:lnTo>
                  <a:close/>
                </a:path>
              </a:pathLst>
            </a:custGeom>
            <a:grpFill/>
            <a:ln w="16222" cap="flat">
              <a:noFill/>
              <a:prstDash val="solid"/>
              <a:miter/>
            </a:ln>
          </p:spPr>
          <p:txBody>
            <a:bodyPr rtlCol="0" anchor="ctr"/>
            <a:lstStyle/>
            <a:p>
              <a:endParaRPr lang="en-US"/>
            </a:p>
          </p:txBody>
        </p:sp>
        <p:sp>
          <p:nvSpPr>
            <p:cNvPr id="109" name="Graphic 28">
              <a:extLst>
                <a:ext uri="{FF2B5EF4-FFF2-40B4-BE49-F238E27FC236}">
                  <a16:creationId xmlns:a16="http://schemas.microsoft.com/office/drawing/2014/main" id="{AE20E0C1-45B5-4349-A410-EF2348203CF3}"/>
                </a:ext>
              </a:extLst>
            </p:cNvPr>
            <p:cNvSpPr/>
            <p:nvPr/>
          </p:nvSpPr>
          <p:spPr>
            <a:xfrm>
              <a:off x="4516166" y="2364457"/>
              <a:ext cx="162718" cy="162718"/>
            </a:xfrm>
            <a:custGeom>
              <a:avLst/>
              <a:gdLst>
                <a:gd name="connsiteX0" fmla="*/ 81359 w 162718"/>
                <a:gd name="connsiteY0" fmla="*/ 0 h 162718"/>
                <a:gd name="connsiteX1" fmla="*/ 0 w 162718"/>
                <a:gd name="connsiteY1" fmla="*/ 81359 h 162718"/>
                <a:gd name="connsiteX2" fmla="*/ 81359 w 162718"/>
                <a:gd name="connsiteY2" fmla="*/ 162719 h 162718"/>
                <a:gd name="connsiteX3" fmla="*/ 162719 w 162718"/>
                <a:gd name="connsiteY3" fmla="*/ 81359 h 162718"/>
                <a:gd name="connsiteX4" fmla="*/ 81359 w 162718"/>
                <a:gd name="connsiteY4" fmla="*/ 0 h 162718"/>
                <a:gd name="connsiteX5" fmla="*/ 81359 w 162718"/>
                <a:gd name="connsiteY5" fmla="*/ 130175 h 162718"/>
                <a:gd name="connsiteX6" fmla="*/ 32544 w 162718"/>
                <a:gd name="connsiteY6" fmla="*/ 81359 h 162718"/>
                <a:gd name="connsiteX7" fmla="*/ 81359 w 162718"/>
                <a:gd name="connsiteY7" fmla="*/ 32544 h 162718"/>
                <a:gd name="connsiteX8" fmla="*/ 130175 w 162718"/>
                <a:gd name="connsiteY8" fmla="*/ 81359 h 162718"/>
                <a:gd name="connsiteX9" fmla="*/ 81359 w 162718"/>
                <a:gd name="connsiteY9" fmla="*/ 130175 h 162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718" h="162718">
                  <a:moveTo>
                    <a:pt x="81359" y="0"/>
                  </a:moveTo>
                  <a:cubicBezTo>
                    <a:pt x="36498" y="0"/>
                    <a:pt x="0" y="36498"/>
                    <a:pt x="0" y="81359"/>
                  </a:cubicBezTo>
                  <a:cubicBezTo>
                    <a:pt x="0" y="126221"/>
                    <a:pt x="36498" y="162719"/>
                    <a:pt x="81359" y="162719"/>
                  </a:cubicBezTo>
                  <a:cubicBezTo>
                    <a:pt x="126221" y="162719"/>
                    <a:pt x="162719" y="126221"/>
                    <a:pt x="162719" y="81359"/>
                  </a:cubicBezTo>
                  <a:cubicBezTo>
                    <a:pt x="162719" y="36498"/>
                    <a:pt x="126221" y="0"/>
                    <a:pt x="81359" y="0"/>
                  </a:cubicBezTo>
                  <a:close/>
                  <a:moveTo>
                    <a:pt x="81359" y="130175"/>
                  </a:moveTo>
                  <a:cubicBezTo>
                    <a:pt x="54446" y="130175"/>
                    <a:pt x="32544" y="108273"/>
                    <a:pt x="32544" y="81359"/>
                  </a:cubicBezTo>
                  <a:cubicBezTo>
                    <a:pt x="32544" y="54446"/>
                    <a:pt x="54446" y="32544"/>
                    <a:pt x="81359" y="32544"/>
                  </a:cubicBezTo>
                  <a:cubicBezTo>
                    <a:pt x="108273" y="32544"/>
                    <a:pt x="130175" y="54446"/>
                    <a:pt x="130175" y="81359"/>
                  </a:cubicBezTo>
                  <a:cubicBezTo>
                    <a:pt x="130175" y="108273"/>
                    <a:pt x="108273" y="130175"/>
                    <a:pt x="81359" y="130175"/>
                  </a:cubicBezTo>
                  <a:close/>
                </a:path>
              </a:pathLst>
            </a:custGeom>
            <a:grpFill/>
            <a:ln w="16222" cap="flat">
              <a:noFill/>
              <a:prstDash val="solid"/>
              <a:miter/>
            </a:ln>
          </p:spPr>
          <p:txBody>
            <a:bodyPr rtlCol="0" anchor="ctr"/>
            <a:lstStyle/>
            <a:p>
              <a:endParaRPr lang="en-US"/>
            </a:p>
          </p:txBody>
        </p:sp>
        <p:sp>
          <p:nvSpPr>
            <p:cNvPr id="110" name="Graphic 28">
              <a:extLst>
                <a:ext uri="{FF2B5EF4-FFF2-40B4-BE49-F238E27FC236}">
                  <a16:creationId xmlns:a16="http://schemas.microsoft.com/office/drawing/2014/main" id="{B5F2FDBB-D21A-3640-998F-7C1CFC31DD19}"/>
                </a:ext>
              </a:extLst>
            </p:cNvPr>
            <p:cNvSpPr/>
            <p:nvPr/>
          </p:nvSpPr>
          <p:spPr>
            <a:xfrm>
              <a:off x="4418535" y="2266826"/>
              <a:ext cx="357981" cy="357997"/>
            </a:xfrm>
            <a:custGeom>
              <a:avLst/>
              <a:gdLst>
                <a:gd name="connsiteX0" fmla="*/ 288305 w 357981"/>
                <a:gd name="connsiteY0" fmla="*/ 35164 h 357997"/>
                <a:gd name="connsiteX1" fmla="*/ 253792 w 357981"/>
                <a:gd name="connsiteY1" fmla="*/ 35164 h 357997"/>
                <a:gd name="connsiteX2" fmla="*/ 229775 w 357981"/>
                <a:gd name="connsiteY2" fmla="*/ 59165 h 357997"/>
                <a:gd name="connsiteX3" fmla="*/ 227806 w 357981"/>
                <a:gd name="connsiteY3" fmla="*/ 58237 h 357997"/>
                <a:gd name="connsiteX4" fmla="*/ 227806 w 357981"/>
                <a:gd name="connsiteY4" fmla="*/ 24408 h 357997"/>
                <a:gd name="connsiteX5" fmla="*/ 203398 w 357981"/>
                <a:gd name="connsiteY5" fmla="*/ 0 h 357997"/>
                <a:gd name="connsiteX6" fmla="*/ 154583 w 357981"/>
                <a:gd name="connsiteY6" fmla="*/ 0 h 357997"/>
                <a:gd name="connsiteX7" fmla="*/ 130175 w 357981"/>
                <a:gd name="connsiteY7" fmla="*/ 24408 h 357997"/>
                <a:gd name="connsiteX8" fmla="*/ 130224 w 357981"/>
                <a:gd name="connsiteY8" fmla="*/ 58026 h 357997"/>
                <a:gd name="connsiteX9" fmla="*/ 128125 w 357981"/>
                <a:gd name="connsiteY9" fmla="*/ 59083 h 357997"/>
                <a:gd name="connsiteX10" fmla="*/ 104189 w 357981"/>
                <a:gd name="connsiteY10" fmla="*/ 35164 h 357997"/>
                <a:gd name="connsiteX11" fmla="*/ 69676 w 357981"/>
                <a:gd name="connsiteY11" fmla="*/ 35164 h 357997"/>
                <a:gd name="connsiteX12" fmla="*/ 35164 w 357981"/>
                <a:gd name="connsiteY12" fmla="*/ 69692 h 357997"/>
                <a:gd name="connsiteX13" fmla="*/ 35164 w 357981"/>
                <a:gd name="connsiteY13" fmla="*/ 104205 h 357997"/>
                <a:gd name="connsiteX14" fmla="*/ 58937 w 357981"/>
                <a:gd name="connsiteY14" fmla="*/ 128662 h 357997"/>
                <a:gd name="connsiteX15" fmla="*/ 58237 w 357981"/>
                <a:gd name="connsiteY15" fmla="*/ 130175 h 357997"/>
                <a:gd name="connsiteX16" fmla="*/ 24408 w 357981"/>
                <a:gd name="connsiteY16" fmla="*/ 130175 h 357997"/>
                <a:gd name="connsiteX17" fmla="*/ 0 w 357981"/>
                <a:gd name="connsiteY17" fmla="*/ 154583 h 357997"/>
                <a:gd name="connsiteX18" fmla="*/ 0 w 357981"/>
                <a:gd name="connsiteY18" fmla="*/ 203398 h 357997"/>
                <a:gd name="connsiteX19" fmla="*/ 24408 w 357981"/>
                <a:gd name="connsiteY19" fmla="*/ 227806 h 357997"/>
                <a:gd name="connsiteX20" fmla="*/ 58660 w 357981"/>
                <a:gd name="connsiteY20" fmla="*/ 228636 h 357997"/>
                <a:gd name="connsiteX21" fmla="*/ 59132 w 357981"/>
                <a:gd name="connsiteY21" fmla="*/ 229791 h 357997"/>
                <a:gd name="connsiteX22" fmla="*/ 35147 w 357981"/>
                <a:gd name="connsiteY22" fmla="*/ 253776 h 357997"/>
                <a:gd name="connsiteX23" fmla="*/ 35147 w 357981"/>
                <a:gd name="connsiteY23" fmla="*/ 288289 h 357997"/>
                <a:gd name="connsiteX24" fmla="*/ 69660 w 357981"/>
                <a:gd name="connsiteY24" fmla="*/ 322818 h 357997"/>
                <a:gd name="connsiteX25" fmla="*/ 104173 w 357981"/>
                <a:gd name="connsiteY25" fmla="*/ 322818 h 357997"/>
                <a:gd name="connsiteX26" fmla="*/ 128190 w 357981"/>
                <a:gd name="connsiteY26" fmla="*/ 298817 h 357997"/>
                <a:gd name="connsiteX27" fmla="*/ 130159 w 357981"/>
                <a:gd name="connsiteY27" fmla="*/ 299744 h 357997"/>
                <a:gd name="connsiteX28" fmla="*/ 130159 w 357981"/>
                <a:gd name="connsiteY28" fmla="*/ 333590 h 357997"/>
                <a:gd name="connsiteX29" fmla="*/ 154567 w 357981"/>
                <a:gd name="connsiteY29" fmla="*/ 357998 h 357997"/>
                <a:gd name="connsiteX30" fmla="*/ 203382 w 357981"/>
                <a:gd name="connsiteY30" fmla="*/ 357998 h 357997"/>
                <a:gd name="connsiteX31" fmla="*/ 227790 w 357981"/>
                <a:gd name="connsiteY31" fmla="*/ 333590 h 357997"/>
                <a:gd name="connsiteX32" fmla="*/ 227741 w 357981"/>
                <a:gd name="connsiteY32" fmla="*/ 299972 h 357997"/>
                <a:gd name="connsiteX33" fmla="*/ 229840 w 357981"/>
                <a:gd name="connsiteY33" fmla="*/ 298914 h 357997"/>
                <a:gd name="connsiteX34" fmla="*/ 253776 w 357981"/>
                <a:gd name="connsiteY34" fmla="*/ 322834 h 357997"/>
                <a:gd name="connsiteX35" fmla="*/ 288289 w 357981"/>
                <a:gd name="connsiteY35" fmla="*/ 322834 h 357997"/>
                <a:gd name="connsiteX36" fmla="*/ 322801 w 357981"/>
                <a:gd name="connsiteY36" fmla="*/ 288305 h 357997"/>
                <a:gd name="connsiteX37" fmla="*/ 322801 w 357981"/>
                <a:gd name="connsiteY37" fmla="*/ 253792 h 357997"/>
                <a:gd name="connsiteX38" fmla="*/ 299028 w 357981"/>
                <a:gd name="connsiteY38" fmla="*/ 229336 h 357997"/>
                <a:gd name="connsiteX39" fmla="*/ 299728 w 357981"/>
                <a:gd name="connsiteY39" fmla="*/ 227823 h 357997"/>
                <a:gd name="connsiteX40" fmla="*/ 333573 w 357981"/>
                <a:gd name="connsiteY40" fmla="*/ 227823 h 357997"/>
                <a:gd name="connsiteX41" fmla="*/ 357981 w 357981"/>
                <a:gd name="connsiteY41" fmla="*/ 203415 h 357997"/>
                <a:gd name="connsiteX42" fmla="*/ 357981 w 357981"/>
                <a:gd name="connsiteY42" fmla="*/ 154599 h 357997"/>
                <a:gd name="connsiteX43" fmla="*/ 333573 w 357981"/>
                <a:gd name="connsiteY43" fmla="*/ 130191 h 357997"/>
                <a:gd name="connsiteX44" fmla="*/ 299647 w 357981"/>
                <a:gd name="connsiteY44" fmla="*/ 130240 h 357997"/>
                <a:gd name="connsiteX45" fmla="*/ 298882 w 357981"/>
                <a:gd name="connsiteY45" fmla="*/ 128141 h 357997"/>
                <a:gd name="connsiteX46" fmla="*/ 322818 w 357981"/>
                <a:gd name="connsiteY46" fmla="*/ 104221 h 357997"/>
                <a:gd name="connsiteX47" fmla="*/ 322818 w 357981"/>
                <a:gd name="connsiteY47" fmla="*/ 69709 h 357997"/>
                <a:gd name="connsiteX48" fmla="*/ 288305 w 357981"/>
                <a:gd name="connsiteY48" fmla="*/ 35164 h 357997"/>
                <a:gd name="connsiteX49" fmla="*/ 299744 w 357981"/>
                <a:gd name="connsiteY49" fmla="*/ 162719 h 357997"/>
                <a:gd name="connsiteX50" fmla="*/ 325438 w 357981"/>
                <a:gd name="connsiteY50" fmla="*/ 162719 h 357997"/>
                <a:gd name="connsiteX51" fmla="*/ 325438 w 357981"/>
                <a:gd name="connsiteY51" fmla="*/ 195263 h 357997"/>
                <a:gd name="connsiteX52" fmla="*/ 299744 w 357981"/>
                <a:gd name="connsiteY52" fmla="*/ 195263 h 357997"/>
                <a:gd name="connsiteX53" fmla="*/ 269137 w 357981"/>
                <a:gd name="connsiteY53" fmla="*/ 216497 h 357997"/>
                <a:gd name="connsiteX54" fmla="*/ 275873 w 357981"/>
                <a:gd name="connsiteY54" fmla="*/ 252865 h 357997"/>
                <a:gd name="connsiteX55" fmla="*/ 294049 w 357981"/>
                <a:gd name="connsiteY55" fmla="*/ 271041 h 357997"/>
                <a:gd name="connsiteX56" fmla="*/ 271041 w 357981"/>
                <a:gd name="connsiteY56" fmla="*/ 294065 h 357997"/>
                <a:gd name="connsiteX57" fmla="*/ 252865 w 357981"/>
                <a:gd name="connsiteY57" fmla="*/ 275890 h 357997"/>
                <a:gd name="connsiteX58" fmla="*/ 216335 w 357981"/>
                <a:gd name="connsiteY58" fmla="*/ 269202 h 357997"/>
                <a:gd name="connsiteX59" fmla="*/ 195263 w 357981"/>
                <a:gd name="connsiteY59" fmla="*/ 299728 h 357997"/>
                <a:gd name="connsiteX60" fmla="*/ 195263 w 357981"/>
                <a:gd name="connsiteY60" fmla="*/ 325438 h 357997"/>
                <a:gd name="connsiteX61" fmla="*/ 162719 w 357981"/>
                <a:gd name="connsiteY61" fmla="*/ 325438 h 357997"/>
                <a:gd name="connsiteX62" fmla="*/ 162719 w 357981"/>
                <a:gd name="connsiteY62" fmla="*/ 299728 h 357997"/>
                <a:gd name="connsiteX63" fmla="*/ 141451 w 357981"/>
                <a:gd name="connsiteY63" fmla="*/ 269121 h 357997"/>
                <a:gd name="connsiteX64" fmla="*/ 105116 w 357981"/>
                <a:gd name="connsiteY64" fmla="*/ 275890 h 357997"/>
                <a:gd name="connsiteX65" fmla="*/ 86941 w 357981"/>
                <a:gd name="connsiteY65" fmla="*/ 294065 h 357997"/>
                <a:gd name="connsiteX66" fmla="*/ 63932 w 357981"/>
                <a:gd name="connsiteY66" fmla="*/ 271041 h 357997"/>
                <a:gd name="connsiteX67" fmla="*/ 90293 w 357981"/>
                <a:gd name="connsiteY67" fmla="*/ 244680 h 357997"/>
                <a:gd name="connsiteX68" fmla="*/ 93091 w 357981"/>
                <a:gd name="connsiteY68" fmla="*/ 225414 h 357997"/>
                <a:gd name="connsiteX69" fmla="*/ 88796 w 357981"/>
                <a:gd name="connsiteY69" fmla="*/ 216335 h 357997"/>
                <a:gd name="connsiteX70" fmla="*/ 58237 w 357981"/>
                <a:gd name="connsiteY70" fmla="*/ 195263 h 357997"/>
                <a:gd name="connsiteX71" fmla="*/ 32544 w 357981"/>
                <a:gd name="connsiteY71" fmla="*/ 195263 h 357997"/>
                <a:gd name="connsiteX72" fmla="*/ 32544 w 357981"/>
                <a:gd name="connsiteY72" fmla="*/ 162719 h 357997"/>
                <a:gd name="connsiteX73" fmla="*/ 58237 w 357981"/>
                <a:gd name="connsiteY73" fmla="*/ 162719 h 357997"/>
                <a:gd name="connsiteX74" fmla="*/ 88844 w 357981"/>
                <a:gd name="connsiteY74" fmla="*/ 141484 h 357997"/>
                <a:gd name="connsiteX75" fmla="*/ 82108 w 357981"/>
                <a:gd name="connsiteY75" fmla="*/ 105116 h 357997"/>
                <a:gd name="connsiteX76" fmla="*/ 63932 w 357981"/>
                <a:gd name="connsiteY76" fmla="*/ 86941 h 357997"/>
                <a:gd name="connsiteX77" fmla="*/ 86941 w 357981"/>
                <a:gd name="connsiteY77" fmla="*/ 63916 h 357997"/>
                <a:gd name="connsiteX78" fmla="*/ 105116 w 357981"/>
                <a:gd name="connsiteY78" fmla="*/ 82092 h 357997"/>
                <a:gd name="connsiteX79" fmla="*/ 141647 w 357981"/>
                <a:gd name="connsiteY79" fmla="*/ 88779 h 357997"/>
                <a:gd name="connsiteX80" fmla="*/ 162719 w 357981"/>
                <a:gd name="connsiteY80" fmla="*/ 58253 h 357997"/>
                <a:gd name="connsiteX81" fmla="*/ 162719 w 357981"/>
                <a:gd name="connsiteY81" fmla="*/ 32544 h 357997"/>
                <a:gd name="connsiteX82" fmla="*/ 195263 w 357981"/>
                <a:gd name="connsiteY82" fmla="*/ 32544 h 357997"/>
                <a:gd name="connsiteX83" fmla="*/ 195263 w 357981"/>
                <a:gd name="connsiteY83" fmla="*/ 58253 h 357997"/>
                <a:gd name="connsiteX84" fmla="*/ 216530 w 357981"/>
                <a:gd name="connsiteY84" fmla="*/ 88861 h 357997"/>
                <a:gd name="connsiteX85" fmla="*/ 252865 w 357981"/>
                <a:gd name="connsiteY85" fmla="*/ 82092 h 357997"/>
                <a:gd name="connsiteX86" fmla="*/ 271041 w 357981"/>
                <a:gd name="connsiteY86" fmla="*/ 63916 h 357997"/>
                <a:gd name="connsiteX87" fmla="*/ 294049 w 357981"/>
                <a:gd name="connsiteY87" fmla="*/ 86941 h 357997"/>
                <a:gd name="connsiteX88" fmla="*/ 275873 w 357981"/>
                <a:gd name="connsiteY88" fmla="*/ 105116 h 357997"/>
                <a:gd name="connsiteX89" fmla="*/ 269186 w 357981"/>
                <a:gd name="connsiteY89" fmla="*/ 141647 h 357997"/>
                <a:gd name="connsiteX90" fmla="*/ 299744 w 357981"/>
                <a:gd name="connsiteY90" fmla="*/ 162719 h 3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357981" h="357997">
                  <a:moveTo>
                    <a:pt x="288305" y="35164"/>
                  </a:moveTo>
                  <a:cubicBezTo>
                    <a:pt x="278802" y="25644"/>
                    <a:pt x="263295" y="25644"/>
                    <a:pt x="253792" y="35164"/>
                  </a:cubicBezTo>
                  <a:lnTo>
                    <a:pt x="229775" y="59165"/>
                  </a:lnTo>
                  <a:cubicBezTo>
                    <a:pt x="229417" y="58986"/>
                    <a:pt x="228180" y="58400"/>
                    <a:pt x="227806" y="58237"/>
                  </a:cubicBezTo>
                  <a:lnTo>
                    <a:pt x="227806" y="24408"/>
                  </a:lnTo>
                  <a:cubicBezTo>
                    <a:pt x="227806" y="10951"/>
                    <a:pt x="216855" y="0"/>
                    <a:pt x="203398" y="0"/>
                  </a:cubicBezTo>
                  <a:lnTo>
                    <a:pt x="154583" y="0"/>
                  </a:lnTo>
                  <a:cubicBezTo>
                    <a:pt x="141126" y="0"/>
                    <a:pt x="130175" y="10951"/>
                    <a:pt x="130175" y="24408"/>
                  </a:cubicBezTo>
                  <a:lnTo>
                    <a:pt x="130224" y="58026"/>
                  </a:lnTo>
                  <a:lnTo>
                    <a:pt x="128125" y="59083"/>
                  </a:lnTo>
                  <a:lnTo>
                    <a:pt x="104189" y="35164"/>
                  </a:lnTo>
                  <a:cubicBezTo>
                    <a:pt x="94686" y="25644"/>
                    <a:pt x="79179" y="25644"/>
                    <a:pt x="69676" y="35164"/>
                  </a:cubicBezTo>
                  <a:lnTo>
                    <a:pt x="35164" y="69692"/>
                  </a:lnTo>
                  <a:cubicBezTo>
                    <a:pt x="25644" y="79211"/>
                    <a:pt x="25644" y="94686"/>
                    <a:pt x="35164" y="104205"/>
                  </a:cubicBezTo>
                  <a:lnTo>
                    <a:pt x="58937" y="128662"/>
                  </a:lnTo>
                  <a:cubicBezTo>
                    <a:pt x="58725" y="129134"/>
                    <a:pt x="58400" y="129687"/>
                    <a:pt x="58237" y="130175"/>
                  </a:cubicBezTo>
                  <a:lnTo>
                    <a:pt x="24408" y="130175"/>
                  </a:lnTo>
                  <a:cubicBezTo>
                    <a:pt x="10951" y="130175"/>
                    <a:pt x="0" y="141126"/>
                    <a:pt x="0" y="154583"/>
                  </a:cubicBezTo>
                  <a:lnTo>
                    <a:pt x="0" y="203398"/>
                  </a:lnTo>
                  <a:cubicBezTo>
                    <a:pt x="0" y="216855"/>
                    <a:pt x="10951" y="227806"/>
                    <a:pt x="24408" y="227806"/>
                  </a:cubicBezTo>
                  <a:lnTo>
                    <a:pt x="58660" y="228636"/>
                  </a:lnTo>
                  <a:cubicBezTo>
                    <a:pt x="58823" y="229027"/>
                    <a:pt x="58986" y="229417"/>
                    <a:pt x="59132" y="229791"/>
                  </a:cubicBezTo>
                  <a:lnTo>
                    <a:pt x="35147" y="253776"/>
                  </a:lnTo>
                  <a:cubicBezTo>
                    <a:pt x="25628" y="263295"/>
                    <a:pt x="25628" y="278770"/>
                    <a:pt x="35147" y="288289"/>
                  </a:cubicBezTo>
                  <a:lnTo>
                    <a:pt x="69660" y="322818"/>
                  </a:lnTo>
                  <a:cubicBezTo>
                    <a:pt x="79163" y="332337"/>
                    <a:pt x="94670" y="332337"/>
                    <a:pt x="104173" y="322818"/>
                  </a:cubicBezTo>
                  <a:lnTo>
                    <a:pt x="128190" y="298817"/>
                  </a:lnTo>
                  <a:cubicBezTo>
                    <a:pt x="128548" y="298996"/>
                    <a:pt x="129784" y="299581"/>
                    <a:pt x="130159" y="299744"/>
                  </a:cubicBezTo>
                  <a:lnTo>
                    <a:pt x="130159" y="333590"/>
                  </a:lnTo>
                  <a:cubicBezTo>
                    <a:pt x="130159" y="347047"/>
                    <a:pt x="141110" y="357998"/>
                    <a:pt x="154567" y="357998"/>
                  </a:cubicBezTo>
                  <a:lnTo>
                    <a:pt x="203382" y="357998"/>
                  </a:lnTo>
                  <a:cubicBezTo>
                    <a:pt x="216839" y="357998"/>
                    <a:pt x="227790" y="347047"/>
                    <a:pt x="227790" y="333590"/>
                  </a:cubicBezTo>
                  <a:lnTo>
                    <a:pt x="227741" y="299972"/>
                  </a:lnTo>
                  <a:lnTo>
                    <a:pt x="229840" y="298914"/>
                  </a:lnTo>
                  <a:lnTo>
                    <a:pt x="253776" y="322834"/>
                  </a:lnTo>
                  <a:cubicBezTo>
                    <a:pt x="263279" y="332353"/>
                    <a:pt x="278786" y="332353"/>
                    <a:pt x="288289" y="322834"/>
                  </a:cubicBezTo>
                  <a:lnTo>
                    <a:pt x="322801" y="288305"/>
                  </a:lnTo>
                  <a:cubicBezTo>
                    <a:pt x="332321" y="278786"/>
                    <a:pt x="332321" y="263311"/>
                    <a:pt x="322801" y="253792"/>
                  </a:cubicBezTo>
                  <a:lnTo>
                    <a:pt x="299028" y="229336"/>
                  </a:lnTo>
                  <a:cubicBezTo>
                    <a:pt x="299240" y="228864"/>
                    <a:pt x="299565" y="228311"/>
                    <a:pt x="299728" y="227823"/>
                  </a:cubicBezTo>
                  <a:lnTo>
                    <a:pt x="333573" y="227823"/>
                  </a:lnTo>
                  <a:cubicBezTo>
                    <a:pt x="347030" y="227823"/>
                    <a:pt x="357981" y="216872"/>
                    <a:pt x="357981" y="203415"/>
                  </a:cubicBezTo>
                  <a:lnTo>
                    <a:pt x="357981" y="154599"/>
                  </a:lnTo>
                  <a:cubicBezTo>
                    <a:pt x="357981" y="141142"/>
                    <a:pt x="347030" y="130191"/>
                    <a:pt x="333573" y="130191"/>
                  </a:cubicBezTo>
                  <a:lnTo>
                    <a:pt x="299647" y="130240"/>
                  </a:lnTo>
                  <a:cubicBezTo>
                    <a:pt x="299516" y="129882"/>
                    <a:pt x="299028" y="128499"/>
                    <a:pt x="298882" y="128141"/>
                  </a:cubicBezTo>
                  <a:lnTo>
                    <a:pt x="322818" y="104221"/>
                  </a:lnTo>
                  <a:cubicBezTo>
                    <a:pt x="332337" y="94702"/>
                    <a:pt x="332337" y="79228"/>
                    <a:pt x="322818" y="69709"/>
                  </a:cubicBezTo>
                  <a:lnTo>
                    <a:pt x="288305" y="35164"/>
                  </a:lnTo>
                  <a:close/>
                  <a:moveTo>
                    <a:pt x="299744" y="162719"/>
                  </a:moveTo>
                  <a:lnTo>
                    <a:pt x="325438" y="162719"/>
                  </a:lnTo>
                  <a:lnTo>
                    <a:pt x="325438" y="195263"/>
                  </a:lnTo>
                  <a:lnTo>
                    <a:pt x="299744" y="195263"/>
                  </a:lnTo>
                  <a:cubicBezTo>
                    <a:pt x="286434" y="195263"/>
                    <a:pt x="274425" y="203529"/>
                    <a:pt x="269137" y="216497"/>
                  </a:cubicBezTo>
                  <a:cubicBezTo>
                    <a:pt x="263865" y="229222"/>
                    <a:pt x="266517" y="243509"/>
                    <a:pt x="275873" y="252865"/>
                  </a:cubicBezTo>
                  <a:lnTo>
                    <a:pt x="294049" y="271041"/>
                  </a:lnTo>
                  <a:lnTo>
                    <a:pt x="271041" y="294065"/>
                  </a:lnTo>
                  <a:lnTo>
                    <a:pt x="252865" y="275890"/>
                  </a:lnTo>
                  <a:cubicBezTo>
                    <a:pt x="243509" y="266517"/>
                    <a:pt x="229238" y="263897"/>
                    <a:pt x="216335" y="269202"/>
                  </a:cubicBezTo>
                  <a:cubicBezTo>
                    <a:pt x="203545" y="274425"/>
                    <a:pt x="195263" y="286418"/>
                    <a:pt x="195263" y="299728"/>
                  </a:cubicBezTo>
                  <a:lnTo>
                    <a:pt x="195263" y="325438"/>
                  </a:lnTo>
                  <a:lnTo>
                    <a:pt x="162719" y="325438"/>
                  </a:lnTo>
                  <a:lnTo>
                    <a:pt x="162719" y="299728"/>
                  </a:lnTo>
                  <a:cubicBezTo>
                    <a:pt x="162719" y="286418"/>
                    <a:pt x="154436" y="274425"/>
                    <a:pt x="141451" y="269121"/>
                  </a:cubicBezTo>
                  <a:cubicBezTo>
                    <a:pt x="128694" y="263848"/>
                    <a:pt x="114456" y="266533"/>
                    <a:pt x="105116" y="275890"/>
                  </a:cubicBezTo>
                  <a:lnTo>
                    <a:pt x="86941" y="294065"/>
                  </a:lnTo>
                  <a:lnTo>
                    <a:pt x="63932" y="271041"/>
                  </a:lnTo>
                  <a:lnTo>
                    <a:pt x="90293" y="244680"/>
                  </a:lnTo>
                  <a:cubicBezTo>
                    <a:pt x="95386" y="239587"/>
                    <a:pt x="96525" y="231760"/>
                    <a:pt x="93091" y="225414"/>
                  </a:cubicBezTo>
                  <a:cubicBezTo>
                    <a:pt x="91497" y="222485"/>
                    <a:pt x="90065" y="219459"/>
                    <a:pt x="88796" y="216335"/>
                  </a:cubicBezTo>
                  <a:cubicBezTo>
                    <a:pt x="83556" y="203529"/>
                    <a:pt x="71547" y="195263"/>
                    <a:pt x="58237" y="195263"/>
                  </a:cubicBezTo>
                  <a:lnTo>
                    <a:pt x="32544" y="195263"/>
                  </a:lnTo>
                  <a:lnTo>
                    <a:pt x="32544" y="162719"/>
                  </a:lnTo>
                  <a:lnTo>
                    <a:pt x="58237" y="162719"/>
                  </a:lnTo>
                  <a:cubicBezTo>
                    <a:pt x="71547" y="162719"/>
                    <a:pt x="83556" y="154453"/>
                    <a:pt x="88844" y="141484"/>
                  </a:cubicBezTo>
                  <a:cubicBezTo>
                    <a:pt x="94117" y="128759"/>
                    <a:pt x="91464" y="114473"/>
                    <a:pt x="82108" y="105116"/>
                  </a:cubicBezTo>
                  <a:lnTo>
                    <a:pt x="63932" y="86941"/>
                  </a:lnTo>
                  <a:lnTo>
                    <a:pt x="86941" y="63916"/>
                  </a:lnTo>
                  <a:lnTo>
                    <a:pt x="105116" y="82092"/>
                  </a:lnTo>
                  <a:cubicBezTo>
                    <a:pt x="114489" y="91448"/>
                    <a:pt x="128743" y="94084"/>
                    <a:pt x="141647" y="88779"/>
                  </a:cubicBezTo>
                  <a:cubicBezTo>
                    <a:pt x="154436" y="83556"/>
                    <a:pt x="162719" y="71564"/>
                    <a:pt x="162719" y="58253"/>
                  </a:cubicBezTo>
                  <a:lnTo>
                    <a:pt x="162719" y="32544"/>
                  </a:lnTo>
                  <a:lnTo>
                    <a:pt x="195263" y="32544"/>
                  </a:lnTo>
                  <a:lnTo>
                    <a:pt x="195263" y="58253"/>
                  </a:lnTo>
                  <a:cubicBezTo>
                    <a:pt x="195263" y="71564"/>
                    <a:pt x="203545" y="83556"/>
                    <a:pt x="216530" y="88861"/>
                  </a:cubicBezTo>
                  <a:cubicBezTo>
                    <a:pt x="229271" y="94117"/>
                    <a:pt x="243509" y="91448"/>
                    <a:pt x="252865" y="82092"/>
                  </a:cubicBezTo>
                  <a:lnTo>
                    <a:pt x="271041" y="63916"/>
                  </a:lnTo>
                  <a:lnTo>
                    <a:pt x="294049" y="86941"/>
                  </a:lnTo>
                  <a:lnTo>
                    <a:pt x="275873" y="105116"/>
                  </a:lnTo>
                  <a:cubicBezTo>
                    <a:pt x="266517" y="114473"/>
                    <a:pt x="263865" y="128759"/>
                    <a:pt x="269186" y="141647"/>
                  </a:cubicBezTo>
                  <a:cubicBezTo>
                    <a:pt x="274425" y="154453"/>
                    <a:pt x="286434" y="162719"/>
                    <a:pt x="299744" y="162719"/>
                  </a:cubicBezTo>
                  <a:close/>
                </a:path>
              </a:pathLst>
            </a:custGeom>
            <a:grpFill/>
            <a:ln w="16222" cap="flat">
              <a:noFill/>
              <a:prstDash val="solid"/>
              <a:miter/>
            </a:ln>
          </p:spPr>
          <p:txBody>
            <a:bodyPr rtlCol="0" anchor="ctr"/>
            <a:lstStyle/>
            <a:p>
              <a:endParaRPr lang="en-US"/>
            </a:p>
          </p:txBody>
        </p:sp>
        <p:sp>
          <p:nvSpPr>
            <p:cNvPr id="111" name="Graphic 28">
              <a:extLst>
                <a:ext uri="{FF2B5EF4-FFF2-40B4-BE49-F238E27FC236}">
                  <a16:creationId xmlns:a16="http://schemas.microsoft.com/office/drawing/2014/main" id="{2A7DA5FB-2966-1E4D-8A4A-EDD4F97AC0DD}"/>
                </a:ext>
              </a:extLst>
            </p:cNvPr>
            <p:cNvSpPr/>
            <p:nvPr/>
          </p:nvSpPr>
          <p:spPr>
            <a:xfrm>
              <a:off x="4418535" y="1990204"/>
              <a:ext cx="162718" cy="162718"/>
            </a:xfrm>
            <a:custGeom>
              <a:avLst/>
              <a:gdLst>
                <a:gd name="connsiteX0" fmla="*/ 81359 w 162718"/>
                <a:gd name="connsiteY0" fmla="*/ 0 h 162718"/>
                <a:gd name="connsiteX1" fmla="*/ 0 w 162718"/>
                <a:gd name="connsiteY1" fmla="*/ 81359 h 162718"/>
                <a:gd name="connsiteX2" fmla="*/ 81359 w 162718"/>
                <a:gd name="connsiteY2" fmla="*/ 162719 h 162718"/>
                <a:gd name="connsiteX3" fmla="*/ 162719 w 162718"/>
                <a:gd name="connsiteY3" fmla="*/ 81359 h 162718"/>
                <a:gd name="connsiteX4" fmla="*/ 81359 w 162718"/>
                <a:gd name="connsiteY4" fmla="*/ 0 h 162718"/>
                <a:gd name="connsiteX5" fmla="*/ 81359 w 162718"/>
                <a:gd name="connsiteY5" fmla="*/ 130175 h 162718"/>
                <a:gd name="connsiteX6" fmla="*/ 32544 w 162718"/>
                <a:gd name="connsiteY6" fmla="*/ 81359 h 162718"/>
                <a:gd name="connsiteX7" fmla="*/ 81359 w 162718"/>
                <a:gd name="connsiteY7" fmla="*/ 32544 h 162718"/>
                <a:gd name="connsiteX8" fmla="*/ 130175 w 162718"/>
                <a:gd name="connsiteY8" fmla="*/ 81359 h 162718"/>
                <a:gd name="connsiteX9" fmla="*/ 81359 w 162718"/>
                <a:gd name="connsiteY9" fmla="*/ 130175 h 162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718" h="162718">
                  <a:moveTo>
                    <a:pt x="81359" y="0"/>
                  </a:moveTo>
                  <a:cubicBezTo>
                    <a:pt x="36498" y="0"/>
                    <a:pt x="0" y="36498"/>
                    <a:pt x="0" y="81359"/>
                  </a:cubicBezTo>
                  <a:cubicBezTo>
                    <a:pt x="0" y="126221"/>
                    <a:pt x="36498" y="162719"/>
                    <a:pt x="81359" y="162719"/>
                  </a:cubicBezTo>
                  <a:cubicBezTo>
                    <a:pt x="126221" y="162719"/>
                    <a:pt x="162719" y="126221"/>
                    <a:pt x="162719" y="81359"/>
                  </a:cubicBezTo>
                  <a:cubicBezTo>
                    <a:pt x="162719" y="36498"/>
                    <a:pt x="126221" y="0"/>
                    <a:pt x="81359" y="0"/>
                  </a:cubicBezTo>
                  <a:close/>
                  <a:moveTo>
                    <a:pt x="81359" y="130175"/>
                  </a:moveTo>
                  <a:cubicBezTo>
                    <a:pt x="54446" y="130175"/>
                    <a:pt x="32544" y="108273"/>
                    <a:pt x="32544" y="81359"/>
                  </a:cubicBezTo>
                  <a:cubicBezTo>
                    <a:pt x="32544" y="54446"/>
                    <a:pt x="54446" y="32544"/>
                    <a:pt x="81359" y="32544"/>
                  </a:cubicBezTo>
                  <a:cubicBezTo>
                    <a:pt x="108273" y="32544"/>
                    <a:pt x="130175" y="54446"/>
                    <a:pt x="130175" y="81359"/>
                  </a:cubicBezTo>
                  <a:cubicBezTo>
                    <a:pt x="130175" y="108273"/>
                    <a:pt x="108273" y="130175"/>
                    <a:pt x="81359" y="130175"/>
                  </a:cubicBezTo>
                  <a:close/>
                </a:path>
              </a:pathLst>
            </a:custGeom>
            <a:grpFill/>
            <a:ln w="16222" cap="flat">
              <a:noFill/>
              <a:prstDash val="solid"/>
              <a:miter/>
            </a:ln>
          </p:spPr>
          <p:txBody>
            <a:bodyPr rtlCol="0" anchor="ctr"/>
            <a:lstStyle/>
            <a:p>
              <a:endParaRPr lang="en-US"/>
            </a:p>
          </p:txBody>
        </p:sp>
        <p:sp>
          <p:nvSpPr>
            <p:cNvPr id="112" name="Graphic 28">
              <a:extLst>
                <a:ext uri="{FF2B5EF4-FFF2-40B4-BE49-F238E27FC236}">
                  <a16:creationId xmlns:a16="http://schemas.microsoft.com/office/drawing/2014/main" id="{A43262C7-E9CF-3F46-80A3-7E4C6F0258EF}"/>
                </a:ext>
              </a:extLst>
            </p:cNvPr>
            <p:cNvSpPr/>
            <p:nvPr/>
          </p:nvSpPr>
          <p:spPr>
            <a:xfrm>
              <a:off x="4320904" y="1892573"/>
              <a:ext cx="357981" cy="357997"/>
            </a:xfrm>
            <a:custGeom>
              <a:avLst/>
              <a:gdLst>
                <a:gd name="connsiteX0" fmla="*/ 333573 w 357981"/>
                <a:gd name="connsiteY0" fmla="*/ 130175 h 357997"/>
                <a:gd name="connsiteX1" fmla="*/ 299647 w 357981"/>
                <a:gd name="connsiteY1" fmla="*/ 130224 h 357997"/>
                <a:gd name="connsiteX2" fmla="*/ 298882 w 357981"/>
                <a:gd name="connsiteY2" fmla="*/ 128125 h 357997"/>
                <a:gd name="connsiteX3" fmla="*/ 322818 w 357981"/>
                <a:gd name="connsiteY3" fmla="*/ 104205 h 357997"/>
                <a:gd name="connsiteX4" fmla="*/ 322818 w 357981"/>
                <a:gd name="connsiteY4" fmla="*/ 69692 h 357997"/>
                <a:gd name="connsiteX5" fmla="*/ 288305 w 357981"/>
                <a:gd name="connsiteY5" fmla="*/ 35164 h 357997"/>
                <a:gd name="connsiteX6" fmla="*/ 253792 w 357981"/>
                <a:gd name="connsiteY6" fmla="*/ 35164 h 357997"/>
                <a:gd name="connsiteX7" fmla="*/ 229775 w 357981"/>
                <a:gd name="connsiteY7" fmla="*/ 59165 h 357997"/>
                <a:gd name="connsiteX8" fmla="*/ 227806 w 357981"/>
                <a:gd name="connsiteY8" fmla="*/ 58237 h 357997"/>
                <a:gd name="connsiteX9" fmla="*/ 227806 w 357981"/>
                <a:gd name="connsiteY9" fmla="*/ 24408 h 357997"/>
                <a:gd name="connsiteX10" fmla="*/ 203398 w 357981"/>
                <a:gd name="connsiteY10" fmla="*/ 0 h 357997"/>
                <a:gd name="connsiteX11" fmla="*/ 154583 w 357981"/>
                <a:gd name="connsiteY11" fmla="*/ 0 h 357997"/>
                <a:gd name="connsiteX12" fmla="*/ 130175 w 357981"/>
                <a:gd name="connsiteY12" fmla="*/ 24408 h 357997"/>
                <a:gd name="connsiteX13" fmla="*/ 130224 w 357981"/>
                <a:gd name="connsiteY13" fmla="*/ 58026 h 357997"/>
                <a:gd name="connsiteX14" fmla="*/ 128125 w 357981"/>
                <a:gd name="connsiteY14" fmla="*/ 59083 h 357997"/>
                <a:gd name="connsiteX15" fmla="*/ 104189 w 357981"/>
                <a:gd name="connsiteY15" fmla="*/ 35164 h 357997"/>
                <a:gd name="connsiteX16" fmla="*/ 69676 w 357981"/>
                <a:gd name="connsiteY16" fmla="*/ 35164 h 357997"/>
                <a:gd name="connsiteX17" fmla="*/ 35164 w 357981"/>
                <a:gd name="connsiteY17" fmla="*/ 69692 h 357997"/>
                <a:gd name="connsiteX18" fmla="*/ 35164 w 357981"/>
                <a:gd name="connsiteY18" fmla="*/ 104205 h 357997"/>
                <a:gd name="connsiteX19" fmla="*/ 58937 w 357981"/>
                <a:gd name="connsiteY19" fmla="*/ 128662 h 357997"/>
                <a:gd name="connsiteX20" fmla="*/ 58237 w 357981"/>
                <a:gd name="connsiteY20" fmla="*/ 130175 h 357997"/>
                <a:gd name="connsiteX21" fmla="*/ 24408 w 357981"/>
                <a:gd name="connsiteY21" fmla="*/ 130175 h 357997"/>
                <a:gd name="connsiteX22" fmla="*/ 0 w 357981"/>
                <a:gd name="connsiteY22" fmla="*/ 154583 h 357997"/>
                <a:gd name="connsiteX23" fmla="*/ 0 w 357981"/>
                <a:gd name="connsiteY23" fmla="*/ 203398 h 357997"/>
                <a:gd name="connsiteX24" fmla="*/ 24408 w 357981"/>
                <a:gd name="connsiteY24" fmla="*/ 227806 h 357997"/>
                <a:gd name="connsiteX25" fmla="*/ 58660 w 357981"/>
                <a:gd name="connsiteY25" fmla="*/ 228636 h 357997"/>
                <a:gd name="connsiteX26" fmla="*/ 59132 w 357981"/>
                <a:gd name="connsiteY26" fmla="*/ 229791 h 357997"/>
                <a:gd name="connsiteX27" fmla="*/ 35147 w 357981"/>
                <a:gd name="connsiteY27" fmla="*/ 253776 h 357997"/>
                <a:gd name="connsiteX28" fmla="*/ 35147 w 357981"/>
                <a:gd name="connsiteY28" fmla="*/ 288289 h 357997"/>
                <a:gd name="connsiteX29" fmla="*/ 69660 w 357981"/>
                <a:gd name="connsiteY29" fmla="*/ 322818 h 357997"/>
                <a:gd name="connsiteX30" fmla="*/ 104173 w 357981"/>
                <a:gd name="connsiteY30" fmla="*/ 322818 h 357997"/>
                <a:gd name="connsiteX31" fmla="*/ 128190 w 357981"/>
                <a:gd name="connsiteY31" fmla="*/ 298817 h 357997"/>
                <a:gd name="connsiteX32" fmla="*/ 130159 w 357981"/>
                <a:gd name="connsiteY32" fmla="*/ 299744 h 357997"/>
                <a:gd name="connsiteX33" fmla="*/ 130159 w 357981"/>
                <a:gd name="connsiteY33" fmla="*/ 333590 h 357997"/>
                <a:gd name="connsiteX34" fmla="*/ 154567 w 357981"/>
                <a:gd name="connsiteY34" fmla="*/ 357998 h 357997"/>
                <a:gd name="connsiteX35" fmla="*/ 203382 w 357981"/>
                <a:gd name="connsiteY35" fmla="*/ 357998 h 357997"/>
                <a:gd name="connsiteX36" fmla="*/ 227790 w 357981"/>
                <a:gd name="connsiteY36" fmla="*/ 333590 h 357997"/>
                <a:gd name="connsiteX37" fmla="*/ 227741 w 357981"/>
                <a:gd name="connsiteY37" fmla="*/ 299972 h 357997"/>
                <a:gd name="connsiteX38" fmla="*/ 229840 w 357981"/>
                <a:gd name="connsiteY38" fmla="*/ 298914 h 357997"/>
                <a:gd name="connsiteX39" fmla="*/ 253776 w 357981"/>
                <a:gd name="connsiteY39" fmla="*/ 322834 h 357997"/>
                <a:gd name="connsiteX40" fmla="*/ 288289 w 357981"/>
                <a:gd name="connsiteY40" fmla="*/ 322834 h 357997"/>
                <a:gd name="connsiteX41" fmla="*/ 322801 w 357981"/>
                <a:gd name="connsiteY41" fmla="*/ 288305 h 357997"/>
                <a:gd name="connsiteX42" fmla="*/ 322801 w 357981"/>
                <a:gd name="connsiteY42" fmla="*/ 253792 h 357997"/>
                <a:gd name="connsiteX43" fmla="*/ 299028 w 357981"/>
                <a:gd name="connsiteY43" fmla="*/ 229336 h 357997"/>
                <a:gd name="connsiteX44" fmla="*/ 299728 w 357981"/>
                <a:gd name="connsiteY44" fmla="*/ 227823 h 357997"/>
                <a:gd name="connsiteX45" fmla="*/ 333573 w 357981"/>
                <a:gd name="connsiteY45" fmla="*/ 227823 h 357997"/>
                <a:gd name="connsiteX46" fmla="*/ 357981 w 357981"/>
                <a:gd name="connsiteY46" fmla="*/ 203415 h 357997"/>
                <a:gd name="connsiteX47" fmla="*/ 357981 w 357981"/>
                <a:gd name="connsiteY47" fmla="*/ 154599 h 357997"/>
                <a:gd name="connsiteX48" fmla="*/ 333573 w 357981"/>
                <a:gd name="connsiteY48" fmla="*/ 130175 h 357997"/>
                <a:gd name="connsiteX49" fmla="*/ 325438 w 357981"/>
                <a:gd name="connsiteY49" fmla="*/ 195263 h 357997"/>
                <a:gd name="connsiteX50" fmla="*/ 299744 w 357981"/>
                <a:gd name="connsiteY50" fmla="*/ 195263 h 357997"/>
                <a:gd name="connsiteX51" fmla="*/ 269137 w 357981"/>
                <a:gd name="connsiteY51" fmla="*/ 216497 h 357997"/>
                <a:gd name="connsiteX52" fmla="*/ 275873 w 357981"/>
                <a:gd name="connsiteY52" fmla="*/ 252865 h 357997"/>
                <a:gd name="connsiteX53" fmla="*/ 294049 w 357981"/>
                <a:gd name="connsiteY53" fmla="*/ 271041 h 357997"/>
                <a:gd name="connsiteX54" fmla="*/ 271041 w 357981"/>
                <a:gd name="connsiteY54" fmla="*/ 294065 h 357997"/>
                <a:gd name="connsiteX55" fmla="*/ 252865 w 357981"/>
                <a:gd name="connsiteY55" fmla="*/ 275890 h 357997"/>
                <a:gd name="connsiteX56" fmla="*/ 216335 w 357981"/>
                <a:gd name="connsiteY56" fmla="*/ 269202 h 357997"/>
                <a:gd name="connsiteX57" fmla="*/ 195263 w 357981"/>
                <a:gd name="connsiteY57" fmla="*/ 299728 h 357997"/>
                <a:gd name="connsiteX58" fmla="*/ 195263 w 357981"/>
                <a:gd name="connsiteY58" fmla="*/ 325438 h 357997"/>
                <a:gd name="connsiteX59" fmla="*/ 162719 w 357981"/>
                <a:gd name="connsiteY59" fmla="*/ 325438 h 357997"/>
                <a:gd name="connsiteX60" fmla="*/ 162719 w 357981"/>
                <a:gd name="connsiteY60" fmla="*/ 299728 h 357997"/>
                <a:gd name="connsiteX61" fmla="*/ 141451 w 357981"/>
                <a:gd name="connsiteY61" fmla="*/ 269121 h 357997"/>
                <a:gd name="connsiteX62" fmla="*/ 105116 w 357981"/>
                <a:gd name="connsiteY62" fmla="*/ 275890 h 357997"/>
                <a:gd name="connsiteX63" fmla="*/ 86941 w 357981"/>
                <a:gd name="connsiteY63" fmla="*/ 294065 h 357997"/>
                <a:gd name="connsiteX64" fmla="*/ 63932 w 357981"/>
                <a:gd name="connsiteY64" fmla="*/ 271041 h 357997"/>
                <a:gd name="connsiteX65" fmla="*/ 90293 w 357981"/>
                <a:gd name="connsiteY65" fmla="*/ 244680 h 357997"/>
                <a:gd name="connsiteX66" fmla="*/ 93091 w 357981"/>
                <a:gd name="connsiteY66" fmla="*/ 225414 h 357997"/>
                <a:gd name="connsiteX67" fmla="*/ 88796 w 357981"/>
                <a:gd name="connsiteY67" fmla="*/ 216335 h 357997"/>
                <a:gd name="connsiteX68" fmla="*/ 58237 w 357981"/>
                <a:gd name="connsiteY68" fmla="*/ 195263 h 357997"/>
                <a:gd name="connsiteX69" fmla="*/ 32544 w 357981"/>
                <a:gd name="connsiteY69" fmla="*/ 195263 h 357997"/>
                <a:gd name="connsiteX70" fmla="*/ 32544 w 357981"/>
                <a:gd name="connsiteY70" fmla="*/ 162719 h 357997"/>
                <a:gd name="connsiteX71" fmla="*/ 58237 w 357981"/>
                <a:gd name="connsiteY71" fmla="*/ 162719 h 357997"/>
                <a:gd name="connsiteX72" fmla="*/ 88844 w 357981"/>
                <a:gd name="connsiteY72" fmla="*/ 141484 h 357997"/>
                <a:gd name="connsiteX73" fmla="*/ 82108 w 357981"/>
                <a:gd name="connsiteY73" fmla="*/ 105116 h 357997"/>
                <a:gd name="connsiteX74" fmla="*/ 63932 w 357981"/>
                <a:gd name="connsiteY74" fmla="*/ 86941 h 357997"/>
                <a:gd name="connsiteX75" fmla="*/ 86941 w 357981"/>
                <a:gd name="connsiteY75" fmla="*/ 63916 h 357997"/>
                <a:gd name="connsiteX76" fmla="*/ 105116 w 357981"/>
                <a:gd name="connsiteY76" fmla="*/ 82092 h 357997"/>
                <a:gd name="connsiteX77" fmla="*/ 141647 w 357981"/>
                <a:gd name="connsiteY77" fmla="*/ 88779 h 357997"/>
                <a:gd name="connsiteX78" fmla="*/ 162719 w 357981"/>
                <a:gd name="connsiteY78" fmla="*/ 58253 h 357997"/>
                <a:gd name="connsiteX79" fmla="*/ 162719 w 357981"/>
                <a:gd name="connsiteY79" fmla="*/ 32544 h 357997"/>
                <a:gd name="connsiteX80" fmla="*/ 195263 w 357981"/>
                <a:gd name="connsiteY80" fmla="*/ 32544 h 357997"/>
                <a:gd name="connsiteX81" fmla="*/ 195263 w 357981"/>
                <a:gd name="connsiteY81" fmla="*/ 58253 h 357997"/>
                <a:gd name="connsiteX82" fmla="*/ 216530 w 357981"/>
                <a:gd name="connsiteY82" fmla="*/ 88861 h 357997"/>
                <a:gd name="connsiteX83" fmla="*/ 252865 w 357981"/>
                <a:gd name="connsiteY83" fmla="*/ 82092 h 357997"/>
                <a:gd name="connsiteX84" fmla="*/ 271041 w 357981"/>
                <a:gd name="connsiteY84" fmla="*/ 63916 h 357997"/>
                <a:gd name="connsiteX85" fmla="*/ 294049 w 357981"/>
                <a:gd name="connsiteY85" fmla="*/ 86941 h 357997"/>
                <a:gd name="connsiteX86" fmla="*/ 275873 w 357981"/>
                <a:gd name="connsiteY86" fmla="*/ 105116 h 357997"/>
                <a:gd name="connsiteX87" fmla="*/ 269186 w 357981"/>
                <a:gd name="connsiteY87" fmla="*/ 141647 h 357997"/>
                <a:gd name="connsiteX88" fmla="*/ 299744 w 357981"/>
                <a:gd name="connsiteY88" fmla="*/ 162719 h 357997"/>
                <a:gd name="connsiteX89" fmla="*/ 325438 w 357981"/>
                <a:gd name="connsiteY89" fmla="*/ 162719 h 357997"/>
                <a:gd name="connsiteX90" fmla="*/ 325438 w 357981"/>
                <a:gd name="connsiteY90" fmla="*/ 195263 h 3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357981" h="357997">
                  <a:moveTo>
                    <a:pt x="333573" y="130175"/>
                  </a:moveTo>
                  <a:lnTo>
                    <a:pt x="299647" y="130224"/>
                  </a:lnTo>
                  <a:cubicBezTo>
                    <a:pt x="299516" y="129866"/>
                    <a:pt x="299028" y="128483"/>
                    <a:pt x="298882" y="128125"/>
                  </a:cubicBezTo>
                  <a:lnTo>
                    <a:pt x="322818" y="104205"/>
                  </a:lnTo>
                  <a:cubicBezTo>
                    <a:pt x="332337" y="94686"/>
                    <a:pt x="332337" y="79211"/>
                    <a:pt x="322818" y="69692"/>
                  </a:cubicBezTo>
                  <a:lnTo>
                    <a:pt x="288305" y="35164"/>
                  </a:lnTo>
                  <a:cubicBezTo>
                    <a:pt x="278802" y="25644"/>
                    <a:pt x="263295" y="25644"/>
                    <a:pt x="253792" y="35164"/>
                  </a:cubicBezTo>
                  <a:lnTo>
                    <a:pt x="229775" y="59165"/>
                  </a:lnTo>
                  <a:cubicBezTo>
                    <a:pt x="229417" y="58986"/>
                    <a:pt x="228181" y="58400"/>
                    <a:pt x="227806" y="58237"/>
                  </a:cubicBezTo>
                  <a:lnTo>
                    <a:pt x="227806" y="24408"/>
                  </a:lnTo>
                  <a:cubicBezTo>
                    <a:pt x="227806" y="10951"/>
                    <a:pt x="216855" y="0"/>
                    <a:pt x="203398" y="0"/>
                  </a:cubicBezTo>
                  <a:lnTo>
                    <a:pt x="154583" y="0"/>
                  </a:lnTo>
                  <a:cubicBezTo>
                    <a:pt x="141126" y="0"/>
                    <a:pt x="130175" y="10951"/>
                    <a:pt x="130175" y="24408"/>
                  </a:cubicBezTo>
                  <a:lnTo>
                    <a:pt x="130224" y="58026"/>
                  </a:lnTo>
                  <a:lnTo>
                    <a:pt x="128125" y="59083"/>
                  </a:lnTo>
                  <a:lnTo>
                    <a:pt x="104189" y="35164"/>
                  </a:lnTo>
                  <a:cubicBezTo>
                    <a:pt x="94686" y="25644"/>
                    <a:pt x="79179" y="25644"/>
                    <a:pt x="69676" y="35164"/>
                  </a:cubicBezTo>
                  <a:lnTo>
                    <a:pt x="35164" y="69692"/>
                  </a:lnTo>
                  <a:cubicBezTo>
                    <a:pt x="25644" y="79211"/>
                    <a:pt x="25644" y="94686"/>
                    <a:pt x="35164" y="104205"/>
                  </a:cubicBezTo>
                  <a:lnTo>
                    <a:pt x="58937" y="128662"/>
                  </a:lnTo>
                  <a:cubicBezTo>
                    <a:pt x="58725" y="129134"/>
                    <a:pt x="58400" y="129687"/>
                    <a:pt x="58237" y="130175"/>
                  </a:cubicBezTo>
                  <a:lnTo>
                    <a:pt x="24408" y="130175"/>
                  </a:lnTo>
                  <a:cubicBezTo>
                    <a:pt x="10951" y="130175"/>
                    <a:pt x="0" y="141126"/>
                    <a:pt x="0" y="154583"/>
                  </a:cubicBezTo>
                  <a:lnTo>
                    <a:pt x="0" y="203398"/>
                  </a:lnTo>
                  <a:cubicBezTo>
                    <a:pt x="0" y="216855"/>
                    <a:pt x="10951" y="227806"/>
                    <a:pt x="24408" y="227806"/>
                  </a:cubicBezTo>
                  <a:lnTo>
                    <a:pt x="58660" y="228636"/>
                  </a:lnTo>
                  <a:cubicBezTo>
                    <a:pt x="58823" y="229027"/>
                    <a:pt x="58986" y="229417"/>
                    <a:pt x="59132" y="229791"/>
                  </a:cubicBezTo>
                  <a:lnTo>
                    <a:pt x="35147" y="253776"/>
                  </a:lnTo>
                  <a:cubicBezTo>
                    <a:pt x="25628" y="263295"/>
                    <a:pt x="25628" y="278770"/>
                    <a:pt x="35147" y="288289"/>
                  </a:cubicBezTo>
                  <a:lnTo>
                    <a:pt x="69660" y="322818"/>
                  </a:lnTo>
                  <a:cubicBezTo>
                    <a:pt x="79163" y="332337"/>
                    <a:pt x="94670" y="332337"/>
                    <a:pt x="104173" y="322818"/>
                  </a:cubicBezTo>
                  <a:lnTo>
                    <a:pt x="128190" y="298817"/>
                  </a:lnTo>
                  <a:cubicBezTo>
                    <a:pt x="128548" y="298996"/>
                    <a:pt x="129784" y="299581"/>
                    <a:pt x="130159" y="299744"/>
                  </a:cubicBezTo>
                  <a:lnTo>
                    <a:pt x="130159" y="333590"/>
                  </a:lnTo>
                  <a:cubicBezTo>
                    <a:pt x="130159" y="347047"/>
                    <a:pt x="141110" y="357998"/>
                    <a:pt x="154567" y="357998"/>
                  </a:cubicBezTo>
                  <a:lnTo>
                    <a:pt x="203382" y="357998"/>
                  </a:lnTo>
                  <a:cubicBezTo>
                    <a:pt x="216839" y="357998"/>
                    <a:pt x="227790" y="347047"/>
                    <a:pt x="227790" y="333590"/>
                  </a:cubicBezTo>
                  <a:lnTo>
                    <a:pt x="227741" y="299972"/>
                  </a:lnTo>
                  <a:lnTo>
                    <a:pt x="229840" y="298914"/>
                  </a:lnTo>
                  <a:lnTo>
                    <a:pt x="253776" y="322834"/>
                  </a:lnTo>
                  <a:cubicBezTo>
                    <a:pt x="263279" y="332353"/>
                    <a:pt x="278786" y="332353"/>
                    <a:pt x="288289" y="322834"/>
                  </a:cubicBezTo>
                  <a:lnTo>
                    <a:pt x="322801" y="288305"/>
                  </a:lnTo>
                  <a:cubicBezTo>
                    <a:pt x="332321" y="278786"/>
                    <a:pt x="332321" y="263311"/>
                    <a:pt x="322801" y="253792"/>
                  </a:cubicBezTo>
                  <a:lnTo>
                    <a:pt x="299028" y="229336"/>
                  </a:lnTo>
                  <a:cubicBezTo>
                    <a:pt x="299240" y="228864"/>
                    <a:pt x="299565" y="228311"/>
                    <a:pt x="299728" y="227823"/>
                  </a:cubicBezTo>
                  <a:lnTo>
                    <a:pt x="333573" y="227823"/>
                  </a:lnTo>
                  <a:cubicBezTo>
                    <a:pt x="347030" y="227823"/>
                    <a:pt x="357981" y="216872"/>
                    <a:pt x="357981" y="203415"/>
                  </a:cubicBezTo>
                  <a:lnTo>
                    <a:pt x="357981" y="154599"/>
                  </a:lnTo>
                  <a:cubicBezTo>
                    <a:pt x="357981" y="141126"/>
                    <a:pt x="347030" y="130175"/>
                    <a:pt x="333573" y="130175"/>
                  </a:cubicBezTo>
                  <a:close/>
                  <a:moveTo>
                    <a:pt x="325438" y="195263"/>
                  </a:moveTo>
                  <a:lnTo>
                    <a:pt x="299744" y="195263"/>
                  </a:lnTo>
                  <a:cubicBezTo>
                    <a:pt x="286434" y="195263"/>
                    <a:pt x="274425" y="203529"/>
                    <a:pt x="269137" y="216497"/>
                  </a:cubicBezTo>
                  <a:cubicBezTo>
                    <a:pt x="263865" y="229222"/>
                    <a:pt x="266517" y="243509"/>
                    <a:pt x="275873" y="252865"/>
                  </a:cubicBezTo>
                  <a:lnTo>
                    <a:pt x="294049" y="271041"/>
                  </a:lnTo>
                  <a:lnTo>
                    <a:pt x="271041" y="294065"/>
                  </a:lnTo>
                  <a:lnTo>
                    <a:pt x="252865" y="275890"/>
                  </a:lnTo>
                  <a:cubicBezTo>
                    <a:pt x="243492" y="266533"/>
                    <a:pt x="229254" y="263897"/>
                    <a:pt x="216335" y="269202"/>
                  </a:cubicBezTo>
                  <a:cubicBezTo>
                    <a:pt x="203545" y="274425"/>
                    <a:pt x="195263" y="286418"/>
                    <a:pt x="195263" y="299728"/>
                  </a:cubicBezTo>
                  <a:lnTo>
                    <a:pt x="195263" y="325438"/>
                  </a:lnTo>
                  <a:lnTo>
                    <a:pt x="162719" y="325438"/>
                  </a:lnTo>
                  <a:lnTo>
                    <a:pt x="162719" y="299728"/>
                  </a:lnTo>
                  <a:cubicBezTo>
                    <a:pt x="162719" y="286418"/>
                    <a:pt x="154436" y="274425"/>
                    <a:pt x="141451" y="269121"/>
                  </a:cubicBezTo>
                  <a:cubicBezTo>
                    <a:pt x="128694" y="263848"/>
                    <a:pt x="114440" y="266533"/>
                    <a:pt x="105116" y="275890"/>
                  </a:cubicBezTo>
                  <a:lnTo>
                    <a:pt x="86941" y="294065"/>
                  </a:lnTo>
                  <a:lnTo>
                    <a:pt x="63932" y="271041"/>
                  </a:lnTo>
                  <a:lnTo>
                    <a:pt x="90293" y="244680"/>
                  </a:lnTo>
                  <a:cubicBezTo>
                    <a:pt x="95386" y="239587"/>
                    <a:pt x="96525" y="231760"/>
                    <a:pt x="93091" y="225414"/>
                  </a:cubicBezTo>
                  <a:cubicBezTo>
                    <a:pt x="91497" y="222485"/>
                    <a:pt x="90065" y="219459"/>
                    <a:pt x="88796" y="216335"/>
                  </a:cubicBezTo>
                  <a:cubicBezTo>
                    <a:pt x="83556" y="203529"/>
                    <a:pt x="71547" y="195263"/>
                    <a:pt x="58237" y="195263"/>
                  </a:cubicBezTo>
                  <a:lnTo>
                    <a:pt x="32544" y="195263"/>
                  </a:lnTo>
                  <a:lnTo>
                    <a:pt x="32544" y="162719"/>
                  </a:lnTo>
                  <a:lnTo>
                    <a:pt x="58237" y="162719"/>
                  </a:lnTo>
                  <a:cubicBezTo>
                    <a:pt x="71547" y="162719"/>
                    <a:pt x="83556" y="154453"/>
                    <a:pt x="88844" y="141484"/>
                  </a:cubicBezTo>
                  <a:cubicBezTo>
                    <a:pt x="94117" y="128759"/>
                    <a:pt x="91464" y="114473"/>
                    <a:pt x="82108" y="105116"/>
                  </a:cubicBezTo>
                  <a:lnTo>
                    <a:pt x="63932" y="86941"/>
                  </a:lnTo>
                  <a:lnTo>
                    <a:pt x="86941" y="63916"/>
                  </a:lnTo>
                  <a:lnTo>
                    <a:pt x="105116" y="82092"/>
                  </a:lnTo>
                  <a:cubicBezTo>
                    <a:pt x="114489" y="91448"/>
                    <a:pt x="128727" y="94084"/>
                    <a:pt x="141647" y="88779"/>
                  </a:cubicBezTo>
                  <a:cubicBezTo>
                    <a:pt x="154436" y="83556"/>
                    <a:pt x="162719" y="71564"/>
                    <a:pt x="162719" y="58253"/>
                  </a:cubicBezTo>
                  <a:lnTo>
                    <a:pt x="162719" y="32544"/>
                  </a:lnTo>
                  <a:lnTo>
                    <a:pt x="195263" y="32544"/>
                  </a:lnTo>
                  <a:lnTo>
                    <a:pt x="195263" y="58253"/>
                  </a:lnTo>
                  <a:cubicBezTo>
                    <a:pt x="195263" y="71564"/>
                    <a:pt x="203545" y="83556"/>
                    <a:pt x="216530" y="88861"/>
                  </a:cubicBezTo>
                  <a:cubicBezTo>
                    <a:pt x="229271" y="94100"/>
                    <a:pt x="243525" y="91432"/>
                    <a:pt x="252865" y="82092"/>
                  </a:cubicBezTo>
                  <a:lnTo>
                    <a:pt x="271041" y="63916"/>
                  </a:lnTo>
                  <a:lnTo>
                    <a:pt x="294049" y="86941"/>
                  </a:lnTo>
                  <a:lnTo>
                    <a:pt x="275873" y="105116"/>
                  </a:lnTo>
                  <a:cubicBezTo>
                    <a:pt x="266517" y="114473"/>
                    <a:pt x="263865" y="128759"/>
                    <a:pt x="269186" y="141647"/>
                  </a:cubicBezTo>
                  <a:cubicBezTo>
                    <a:pt x="274425" y="154453"/>
                    <a:pt x="286434" y="162719"/>
                    <a:pt x="299744" y="162719"/>
                  </a:cubicBezTo>
                  <a:lnTo>
                    <a:pt x="325438" y="162719"/>
                  </a:lnTo>
                  <a:lnTo>
                    <a:pt x="325438" y="195263"/>
                  </a:lnTo>
                  <a:close/>
                </a:path>
              </a:pathLst>
            </a:custGeom>
            <a:grpFill/>
            <a:ln w="16222" cap="flat">
              <a:noFill/>
              <a:prstDash val="solid"/>
              <a:miter/>
            </a:ln>
          </p:spPr>
          <p:txBody>
            <a:bodyPr rtlCol="0" anchor="ctr"/>
            <a:lstStyle/>
            <a:p>
              <a:endParaRPr lang="en-US"/>
            </a:p>
          </p:txBody>
        </p:sp>
      </p:grpSp>
      <p:grpSp>
        <p:nvGrpSpPr>
          <p:cNvPr id="113" name="Group 112">
            <a:extLst>
              <a:ext uri="{FF2B5EF4-FFF2-40B4-BE49-F238E27FC236}">
                <a16:creationId xmlns:a16="http://schemas.microsoft.com/office/drawing/2014/main" id="{9549218D-6031-7E41-A048-5460824A781A}"/>
              </a:ext>
            </a:extLst>
          </p:cNvPr>
          <p:cNvGrpSpPr/>
          <p:nvPr/>
        </p:nvGrpSpPr>
        <p:grpSpPr>
          <a:xfrm>
            <a:off x="8585992" y="5464437"/>
            <a:ext cx="527997" cy="523773"/>
            <a:chOff x="9154954" y="1737350"/>
            <a:chExt cx="857251" cy="850392"/>
          </a:xfrm>
          <a:solidFill>
            <a:schemeClr val="accent1"/>
          </a:solidFill>
        </p:grpSpPr>
        <p:sp>
          <p:nvSpPr>
            <p:cNvPr id="114" name="Graphic 41">
              <a:extLst>
                <a:ext uri="{FF2B5EF4-FFF2-40B4-BE49-F238E27FC236}">
                  <a16:creationId xmlns:a16="http://schemas.microsoft.com/office/drawing/2014/main" id="{9B3D4182-DFC6-4F4F-85A2-EA3629E2824A}"/>
                </a:ext>
              </a:extLst>
            </p:cNvPr>
            <p:cNvSpPr/>
            <p:nvPr/>
          </p:nvSpPr>
          <p:spPr>
            <a:xfrm>
              <a:off x="9745505" y="1737350"/>
              <a:ext cx="266700" cy="264566"/>
            </a:xfrm>
            <a:custGeom>
              <a:avLst/>
              <a:gdLst>
                <a:gd name="connsiteX0" fmla="*/ 266700 w 266700"/>
                <a:gd name="connsiteY0" fmla="*/ 257651 h 264566"/>
                <a:gd name="connsiteX1" fmla="*/ 266700 w 266700"/>
                <a:gd name="connsiteY1" fmla="*/ 6916 h 264566"/>
                <a:gd name="connsiteX2" fmla="*/ 259730 w 266700"/>
                <a:gd name="connsiteY2" fmla="*/ 0 h 264566"/>
                <a:gd name="connsiteX3" fmla="*/ 259729 w 266700"/>
                <a:gd name="connsiteY3" fmla="*/ 0 h 264566"/>
                <a:gd name="connsiteX4" fmla="*/ 6971 w 266700"/>
                <a:gd name="connsiteY4" fmla="*/ 0 h 264566"/>
                <a:gd name="connsiteX5" fmla="*/ 0 w 266700"/>
                <a:gd name="connsiteY5" fmla="*/ 6915 h 264566"/>
                <a:gd name="connsiteX6" fmla="*/ 0 w 266700"/>
                <a:gd name="connsiteY6" fmla="*/ 6916 h 264566"/>
                <a:gd name="connsiteX7" fmla="*/ 0 w 266700"/>
                <a:gd name="connsiteY7" fmla="*/ 257651 h 264566"/>
                <a:gd name="connsiteX8" fmla="*/ 6970 w 266700"/>
                <a:gd name="connsiteY8" fmla="*/ 264566 h 264566"/>
                <a:gd name="connsiteX9" fmla="*/ 6971 w 266700"/>
                <a:gd name="connsiteY9" fmla="*/ 264566 h 264566"/>
                <a:gd name="connsiteX10" fmla="*/ 259729 w 266700"/>
                <a:gd name="connsiteY10" fmla="*/ 264566 h 264566"/>
                <a:gd name="connsiteX11" fmla="*/ 266700 w 266700"/>
                <a:gd name="connsiteY11" fmla="*/ 257652 h 264566"/>
                <a:gd name="connsiteX12" fmla="*/ 266700 w 266700"/>
                <a:gd name="connsiteY12" fmla="*/ 257651 h 264566"/>
                <a:gd name="connsiteX13" fmla="*/ 200023 w 266700"/>
                <a:gd name="connsiteY13" fmla="*/ 198425 h 264566"/>
                <a:gd name="connsiteX14" fmla="*/ 66673 w 266700"/>
                <a:gd name="connsiteY14" fmla="*/ 198425 h 264566"/>
                <a:gd name="connsiteX15" fmla="*/ 66673 w 266700"/>
                <a:gd name="connsiteY15" fmla="*/ 66142 h 264566"/>
                <a:gd name="connsiteX16" fmla="*/ 200023 w 266700"/>
                <a:gd name="connsiteY16" fmla="*/ 66142 h 264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700" h="264566">
                  <a:moveTo>
                    <a:pt x="266700" y="257651"/>
                  </a:moveTo>
                  <a:lnTo>
                    <a:pt x="266700" y="6916"/>
                  </a:lnTo>
                  <a:cubicBezTo>
                    <a:pt x="266700" y="3097"/>
                    <a:pt x="263580" y="0"/>
                    <a:pt x="259730" y="0"/>
                  </a:cubicBezTo>
                  <a:cubicBezTo>
                    <a:pt x="259730" y="0"/>
                    <a:pt x="259729" y="0"/>
                    <a:pt x="259729" y="0"/>
                  </a:cubicBezTo>
                  <a:lnTo>
                    <a:pt x="6971" y="0"/>
                  </a:lnTo>
                  <a:cubicBezTo>
                    <a:pt x="3121" y="0"/>
                    <a:pt x="0" y="3095"/>
                    <a:pt x="0" y="6915"/>
                  </a:cubicBezTo>
                  <a:cubicBezTo>
                    <a:pt x="0" y="6915"/>
                    <a:pt x="0" y="6915"/>
                    <a:pt x="0" y="6916"/>
                  </a:cubicBezTo>
                  <a:lnTo>
                    <a:pt x="0" y="257651"/>
                  </a:lnTo>
                  <a:cubicBezTo>
                    <a:pt x="0" y="261470"/>
                    <a:pt x="3120" y="264566"/>
                    <a:pt x="6970" y="264566"/>
                  </a:cubicBezTo>
                  <a:cubicBezTo>
                    <a:pt x="6970" y="264566"/>
                    <a:pt x="6971" y="264566"/>
                    <a:pt x="6971" y="264566"/>
                  </a:cubicBezTo>
                  <a:lnTo>
                    <a:pt x="259729" y="264566"/>
                  </a:lnTo>
                  <a:cubicBezTo>
                    <a:pt x="263579" y="264566"/>
                    <a:pt x="266700" y="261471"/>
                    <a:pt x="266700" y="257652"/>
                  </a:cubicBezTo>
                  <a:cubicBezTo>
                    <a:pt x="266700" y="257652"/>
                    <a:pt x="266700" y="257651"/>
                    <a:pt x="266700" y="257651"/>
                  </a:cubicBezTo>
                  <a:close/>
                  <a:moveTo>
                    <a:pt x="200023" y="198425"/>
                  </a:moveTo>
                  <a:lnTo>
                    <a:pt x="66673" y="198425"/>
                  </a:lnTo>
                  <a:lnTo>
                    <a:pt x="66673" y="66142"/>
                  </a:lnTo>
                  <a:lnTo>
                    <a:pt x="200023" y="66142"/>
                  </a:lnTo>
                  <a:close/>
                </a:path>
              </a:pathLst>
            </a:custGeom>
            <a:grpFill/>
            <a:ln w="9525" cap="flat">
              <a:noFill/>
              <a:prstDash val="solid"/>
              <a:miter/>
            </a:ln>
          </p:spPr>
          <p:txBody>
            <a:bodyPr rtlCol="0" anchor="ctr"/>
            <a:lstStyle/>
            <a:p>
              <a:endParaRPr lang="en-US"/>
            </a:p>
          </p:txBody>
        </p:sp>
        <p:sp>
          <p:nvSpPr>
            <p:cNvPr id="115" name="Graphic 41">
              <a:extLst>
                <a:ext uri="{FF2B5EF4-FFF2-40B4-BE49-F238E27FC236}">
                  <a16:creationId xmlns:a16="http://schemas.microsoft.com/office/drawing/2014/main" id="{26BE3183-06B2-5340-ABC1-6264012E8EE5}"/>
                </a:ext>
              </a:extLst>
            </p:cNvPr>
            <p:cNvSpPr/>
            <p:nvPr/>
          </p:nvSpPr>
          <p:spPr>
            <a:xfrm>
              <a:off x="9154954" y="2323176"/>
              <a:ext cx="266700" cy="264566"/>
            </a:xfrm>
            <a:custGeom>
              <a:avLst/>
              <a:gdLst>
                <a:gd name="connsiteX0" fmla="*/ 6972 w 266700"/>
                <a:gd name="connsiteY0" fmla="*/ 264566 h 264566"/>
                <a:gd name="connsiteX1" fmla="*/ 259729 w 266700"/>
                <a:gd name="connsiteY1" fmla="*/ 264566 h 264566"/>
                <a:gd name="connsiteX2" fmla="*/ 266700 w 266700"/>
                <a:gd name="connsiteY2" fmla="*/ 257652 h 264566"/>
                <a:gd name="connsiteX3" fmla="*/ 266700 w 266700"/>
                <a:gd name="connsiteY3" fmla="*/ 257651 h 264566"/>
                <a:gd name="connsiteX4" fmla="*/ 266700 w 266700"/>
                <a:gd name="connsiteY4" fmla="*/ 6916 h 264566"/>
                <a:gd name="connsiteX5" fmla="*/ 259729 w 266700"/>
                <a:gd name="connsiteY5" fmla="*/ 0 h 264566"/>
                <a:gd name="connsiteX6" fmla="*/ 259729 w 266700"/>
                <a:gd name="connsiteY6" fmla="*/ 0 h 264566"/>
                <a:gd name="connsiteX7" fmla="*/ 6972 w 266700"/>
                <a:gd name="connsiteY7" fmla="*/ 0 h 264566"/>
                <a:gd name="connsiteX8" fmla="*/ 0 w 266700"/>
                <a:gd name="connsiteY8" fmla="*/ 6916 h 264566"/>
                <a:gd name="connsiteX9" fmla="*/ 0 w 266700"/>
                <a:gd name="connsiteY9" fmla="*/ 6916 h 264566"/>
                <a:gd name="connsiteX10" fmla="*/ 0 w 266700"/>
                <a:gd name="connsiteY10" fmla="*/ 257651 h 264566"/>
                <a:gd name="connsiteX11" fmla="*/ 6970 w 266700"/>
                <a:gd name="connsiteY11" fmla="*/ 264566 h 264566"/>
                <a:gd name="connsiteX12" fmla="*/ 6972 w 266700"/>
                <a:gd name="connsiteY12" fmla="*/ 264566 h 264566"/>
                <a:gd name="connsiteX13" fmla="*/ 66673 w 266700"/>
                <a:gd name="connsiteY13" fmla="*/ 66142 h 264566"/>
                <a:gd name="connsiteX14" fmla="*/ 200023 w 266700"/>
                <a:gd name="connsiteY14" fmla="*/ 66142 h 264566"/>
                <a:gd name="connsiteX15" fmla="*/ 200023 w 266700"/>
                <a:gd name="connsiteY15" fmla="*/ 198425 h 264566"/>
                <a:gd name="connsiteX16" fmla="*/ 66673 w 266700"/>
                <a:gd name="connsiteY16" fmla="*/ 198425 h 264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700" h="264566">
                  <a:moveTo>
                    <a:pt x="6972" y="264566"/>
                  </a:moveTo>
                  <a:lnTo>
                    <a:pt x="259729" y="264566"/>
                  </a:lnTo>
                  <a:cubicBezTo>
                    <a:pt x="263579" y="264566"/>
                    <a:pt x="266700" y="261471"/>
                    <a:pt x="266700" y="257652"/>
                  </a:cubicBezTo>
                  <a:cubicBezTo>
                    <a:pt x="266700" y="257652"/>
                    <a:pt x="266700" y="257651"/>
                    <a:pt x="266700" y="257651"/>
                  </a:cubicBezTo>
                  <a:lnTo>
                    <a:pt x="266700" y="6916"/>
                  </a:lnTo>
                  <a:cubicBezTo>
                    <a:pt x="266700" y="3096"/>
                    <a:pt x="263579" y="0"/>
                    <a:pt x="259729" y="0"/>
                  </a:cubicBezTo>
                  <a:cubicBezTo>
                    <a:pt x="259729" y="0"/>
                    <a:pt x="259729" y="0"/>
                    <a:pt x="259729" y="0"/>
                  </a:cubicBezTo>
                  <a:lnTo>
                    <a:pt x="6972" y="0"/>
                  </a:lnTo>
                  <a:cubicBezTo>
                    <a:pt x="3121" y="0"/>
                    <a:pt x="0" y="3096"/>
                    <a:pt x="0" y="6916"/>
                  </a:cubicBezTo>
                  <a:cubicBezTo>
                    <a:pt x="0" y="6916"/>
                    <a:pt x="0" y="6916"/>
                    <a:pt x="0" y="6916"/>
                  </a:cubicBezTo>
                  <a:lnTo>
                    <a:pt x="0" y="257651"/>
                  </a:lnTo>
                  <a:cubicBezTo>
                    <a:pt x="0" y="261470"/>
                    <a:pt x="3120" y="264566"/>
                    <a:pt x="6970" y="264566"/>
                  </a:cubicBezTo>
                  <a:cubicBezTo>
                    <a:pt x="6971" y="264566"/>
                    <a:pt x="6971" y="264566"/>
                    <a:pt x="6972" y="264566"/>
                  </a:cubicBezTo>
                  <a:close/>
                  <a:moveTo>
                    <a:pt x="66673" y="66142"/>
                  </a:moveTo>
                  <a:lnTo>
                    <a:pt x="200023" y="66142"/>
                  </a:lnTo>
                  <a:lnTo>
                    <a:pt x="200023" y="198425"/>
                  </a:lnTo>
                  <a:lnTo>
                    <a:pt x="66673" y="198425"/>
                  </a:lnTo>
                  <a:close/>
                </a:path>
              </a:pathLst>
            </a:custGeom>
            <a:grpFill/>
            <a:ln w="9525" cap="flat">
              <a:noFill/>
              <a:prstDash val="solid"/>
              <a:miter/>
            </a:ln>
          </p:spPr>
          <p:txBody>
            <a:bodyPr rtlCol="0" anchor="ctr"/>
            <a:lstStyle/>
            <a:p>
              <a:endParaRPr lang="en-US"/>
            </a:p>
          </p:txBody>
        </p:sp>
        <p:sp>
          <p:nvSpPr>
            <p:cNvPr id="116" name="Graphic 41">
              <a:extLst>
                <a:ext uri="{FF2B5EF4-FFF2-40B4-BE49-F238E27FC236}">
                  <a16:creationId xmlns:a16="http://schemas.microsoft.com/office/drawing/2014/main" id="{2DCB6118-2250-2D46-98C8-CF7E541A871B}"/>
                </a:ext>
              </a:extLst>
            </p:cNvPr>
            <p:cNvSpPr/>
            <p:nvPr/>
          </p:nvSpPr>
          <p:spPr>
            <a:xfrm>
              <a:off x="9528335" y="2112576"/>
              <a:ext cx="464245" cy="364632"/>
            </a:xfrm>
            <a:custGeom>
              <a:avLst/>
              <a:gdLst>
                <a:gd name="connsiteX0" fmla="*/ 372424 w 464245"/>
                <a:gd name="connsiteY0" fmla="*/ 357716 h 364632"/>
                <a:gd name="connsiteX1" fmla="*/ 372424 w 464245"/>
                <a:gd name="connsiteY1" fmla="*/ 80333 h 364632"/>
                <a:gd name="connsiteX2" fmla="*/ 431229 w 464245"/>
                <a:gd name="connsiteY2" fmla="*/ 138656 h 364632"/>
                <a:gd name="connsiteX3" fmla="*/ 441088 w 464245"/>
                <a:gd name="connsiteY3" fmla="*/ 138655 h 364632"/>
                <a:gd name="connsiteX4" fmla="*/ 462204 w 464245"/>
                <a:gd name="connsiteY4" fmla="*/ 117709 h 364632"/>
                <a:gd name="connsiteX5" fmla="*/ 462204 w 464245"/>
                <a:gd name="connsiteY5" fmla="*/ 107928 h 364632"/>
                <a:gd name="connsiteX6" fmla="*/ 462204 w 464245"/>
                <a:gd name="connsiteY6" fmla="*/ 107928 h 364632"/>
                <a:gd name="connsiteX7" fmla="*/ 355447 w 464245"/>
                <a:gd name="connsiteY7" fmla="*/ 2025 h 364632"/>
                <a:gd name="connsiteX8" fmla="*/ 345588 w 464245"/>
                <a:gd name="connsiteY8" fmla="*/ 2025 h 364632"/>
                <a:gd name="connsiteX9" fmla="*/ 238840 w 464245"/>
                <a:gd name="connsiteY9" fmla="*/ 107928 h 364632"/>
                <a:gd name="connsiteX10" fmla="*/ 238840 w 464245"/>
                <a:gd name="connsiteY10" fmla="*/ 117708 h 364632"/>
                <a:gd name="connsiteX11" fmla="*/ 259956 w 464245"/>
                <a:gd name="connsiteY11" fmla="*/ 138655 h 364632"/>
                <a:gd name="connsiteX12" fmla="*/ 269816 w 464245"/>
                <a:gd name="connsiteY12" fmla="*/ 138655 h 364632"/>
                <a:gd name="connsiteX13" fmla="*/ 328612 w 464245"/>
                <a:gd name="connsiteY13" fmla="*/ 80335 h 364632"/>
                <a:gd name="connsiteX14" fmla="*/ 328612 w 464245"/>
                <a:gd name="connsiteY14" fmla="*/ 321171 h 364632"/>
                <a:gd name="connsiteX15" fmla="*/ 6971 w 464245"/>
                <a:gd name="connsiteY15" fmla="*/ 321171 h 364632"/>
                <a:gd name="connsiteX16" fmla="*/ 0 w 464245"/>
                <a:gd name="connsiteY16" fmla="*/ 328087 h 364632"/>
                <a:gd name="connsiteX17" fmla="*/ 0 w 464245"/>
                <a:gd name="connsiteY17" fmla="*/ 357716 h 364632"/>
                <a:gd name="connsiteX18" fmla="*/ 6971 w 464245"/>
                <a:gd name="connsiteY18" fmla="*/ 364633 h 364632"/>
                <a:gd name="connsiteX19" fmla="*/ 365451 w 464245"/>
                <a:gd name="connsiteY19" fmla="*/ 364633 h 364632"/>
                <a:gd name="connsiteX20" fmla="*/ 372424 w 464245"/>
                <a:gd name="connsiteY20" fmla="*/ 357716 h 36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64245" h="364632">
                  <a:moveTo>
                    <a:pt x="372424" y="357716"/>
                  </a:moveTo>
                  <a:lnTo>
                    <a:pt x="372424" y="80333"/>
                  </a:lnTo>
                  <a:lnTo>
                    <a:pt x="431229" y="138656"/>
                  </a:lnTo>
                  <a:cubicBezTo>
                    <a:pt x="433952" y="141355"/>
                    <a:pt x="438365" y="141355"/>
                    <a:pt x="441088" y="138655"/>
                  </a:cubicBezTo>
                  <a:lnTo>
                    <a:pt x="462204" y="117709"/>
                  </a:lnTo>
                  <a:cubicBezTo>
                    <a:pt x="464927" y="115008"/>
                    <a:pt x="464927" y="110630"/>
                    <a:pt x="462204" y="107928"/>
                  </a:cubicBezTo>
                  <a:cubicBezTo>
                    <a:pt x="462204" y="107928"/>
                    <a:pt x="462204" y="107928"/>
                    <a:pt x="462204" y="107928"/>
                  </a:cubicBezTo>
                  <a:lnTo>
                    <a:pt x="355447" y="2025"/>
                  </a:lnTo>
                  <a:cubicBezTo>
                    <a:pt x="352725" y="-675"/>
                    <a:pt x="348311" y="-675"/>
                    <a:pt x="345588" y="2025"/>
                  </a:cubicBezTo>
                  <a:lnTo>
                    <a:pt x="238840" y="107928"/>
                  </a:lnTo>
                  <a:cubicBezTo>
                    <a:pt x="236118" y="110629"/>
                    <a:pt x="236118" y="115007"/>
                    <a:pt x="238840" y="117708"/>
                  </a:cubicBezTo>
                  <a:lnTo>
                    <a:pt x="259956" y="138655"/>
                  </a:lnTo>
                  <a:cubicBezTo>
                    <a:pt x="262679" y="141355"/>
                    <a:pt x="267093" y="141355"/>
                    <a:pt x="269816" y="138655"/>
                  </a:cubicBezTo>
                  <a:lnTo>
                    <a:pt x="328612" y="80335"/>
                  </a:lnTo>
                  <a:lnTo>
                    <a:pt x="328612" y="321171"/>
                  </a:lnTo>
                  <a:lnTo>
                    <a:pt x="6971" y="321171"/>
                  </a:lnTo>
                  <a:cubicBezTo>
                    <a:pt x="3120" y="321171"/>
                    <a:pt x="0" y="324267"/>
                    <a:pt x="0" y="328087"/>
                  </a:cubicBezTo>
                  <a:lnTo>
                    <a:pt x="0" y="357716"/>
                  </a:lnTo>
                  <a:cubicBezTo>
                    <a:pt x="0" y="361536"/>
                    <a:pt x="3120" y="364633"/>
                    <a:pt x="6971" y="364633"/>
                  </a:cubicBezTo>
                  <a:lnTo>
                    <a:pt x="365451" y="364633"/>
                  </a:lnTo>
                  <a:cubicBezTo>
                    <a:pt x="369302" y="364633"/>
                    <a:pt x="372424" y="361536"/>
                    <a:pt x="372424" y="357716"/>
                  </a:cubicBezTo>
                  <a:close/>
                </a:path>
              </a:pathLst>
            </a:custGeom>
            <a:grpFill/>
            <a:ln w="9525" cap="flat">
              <a:noFill/>
              <a:prstDash val="solid"/>
              <a:miter/>
            </a:ln>
          </p:spPr>
          <p:txBody>
            <a:bodyPr rtlCol="0" anchor="ctr"/>
            <a:lstStyle/>
            <a:p>
              <a:endParaRPr lang="en-US"/>
            </a:p>
          </p:txBody>
        </p:sp>
        <p:sp>
          <p:nvSpPr>
            <p:cNvPr id="117" name="Graphic 41">
              <a:extLst>
                <a:ext uri="{FF2B5EF4-FFF2-40B4-BE49-F238E27FC236}">
                  <a16:creationId xmlns:a16="http://schemas.microsoft.com/office/drawing/2014/main" id="{DECD7673-8792-504B-A2A0-E66D1272F53F}"/>
                </a:ext>
              </a:extLst>
            </p:cNvPr>
            <p:cNvSpPr/>
            <p:nvPr/>
          </p:nvSpPr>
          <p:spPr>
            <a:xfrm>
              <a:off x="9174583" y="1847884"/>
              <a:ext cx="464237" cy="364632"/>
            </a:xfrm>
            <a:custGeom>
              <a:avLst/>
              <a:gdLst>
                <a:gd name="connsiteX0" fmla="*/ 457266 w 464237"/>
                <a:gd name="connsiteY0" fmla="*/ 43461 h 364632"/>
                <a:gd name="connsiteX1" fmla="*/ 464238 w 464237"/>
                <a:gd name="connsiteY1" fmla="*/ 36545 h 364632"/>
                <a:gd name="connsiteX2" fmla="*/ 464238 w 464237"/>
                <a:gd name="connsiteY2" fmla="*/ 6917 h 364632"/>
                <a:gd name="connsiteX3" fmla="*/ 457266 w 464237"/>
                <a:gd name="connsiteY3" fmla="*/ 0 h 364632"/>
                <a:gd name="connsiteX4" fmla="*/ 98786 w 464237"/>
                <a:gd name="connsiteY4" fmla="*/ 0 h 364632"/>
                <a:gd name="connsiteX5" fmla="*/ 91814 w 464237"/>
                <a:gd name="connsiteY5" fmla="*/ 6917 h 364632"/>
                <a:gd name="connsiteX6" fmla="*/ 91813 w 464237"/>
                <a:gd name="connsiteY6" fmla="*/ 284297 h 364632"/>
                <a:gd name="connsiteX7" fmla="*/ 33017 w 464237"/>
                <a:gd name="connsiteY7" fmla="*/ 225978 h 364632"/>
                <a:gd name="connsiteX8" fmla="*/ 23158 w 464237"/>
                <a:gd name="connsiteY8" fmla="*/ 225978 h 364632"/>
                <a:gd name="connsiteX9" fmla="*/ 2042 w 464237"/>
                <a:gd name="connsiteY9" fmla="*/ 246925 h 364632"/>
                <a:gd name="connsiteX10" fmla="*/ 2042 w 464237"/>
                <a:gd name="connsiteY10" fmla="*/ 256705 h 364632"/>
                <a:gd name="connsiteX11" fmla="*/ 108790 w 464237"/>
                <a:gd name="connsiteY11" fmla="*/ 362607 h 364632"/>
                <a:gd name="connsiteX12" fmla="*/ 118649 w 464237"/>
                <a:gd name="connsiteY12" fmla="*/ 362607 h 364632"/>
                <a:gd name="connsiteX13" fmla="*/ 225405 w 464237"/>
                <a:gd name="connsiteY13" fmla="*/ 256705 h 364632"/>
                <a:gd name="connsiteX14" fmla="*/ 225406 w 464237"/>
                <a:gd name="connsiteY14" fmla="*/ 246925 h 364632"/>
                <a:gd name="connsiteX15" fmla="*/ 225405 w 464237"/>
                <a:gd name="connsiteY15" fmla="*/ 246925 h 364632"/>
                <a:gd name="connsiteX16" fmla="*/ 204290 w 464237"/>
                <a:gd name="connsiteY16" fmla="*/ 225978 h 364632"/>
                <a:gd name="connsiteX17" fmla="*/ 194431 w 464237"/>
                <a:gd name="connsiteY17" fmla="*/ 225977 h 364632"/>
                <a:gd name="connsiteX18" fmla="*/ 135625 w 464237"/>
                <a:gd name="connsiteY18" fmla="*/ 284299 h 364632"/>
                <a:gd name="connsiteX19" fmla="*/ 135625 w 464237"/>
                <a:gd name="connsiteY19" fmla="*/ 43461 h 36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4237" h="364632">
                  <a:moveTo>
                    <a:pt x="457266" y="43461"/>
                  </a:moveTo>
                  <a:cubicBezTo>
                    <a:pt x="461117" y="43461"/>
                    <a:pt x="464238" y="40365"/>
                    <a:pt x="464238" y="36545"/>
                  </a:cubicBezTo>
                  <a:lnTo>
                    <a:pt x="464238" y="6917"/>
                  </a:lnTo>
                  <a:cubicBezTo>
                    <a:pt x="464238" y="3096"/>
                    <a:pt x="461117" y="0"/>
                    <a:pt x="457266" y="0"/>
                  </a:cubicBezTo>
                  <a:lnTo>
                    <a:pt x="98786" y="0"/>
                  </a:lnTo>
                  <a:cubicBezTo>
                    <a:pt x="94935" y="0"/>
                    <a:pt x="91814" y="3096"/>
                    <a:pt x="91814" y="6917"/>
                  </a:cubicBezTo>
                  <a:lnTo>
                    <a:pt x="91813" y="284297"/>
                  </a:lnTo>
                  <a:lnTo>
                    <a:pt x="33017" y="225978"/>
                  </a:lnTo>
                  <a:cubicBezTo>
                    <a:pt x="30295" y="223277"/>
                    <a:pt x="25881" y="223277"/>
                    <a:pt x="23158" y="225978"/>
                  </a:cubicBezTo>
                  <a:lnTo>
                    <a:pt x="2042" y="246925"/>
                  </a:lnTo>
                  <a:cubicBezTo>
                    <a:pt x="-681" y="249626"/>
                    <a:pt x="-681" y="254005"/>
                    <a:pt x="2042" y="256705"/>
                  </a:cubicBezTo>
                  <a:lnTo>
                    <a:pt x="108790" y="362607"/>
                  </a:lnTo>
                  <a:cubicBezTo>
                    <a:pt x="111512" y="365308"/>
                    <a:pt x="115927" y="365308"/>
                    <a:pt x="118649" y="362607"/>
                  </a:cubicBezTo>
                  <a:lnTo>
                    <a:pt x="225405" y="256705"/>
                  </a:lnTo>
                  <a:cubicBezTo>
                    <a:pt x="228128" y="254005"/>
                    <a:pt x="228128" y="249626"/>
                    <a:pt x="225406" y="246925"/>
                  </a:cubicBezTo>
                  <a:cubicBezTo>
                    <a:pt x="225406" y="246925"/>
                    <a:pt x="225406" y="246925"/>
                    <a:pt x="225405" y="246925"/>
                  </a:cubicBezTo>
                  <a:lnTo>
                    <a:pt x="204290" y="225978"/>
                  </a:lnTo>
                  <a:cubicBezTo>
                    <a:pt x="201568" y="223277"/>
                    <a:pt x="197153" y="223276"/>
                    <a:pt x="194431" y="225977"/>
                  </a:cubicBezTo>
                  <a:lnTo>
                    <a:pt x="135625" y="284299"/>
                  </a:lnTo>
                  <a:lnTo>
                    <a:pt x="135625" y="43461"/>
                  </a:lnTo>
                  <a:close/>
                </a:path>
              </a:pathLst>
            </a:custGeom>
            <a:grpFill/>
            <a:ln w="9525" cap="flat">
              <a:noFill/>
              <a:prstDash val="solid"/>
              <a:miter/>
            </a:ln>
          </p:spPr>
          <p:txBody>
            <a:bodyPr rtlCol="0" anchor="ctr"/>
            <a:lstStyle/>
            <a:p>
              <a:endParaRPr lang="en-US"/>
            </a:p>
          </p:txBody>
        </p:sp>
      </p:grpSp>
      <p:sp>
        <p:nvSpPr>
          <p:cNvPr id="118" name="Graphic 14">
            <a:extLst>
              <a:ext uri="{FF2B5EF4-FFF2-40B4-BE49-F238E27FC236}">
                <a16:creationId xmlns:a16="http://schemas.microsoft.com/office/drawing/2014/main" id="{CB1E7607-AE74-7348-A42E-FD839082565A}"/>
              </a:ext>
            </a:extLst>
          </p:cNvPr>
          <p:cNvSpPr/>
          <p:nvPr/>
        </p:nvSpPr>
        <p:spPr>
          <a:xfrm>
            <a:off x="1405491" y="5464437"/>
            <a:ext cx="486014" cy="581509"/>
          </a:xfrm>
          <a:custGeom>
            <a:avLst/>
            <a:gdLst>
              <a:gd name="connsiteX0" fmla="*/ 578234 w 724241"/>
              <a:gd name="connsiteY0" fmla="*/ 580946 h 866544"/>
              <a:gd name="connsiteX1" fmla="*/ 555893 w 724241"/>
              <a:gd name="connsiteY1" fmla="*/ 583221 h 866544"/>
              <a:gd name="connsiteX2" fmla="*/ 392235 w 724241"/>
              <a:gd name="connsiteY2" fmla="*/ 158975 h 866544"/>
              <a:gd name="connsiteX3" fmla="*/ 428497 w 724241"/>
              <a:gd name="connsiteY3" fmla="*/ 158975 h 866544"/>
              <a:gd name="connsiteX4" fmla="*/ 428497 w 724241"/>
              <a:gd name="connsiteY4" fmla="*/ 0 h 866544"/>
              <a:gd name="connsiteX5" fmla="*/ 265946 w 724241"/>
              <a:gd name="connsiteY5" fmla="*/ 0 h 866544"/>
              <a:gd name="connsiteX6" fmla="*/ 265946 w 724241"/>
              <a:gd name="connsiteY6" fmla="*/ 158975 h 866544"/>
              <a:gd name="connsiteX7" fmla="*/ 307931 w 724241"/>
              <a:gd name="connsiteY7" fmla="*/ 158975 h 866544"/>
              <a:gd name="connsiteX8" fmla="*/ 162883 w 724241"/>
              <a:gd name="connsiteY8" fmla="*/ 582643 h 866544"/>
              <a:gd name="connsiteX9" fmla="*/ 146045 w 724241"/>
              <a:gd name="connsiteY9" fmla="*/ 580946 h 866544"/>
              <a:gd name="connsiteX10" fmla="*/ 0 w 724241"/>
              <a:gd name="connsiteY10" fmla="*/ 723745 h 866544"/>
              <a:gd name="connsiteX11" fmla="*/ 146045 w 724241"/>
              <a:gd name="connsiteY11" fmla="*/ 866545 h 866544"/>
              <a:gd name="connsiteX12" fmla="*/ 292053 w 724241"/>
              <a:gd name="connsiteY12" fmla="*/ 723745 h 866544"/>
              <a:gd name="connsiteX13" fmla="*/ 190948 w 724241"/>
              <a:gd name="connsiteY13" fmla="*/ 588601 h 866544"/>
              <a:gd name="connsiteX14" fmla="*/ 338100 w 724241"/>
              <a:gd name="connsiteY14" fmla="*/ 159011 h 866544"/>
              <a:gd name="connsiteX15" fmla="*/ 361696 w 724241"/>
              <a:gd name="connsiteY15" fmla="*/ 159011 h 866544"/>
              <a:gd name="connsiteX16" fmla="*/ 528014 w 724241"/>
              <a:gd name="connsiteY16" fmla="*/ 590189 h 866544"/>
              <a:gd name="connsiteX17" fmla="*/ 432226 w 724241"/>
              <a:gd name="connsiteY17" fmla="*/ 723745 h 866544"/>
              <a:gd name="connsiteX18" fmla="*/ 578197 w 724241"/>
              <a:gd name="connsiteY18" fmla="*/ 866545 h 866544"/>
              <a:gd name="connsiteX19" fmla="*/ 724242 w 724241"/>
              <a:gd name="connsiteY19" fmla="*/ 723745 h 866544"/>
              <a:gd name="connsiteX20" fmla="*/ 578234 w 724241"/>
              <a:gd name="connsiteY20" fmla="*/ 580946 h 866544"/>
              <a:gd name="connsiteX21" fmla="*/ 261330 w 724241"/>
              <a:gd name="connsiteY21" fmla="*/ 723745 h 866544"/>
              <a:gd name="connsiteX22" fmla="*/ 146045 w 724241"/>
              <a:gd name="connsiteY22" fmla="*/ 836505 h 866544"/>
              <a:gd name="connsiteX23" fmla="*/ 30723 w 724241"/>
              <a:gd name="connsiteY23" fmla="*/ 723745 h 866544"/>
              <a:gd name="connsiteX24" fmla="*/ 146045 w 724241"/>
              <a:gd name="connsiteY24" fmla="*/ 611022 h 866544"/>
              <a:gd name="connsiteX25" fmla="*/ 261330 w 724241"/>
              <a:gd name="connsiteY25" fmla="*/ 723745 h 86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24241" h="866544">
                <a:moveTo>
                  <a:pt x="578234" y="580946"/>
                </a:moveTo>
                <a:cubicBezTo>
                  <a:pt x="570590" y="580946"/>
                  <a:pt x="563242" y="582065"/>
                  <a:pt x="555893" y="583221"/>
                </a:cubicBezTo>
                <a:lnTo>
                  <a:pt x="392235" y="158975"/>
                </a:lnTo>
                <a:lnTo>
                  <a:pt x="428497" y="158975"/>
                </a:lnTo>
                <a:lnTo>
                  <a:pt x="428497" y="0"/>
                </a:lnTo>
                <a:lnTo>
                  <a:pt x="265946" y="0"/>
                </a:lnTo>
                <a:lnTo>
                  <a:pt x="265946" y="158975"/>
                </a:lnTo>
                <a:lnTo>
                  <a:pt x="307931" y="158975"/>
                </a:lnTo>
                <a:lnTo>
                  <a:pt x="162883" y="582643"/>
                </a:lnTo>
                <a:cubicBezTo>
                  <a:pt x="157344" y="581993"/>
                  <a:pt x="151805" y="580946"/>
                  <a:pt x="146045" y="580946"/>
                </a:cubicBezTo>
                <a:cubicBezTo>
                  <a:pt x="65471" y="580946"/>
                  <a:pt x="0" y="644962"/>
                  <a:pt x="0" y="723745"/>
                </a:cubicBezTo>
                <a:cubicBezTo>
                  <a:pt x="0" y="802529"/>
                  <a:pt x="65471" y="866545"/>
                  <a:pt x="146045" y="866545"/>
                </a:cubicBezTo>
                <a:cubicBezTo>
                  <a:pt x="226582" y="866545"/>
                  <a:pt x="292053" y="802529"/>
                  <a:pt x="292053" y="723745"/>
                </a:cubicBezTo>
                <a:cubicBezTo>
                  <a:pt x="292053" y="660416"/>
                  <a:pt x="249402" y="607231"/>
                  <a:pt x="190948" y="588601"/>
                </a:cubicBezTo>
                <a:lnTo>
                  <a:pt x="338100" y="159011"/>
                </a:lnTo>
                <a:lnTo>
                  <a:pt x="361696" y="159011"/>
                </a:lnTo>
                <a:lnTo>
                  <a:pt x="528014" y="590189"/>
                </a:lnTo>
                <a:cubicBezTo>
                  <a:pt x="472328" y="610336"/>
                  <a:pt x="432226" y="662329"/>
                  <a:pt x="432226" y="723745"/>
                </a:cubicBezTo>
                <a:cubicBezTo>
                  <a:pt x="432226" y="802529"/>
                  <a:pt x="497697" y="866545"/>
                  <a:pt x="578197" y="866545"/>
                </a:cubicBezTo>
                <a:cubicBezTo>
                  <a:pt x="658771" y="866545"/>
                  <a:pt x="724242" y="802529"/>
                  <a:pt x="724242" y="723745"/>
                </a:cubicBezTo>
                <a:cubicBezTo>
                  <a:pt x="724242" y="644962"/>
                  <a:pt x="658771" y="580946"/>
                  <a:pt x="578234" y="580946"/>
                </a:cubicBezTo>
                <a:close/>
                <a:moveTo>
                  <a:pt x="261330" y="723745"/>
                </a:moveTo>
                <a:cubicBezTo>
                  <a:pt x="261330" y="785920"/>
                  <a:pt x="209596" y="836505"/>
                  <a:pt x="146045" y="836505"/>
                </a:cubicBezTo>
                <a:cubicBezTo>
                  <a:pt x="82457" y="836505"/>
                  <a:pt x="30723" y="785920"/>
                  <a:pt x="30723" y="723745"/>
                </a:cubicBezTo>
                <a:cubicBezTo>
                  <a:pt x="30723" y="661607"/>
                  <a:pt x="82457" y="611022"/>
                  <a:pt x="146045" y="611022"/>
                </a:cubicBezTo>
                <a:cubicBezTo>
                  <a:pt x="209596" y="611022"/>
                  <a:pt x="261330" y="661607"/>
                  <a:pt x="261330" y="723745"/>
                </a:cubicBezTo>
                <a:close/>
              </a:path>
            </a:pathLst>
          </a:custGeom>
          <a:solidFill>
            <a:schemeClr val="accent1"/>
          </a:solidFill>
          <a:ln w="36909" cap="flat">
            <a:noFill/>
            <a:prstDash val="solid"/>
            <a:miter/>
          </a:ln>
        </p:spPr>
        <p:txBody>
          <a:bodyPr rtlCol="0" anchor="ctr"/>
          <a:lstStyle/>
          <a:p>
            <a:endParaRPr lang="en-US"/>
          </a:p>
        </p:txBody>
      </p:sp>
      <p:grpSp>
        <p:nvGrpSpPr>
          <p:cNvPr id="119" name="Group 118">
            <a:extLst>
              <a:ext uri="{FF2B5EF4-FFF2-40B4-BE49-F238E27FC236}">
                <a16:creationId xmlns:a16="http://schemas.microsoft.com/office/drawing/2014/main" id="{437D59DB-5DDA-A347-9F88-58BBDBF2FD48}"/>
              </a:ext>
            </a:extLst>
          </p:cNvPr>
          <p:cNvGrpSpPr/>
          <p:nvPr/>
        </p:nvGrpSpPr>
        <p:grpSpPr>
          <a:xfrm>
            <a:off x="450055" y="5424119"/>
            <a:ext cx="654968" cy="654577"/>
            <a:chOff x="6902493" y="1379020"/>
            <a:chExt cx="1046715" cy="1046091"/>
          </a:xfrm>
          <a:solidFill>
            <a:schemeClr val="accent1"/>
          </a:solidFill>
        </p:grpSpPr>
        <p:sp>
          <p:nvSpPr>
            <p:cNvPr id="120" name="Graphic 19">
              <a:extLst>
                <a:ext uri="{FF2B5EF4-FFF2-40B4-BE49-F238E27FC236}">
                  <a16:creationId xmlns:a16="http://schemas.microsoft.com/office/drawing/2014/main" id="{2A71B9EA-1E5C-D84A-87A8-42FEF109F310}"/>
                </a:ext>
              </a:extLst>
            </p:cNvPr>
            <p:cNvSpPr/>
            <p:nvPr/>
          </p:nvSpPr>
          <p:spPr>
            <a:xfrm>
              <a:off x="7257327" y="1379020"/>
              <a:ext cx="337044" cy="295945"/>
            </a:xfrm>
            <a:custGeom>
              <a:avLst/>
              <a:gdLst>
                <a:gd name="connsiteX0" fmla="*/ 183631 w 337044"/>
                <a:gd name="connsiteY0" fmla="*/ 8099 h 295945"/>
                <a:gd name="connsiteX1" fmla="*/ 158477 w 337044"/>
                <a:gd name="connsiteY1" fmla="*/ 3038 h 295945"/>
                <a:gd name="connsiteX2" fmla="*/ 153416 w 337044"/>
                <a:gd name="connsiteY2" fmla="*/ 8099 h 295945"/>
                <a:gd name="connsiteX3" fmla="*/ 2340 w 337044"/>
                <a:gd name="connsiteY3" fmla="*/ 269777 h 295945"/>
                <a:gd name="connsiteX4" fmla="*/ 8725 w 337044"/>
                <a:gd name="connsiteY4" fmla="*/ 293608 h 295945"/>
                <a:gd name="connsiteX5" fmla="*/ 17448 w 337044"/>
                <a:gd name="connsiteY5" fmla="*/ 295945 h 295945"/>
                <a:gd name="connsiteX6" fmla="*/ 319599 w 337044"/>
                <a:gd name="connsiteY6" fmla="*/ 295945 h 295945"/>
                <a:gd name="connsiteX7" fmla="*/ 337045 w 337044"/>
                <a:gd name="connsiteY7" fmla="*/ 278500 h 295945"/>
                <a:gd name="connsiteX8" fmla="*/ 334707 w 337044"/>
                <a:gd name="connsiteY8" fmla="*/ 269777 h 295945"/>
                <a:gd name="connsiteX9" fmla="*/ 47663 w 337044"/>
                <a:gd name="connsiteY9" fmla="*/ 261055 h 295945"/>
                <a:gd name="connsiteX10" fmla="*/ 168523 w 337044"/>
                <a:gd name="connsiteY10" fmla="*/ 51712 h 295945"/>
                <a:gd name="connsiteX11" fmla="*/ 289384 w 337044"/>
                <a:gd name="connsiteY11" fmla="*/ 261055 h 29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7044" h="295945">
                  <a:moveTo>
                    <a:pt x="183631" y="8099"/>
                  </a:moveTo>
                  <a:cubicBezTo>
                    <a:pt x="178082" y="-245"/>
                    <a:pt x="166821" y="-2511"/>
                    <a:pt x="158477" y="3038"/>
                  </a:cubicBezTo>
                  <a:cubicBezTo>
                    <a:pt x="156470" y="4372"/>
                    <a:pt x="154750" y="6092"/>
                    <a:pt x="153416" y="8099"/>
                  </a:cubicBezTo>
                  <a:lnTo>
                    <a:pt x="2340" y="269777"/>
                  </a:lnTo>
                  <a:cubicBezTo>
                    <a:pt x="-2477" y="278121"/>
                    <a:pt x="381" y="288791"/>
                    <a:pt x="8725" y="293608"/>
                  </a:cubicBezTo>
                  <a:cubicBezTo>
                    <a:pt x="11377" y="295139"/>
                    <a:pt x="14386" y="295945"/>
                    <a:pt x="17448" y="295945"/>
                  </a:cubicBezTo>
                  <a:lnTo>
                    <a:pt x="319599" y="295945"/>
                  </a:lnTo>
                  <a:cubicBezTo>
                    <a:pt x="329234" y="295945"/>
                    <a:pt x="337045" y="288135"/>
                    <a:pt x="337045" y="278500"/>
                  </a:cubicBezTo>
                  <a:cubicBezTo>
                    <a:pt x="337045" y="275437"/>
                    <a:pt x="336239" y="272429"/>
                    <a:pt x="334707" y="269777"/>
                  </a:cubicBezTo>
                  <a:close/>
                  <a:moveTo>
                    <a:pt x="47663" y="261055"/>
                  </a:moveTo>
                  <a:lnTo>
                    <a:pt x="168523" y="51712"/>
                  </a:lnTo>
                  <a:lnTo>
                    <a:pt x="289384" y="261055"/>
                  </a:lnTo>
                  <a:close/>
                </a:path>
              </a:pathLst>
            </a:custGeom>
            <a:grpFill/>
            <a:ln w="17413" cap="flat">
              <a:noFill/>
              <a:prstDash val="solid"/>
              <a:miter/>
            </a:ln>
          </p:spPr>
          <p:txBody>
            <a:bodyPr rtlCol="0" anchor="ctr"/>
            <a:lstStyle/>
            <a:p>
              <a:endParaRPr lang="en-US"/>
            </a:p>
          </p:txBody>
        </p:sp>
        <p:sp>
          <p:nvSpPr>
            <p:cNvPr id="121" name="Graphic 19">
              <a:extLst>
                <a:ext uri="{FF2B5EF4-FFF2-40B4-BE49-F238E27FC236}">
                  <a16:creationId xmlns:a16="http://schemas.microsoft.com/office/drawing/2014/main" id="{93C4DF44-3842-E046-A1EB-AAE3FE694FC7}"/>
                </a:ext>
              </a:extLst>
            </p:cNvPr>
            <p:cNvSpPr/>
            <p:nvPr/>
          </p:nvSpPr>
          <p:spPr>
            <a:xfrm>
              <a:off x="7635194" y="2111097"/>
              <a:ext cx="314014" cy="314014"/>
            </a:xfrm>
            <a:custGeom>
              <a:avLst/>
              <a:gdLst>
                <a:gd name="connsiteX0" fmla="*/ 296569 w 314014"/>
                <a:gd name="connsiteY0" fmla="*/ 0 h 314014"/>
                <a:gd name="connsiteX1" fmla="*/ 17445 w 314014"/>
                <a:gd name="connsiteY1" fmla="*/ 0 h 314014"/>
                <a:gd name="connsiteX2" fmla="*/ 0 w 314014"/>
                <a:gd name="connsiteY2" fmla="*/ 17445 h 314014"/>
                <a:gd name="connsiteX3" fmla="*/ 0 w 314014"/>
                <a:gd name="connsiteY3" fmla="*/ 296569 h 314014"/>
                <a:gd name="connsiteX4" fmla="*/ 17445 w 314014"/>
                <a:gd name="connsiteY4" fmla="*/ 314015 h 314014"/>
                <a:gd name="connsiteX5" fmla="*/ 296569 w 314014"/>
                <a:gd name="connsiteY5" fmla="*/ 314015 h 314014"/>
                <a:gd name="connsiteX6" fmla="*/ 314015 w 314014"/>
                <a:gd name="connsiteY6" fmla="*/ 296569 h 314014"/>
                <a:gd name="connsiteX7" fmla="*/ 314015 w 314014"/>
                <a:gd name="connsiteY7" fmla="*/ 17445 h 314014"/>
                <a:gd name="connsiteX8" fmla="*/ 296569 w 314014"/>
                <a:gd name="connsiteY8" fmla="*/ 0 h 314014"/>
                <a:gd name="connsiteX9" fmla="*/ 279124 w 314014"/>
                <a:gd name="connsiteY9" fmla="*/ 279124 h 314014"/>
                <a:gd name="connsiteX10" fmla="*/ 34891 w 314014"/>
                <a:gd name="connsiteY10" fmla="*/ 279124 h 314014"/>
                <a:gd name="connsiteX11" fmla="*/ 34891 w 314014"/>
                <a:gd name="connsiteY11" fmla="*/ 34891 h 314014"/>
                <a:gd name="connsiteX12" fmla="*/ 279124 w 314014"/>
                <a:gd name="connsiteY12" fmla="*/ 34891 h 314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4014" h="314014">
                  <a:moveTo>
                    <a:pt x="296569" y="0"/>
                  </a:moveTo>
                  <a:lnTo>
                    <a:pt x="17445" y="0"/>
                  </a:lnTo>
                  <a:cubicBezTo>
                    <a:pt x="7810" y="0"/>
                    <a:pt x="0" y="7810"/>
                    <a:pt x="0" y="17445"/>
                  </a:cubicBezTo>
                  <a:lnTo>
                    <a:pt x="0" y="296569"/>
                  </a:lnTo>
                  <a:cubicBezTo>
                    <a:pt x="0" y="306204"/>
                    <a:pt x="7810" y="314015"/>
                    <a:pt x="17445" y="314015"/>
                  </a:cubicBezTo>
                  <a:lnTo>
                    <a:pt x="296569" y="314015"/>
                  </a:lnTo>
                  <a:cubicBezTo>
                    <a:pt x="306204" y="314015"/>
                    <a:pt x="314015" y="306204"/>
                    <a:pt x="314015" y="296569"/>
                  </a:cubicBezTo>
                  <a:lnTo>
                    <a:pt x="314015" y="17445"/>
                  </a:lnTo>
                  <a:cubicBezTo>
                    <a:pt x="314015" y="7810"/>
                    <a:pt x="306204" y="0"/>
                    <a:pt x="296569" y="0"/>
                  </a:cubicBezTo>
                  <a:close/>
                  <a:moveTo>
                    <a:pt x="279124" y="279124"/>
                  </a:moveTo>
                  <a:lnTo>
                    <a:pt x="34891" y="279124"/>
                  </a:lnTo>
                  <a:lnTo>
                    <a:pt x="34891" y="34891"/>
                  </a:lnTo>
                  <a:lnTo>
                    <a:pt x="279124" y="34891"/>
                  </a:lnTo>
                  <a:close/>
                </a:path>
              </a:pathLst>
            </a:custGeom>
            <a:grpFill/>
            <a:ln w="17413" cap="flat">
              <a:noFill/>
              <a:prstDash val="solid"/>
              <a:miter/>
            </a:ln>
          </p:spPr>
          <p:txBody>
            <a:bodyPr rtlCol="0" anchor="ctr"/>
            <a:lstStyle/>
            <a:p>
              <a:endParaRPr lang="en-US"/>
            </a:p>
          </p:txBody>
        </p:sp>
        <p:sp>
          <p:nvSpPr>
            <p:cNvPr id="122" name="Graphic 19">
              <a:extLst>
                <a:ext uri="{FF2B5EF4-FFF2-40B4-BE49-F238E27FC236}">
                  <a16:creationId xmlns:a16="http://schemas.microsoft.com/office/drawing/2014/main" id="{8D7C2444-1AEE-0C47-9DD8-86712948E701}"/>
                </a:ext>
              </a:extLst>
            </p:cNvPr>
            <p:cNvSpPr/>
            <p:nvPr/>
          </p:nvSpPr>
          <p:spPr>
            <a:xfrm>
              <a:off x="6902493" y="2111097"/>
              <a:ext cx="314014" cy="314014"/>
            </a:xfrm>
            <a:custGeom>
              <a:avLst/>
              <a:gdLst>
                <a:gd name="connsiteX0" fmla="*/ 157007 w 314014"/>
                <a:gd name="connsiteY0" fmla="*/ 0 h 314014"/>
                <a:gd name="connsiteX1" fmla="*/ 0 w 314014"/>
                <a:gd name="connsiteY1" fmla="*/ 157007 h 314014"/>
                <a:gd name="connsiteX2" fmla="*/ 157007 w 314014"/>
                <a:gd name="connsiteY2" fmla="*/ 314015 h 314014"/>
                <a:gd name="connsiteX3" fmla="*/ 314015 w 314014"/>
                <a:gd name="connsiteY3" fmla="*/ 157007 h 314014"/>
                <a:gd name="connsiteX4" fmla="*/ 157007 w 314014"/>
                <a:gd name="connsiteY4" fmla="*/ 0 h 314014"/>
                <a:gd name="connsiteX5" fmla="*/ 157007 w 314014"/>
                <a:gd name="connsiteY5" fmla="*/ 279124 h 314014"/>
                <a:gd name="connsiteX6" fmla="*/ 34891 w 314014"/>
                <a:gd name="connsiteY6" fmla="*/ 157007 h 314014"/>
                <a:gd name="connsiteX7" fmla="*/ 157007 w 314014"/>
                <a:gd name="connsiteY7" fmla="*/ 34891 h 314014"/>
                <a:gd name="connsiteX8" fmla="*/ 279124 w 314014"/>
                <a:gd name="connsiteY8" fmla="*/ 157007 h 314014"/>
                <a:gd name="connsiteX9" fmla="*/ 157007 w 314014"/>
                <a:gd name="connsiteY9" fmla="*/ 279124 h 314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014" h="314014">
                  <a:moveTo>
                    <a:pt x="157007" y="0"/>
                  </a:moveTo>
                  <a:cubicBezTo>
                    <a:pt x="70295" y="0"/>
                    <a:pt x="0" y="70294"/>
                    <a:pt x="0" y="157007"/>
                  </a:cubicBezTo>
                  <a:cubicBezTo>
                    <a:pt x="0" y="243721"/>
                    <a:pt x="70295" y="314015"/>
                    <a:pt x="157007" y="314015"/>
                  </a:cubicBezTo>
                  <a:cubicBezTo>
                    <a:pt x="243721" y="314015"/>
                    <a:pt x="314015" y="243721"/>
                    <a:pt x="314015" y="157007"/>
                  </a:cubicBezTo>
                  <a:cubicBezTo>
                    <a:pt x="313919" y="70334"/>
                    <a:pt x="243680" y="96"/>
                    <a:pt x="157007" y="0"/>
                  </a:cubicBezTo>
                  <a:close/>
                  <a:moveTo>
                    <a:pt x="157007" y="279124"/>
                  </a:moveTo>
                  <a:cubicBezTo>
                    <a:pt x="89564" y="279124"/>
                    <a:pt x="34891" y="224451"/>
                    <a:pt x="34891" y="157007"/>
                  </a:cubicBezTo>
                  <a:cubicBezTo>
                    <a:pt x="34891" y="89564"/>
                    <a:pt x="89564" y="34891"/>
                    <a:pt x="157007" y="34891"/>
                  </a:cubicBezTo>
                  <a:cubicBezTo>
                    <a:pt x="224451" y="34891"/>
                    <a:pt x="279124" y="89564"/>
                    <a:pt x="279124" y="157007"/>
                  </a:cubicBezTo>
                  <a:cubicBezTo>
                    <a:pt x="279047" y="224419"/>
                    <a:pt x="224419" y="279047"/>
                    <a:pt x="157007" y="279124"/>
                  </a:cubicBezTo>
                  <a:close/>
                </a:path>
              </a:pathLst>
            </a:custGeom>
            <a:grpFill/>
            <a:ln w="17413" cap="flat">
              <a:noFill/>
              <a:prstDash val="solid"/>
              <a:miter/>
            </a:ln>
          </p:spPr>
          <p:txBody>
            <a:bodyPr rtlCol="0" anchor="ctr"/>
            <a:lstStyle/>
            <a:p>
              <a:endParaRPr lang="en-US"/>
            </a:p>
          </p:txBody>
        </p:sp>
        <p:sp>
          <p:nvSpPr>
            <p:cNvPr id="123" name="Graphic 19">
              <a:extLst>
                <a:ext uri="{FF2B5EF4-FFF2-40B4-BE49-F238E27FC236}">
                  <a16:creationId xmlns:a16="http://schemas.microsoft.com/office/drawing/2014/main" id="{B28FB4F6-373F-BF46-A2B7-A0C5A20B70A0}"/>
                </a:ext>
              </a:extLst>
            </p:cNvPr>
            <p:cNvSpPr/>
            <p:nvPr/>
          </p:nvSpPr>
          <p:spPr>
            <a:xfrm>
              <a:off x="6989635" y="1540061"/>
              <a:ext cx="269037" cy="541954"/>
            </a:xfrm>
            <a:custGeom>
              <a:avLst/>
              <a:gdLst>
                <a:gd name="connsiteX0" fmla="*/ 269037 w 269037"/>
                <a:gd name="connsiteY0" fmla="*/ 31715 h 541954"/>
                <a:gd name="connsiteX1" fmla="*/ 254488 w 269037"/>
                <a:gd name="connsiteY1" fmla="*/ 0 h 541954"/>
                <a:gd name="connsiteX2" fmla="*/ 24909 w 269037"/>
                <a:gd name="connsiteY2" fmla="*/ 541954 h 541954"/>
                <a:gd name="connsiteX3" fmla="*/ 57810 w 269037"/>
                <a:gd name="connsiteY3" fmla="*/ 530336 h 541954"/>
                <a:gd name="connsiteX4" fmla="*/ 269037 w 269037"/>
                <a:gd name="connsiteY4" fmla="*/ 31715 h 541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037" h="541954">
                  <a:moveTo>
                    <a:pt x="269037" y="31715"/>
                  </a:moveTo>
                  <a:lnTo>
                    <a:pt x="254488" y="0"/>
                  </a:lnTo>
                  <a:cubicBezTo>
                    <a:pt x="49421" y="94192"/>
                    <a:pt x="-50097" y="329120"/>
                    <a:pt x="24909" y="541954"/>
                  </a:cubicBezTo>
                  <a:lnTo>
                    <a:pt x="57810" y="530336"/>
                  </a:lnTo>
                  <a:cubicBezTo>
                    <a:pt x="-11185" y="334518"/>
                    <a:pt x="80376" y="118383"/>
                    <a:pt x="269037" y="31715"/>
                  </a:cubicBezTo>
                  <a:close/>
                </a:path>
              </a:pathLst>
            </a:custGeom>
            <a:grpFill/>
            <a:ln w="17413" cap="flat">
              <a:noFill/>
              <a:prstDash val="solid"/>
              <a:miter/>
            </a:ln>
          </p:spPr>
          <p:txBody>
            <a:bodyPr rtlCol="0" anchor="ctr"/>
            <a:lstStyle/>
            <a:p>
              <a:endParaRPr lang="en-US"/>
            </a:p>
          </p:txBody>
        </p:sp>
        <p:sp>
          <p:nvSpPr>
            <p:cNvPr id="124" name="Graphic 19">
              <a:extLst>
                <a:ext uri="{FF2B5EF4-FFF2-40B4-BE49-F238E27FC236}">
                  <a16:creationId xmlns:a16="http://schemas.microsoft.com/office/drawing/2014/main" id="{253243BE-656E-8C40-A136-1DBCA4139090}"/>
                </a:ext>
              </a:extLst>
            </p:cNvPr>
            <p:cNvSpPr/>
            <p:nvPr/>
          </p:nvSpPr>
          <p:spPr>
            <a:xfrm>
              <a:off x="7251293" y="2304460"/>
              <a:ext cx="338123" cy="68315"/>
            </a:xfrm>
            <a:custGeom>
              <a:avLst/>
              <a:gdLst>
                <a:gd name="connsiteX0" fmla="*/ 174557 w 338123"/>
                <a:gd name="connsiteY0" fmla="*/ 33425 h 68315"/>
                <a:gd name="connsiteX1" fmla="*/ 13956 w 338123"/>
                <a:gd name="connsiteY1" fmla="*/ 0 h 68315"/>
                <a:gd name="connsiteX2" fmla="*/ 0 w 338123"/>
                <a:gd name="connsiteY2" fmla="*/ 31960 h 68315"/>
                <a:gd name="connsiteX3" fmla="*/ 338124 w 338123"/>
                <a:gd name="connsiteY3" fmla="*/ 36618 h 68315"/>
                <a:gd name="connsiteX4" fmla="*/ 325040 w 338123"/>
                <a:gd name="connsiteY4" fmla="*/ 4274 h 68315"/>
                <a:gd name="connsiteX5" fmla="*/ 174557 w 338123"/>
                <a:gd name="connsiteY5" fmla="*/ 33425 h 68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123" h="68315">
                  <a:moveTo>
                    <a:pt x="174557" y="33425"/>
                  </a:moveTo>
                  <a:cubicBezTo>
                    <a:pt x="119285" y="33540"/>
                    <a:pt x="64593" y="22157"/>
                    <a:pt x="13956" y="0"/>
                  </a:cubicBezTo>
                  <a:lnTo>
                    <a:pt x="0" y="31960"/>
                  </a:lnTo>
                  <a:cubicBezTo>
                    <a:pt x="107529" y="78764"/>
                    <a:pt x="229346" y="80440"/>
                    <a:pt x="338124" y="36618"/>
                  </a:cubicBezTo>
                  <a:lnTo>
                    <a:pt x="325040" y="4274"/>
                  </a:lnTo>
                  <a:cubicBezTo>
                    <a:pt x="277233" y="23621"/>
                    <a:pt x="226131" y="33521"/>
                    <a:pt x="174557" y="33425"/>
                  </a:cubicBezTo>
                  <a:close/>
                </a:path>
              </a:pathLst>
            </a:custGeom>
            <a:grpFill/>
            <a:ln w="17413" cap="flat">
              <a:noFill/>
              <a:prstDash val="solid"/>
              <a:miter/>
            </a:ln>
          </p:spPr>
          <p:txBody>
            <a:bodyPr rtlCol="0" anchor="ctr"/>
            <a:lstStyle/>
            <a:p>
              <a:endParaRPr lang="en-US"/>
            </a:p>
          </p:txBody>
        </p:sp>
        <p:sp>
          <p:nvSpPr>
            <p:cNvPr id="125" name="Graphic 19">
              <a:extLst>
                <a:ext uri="{FF2B5EF4-FFF2-40B4-BE49-F238E27FC236}">
                  <a16:creationId xmlns:a16="http://schemas.microsoft.com/office/drawing/2014/main" id="{195A5E3D-CFDF-3342-91AB-A8B591AA6F94}"/>
                </a:ext>
              </a:extLst>
            </p:cNvPr>
            <p:cNvSpPr/>
            <p:nvPr/>
          </p:nvSpPr>
          <p:spPr>
            <a:xfrm>
              <a:off x="7609863" y="1548906"/>
              <a:ext cx="252179" cy="514931"/>
            </a:xfrm>
            <a:custGeom>
              <a:avLst/>
              <a:gdLst>
                <a:gd name="connsiteX0" fmla="*/ 217228 w 252179"/>
                <a:gd name="connsiteY0" fmla="*/ 387738 h 514931"/>
                <a:gd name="connsiteX1" fmla="*/ 199888 w 252179"/>
                <a:gd name="connsiteY1" fmla="*/ 504778 h 514931"/>
                <a:gd name="connsiteX2" fmla="*/ 233260 w 252179"/>
                <a:gd name="connsiteY2" fmla="*/ 514931 h 514931"/>
                <a:gd name="connsiteX3" fmla="*/ 27406 w 252179"/>
                <a:gd name="connsiteY3" fmla="*/ 6141 h 514931"/>
                <a:gd name="connsiteX4" fmla="*/ 27406 w 252179"/>
                <a:gd name="connsiteY4" fmla="*/ 6141 h 514931"/>
                <a:gd name="connsiteX5" fmla="*/ 15945 w 252179"/>
                <a:gd name="connsiteY5" fmla="*/ 0 h 514931"/>
                <a:gd name="connsiteX6" fmla="*/ 0 w 252179"/>
                <a:gd name="connsiteY6" fmla="*/ 31053 h 514931"/>
                <a:gd name="connsiteX7" fmla="*/ 10467 w 252179"/>
                <a:gd name="connsiteY7" fmla="*/ 36635 h 514931"/>
                <a:gd name="connsiteX8" fmla="*/ 18823 w 252179"/>
                <a:gd name="connsiteY8" fmla="*/ 21388 h 514931"/>
                <a:gd name="connsiteX9" fmla="*/ 10362 w 252179"/>
                <a:gd name="connsiteY9" fmla="*/ 36635 h 514931"/>
                <a:gd name="connsiteX10" fmla="*/ 217228 w 252179"/>
                <a:gd name="connsiteY10" fmla="*/ 387738 h 514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2179" h="514931">
                  <a:moveTo>
                    <a:pt x="217228" y="387738"/>
                  </a:moveTo>
                  <a:cubicBezTo>
                    <a:pt x="217263" y="427395"/>
                    <a:pt x="211419" y="466837"/>
                    <a:pt x="199888" y="504778"/>
                  </a:cubicBezTo>
                  <a:lnTo>
                    <a:pt x="233260" y="514931"/>
                  </a:lnTo>
                  <a:cubicBezTo>
                    <a:pt x="293105" y="318016"/>
                    <a:pt x="207342" y="106043"/>
                    <a:pt x="27406" y="6141"/>
                  </a:cubicBezTo>
                  <a:lnTo>
                    <a:pt x="27406" y="6141"/>
                  </a:lnTo>
                  <a:cubicBezTo>
                    <a:pt x="23621" y="4047"/>
                    <a:pt x="19800" y="1989"/>
                    <a:pt x="15945" y="0"/>
                  </a:cubicBezTo>
                  <a:lnTo>
                    <a:pt x="0" y="31053"/>
                  </a:lnTo>
                  <a:cubicBezTo>
                    <a:pt x="3489" y="32797"/>
                    <a:pt x="6978" y="34716"/>
                    <a:pt x="10467" y="36635"/>
                  </a:cubicBezTo>
                  <a:lnTo>
                    <a:pt x="18823" y="21388"/>
                  </a:lnTo>
                  <a:lnTo>
                    <a:pt x="10362" y="36635"/>
                  </a:lnTo>
                  <a:cubicBezTo>
                    <a:pt x="137955" y="107426"/>
                    <a:pt x="217141" y="241824"/>
                    <a:pt x="217228" y="387738"/>
                  </a:cubicBezTo>
                  <a:close/>
                </a:path>
              </a:pathLst>
            </a:custGeom>
            <a:grpFill/>
            <a:ln w="17413" cap="flat">
              <a:noFill/>
              <a:prstDash val="solid"/>
              <a:miter/>
            </a:ln>
          </p:spPr>
          <p:txBody>
            <a:bodyPr rtlCol="0" anchor="ctr"/>
            <a:lstStyle/>
            <a:p>
              <a:endParaRPr lang="en-US"/>
            </a:p>
          </p:txBody>
        </p:sp>
      </p:grpSp>
    </p:spTree>
    <p:extLst>
      <p:ext uri="{BB962C8B-B14F-4D97-AF65-F5344CB8AC3E}">
        <p14:creationId xmlns:p14="http://schemas.microsoft.com/office/powerpoint/2010/main" val="31072996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 name="think-cell data - do not delete" hidden="1">
            <a:extLst>
              <a:ext uri="{FF2B5EF4-FFF2-40B4-BE49-F238E27FC236}">
                <a16:creationId xmlns:a16="http://schemas.microsoft.com/office/drawing/2014/main" id="{D5340E12-8A0C-0327-F12A-7B8B6F5BF08F}"/>
              </a:ext>
            </a:extLst>
          </p:cNvPr>
          <p:cNvGraphicFramePr>
            <a:graphicFrameLocks noChangeAspect="1"/>
          </p:cNvGraphicFramePr>
          <p:nvPr>
            <p:custDataLst>
              <p:tags r:id="rId1"/>
            </p:custDataLst>
            <p:extLst>
              <p:ext uri="{D42A27DB-BD31-4B8C-83A1-F6EECF244321}">
                <p14:modId xmlns:p14="http://schemas.microsoft.com/office/powerpoint/2010/main" val="651541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7" name="think-cell data - do not delete" hidden="1">
                        <a:extLst>
                          <a:ext uri="{FF2B5EF4-FFF2-40B4-BE49-F238E27FC236}">
                            <a16:creationId xmlns:a16="http://schemas.microsoft.com/office/drawing/2014/main" id="{D5340E12-8A0C-0327-F12A-7B8B6F5BF0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5" name="Text Placeholder 74">
            <a:extLst>
              <a:ext uri="{FF2B5EF4-FFF2-40B4-BE49-F238E27FC236}">
                <a16:creationId xmlns:a16="http://schemas.microsoft.com/office/drawing/2014/main" id="{8491C765-6D11-208C-09EA-53B1396E14E9}"/>
              </a:ext>
            </a:extLst>
          </p:cNvPr>
          <p:cNvSpPr>
            <a:spLocks noGrp="1"/>
          </p:cNvSpPr>
          <p:nvPr>
            <p:ph type="body" sz="quarter" idx="10"/>
          </p:nvPr>
        </p:nvSpPr>
        <p:spPr/>
        <p:txBody>
          <a:bodyPr/>
          <a:lstStyle/>
          <a:p>
            <a:endParaRPr lang="nl-NL"/>
          </a:p>
        </p:txBody>
      </p:sp>
      <p:sp>
        <p:nvSpPr>
          <p:cNvPr id="74" name="Title 73">
            <a:extLst>
              <a:ext uri="{FF2B5EF4-FFF2-40B4-BE49-F238E27FC236}">
                <a16:creationId xmlns:a16="http://schemas.microsoft.com/office/drawing/2014/main" id="{A817945D-8AA7-1989-9438-F2E84054C29D}"/>
              </a:ext>
            </a:extLst>
          </p:cNvPr>
          <p:cNvSpPr>
            <a:spLocks noGrp="1"/>
          </p:cNvSpPr>
          <p:nvPr>
            <p:ph type="title"/>
          </p:nvPr>
        </p:nvSpPr>
        <p:spPr/>
        <p:txBody>
          <a:bodyPr/>
          <a:lstStyle/>
          <a:p>
            <a:endParaRPr lang="nl-NL"/>
          </a:p>
        </p:txBody>
      </p:sp>
      <p:sp>
        <p:nvSpPr>
          <p:cNvPr id="76" name="Text Placeholder 75">
            <a:extLst>
              <a:ext uri="{FF2B5EF4-FFF2-40B4-BE49-F238E27FC236}">
                <a16:creationId xmlns:a16="http://schemas.microsoft.com/office/drawing/2014/main" id="{E3D0AC21-FCB6-3F54-C06F-F05861AFDE86}"/>
              </a:ext>
            </a:extLst>
          </p:cNvPr>
          <p:cNvSpPr>
            <a:spLocks noGrp="1"/>
          </p:cNvSpPr>
          <p:nvPr>
            <p:ph type="body" sz="quarter" idx="27"/>
          </p:nvPr>
        </p:nvSpPr>
        <p:spPr/>
        <p:txBody>
          <a:bodyPr/>
          <a:lstStyle/>
          <a:p>
            <a:endParaRPr lang="nl-NL"/>
          </a:p>
        </p:txBody>
      </p:sp>
      <p:sp>
        <p:nvSpPr>
          <p:cNvPr id="5" name="Freeform 169">
            <a:extLst>
              <a:ext uri="{FF2B5EF4-FFF2-40B4-BE49-F238E27FC236}">
                <a16:creationId xmlns:a16="http://schemas.microsoft.com/office/drawing/2014/main" id="{EE5213E5-2A38-1F45-AFCC-F6503B45CC8C}"/>
              </a:ext>
            </a:extLst>
          </p:cNvPr>
          <p:cNvSpPr>
            <a:spLocks noChangeAspect="1"/>
          </p:cNvSpPr>
          <p:nvPr/>
        </p:nvSpPr>
        <p:spPr bwMode="gray">
          <a:xfrm>
            <a:off x="713808" y="1446366"/>
            <a:ext cx="175142" cy="234537"/>
          </a:xfrm>
          <a:custGeom>
            <a:avLst/>
            <a:gdLst>
              <a:gd name="T0" fmla="*/ 139 w 178"/>
              <a:gd name="T1" fmla="*/ 0 h 198"/>
              <a:gd name="T2" fmla="*/ 104 w 178"/>
              <a:gd name="T3" fmla="*/ 0 h 198"/>
              <a:gd name="T4" fmla="*/ 60 w 178"/>
              <a:gd name="T5" fmla="*/ 0 h 198"/>
              <a:gd name="T6" fmla="*/ 60 w 178"/>
              <a:gd name="T7" fmla="*/ 24 h 198"/>
              <a:gd name="T8" fmla="*/ 31 w 178"/>
              <a:gd name="T9" fmla="*/ 24 h 198"/>
              <a:gd name="T10" fmla="*/ 66 w 178"/>
              <a:gd name="T11" fmla="*/ 52 h 198"/>
              <a:gd name="T12" fmla="*/ 80 w 178"/>
              <a:gd name="T13" fmla="*/ 71 h 198"/>
              <a:gd name="T14" fmla="*/ 79 w 178"/>
              <a:gd name="T15" fmla="*/ 83 h 198"/>
              <a:gd name="T16" fmla="*/ 33 w 178"/>
              <a:gd name="T17" fmla="*/ 84 h 198"/>
              <a:gd name="T18" fmla="*/ 4 w 178"/>
              <a:gd name="T19" fmla="*/ 132 h 198"/>
              <a:gd name="T20" fmla="*/ 6 w 178"/>
              <a:gd name="T21" fmla="*/ 139 h 198"/>
              <a:gd name="T22" fmla="*/ 0 w 178"/>
              <a:gd name="T23" fmla="*/ 157 h 198"/>
              <a:gd name="T24" fmla="*/ 40 w 178"/>
              <a:gd name="T25" fmla="*/ 188 h 198"/>
              <a:gd name="T26" fmla="*/ 100 w 178"/>
              <a:gd name="T27" fmla="*/ 198 h 198"/>
              <a:gd name="T28" fmla="*/ 105 w 178"/>
              <a:gd name="T29" fmla="*/ 186 h 198"/>
              <a:gd name="T30" fmla="*/ 122 w 178"/>
              <a:gd name="T31" fmla="*/ 177 h 198"/>
              <a:gd name="T32" fmla="*/ 127 w 178"/>
              <a:gd name="T33" fmla="*/ 164 h 198"/>
              <a:gd name="T34" fmla="*/ 138 w 178"/>
              <a:gd name="T35" fmla="*/ 154 h 198"/>
              <a:gd name="T36" fmla="*/ 138 w 178"/>
              <a:gd name="T37" fmla="*/ 140 h 198"/>
              <a:gd name="T38" fmla="*/ 175 w 178"/>
              <a:gd name="T39" fmla="*/ 111 h 198"/>
              <a:gd name="T40" fmla="*/ 178 w 178"/>
              <a:gd name="T41" fmla="*/ 101 h 198"/>
              <a:gd name="T42" fmla="*/ 172 w 178"/>
              <a:gd name="T43" fmla="*/ 98 h 198"/>
              <a:gd name="T44" fmla="*/ 163 w 178"/>
              <a:gd name="T45" fmla="*/ 101 h 198"/>
              <a:gd name="T46" fmla="*/ 153 w 178"/>
              <a:gd name="T47" fmla="*/ 92 h 198"/>
              <a:gd name="T48" fmla="*/ 138 w 178"/>
              <a:gd name="T49" fmla="*/ 91 h 198"/>
              <a:gd name="T50" fmla="*/ 139 w 178"/>
              <a:gd name="T51"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8" h="198">
                <a:moveTo>
                  <a:pt x="139" y="0"/>
                </a:moveTo>
                <a:lnTo>
                  <a:pt x="104" y="0"/>
                </a:lnTo>
                <a:lnTo>
                  <a:pt x="60" y="0"/>
                </a:lnTo>
                <a:lnTo>
                  <a:pt x="60" y="24"/>
                </a:lnTo>
                <a:lnTo>
                  <a:pt x="31" y="24"/>
                </a:lnTo>
                <a:lnTo>
                  <a:pt x="66" y="52"/>
                </a:lnTo>
                <a:lnTo>
                  <a:pt x="80" y="71"/>
                </a:lnTo>
                <a:lnTo>
                  <a:pt x="79" y="83"/>
                </a:lnTo>
                <a:lnTo>
                  <a:pt x="33" y="84"/>
                </a:lnTo>
                <a:lnTo>
                  <a:pt x="4" y="132"/>
                </a:lnTo>
                <a:lnTo>
                  <a:pt x="6" y="139"/>
                </a:lnTo>
                <a:lnTo>
                  <a:pt x="0" y="157"/>
                </a:lnTo>
                <a:lnTo>
                  <a:pt x="40" y="188"/>
                </a:lnTo>
                <a:lnTo>
                  <a:pt x="100" y="198"/>
                </a:lnTo>
                <a:lnTo>
                  <a:pt x="105" y="186"/>
                </a:lnTo>
                <a:lnTo>
                  <a:pt x="122" y="177"/>
                </a:lnTo>
                <a:lnTo>
                  <a:pt x="127" y="164"/>
                </a:lnTo>
                <a:lnTo>
                  <a:pt x="138" y="154"/>
                </a:lnTo>
                <a:lnTo>
                  <a:pt x="138" y="140"/>
                </a:lnTo>
                <a:lnTo>
                  <a:pt x="175" y="111"/>
                </a:lnTo>
                <a:lnTo>
                  <a:pt x="178" y="101"/>
                </a:lnTo>
                <a:lnTo>
                  <a:pt x="172" y="98"/>
                </a:lnTo>
                <a:lnTo>
                  <a:pt x="163" y="101"/>
                </a:lnTo>
                <a:lnTo>
                  <a:pt x="153" y="92"/>
                </a:lnTo>
                <a:lnTo>
                  <a:pt x="138" y="91"/>
                </a:lnTo>
                <a:lnTo>
                  <a:pt x="139" y="0"/>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6" name="Freeform 171">
            <a:extLst>
              <a:ext uri="{FF2B5EF4-FFF2-40B4-BE49-F238E27FC236}">
                <a16:creationId xmlns:a16="http://schemas.microsoft.com/office/drawing/2014/main" id="{927EFD02-8E25-4D47-9C66-01CC207D0701}"/>
              </a:ext>
            </a:extLst>
          </p:cNvPr>
          <p:cNvSpPr>
            <a:spLocks noChangeAspect="1"/>
          </p:cNvSpPr>
          <p:nvPr/>
        </p:nvSpPr>
        <p:spPr bwMode="gray">
          <a:xfrm>
            <a:off x="814349" y="1645722"/>
            <a:ext cx="103790" cy="66451"/>
          </a:xfrm>
          <a:custGeom>
            <a:avLst/>
            <a:gdLst>
              <a:gd name="T0" fmla="*/ 0 w 106"/>
              <a:gd name="T1" fmla="*/ 34 h 60"/>
              <a:gd name="T2" fmla="*/ 5 w 106"/>
              <a:gd name="T3" fmla="*/ 22 h 60"/>
              <a:gd name="T4" fmla="*/ 22 w 106"/>
              <a:gd name="T5" fmla="*/ 13 h 60"/>
              <a:gd name="T6" fmla="*/ 27 w 106"/>
              <a:gd name="T7" fmla="*/ 0 h 60"/>
              <a:gd name="T8" fmla="*/ 42 w 106"/>
              <a:gd name="T9" fmla="*/ 4 h 60"/>
              <a:gd name="T10" fmla="*/ 72 w 106"/>
              <a:gd name="T11" fmla="*/ 26 h 60"/>
              <a:gd name="T12" fmla="*/ 90 w 106"/>
              <a:gd name="T13" fmla="*/ 24 h 60"/>
              <a:gd name="T14" fmla="*/ 98 w 106"/>
              <a:gd name="T15" fmla="*/ 27 h 60"/>
              <a:gd name="T16" fmla="*/ 104 w 106"/>
              <a:gd name="T17" fmla="*/ 32 h 60"/>
              <a:gd name="T18" fmla="*/ 106 w 106"/>
              <a:gd name="T19" fmla="*/ 49 h 60"/>
              <a:gd name="T20" fmla="*/ 87 w 106"/>
              <a:gd name="T21" fmla="*/ 60 h 60"/>
              <a:gd name="T22" fmla="*/ 63 w 106"/>
              <a:gd name="T23" fmla="*/ 60 h 60"/>
              <a:gd name="T24" fmla="*/ 17 w 106"/>
              <a:gd name="T25" fmla="*/ 44 h 60"/>
              <a:gd name="T26" fmla="*/ 0 w 106"/>
              <a:gd name="T27"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60">
                <a:moveTo>
                  <a:pt x="0" y="34"/>
                </a:moveTo>
                <a:lnTo>
                  <a:pt x="5" y="22"/>
                </a:lnTo>
                <a:lnTo>
                  <a:pt x="22" y="13"/>
                </a:lnTo>
                <a:lnTo>
                  <a:pt x="27" y="0"/>
                </a:lnTo>
                <a:lnTo>
                  <a:pt x="42" y="4"/>
                </a:lnTo>
                <a:lnTo>
                  <a:pt x="72" y="26"/>
                </a:lnTo>
                <a:lnTo>
                  <a:pt x="90" y="24"/>
                </a:lnTo>
                <a:lnTo>
                  <a:pt x="98" y="27"/>
                </a:lnTo>
                <a:lnTo>
                  <a:pt x="104" y="32"/>
                </a:lnTo>
                <a:lnTo>
                  <a:pt x="106" y="49"/>
                </a:lnTo>
                <a:lnTo>
                  <a:pt x="87" y="60"/>
                </a:lnTo>
                <a:lnTo>
                  <a:pt x="63" y="60"/>
                </a:lnTo>
                <a:lnTo>
                  <a:pt x="17" y="44"/>
                </a:lnTo>
                <a:lnTo>
                  <a:pt x="0" y="34"/>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7" name="Freeform 172">
            <a:extLst>
              <a:ext uri="{FF2B5EF4-FFF2-40B4-BE49-F238E27FC236}">
                <a16:creationId xmlns:a16="http://schemas.microsoft.com/office/drawing/2014/main" id="{D636A53C-4ABC-8243-B375-2B17A3D3583C}"/>
              </a:ext>
            </a:extLst>
          </p:cNvPr>
          <p:cNvSpPr>
            <a:spLocks noChangeAspect="1"/>
          </p:cNvSpPr>
          <p:nvPr/>
        </p:nvSpPr>
        <p:spPr bwMode="gray">
          <a:xfrm>
            <a:off x="927871" y="1610539"/>
            <a:ext cx="194602" cy="238446"/>
          </a:xfrm>
          <a:custGeom>
            <a:avLst/>
            <a:gdLst>
              <a:gd name="T0" fmla="*/ 82 w 197"/>
              <a:gd name="T1" fmla="*/ 186 h 200"/>
              <a:gd name="T2" fmla="*/ 93 w 197"/>
              <a:gd name="T3" fmla="*/ 181 h 200"/>
              <a:gd name="T4" fmla="*/ 119 w 197"/>
              <a:gd name="T5" fmla="*/ 189 h 200"/>
              <a:gd name="T6" fmla="*/ 138 w 197"/>
              <a:gd name="T7" fmla="*/ 188 h 200"/>
              <a:gd name="T8" fmla="*/ 158 w 197"/>
              <a:gd name="T9" fmla="*/ 200 h 200"/>
              <a:gd name="T10" fmla="*/ 178 w 197"/>
              <a:gd name="T11" fmla="*/ 193 h 200"/>
              <a:gd name="T12" fmla="*/ 172 w 197"/>
              <a:gd name="T13" fmla="*/ 167 h 200"/>
              <a:gd name="T14" fmla="*/ 176 w 197"/>
              <a:gd name="T15" fmla="*/ 152 h 200"/>
              <a:gd name="T16" fmla="*/ 184 w 197"/>
              <a:gd name="T17" fmla="*/ 70 h 200"/>
              <a:gd name="T18" fmla="*/ 195 w 197"/>
              <a:gd name="T19" fmla="*/ 36 h 200"/>
              <a:gd name="T20" fmla="*/ 197 w 197"/>
              <a:gd name="T21" fmla="*/ 0 h 200"/>
              <a:gd name="T22" fmla="*/ 187 w 197"/>
              <a:gd name="T23" fmla="*/ 0 h 200"/>
              <a:gd name="T24" fmla="*/ 151 w 197"/>
              <a:gd name="T25" fmla="*/ 19 h 200"/>
              <a:gd name="T26" fmla="*/ 136 w 197"/>
              <a:gd name="T27" fmla="*/ 17 h 200"/>
              <a:gd name="T28" fmla="*/ 125 w 197"/>
              <a:gd name="T29" fmla="*/ 10 h 200"/>
              <a:gd name="T30" fmla="*/ 111 w 197"/>
              <a:gd name="T31" fmla="*/ 36 h 200"/>
              <a:gd name="T32" fmla="*/ 104 w 197"/>
              <a:gd name="T33" fmla="*/ 36 h 200"/>
              <a:gd name="T34" fmla="*/ 82 w 197"/>
              <a:gd name="T35" fmla="*/ 53 h 200"/>
              <a:gd name="T36" fmla="*/ 65 w 197"/>
              <a:gd name="T37" fmla="*/ 45 h 200"/>
              <a:gd name="T38" fmla="*/ 57 w 197"/>
              <a:gd name="T39" fmla="*/ 61 h 200"/>
              <a:gd name="T40" fmla="*/ 37 w 197"/>
              <a:gd name="T41" fmla="*/ 61 h 200"/>
              <a:gd name="T42" fmla="*/ 36 w 197"/>
              <a:gd name="T43" fmla="*/ 79 h 200"/>
              <a:gd name="T44" fmla="*/ 25 w 197"/>
              <a:gd name="T45" fmla="*/ 93 h 200"/>
              <a:gd name="T46" fmla="*/ 9 w 197"/>
              <a:gd name="T47" fmla="*/ 95 h 200"/>
              <a:gd name="T48" fmla="*/ 0 w 197"/>
              <a:gd name="T49" fmla="*/ 95 h 200"/>
              <a:gd name="T50" fmla="*/ 0 w 197"/>
              <a:gd name="T51" fmla="*/ 102 h 200"/>
              <a:gd name="T52" fmla="*/ 82 w 197"/>
              <a:gd name="T53" fmla="*/ 18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7" h="200">
                <a:moveTo>
                  <a:pt x="82" y="186"/>
                </a:moveTo>
                <a:lnTo>
                  <a:pt x="93" y="181"/>
                </a:lnTo>
                <a:lnTo>
                  <a:pt x="119" y="189"/>
                </a:lnTo>
                <a:lnTo>
                  <a:pt x="138" y="188"/>
                </a:lnTo>
                <a:lnTo>
                  <a:pt x="158" y="200"/>
                </a:lnTo>
                <a:lnTo>
                  <a:pt x="178" y="193"/>
                </a:lnTo>
                <a:lnTo>
                  <a:pt x="172" y="167"/>
                </a:lnTo>
                <a:lnTo>
                  <a:pt x="176" y="152"/>
                </a:lnTo>
                <a:lnTo>
                  <a:pt x="184" y="70"/>
                </a:lnTo>
                <a:lnTo>
                  <a:pt x="195" y="36"/>
                </a:lnTo>
                <a:lnTo>
                  <a:pt x="197" y="0"/>
                </a:lnTo>
                <a:lnTo>
                  <a:pt x="187" y="0"/>
                </a:lnTo>
                <a:lnTo>
                  <a:pt x="151" y="19"/>
                </a:lnTo>
                <a:lnTo>
                  <a:pt x="136" y="17"/>
                </a:lnTo>
                <a:lnTo>
                  <a:pt x="125" y="10"/>
                </a:lnTo>
                <a:lnTo>
                  <a:pt x="111" y="36"/>
                </a:lnTo>
                <a:lnTo>
                  <a:pt x="104" y="36"/>
                </a:lnTo>
                <a:lnTo>
                  <a:pt x="82" y="53"/>
                </a:lnTo>
                <a:lnTo>
                  <a:pt x="65" y="45"/>
                </a:lnTo>
                <a:lnTo>
                  <a:pt x="57" y="61"/>
                </a:lnTo>
                <a:lnTo>
                  <a:pt x="37" y="61"/>
                </a:lnTo>
                <a:lnTo>
                  <a:pt x="36" y="79"/>
                </a:lnTo>
                <a:lnTo>
                  <a:pt x="25" y="93"/>
                </a:lnTo>
                <a:lnTo>
                  <a:pt x="9" y="95"/>
                </a:lnTo>
                <a:lnTo>
                  <a:pt x="0" y="95"/>
                </a:lnTo>
                <a:lnTo>
                  <a:pt x="0" y="102"/>
                </a:lnTo>
                <a:lnTo>
                  <a:pt x="82" y="186"/>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8" name="Freeform 173">
            <a:extLst>
              <a:ext uri="{FF2B5EF4-FFF2-40B4-BE49-F238E27FC236}">
                <a16:creationId xmlns:a16="http://schemas.microsoft.com/office/drawing/2014/main" id="{0ED6F024-3C5C-CF41-8FC8-D40FFE364316}"/>
              </a:ext>
            </a:extLst>
          </p:cNvPr>
          <p:cNvSpPr>
            <a:spLocks noChangeAspect="1"/>
          </p:cNvSpPr>
          <p:nvPr/>
        </p:nvSpPr>
        <p:spPr bwMode="gray">
          <a:xfrm>
            <a:off x="840295" y="1551903"/>
            <a:ext cx="282170" cy="171995"/>
          </a:xfrm>
          <a:custGeom>
            <a:avLst/>
            <a:gdLst>
              <a:gd name="T0" fmla="*/ 285 w 285"/>
              <a:gd name="T1" fmla="*/ 46 h 141"/>
              <a:gd name="T2" fmla="*/ 275 w 285"/>
              <a:gd name="T3" fmla="*/ 46 h 141"/>
              <a:gd name="T4" fmla="*/ 239 w 285"/>
              <a:gd name="T5" fmla="*/ 65 h 141"/>
              <a:gd name="T6" fmla="*/ 224 w 285"/>
              <a:gd name="T7" fmla="*/ 63 h 141"/>
              <a:gd name="T8" fmla="*/ 213 w 285"/>
              <a:gd name="T9" fmla="*/ 56 h 141"/>
              <a:gd name="T10" fmla="*/ 199 w 285"/>
              <a:gd name="T11" fmla="*/ 82 h 141"/>
              <a:gd name="T12" fmla="*/ 192 w 285"/>
              <a:gd name="T13" fmla="*/ 82 h 141"/>
              <a:gd name="T14" fmla="*/ 170 w 285"/>
              <a:gd name="T15" fmla="*/ 99 h 141"/>
              <a:gd name="T16" fmla="*/ 153 w 285"/>
              <a:gd name="T17" fmla="*/ 91 h 141"/>
              <a:gd name="T18" fmla="*/ 145 w 285"/>
              <a:gd name="T19" fmla="*/ 107 h 141"/>
              <a:gd name="T20" fmla="*/ 125 w 285"/>
              <a:gd name="T21" fmla="*/ 107 h 141"/>
              <a:gd name="T22" fmla="*/ 124 w 285"/>
              <a:gd name="T23" fmla="*/ 125 h 141"/>
              <a:gd name="T24" fmla="*/ 113 w 285"/>
              <a:gd name="T25" fmla="*/ 139 h 141"/>
              <a:gd name="T26" fmla="*/ 97 w 285"/>
              <a:gd name="T27" fmla="*/ 141 h 141"/>
              <a:gd name="T28" fmla="*/ 88 w 285"/>
              <a:gd name="T29" fmla="*/ 124 h 141"/>
              <a:gd name="T30" fmla="*/ 79 w 285"/>
              <a:gd name="T31" fmla="*/ 122 h 141"/>
              <a:gd name="T32" fmla="*/ 77 w 285"/>
              <a:gd name="T33" fmla="*/ 105 h 141"/>
              <a:gd name="T34" fmla="*/ 71 w 285"/>
              <a:gd name="T35" fmla="*/ 100 h 141"/>
              <a:gd name="T36" fmla="*/ 63 w 285"/>
              <a:gd name="T37" fmla="*/ 97 h 141"/>
              <a:gd name="T38" fmla="*/ 45 w 285"/>
              <a:gd name="T39" fmla="*/ 99 h 141"/>
              <a:gd name="T40" fmla="*/ 15 w 285"/>
              <a:gd name="T41" fmla="*/ 77 h 141"/>
              <a:gd name="T42" fmla="*/ 0 w 285"/>
              <a:gd name="T43" fmla="*/ 73 h 141"/>
              <a:gd name="T44" fmla="*/ 11 w 285"/>
              <a:gd name="T45" fmla="*/ 63 h 141"/>
              <a:gd name="T46" fmla="*/ 11 w 285"/>
              <a:gd name="T47" fmla="*/ 49 h 141"/>
              <a:gd name="T48" fmla="*/ 48 w 285"/>
              <a:gd name="T49" fmla="*/ 20 h 141"/>
              <a:gd name="T50" fmla="*/ 51 w 285"/>
              <a:gd name="T51" fmla="*/ 10 h 141"/>
              <a:gd name="T52" fmla="*/ 79 w 285"/>
              <a:gd name="T53" fmla="*/ 7 h 141"/>
              <a:gd name="T54" fmla="*/ 124 w 285"/>
              <a:gd name="T55" fmla="*/ 10 h 141"/>
              <a:gd name="T56" fmla="*/ 168 w 285"/>
              <a:gd name="T57" fmla="*/ 0 h 141"/>
              <a:gd name="T58" fmla="*/ 176 w 285"/>
              <a:gd name="T59" fmla="*/ 6 h 141"/>
              <a:gd name="T60" fmla="*/ 204 w 285"/>
              <a:gd name="T61" fmla="*/ 1 h 141"/>
              <a:gd name="T62" fmla="*/ 246 w 285"/>
              <a:gd name="T63" fmla="*/ 14 h 141"/>
              <a:gd name="T64" fmla="*/ 277 w 285"/>
              <a:gd name="T65" fmla="*/ 32 h 141"/>
              <a:gd name="T66" fmla="*/ 285 w 285"/>
              <a:gd name="T67" fmla="*/ 4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5" h="141">
                <a:moveTo>
                  <a:pt x="285" y="46"/>
                </a:moveTo>
                <a:lnTo>
                  <a:pt x="275" y="46"/>
                </a:lnTo>
                <a:lnTo>
                  <a:pt x="239" y="65"/>
                </a:lnTo>
                <a:lnTo>
                  <a:pt x="224" y="63"/>
                </a:lnTo>
                <a:lnTo>
                  <a:pt x="213" y="56"/>
                </a:lnTo>
                <a:lnTo>
                  <a:pt x="199" y="82"/>
                </a:lnTo>
                <a:lnTo>
                  <a:pt x="192" y="82"/>
                </a:lnTo>
                <a:lnTo>
                  <a:pt x="170" y="99"/>
                </a:lnTo>
                <a:lnTo>
                  <a:pt x="153" y="91"/>
                </a:lnTo>
                <a:lnTo>
                  <a:pt x="145" y="107"/>
                </a:lnTo>
                <a:lnTo>
                  <a:pt x="125" y="107"/>
                </a:lnTo>
                <a:lnTo>
                  <a:pt x="124" y="125"/>
                </a:lnTo>
                <a:lnTo>
                  <a:pt x="113" y="139"/>
                </a:lnTo>
                <a:lnTo>
                  <a:pt x="97" y="141"/>
                </a:lnTo>
                <a:lnTo>
                  <a:pt x="88" y="124"/>
                </a:lnTo>
                <a:lnTo>
                  <a:pt x="79" y="122"/>
                </a:lnTo>
                <a:lnTo>
                  <a:pt x="77" y="105"/>
                </a:lnTo>
                <a:lnTo>
                  <a:pt x="71" y="100"/>
                </a:lnTo>
                <a:lnTo>
                  <a:pt x="63" y="97"/>
                </a:lnTo>
                <a:lnTo>
                  <a:pt x="45" y="99"/>
                </a:lnTo>
                <a:lnTo>
                  <a:pt x="15" y="77"/>
                </a:lnTo>
                <a:lnTo>
                  <a:pt x="0" y="73"/>
                </a:lnTo>
                <a:lnTo>
                  <a:pt x="11" y="63"/>
                </a:lnTo>
                <a:lnTo>
                  <a:pt x="11" y="49"/>
                </a:lnTo>
                <a:lnTo>
                  <a:pt x="48" y="20"/>
                </a:lnTo>
                <a:lnTo>
                  <a:pt x="51" y="10"/>
                </a:lnTo>
                <a:lnTo>
                  <a:pt x="79" y="7"/>
                </a:lnTo>
                <a:lnTo>
                  <a:pt x="124" y="10"/>
                </a:lnTo>
                <a:lnTo>
                  <a:pt x="168" y="0"/>
                </a:lnTo>
                <a:lnTo>
                  <a:pt x="176" y="6"/>
                </a:lnTo>
                <a:lnTo>
                  <a:pt x="204" y="1"/>
                </a:lnTo>
                <a:lnTo>
                  <a:pt x="246" y="14"/>
                </a:lnTo>
                <a:lnTo>
                  <a:pt x="277" y="32"/>
                </a:lnTo>
                <a:lnTo>
                  <a:pt x="285" y="46"/>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9" name="Freeform 174">
            <a:extLst>
              <a:ext uri="{FF2B5EF4-FFF2-40B4-BE49-F238E27FC236}">
                <a16:creationId xmlns:a16="http://schemas.microsoft.com/office/drawing/2014/main" id="{F6C50C17-8928-5942-A9C4-935644CA31D9}"/>
              </a:ext>
            </a:extLst>
          </p:cNvPr>
          <p:cNvSpPr>
            <a:spLocks noChangeAspect="1"/>
          </p:cNvSpPr>
          <p:nvPr/>
        </p:nvSpPr>
        <p:spPr bwMode="gray">
          <a:xfrm>
            <a:off x="1005705" y="1825534"/>
            <a:ext cx="149194" cy="160263"/>
          </a:xfrm>
          <a:custGeom>
            <a:avLst/>
            <a:gdLst>
              <a:gd name="T0" fmla="*/ 130 w 150"/>
              <a:gd name="T1" fmla="*/ 132 h 132"/>
              <a:gd name="T2" fmla="*/ 136 w 150"/>
              <a:gd name="T3" fmla="*/ 124 h 132"/>
              <a:gd name="T4" fmla="*/ 144 w 150"/>
              <a:gd name="T5" fmla="*/ 98 h 132"/>
              <a:gd name="T6" fmla="*/ 135 w 150"/>
              <a:gd name="T7" fmla="*/ 91 h 132"/>
              <a:gd name="T8" fmla="*/ 136 w 150"/>
              <a:gd name="T9" fmla="*/ 79 h 132"/>
              <a:gd name="T10" fmla="*/ 142 w 150"/>
              <a:gd name="T11" fmla="*/ 73 h 132"/>
              <a:gd name="T12" fmla="*/ 150 w 150"/>
              <a:gd name="T13" fmla="*/ 73 h 132"/>
              <a:gd name="T14" fmla="*/ 118 w 150"/>
              <a:gd name="T15" fmla="*/ 45 h 132"/>
              <a:gd name="T16" fmla="*/ 99 w 150"/>
              <a:gd name="T17" fmla="*/ 12 h 132"/>
              <a:gd name="T18" fmla="*/ 79 w 150"/>
              <a:gd name="T19" fmla="*/ 19 h 132"/>
              <a:gd name="T20" fmla="*/ 59 w 150"/>
              <a:gd name="T21" fmla="*/ 7 h 132"/>
              <a:gd name="T22" fmla="*/ 40 w 150"/>
              <a:gd name="T23" fmla="*/ 8 h 132"/>
              <a:gd name="T24" fmla="*/ 14 w 150"/>
              <a:gd name="T25" fmla="*/ 0 h 132"/>
              <a:gd name="T26" fmla="*/ 3 w 150"/>
              <a:gd name="T27" fmla="*/ 5 h 132"/>
              <a:gd name="T28" fmla="*/ 0 w 150"/>
              <a:gd name="T29" fmla="*/ 34 h 132"/>
              <a:gd name="T30" fmla="*/ 8 w 150"/>
              <a:gd name="T31" fmla="*/ 56 h 132"/>
              <a:gd name="T32" fmla="*/ 37 w 150"/>
              <a:gd name="T33" fmla="*/ 71 h 132"/>
              <a:gd name="T34" fmla="*/ 40 w 150"/>
              <a:gd name="T35" fmla="*/ 57 h 132"/>
              <a:gd name="T36" fmla="*/ 32 w 150"/>
              <a:gd name="T37" fmla="*/ 53 h 132"/>
              <a:gd name="T38" fmla="*/ 42 w 150"/>
              <a:gd name="T39" fmla="*/ 51 h 132"/>
              <a:gd name="T40" fmla="*/ 62 w 150"/>
              <a:gd name="T41" fmla="*/ 78 h 132"/>
              <a:gd name="T42" fmla="*/ 97 w 150"/>
              <a:gd name="T43" fmla="*/ 96 h 132"/>
              <a:gd name="T44" fmla="*/ 101 w 150"/>
              <a:gd name="T45" fmla="*/ 122 h 132"/>
              <a:gd name="T46" fmla="*/ 114 w 150"/>
              <a:gd name="T47" fmla="*/ 127 h 132"/>
              <a:gd name="T48" fmla="*/ 113 w 150"/>
              <a:gd name="T49" fmla="*/ 115 h 132"/>
              <a:gd name="T50" fmla="*/ 118 w 150"/>
              <a:gd name="T51" fmla="*/ 115 h 132"/>
              <a:gd name="T52" fmla="*/ 130 w 150"/>
              <a:gd name="T53"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0" h="132">
                <a:moveTo>
                  <a:pt x="130" y="132"/>
                </a:moveTo>
                <a:lnTo>
                  <a:pt x="136" y="124"/>
                </a:lnTo>
                <a:lnTo>
                  <a:pt x="144" y="98"/>
                </a:lnTo>
                <a:lnTo>
                  <a:pt x="135" y="91"/>
                </a:lnTo>
                <a:lnTo>
                  <a:pt x="136" y="79"/>
                </a:lnTo>
                <a:lnTo>
                  <a:pt x="142" y="73"/>
                </a:lnTo>
                <a:lnTo>
                  <a:pt x="150" y="73"/>
                </a:lnTo>
                <a:lnTo>
                  <a:pt x="118" y="45"/>
                </a:lnTo>
                <a:lnTo>
                  <a:pt x="99" y="12"/>
                </a:lnTo>
                <a:lnTo>
                  <a:pt x="79" y="19"/>
                </a:lnTo>
                <a:lnTo>
                  <a:pt x="59" y="7"/>
                </a:lnTo>
                <a:lnTo>
                  <a:pt x="40" y="8"/>
                </a:lnTo>
                <a:lnTo>
                  <a:pt x="14" y="0"/>
                </a:lnTo>
                <a:lnTo>
                  <a:pt x="3" y="5"/>
                </a:lnTo>
                <a:lnTo>
                  <a:pt x="0" y="34"/>
                </a:lnTo>
                <a:lnTo>
                  <a:pt x="8" y="56"/>
                </a:lnTo>
                <a:lnTo>
                  <a:pt x="37" y="71"/>
                </a:lnTo>
                <a:lnTo>
                  <a:pt x="40" y="57"/>
                </a:lnTo>
                <a:lnTo>
                  <a:pt x="32" y="53"/>
                </a:lnTo>
                <a:lnTo>
                  <a:pt x="42" y="51"/>
                </a:lnTo>
                <a:lnTo>
                  <a:pt x="62" y="78"/>
                </a:lnTo>
                <a:lnTo>
                  <a:pt x="97" y="96"/>
                </a:lnTo>
                <a:lnTo>
                  <a:pt x="101" y="122"/>
                </a:lnTo>
                <a:lnTo>
                  <a:pt x="114" y="127"/>
                </a:lnTo>
                <a:lnTo>
                  <a:pt x="113" y="115"/>
                </a:lnTo>
                <a:lnTo>
                  <a:pt x="118" y="115"/>
                </a:lnTo>
                <a:lnTo>
                  <a:pt x="130" y="132"/>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10" name="Freeform 175">
            <a:extLst>
              <a:ext uri="{FF2B5EF4-FFF2-40B4-BE49-F238E27FC236}">
                <a16:creationId xmlns:a16="http://schemas.microsoft.com/office/drawing/2014/main" id="{046F8377-DC22-5B4C-8681-53AE71B8CF63}"/>
              </a:ext>
            </a:extLst>
          </p:cNvPr>
          <p:cNvSpPr>
            <a:spLocks noChangeAspect="1"/>
          </p:cNvSpPr>
          <p:nvPr/>
        </p:nvSpPr>
        <p:spPr bwMode="gray">
          <a:xfrm>
            <a:off x="850027" y="1415090"/>
            <a:ext cx="51892" cy="144631"/>
          </a:xfrm>
          <a:custGeom>
            <a:avLst/>
            <a:gdLst>
              <a:gd name="T0" fmla="*/ 15 w 51"/>
              <a:gd name="T1" fmla="*/ 119 h 119"/>
              <a:gd name="T2" fmla="*/ 0 w 51"/>
              <a:gd name="T3" fmla="*/ 118 h 119"/>
              <a:gd name="T4" fmla="*/ 1 w 51"/>
              <a:gd name="T5" fmla="*/ 27 h 119"/>
              <a:gd name="T6" fmla="*/ 17 w 51"/>
              <a:gd name="T7" fmla="*/ 25 h 119"/>
              <a:gd name="T8" fmla="*/ 30 w 51"/>
              <a:gd name="T9" fmla="*/ 2 h 119"/>
              <a:gd name="T10" fmla="*/ 37 w 51"/>
              <a:gd name="T11" fmla="*/ 0 h 119"/>
              <a:gd name="T12" fmla="*/ 51 w 51"/>
              <a:gd name="T13" fmla="*/ 10 h 119"/>
              <a:gd name="T14" fmla="*/ 43 w 51"/>
              <a:gd name="T15" fmla="*/ 34 h 119"/>
              <a:gd name="T16" fmla="*/ 42 w 51"/>
              <a:gd name="T17" fmla="*/ 74 h 119"/>
              <a:gd name="T18" fmla="*/ 37 w 51"/>
              <a:gd name="T19" fmla="*/ 91 h 119"/>
              <a:gd name="T20" fmla="*/ 17 w 51"/>
              <a:gd name="T21" fmla="*/ 110 h 119"/>
              <a:gd name="T22" fmla="*/ 15 w 51"/>
              <a:gd name="T23"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119">
                <a:moveTo>
                  <a:pt x="15" y="119"/>
                </a:moveTo>
                <a:lnTo>
                  <a:pt x="0" y="118"/>
                </a:lnTo>
                <a:lnTo>
                  <a:pt x="1" y="27"/>
                </a:lnTo>
                <a:lnTo>
                  <a:pt x="17" y="25"/>
                </a:lnTo>
                <a:lnTo>
                  <a:pt x="30" y="2"/>
                </a:lnTo>
                <a:lnTo>
                  <a:pt x="37" y="0"/>
                </a:lnTo>
                <a:lnTo>
                  <a:pt x="51" y="10"/>
                </a:lnTo>
                <a:lnTo>
                  <a:pt x="43" y="34"/>
                </a:lnTo>
                <a:lnTo>
                  <a:pt x="42" y="74"/>
                </a:lnTo>
                <a:lnTo>
                  <a:pt x="37" y="91"/>
                </a:lnTo>
                <a:lnTo>
                  <a:pt x="17" y="110"/>
                </a:lnTo>
                <a:lnTo>
                  <a:pt x="15" y="119"/>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11" name="Freeform 182">
            <a:extLst>
              <a:ext uri="{FF2B5EF4-FFF2-40B4-BE49-F238E27FC236}">
                <a16:creationId xmlns:a16="http://schemas.microsoft.com/office/drawing/2014/main" id="{76D98401-747D-C048-81FF-45603FAF55E4}"/>
              </a:ext>
            </a:extLst>
          </p:cNvPr>
          <p:cNvSpPr>
            <a:spLocks noChangeAspect="1" noEditPoints="1"/>
          </p:cNvSpPr>
          <p:nvPr/>
        </p:nvSpPr>
        <p:spPr bwMode="gray">
          <a:xfrm>
            <a:off x="2056552" y="1473725"/>
            <a:ext cx="90815" cy="207176"/>
          </a:xfrm>
          <a:custGeom>
            <a:avLst/>
            <a:gdLst>
              <a:gd name="T0" fmla="*/ 89 w 92"/>
              <a:gd name="T1" fmla="*/ 164 h 178"/>
              <a:gd name="T2" fmla="*/ 86 w 92"/>
              <a:gd name="T3" fmla="*/ 177 h 178"/>
              <a:gd name="T4" fmla="*/ 89 w 92"/>
              <a:gd name="T5" fmla="*/ 178 h 178"/>
              <a:gd name="T6" fmla="*/ 89 w 92"/>
              <a:gd name="T7" fmla="*/ 164 h 178"/>
              <a:gd name="T8" fmla="*/ 4 w 92"/>
              <a:gd name="T9" fmla="*/ 0 h 178"/>
              <a:gd name="T10" fmla="*/ 0 w 92"/>
              <a:gd name="T11" fmla="*/ 0 h 178"/>
              <a:gd name="T12" fmla="*/ 3 w 92"/>
              <a:gd name="T13" fmla="*/ 8 h 178"/>
              <a:gd name="T14" fmla="*/ 4 w 92"/>
              <a:gd name="T15" fmla="*/ 0 h 178"/>
              <a:gd name="T16" fmla="*/ 49 w 92"/>
              <a:gd name="T17" fmla="*/ 14 h 178"/>
              <a:gd name="T18" fmla="*/ 49 w 92"/>
              <a:gd name="T19" fmla="*/ 23 h 178"/>
              <a:gd name="T20" fmla="*/ 54 w 92"/>
              <a:gd name="T21" fmla="*/ 17 h 178"/>
              <a:gd name="T22" fmla="*/ 49 w 92"/>
              <a:gd name="T23" fmla="*/ 14 h 178"/>
              <a:gd name="T24" fmla="*/ 67 w 92"/>
              <a:gd name="T25" fmla="*/ 45 h 178"/>
              <a:gd name="T26" fmla="*/ 60 w 92"/>
              <a:gd name="T27" fmla="*/ 53 h 178"/>
              <a:gd name="T28" fmla="*/ 52 w 92"/>
              <a:gd name="T29" fmla="*/ 51 h 178"/>
              <a:gd name="T30" fmla="*/ 51 w 92"/>
              <a:gd name="T31" fmla="*/ 68 h 178"/>
              <a:gd name="T32" fmla="*/ 57 w 92"/>
              <a:gd name="T33" fmla="*/ 68 h 178"/>
              <a:gd name="T34" fmla="*/ 63 w 92"/>
              <a:gd name="T35" fmla="*/ 60 h 178"/>
              <a:gd name="T36" fmla="*/ 74 w 92"/>
              <a:gd name="T37" fmla="*/ 57 h 178"/>
              <a:gd name="T38" fmla="*/ 67 w 92"/>
              <a:gd name="T39" fmla="*/ 45 h 178"/>
              <a:gd name="T40" fmla="*/ 72 w 92"/>
              <a:gd name="T41" fmla="*/ 87 h 178"/>
              <a:gd name="T42" fmla="*/ 69 w 92"/>
              <a:gd name="T43" fmla="*/ 101 h 178"/>
              <a:gd name="T44" fmla="*/ 75 w 92"/>
              <a:gd name="T45" fmla="*/ 105 h 178"/>
              <a:gd name="T46" fmla="*/ 75 w 92"/>
              <a:gd name="T47" fmla="*/ 90 h 178"/>
              <a:gd name="T48" fmla="*/ 72 w 92"/>
              <a:gd name="T49" fmla="*/ 87 h 178"/>
              <a:gd name="T50" fmla="*/ 77 w 92"/>
              <a:gd name="T51" fmla="*/ 121 h 178"/>
              <a:gd name="T52" fmla="*/ 86 w 92"/>
              <a:gd name="T53" fmla="*/ 128 h 178"/>
              <a:gd name="T54" fmla="*/ 92 w 92"/>
              <a:gd name="T55" fmla="*/ 143 h 178"/>
              <a:gd name="T56" fmla="*/ 84 w 92"/>
              <a:gd name="T57" fmla="*/ 141 h 178"/>
              <a:gd name="T58" fmla="*/ 77 w 92"/>
              <a:gd name="T59" fmla="*/ 121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2" h="178">
                <a:moveTo>
                  <a:pt x="89" y="164"/>
                </a:moveTo>
                <a:lnTo>
                  <a:pt x="86" y="177"/>
                </a:lnTo>
                <a:lnTo>
                  <a:pt x="89" y="178"/>
                </a:lnTo>
                <a:lnTo>
                  <a:pt x="89" y="164"/>
                </a:lnTo>
                <a:close/>
                <a:moveTo>
                  <a:pt x="4" y="0"/>
                </a:moveTo>
                <a:lnTo>
                  <a:pt x="0" y="0"/>
                </a:lnTo>
                <a:lnTo>
                  <a:pt x="3" y="8"/>
                </a:lnTo>
                <a:lnTo>
                  <a:pt x="4" y="0"/>
                </a:lnTo>
                <a:close/>
                <a:moveTo>
                  <a:pt x="49" y="14"/>
                </a:moveTo>
                <a:lnTo>
                  <a:pt x="49" y="23"/>
                </a:lnTo>
                <a:lnTo>
                  <a:pt x="54" y="17"/>
                </a:lnTo>
                <a:lnTo>
                  <a:pt x="49" y="14"/>
                </a:lnTo>
                <a:close/>
                <a:moveTo>
                  <a:pt x="67" y="45"/>
                </a:moveTo>
                <a:lnTo>
                  <a:pt x="60" y="53"/>
                </a:lnTo>
                <a:lnTo>
                  <a:pt x="52" y="51"/>
                </a:lnTo>
                <a:lnTo>
                  <a:pt x="51" y="68"/>
                </a:lnTo>
                <a:lnTo>
                  <a:pt x="57" y="68"/>
                </a:lnTo>
                <a:lnTo>
                  <a:pt x="63" y="60"/>
                </a:lnTo>
                <a:lnTo>
                  <a:pt x="74" y="57"/>
                </a:lnTo>
                <a:lnTo>
                  <a:pt x="67" y="45"/>
                </a:lnTo>
                <a:close/>
                <a:moveTo>
                  <a:pt x="72" y="87"/>
                </a:moveTo>
                <a:lnTo>
                  <a:pt x="69" y="101"/>
                </a:lnTo>
                <a:lnTo>
                  <a:pt x="75" y="105"/>
                </a:lnTo>
                <a:lnTo>
                  <a:pt x="75" y="90"/>
                </a:lnTo>
                <a:lnTo>
                  <a:pt x="72" y="87"/>
                </a:lnTo>
                <a:close/>
                <a:moveTo>
                  <a:pt x="77" y="121"/>
                </a:moveTo>
                <a:lnTo>
                  <a:pt x="86" y="128"/>
                </a:lnTo>
                <a:lnTo>
                  <a:pt x="92" y="143"/>
                </a:lnTo>
                <a:lnTo>
                  <a:pt x="84" y="141"/>
                </a:lnTo>
                <a:lnTo>
                  <a:pt x="77" y="121"/>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12" name="Freeform 183">
            <a:extLst>
              <a:ext uri="{FF2B5EF4-FFF2-40B4-BE49-F238E27FC236}">
                <a16:creationId xmlns:a16="http://schemas.microsoft.com/office/drawing/2014/main" id="{310A1190-F658-5349-AFEE-A8E09337F97F}"/>
              </a:ext>
            </a:extLst>
          </p:cNvPr>
          <p:cNvSpPr>
            <a:spLocks noChangeAspect="1" noEditPoints="1"/>
          </p:cNvSpPr>
          <p:nvPr/>
        </p:nvSpPr>
        <p:spPr bwMode="gray">
          <a:xfrm>
            <a:off x="1135440" y="1911527"/>
            <a:ext cx="262712" cy="136815"/>
          </a:xfrm>
          <a:custGeom>
            <a:avLst/>
            <a:gdLst>
              <a:gd name="T0" fmla="*/ 235 w 267"/>
              <a:gd name="T1" fmla="*/ 107 h 111"/>
              <a:gd name="T2" fmla="*/ 244 w 267"/>
              <a:gd name="T3" fmla="*/ 91 h 111"/>
              <a:gd name="T4" fmla="*/ 252 w 267"/>
              <a:gd name="T5" fmla="*/ 93 h 111"/>
              <a:gd name="T6" fmla="*/ 267 w 267"/>
              <a:gd name="T7" fmla="*/ 74 h 111"/>
              <a:gd name="T8" fmla="*/ 255 w 267"/>
              <a:gd name="T9" fmla="*/ 54 h 111"/>
              <a:gd name="T10" fmla="*/ 258 w 267"/>
              <a:gd name="T11" fmla="*/ 46 h 111"/>
              <a:gd name="T12" fmla="*/ 225 w 267"/>
              <a:gd name="T13" fmla="*/ 15 h 111"/>
              <a:gd name="T14" fmla="*/ 176 w 267"/>
              <a:gd name="T15" fmla="*/ 0 h 111"/>
              <a:gd name="T16" fmla="*/ 153 w 267"/>
              <a:gd name="T17" fmla="*/ 1 h 111"/>
              <a:gd name="T18" fmla="*/ 149 w 267"/>
              <a:gd name="T19" fmla="*/ 22 h 111"/>
              <a:gd name="T20" fmla="*/ 141 w 267"/>
              <a:gd name="T21" fmla="*/ 25 h 111"/>
              <a:gd name="T22" fmla="*/ 139 w 267"/>
              <a:gd name="T23" fmla="*/ 17 h 111"/>
              <a:gd name="T24" fmla="*/ 132 w 267"/>
              <a:gd name="T25" fmla="*/ 17 h 111"/>
              <a:gd name="T26" fmla="*/ 85 w 267"/>
              <a:gd name="T27" fmla="*/ 37 h 111"/>
              <a:gd name="T28" fmla="*/ 60 w 267"/>
              <a:gd name="T29" fmla="*/ 29 h 111"/>
              <a:gd name="T30" fmla="*/ 40 w 267"/>
              <a:gd name="T31" fmla="*/ 29 h 111"/>
              <a:gd name="T32" fmla="*/ 32 w 267"/>
              <a:gd name="T33" fmla="*/ 6 h 111"/>
              <a:gd name="T34" fmla="*/ 20 w 267"/>
              <a:gd name="T35" fmla="*/ 0 h 111"/>
              <a:gd name="T36" fmla="*/ 12 w 267"/>
              <a:gd name="T37" fmla="*/ 0 h 111"/>
              <a:gd name="T38" fmla="*/ 6 w 267"/>
              <a:gd name="T39" fmla="*/ 6 h 111"/>
              <a:gd name="T40" fmla="*/ 5 w 267"/>
              <a:gd name="T41" fmla="*/ 18 h 111"/>
              <a:gd name="T42" fmla="*/ 14 w 267"/>
              <a:gd name="T43" fmla="*/ 25 h 111"/>
              <a:gd name="T44" fmla="*/ 6 w 267"/>
              <a:gd name="T45" fmla="*/ 51 h 111"/>
              <a:gd name="T46" fmla="*/ 0 w 267"/>
              <a:gd name="T47" fmla="*/ 59 h 111"/>
              <a:gd name="T48" fmla="*/ 5 w 267"/>
              <a:gd name="T49" fmla="*/ 68 h 111"/>
              <a:gd name="T50" fmla="*/ 12 w 267"/>
              <a:gd name="T51" fmla="*/ 59 h 111"/>
              <a:gd name="T52" fmla="*/ 57 w 267"/>
              <a:gd name="T53" fmla="*/ 68 h 111"/>
              <a:gd name="T54" fmla="*/ 77 w 267"/>
              <a:gd name="T55" fmla="*/ 93 h 111"/>
              <a:gd name="T56" fmla="*/ 93 w 267"/>
              <a:gd name="T57" fmla="*/ 86 h 111"/>
              <a:gd name="T58" fmla="*/ 100 w 267"/>
              <a:gd name="T59" fmla="*/ 111 h 111"/>
              <a:gd name="T60" fmla="*/ 115 w 267"/>
              <a:gd name="T61" fmla="*/ 111 h 111"/>
              <a:gd name="T62" fmla="*/ 134 w 267"/>
              <a:gd name="T63" fmla="*/ 98 h 111"/>
              <a:gd name="T64" fmla="*/ 119 w 267"/>
              <a:gd name="T65" fmla="*/ 77 h 111"/>
              <a:gd name="T66" fmla="*/ 119 w 267"/>
              <a:gd name="T67" fmla="*/ 68 h 111"/>
              <a:gd name="T68" fmla="*/ 142 w 267"/>
              <a:gd name="T69" fmla="*/ 56 h 111"/>
              <a:gd name="T70" fmla="*/ 161 w 267"/>
              <a:gd name="T71" fmla="*/ 34 h 111"/>
              <a:gd name="T72" fmla="*/ 174 w 267"/>
              <a:gd name="T73" fmla="*/ 29 h 111"/>
              <a:gd name="T74" fmla="*/ 203 w 267"/>
              <a:gd name="T75" fmla="*/ 43 h 111"/>
              <a:gd name="T76" fmla="*/ 212 w 267"/>
              <a:gd name="T77" fmla="*/ 54 h 111"/>
              <a:gd name="T78" fmla="*/ 225 w 267"/>
              <a:gd name="T79" fmla="*/ 52 h 111"/>
              <a:gd name="T80" fmla="*/ 230 w 267"/>
              <a:gd name="T81" fmla="*/ 56 h 111"/>
              <a:gd name="T82" fmla="*/ 218 w 267"/>
              <a:gd name="T83" fmla="*/ 66 h 111"/>
              <a:gd name="T84" fmla="*/ 216 w 267"/>
              <a:gd name="T85" fmla="*/ 77 h 111"/>
              <a:gd name="T86" fmla="*/ 221 w 267"/>
              <a:gd name="T87" fmla="*/ 93 h 111"/>
              <a:gd name="T88" fmla="*/ 235 w 267"/>
              <a:gd name="T89" fmla="*/ 107 h 111"/>
              <a:gd name="T90" fmla="*/ 57 w 267"/>
              <a:gd name="T91" fmla="*/ 88 h 111"/>
              <a:gd name="T92" fmla="*/ 52 w 267"/>
              <a:gd name="T93" fmla="*/ 100 h 111"/>
              <a:gd name="T94" fmla="*/ 59 w 267"/>
              <a:gd name="T95" fmla="*/ 107 h 111"/>
              <a:gd name="T96" fmla="*/ 60 w 267"/>
              <a:gd name="T97" fmla="*/ 90 h 111"/>
              <a:gd name="T98" fmla="*/ 57 w 267"/>
              <a:gd name="T9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7" h="111">
                <a:moveTo>
                  <a:pt x="235" y="107"/>
                </a:moveTo>
                <a:lnTo>
                  <a:pt x="244" y="91"/>
                </a:lnTo>
                <a:lnTo>
                  <a:pt x="252" y="93"/>
                </a:lnTo>
                <a:lnTo>
                  <a:pt x="267" y="74"/>
                </a:lnTo>
                <a:lnTo>
                  <a:pt x="255" y="54"/>
                </a:lnTo>
                <a:lnTo>
                  <a:pt x="258" y="46"/>
                </a:lnTo>
                <a:lnTo>
                  <a:pt x="225" y="15"/>
                </a:lnTo>
                <a:lnTo>
                  <a:pt x="176" y="0"/>
                </a:lnTo>
                <a:lnTo>
                  <a:pt x="153" y="1"/>
                </a:lnTo>
                <a:lnTo>
                  <a:pt x="149" y="22"/>
                </a:lnTo>
                <a:lnTo>
                  <a:pt x="141" y="25"/>
                </a:lnTo>
                <a:lnTo>
                  <a:pt x="139" y="17"/>
                </a:lnTo>
                <a:lnTo>
                  <a:pt x="132" y="17"/>
                </a:lnTo>
                <a:lnTo>
                  <a:pt x="85" y="37"/>
                </a:lnTo>
                <a:lnTo>
                  <a:pt x="60" y="29"/>
                </a:lnTo>
                <a:lnTo>
                  <a:pt x="40" y="29"/>
                </a:lnTo>
                <a:lnTo>
                  <a:pt x="32" y="6"/>
                </a:lnTo>
                <a:lnTo>
                  <a:pt x="20" y="0"/>
                </a:lnTo>
                <a:lnTo>
                  <a:pt x="12" y="0"/>
                </a:lnTo>
                <a:lnTo>
                  <a:pt x="6" y="6"/>
                </a:lnTo>
                <a:lnTo>
                  <a:pt x="5" y="18"/>
                </a:lnTo>
                <a:lnTo>
                  <a:pt x="14" y="25"/>
                </a:lnTo>
                <a:lnTo>
                  <a:pt x="6" y="51"/>
                </a:lnTo>
                <a:lnTo>
                  <a:pt x="0" y="59"/>
                </a:lnTo>
                <a:lnTo>
                  <a:pt x="5" y="68"/>
                </a:lnTo>
                <a:lnTo>
                  <a:pt x="12" y="59"/>
                </a:lnTo>
                <a:lnTo>
                  <a:pt x="57" y="68"/>
                </a:lnTo>
                <a:lnTo>
                  <a:pt x="77" y="93"/>
                </a:lnTo>
                <a:lnTo>
                  <a:pt x="93" y="86"/>
                </a:lnTo>
                <a:lnTo>
                  <a:pt x="100" y="111"/>
                </a:lnTo>
                <a:lnTo>
                  <a:pt x="115" y="111"/>
                </a:lnTo>
                <a:lnTo>
                  <a:pt x="134" y="98"/>
                </a:lnTo>
                <a:lnTo>
                  <a:pt x="119" y="77"/>
                </a:lnTo>
                <a:lnTo>
                  <a:pt x="119" y="68"/>
                </a:lnTo>
                <a:lnTo>
                  <a:pt x="142" y="56"/>
                </a:lnTo>
                <a:lnTo>
                  <a:pt x="161" y="34"/>
                </a:lnTo>
                <a:lnTo>
                  <a:pt x="174" y="29"/>
                </a:lnTo>
                <a:lnTo>
                  <a:pt x="203" y="43"/>
                </a:lnTo>
                <a:lnTo>
                  <a:pt x="212" y="54"/>
                </a:lnTo>
                <a:lnTo>
                  <a:pt x="225" y="52"/>
                </a:lnTo>
                <a:lnTo>
                  <a:pt x="230" y="56"/>
                </a:lnTo>
                <a:lnTo>
                  <a:pt x="218" y="66"/>
                </a:lnTo>
                <a:lnTo>
                  <a:pt x="216" y="77"/>
                </a:lnTo>
                <a:lnTo>
                  <a:pt x="221" y="93"/>
                </a:lnTo>
                <a:lnTo>
                  <a:pt x="235" y="107"/>
                </a:lnTo>
                <a:close/>
                <a:moveTo>
                  <a:pt x="57" y="88"/>
                </a:moveTo>
                <a:lnTo>
                  <a:pt x="52" y="100"/>
                </a:lnTo>
                <a:lnTo>
                  <a:pt x="59" y="107"/>
                </a:lnTo>
                <a:lnTo>
                  <a:pt x="60" y="90"/>
                </a:lnTo>
                <a:lnTo>
                  <a:pt x="57" y="88"/>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13" name="Freeform 187">
            <a:extLst>
              <a:ext uri="{FF2B5EF4-FFF2-40B4-BE49-F238E27FC236}">
                <a16:creationId xmlns:a16="http://schemas.microsoft.com/office/drawing/2014/main" id="{A824B58C-765C-7242-9A86-A0647A265402}"/>
              </a:ext>
            </a:extLst>
          </p:cNvPr>
          <p:cNvSpPr>
            <a:spLocks noChangeAspect="1"/>
          </p:cNvSpPr>
          <p:nvPr/>
        </p:nvSpPr>
        <p:spPr bwMode="gray">
          <a:xfrm>
            <a:off x="1234881" y="2369640"/>
            <a:ext cx="255951" cy="344258"/>
          </a:xfrm>
          <a:custGeom>
            <a:avLst/>
            <a:gdLst>
              <a:gd name="T0" fmla="*/ 254 w 260"/>
              <a:gd name="T1" fmla="*/ 66 h 289"/>
              <a:gd name="T2" fmla="*/ 220 w 260"/>
              <a:gd name="T3" fmla="*/ 46 h 289"/>
              <a:gd name="T4" fmla="*/ 209 w 260"/>
              <a:gd name="T5" fmla="*/ 52 h 289"/>
              <a:gd name="T6" fmla="*/ 164 w 260"/>
              <a:gd name="T7" fmla="*/ 52 h 289"/>
              <a:gd name="T8" fmla="*/ 156 w 260"/>
              <a:gd name="T9" fmla="*/ 37 h 289"/>
              <a:gd name="T10" fmla="*/ 147 w 260"/>
              <a:gd name="T11" fmla="*/ 29 h 289"/>
              <a:gd name="T12" fmla="*/ 119 w 260"/>
              <a:gd name="T13" fmla="*/ 15 h 289"/>
              <a:gd name="T14" fmla="*/ 89 w 260"/>
              <a:gd name="T15" fmla="*/ 0 h 289"/>
              <a:gd name="T16" fmla="*/ 56 w 260"/>
              <a:gd name="T17" fmla="*/ 23 h 289"/>
              <a:gd name="T18" fmla="*/ 37 w 260"/>
              <a:gd name="T19" fmla="*/ 23 h 289"/>
              <a:gd name="T20" fmla="*/ 34 w 260"/>
              <a:gd name="T21" fmla="*/ 29 h 289"/>
              <a:gd name="T22" fmla="*/ 35 w 260"/>
              <a:gd name="T23" fmla="*/ 55 h 289"/>
              <a:gd name="T24" fmla="*/ 22 w 260"/>
              <a:gd name="T25" fmla="*/ 76 h 289"/>
              <a:gd name="T26" fmla="*/ 18 w 260"/>
              <a:gd name="T27" fmla="*/ 94 h 289"/>
              <a:gd name="T28" fmla="*/ 0 w 260"/>
              <a:gd name="T29" fmla="*/ 110 h 289"/>
              <a:gd name="T30" fmla="*/ 0 w 260"/>
              <a:gd name="T31" fmla="*/ 167 h 289"/>
              <a:gd name="T32" fmla="*/ 23 w 260"/>
              <a:gd name="T33" fmla="*/ 182 h 289"/>
              <a:gd name="T34" fmla="*/ 42 w 260"/>
              <a:gd name="T35" fmla="*/ 162 h 289"/>
              <a:gd name="T36" fmla="*/ 47 w 260"/>
              <a:gd name="T37" fmla="*/ 181 h 289"/>
              <a:gd name="T38" fmla="*/ 42 w 260"/>
              <a:gd name="T39" fmla="*/ 204 h 289"/>
              <a:gd name="T40" fmla="*/ 20 w 260"/>
              <a:gd name="T41" fmla="*/ 219 h 289"/>
              <a:gd name="T42" fmla="*/ 25 w 260"/>
              <a:gd name="T43" fmla="*/ 240 h 289"/>
              <a:gd name="T44" fmla="*/ 9 w 260"/>
              <a:gd name="T45" fmla="*/ 250 h 289"/>
              <a:gd name="T46" fmla="*/ 15 w 260"/>
              <a:gd name="T47" fmla="*/ 270 h 289"/>
              <a:gd name="T48" fmla="*/ 34 w 260"/>
              <a:gd name="T49" fmla="*/ 266 h 289"/>
              <a:gd name="T50" fmla="*/ 40 w 260"/>
              <a:gd name="T51" fmla="*/ 270 h 289"/>
              <a:gd name="T52" fmla="*/ 54 w 260"/>
              <a:gd name="T53" fmla="*/ 270 h 289"/>
              <a:gd name="T54" fmla="*/ 64 w 260"/>
              <a:gd name="T55" fmla="*/ 289 h 289"/>
              <a:gd name="T56" fmla="*/ 79 w 260"/>
              <a:gd name="T57" fmla="*/ 287 h 289"/>
              <a:gd name="T58" fmla="*/ 94 w 260"/>
              <a:gd name="T59" fmla="*/ 275 h 289"/>
              <a:gd name="T60" fmla="*/ 99 w 260"/>
              <a:gd name="T61" fmla="*/ 242 h 289"/>
              <a:gd name="T62" fmla="*/ 111 w 260"/>
              <a:gd name="T63" fmla="*/ 224 h 289"/>
              <a:gd name="T64" fmla="*/ 122 w 260"/>
              <a:gd name="T65" fmla="*/ 225 h 289"/>
              <a:gd name="T66" fmla="*/ 128 w 260"/>
              <a:gd name="T67" fmla="*/ 207 h 289"/>
              <a:gd name="T68" fmla="*/ 193 w 260"/>
              <a:gd name="T69" fmla="*/ 181 h 289"/>
              <a:gd name="T70" fmla="*/ 233 w 260"/>
              <a:gd name="T71" fmla="*/ 140 h 289"/>
              <a:gd name="T72" fmla="*/ 252 w 260"/>
              <a:gd name="T73" fmla="*/ 106 h 289"/>
              <a:gd name="T74" fmla="*/ 260 w 260"/>
              <a:gd name="T75" fmla="*/ 106 h 289"/>
              <a:gd name="T76" fmla="*/ 241 w 260"/>
              <a:gd name="T77" fmla="*/ 74 h 289"/>
              <a:gd name="T78" fmla="*/ 243 w 260"/>
              <a:gd name="T79" fmla="*/ 68 h 289"/>
              <a:gd name="T80" fmla="*/ 254 w 260"/>
              <a:gd name="T81" fmla="*/ 6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0" h="289">
                <a:moveTo>
                  <a:pt x="254" y="66"/>
                </a:moveTo>
                <a:lnTo>
                  <a:pt x="220" y="46"/>
                </a:lnTo>
                <a:lnTo>
                  <a:pt x="209" y="52"/>
                </a:lnTo>
                <a:lnTo>
                  <a:pt x="164" y="52"/>
                </a:lnTo>
                <a:lnTo>
                  <a:pt x="156" y="37"/>
                </a:lnTo>
                <a:lnTo>
                  <a:pt x="147" y="29"/>
                </a:lnTo>
                <a:lnTo>
                  <a:pt x="119" y="15"/>
                </a:lnTo>
                <a:lnTo>
                  <a:pt x="89" y="0"/>
                </a:lnTo>
                <a:lnTo>
                  <a:pt x="56" y="23"/>
                </a:lnTo>
                <a:lnTo>
                  <a:pt x="37" y="23"/>
                </a:lnTo>
                <a:lnTo>
                  <a:pt x="34" y="29"/>
                </a:lnTo>
                <a:lnTo>
                  <a:pt x="35" y="55"/>
                </a:lnTo>
                <a:lnTo>
                  <a:pt x="22" y="76"/>
                </a:lnTo>
                <a:lnTo>
                  <a:pt x="18" y="94"/>
                </a:lnTo>
                <a:lnTo>
                  <a:pt x="0" y="110"/>
                </a:lnTo>
                <a:lnTo>
                  <a:pt x="0" y="167"/>
                </a:lnTo>
                <a:lnTo>
                  <a:pt x="23" y="182"/>
                </a:lnTo>
                <a:lnTo>
                  <a:pt x="42" y="162"/>
                </a:lnTo>
                <a:lnTo>
                  <a:pt x="47" y="181"/>
                </a:lnTo>
                <a:lnTo>
                  <a:pt x="42" y="204"/>
                </a:lnTo>
                <a:lnTo>
                  <a:pt x="20" y="219"/>
                </a:lnTo>
                <a:lnTo>
                  <a:pt x="25" y="240"/>
                </a:lnTo>
                <a:lnTo>
                  <a:pt x="9" y="250"/>
                </a:lnTo>
                <a:lnTo>
                  <a:pt x="15" y="270"/>
                </a:lnTo>
                <a:lnTo>
                  <a:pt x="34" y="266"/>
                </a:lnTo>
                <a:lnTo>
                  <a:pt x="40" y="270"/>
                </a:lnTo>
                <a:lnTo>
                  <a:pt x="54" y="270"/>
                </a:lnTo>
                <a:lnTo>
                  <a:pt x="64" y="289"/>
                </a:lnTo>
                <a:lnTo>
                  <a:pt x="79" y="287"/>
                </a:lnTo>
                <a:lnTo>
                  <a:pt x="94" y="275"/>
                </a:lnTo>
                <a:lnTo>
                  <a:pt x="99" y="242"/>
                </a:lnTo>
                <a:lnTo>
                  <a:pt x="111" y="224"/>
                </a:lnTo>
                <a:lnTo>
                  <a:pt x="122" y="225"/>
                </a:lnTo>
                <a:lnTo>
                  <a:pt x="128" y="207"/>
                </a:lnTo>
                <a:lnTo>
                  <a:pt x="193" y="181"/>
                </a:lnTo>
                <a:lnTo>
                  <a:pt x="233" y="140"/>
                </a:lnTo>
                <a:lnTo>
                  <a:pt x="252" y="106"/>
                </a:lnTo>
                <a:lnTo>
                  <a:pt x="260" y="106"/>
                </a:lnTo>
                <a:lnTo>
                  <a:pt x="241" y="74"/>
                </a:lnTo>
                <a:lnTo>
                  <a:pt x="243" y="68"/>
                </a:lnTo>
                <a:lnTo>
                  <a:pt x="254" y="66"/>
                </a:lnTo>
                <a:close/>
              </a:path>
            </a:pathLst>
          </a:custGeom>
          <a:solidFill>
            <a:schemeClr val="accent4"/>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14" name="Freeform 188">
            <a:extLst>
              <a:ext uri="{FF2B5EF4-FFF2-40B4-BE49-F238E27FC236}">
                <a16:creationId xmlns:a16="http://schemas.microsoft.com/office/drawing/2014/main" id="{617A21A9-6ED4-624D-BF9F-D34753E442B1}"/>
              </a:ext>
            </a:extLst>
          </p:cNvPr>
          <p:cNvSpPr>
            <a:spLocks noChangeAspect="1"/>
          </p:cNvSpPr>
          <p:nvPr/>
        </p:nvSpPr>
        <p:spPr bwMode="gray">
          <a:xfrm>
            <a:off x="1315886" y="1755455"/>
            <a:ext cx="557260" cy="915407"/>
          </a:xfrm>
          <a:custGeom>
            <a:avLst/>
            <a:gdLst>
              <a:gd name="T0" fmla="*/ 425 w 559"/>
              <a:gd name="T1" fmla="*/ 713 h 763"/>
              <a:gd name="T2" fmla="*/ 398 w 559"/>
              <a:gd name="T3" fmla="*/ 749 h 763"/>
              <a:gd name="T4" fmla="*/ 386 w 559"/>
              <a:gd name="T5" fmla="*/ 738 h 763"/>
              <a:gd name="T6" fmla="*/ 402 w 559"/>
              <a:gd name="T7" fmla="*/ 692 h 763"/>
              <a:gd name="T8" fmla="*/ 352 w 559"/>
              <a:gd name="T9" fmla="*/ 684 h 763"/>
              <a:gd name="T10" fmla="*/ 307 w 559"/>
              <a:gd name="T11" fmla="*/ 688 h 763"/>
              <a:gd name="T12" fmla="*/ 266 w 559"/>
              <a:gd name="T13" fmla="*/ 675 h 763"/>
              <a:gd name="T14" fmla="*/ 253 w 559"/>
              <a:gd name="T15" fmla="*/ 655 h 763"/>
              <a:gd name="T16" fmla="*/ 225 w 559"/>
              <a:gd name="T17" fmla="*/ 622 h 763"/>
              <a:gd name="T18" fmla="*/ 193 w 559"/>
              <a:gd name="T19" fmla="*/ 583 h 763"/>
              <a:gd name="T20" fmla="*/ 136 w 559"/>
              <a:gd name="T21" fmla="*/ 557 h 763"/>
              <a:gd name="T22" fmla="*/ 80 w 559"/>
              <a:gd name="T23" fmla="*/ 563 h 763"/>
              <a:gd name="T24" fmla="*/ 63 w 559"/>
              <a:gd name="T25" fmla="*/ 540 h 763"/>
              <a:gd name="T26" fmla="*/ 5 w 559"/>
              <a:gd name="T27" fmla="*/ 511 h 763"/>
              <a:gd name="T28" fmla="*/ 7 w 559"/>
              <a:gd name="T29" fmla="*/ 490 h 763"/>
              <a:gd name="T30" fmla="*/ 22 w 559"/>
              <a:gd name="T31" fmla="*/ 458 h 763"/>
              <a:gd name="T32" fmla="*/ 68 w 559"/>
              <a:gd name="T33" fmla="*/ 424 h 763"/>
              <a:gd name="T34" fmla="*/ 94 w 559"/>
              <a:gd name="T35" fmla="*/ 390 h 763"/>
              <a:gd name="T36" fmla="*/ 71 w 559"/>
              <a:gd name="T37" fmla="*/ 393 h 763"/>
              <a:gd name="T38" fmla="*/ 69 w 559"/>
              <a:gd name="T39" fmla="*/ 323 h 763"/>
              <a:gd name="T40" fmla="*/ 72 w 559"/>
              <a:gd name="T41" fmla="*/ 275 h 763"/>
              <a:gd name="T42" fmla="*/ 49 w 559"/>
              <a:gd name="T43" fmla="*/ 237 h 763"/>
              <a:gd name="T44" fmla="*/ 66 w 559"/>
              <a:gd name="T45" fmla="*/ 223 h 763"/>
              <a:gd name="T46" fmla="*/ 69 w 559"/>
              <a:gd name="T47" fmla="*/ 184 h 763"/>
              <a:gd name="T48" fmla="*/ 100 w 559"/>
              <a:gd name="T49" fmla="*/ 204 h 763"/>
              <a:gd name="T50" fmla="*/ 120 w 559"/>
              <a:gd name="T51" fmla="*/ 161 h 763"/>
              <a:gd name="T52" fmla="*/ 153 w 559"/>
              <a:gd name="T53" fmla="*/ 133 h 763"/>
              <a:gd name="T54" fmla="*/ 183 w 559"/>
              <a:gd name="T55" fmla="*/ 65 h 763"/>
              <a:gd name="T56" fmla="*/ 204 w 559"/>
              <a:gd name="T57" fmla="*/ 65 h 763"/>
              <a:gd name="T58" fmla="*/ 222 w 559"/>
              <a:gd name="T59" fmla="*/ 52 h 763"/>
              <a:gd name="T60" fmla="*/ 264 w 559"/>
              <a:gd name="T61" fmla="*/ 47 h 763"/>
              <a:gd name="T62" fmla="*/ 320 w 559"/>
              <a:gd name="T63" fmla="*/ 9 h 763"/>
              <a:gd name="T64" fmla="*/ 330 w 559"/>
              <a:gd name="T65" fmla="*/ 3 h 763"/>
              <a:gd name="T66" fmla="*/ 361 w 559"/>
              <a:gd name="T67" fmla="*/ 9 h 763"/>
              <a:gd name="T68" fmla="*/ 352 w 559"/>
              <a:gd name="T69" fmla="*/ 26 h 763"/>
              <a:gd name="T70" fmla="*/ 295 w 559"/>
              <a:gd name="T71" fmla="*/ 71 h 763"/>
              <a:gd name="T72" fmla="*/ 275 w 559"/>
              <a:gd name="T73" fmla="*/ 128 h 763"/>
              <a:gd name="T74" fmla="*/ 283 w 559"/>
              <a:gd name="T75" fmla="*/ 152 h 763"/>
              <a:gd name="T76" fmla="*/ 303 w 559"/>
              <a:gd name="T77" fmla="*/ 195 h 763"/>
              <a:gd name="T78" fmla="*/ 324 w 559"/>
              <a:gd name="T79" fmla="*/ 243 h 763"/>
              <a:gd name="T80" fmla="*/ 388 w 559"/>
              <a:gd name="T81" fmla="*/ 245 h 763"/>
              <a:gd name="T82" fmla="*/ 444 w 559"/>
              <a:gd name="T83" fmla="*/ 292 h 763"/>
              <a:gd name="T84" fmla="*/ 491 w 559"/>
              <a:gd name="T85" fmla="*/ 294 h 763"/>
              <a:gd name="T86" fmla="*/ 530 w 559"/>
              <a:gd name="T87" fmla="*/ 288 h 763"/>
              <a:gd name="T88" fmla="*/ 518 w 559"/>
              <a:gd name="T89" fmla="*/ 328 h 763"/>
              <a:gd name="T90" fmla="*/ 518 w 559"/>
              <a:gd name="T91" fmla="*/ 388 h 763"/>
              <a:gd name="T92" fmla="*/ 541 w 559"/>
              <a:gd name="T93" fmla="*/ 419 h 763"/>
              <a:gd name="T94" fmla="*/ 539 w 559"/>
              <a:gd name="T95" fmla="*/ 465 h 763"/>
              <a:gd name="T96" fmla="*/ 549 w 559"/>
              <a:gd name="T97" fmla="*/ 520 h 763"/>
              <a:gd name="T98" fmla="*/ 532 w 559"/>
              <a:gd name="T99" fmla="*/ 480 h 763"/>
              <a:gd name="T100" fmla="*/ 496 w 559"/>
              <a:gd name="T101" fmla="*/ 481 h 763"/>
              <a:gd name="T102" fmla="*/ 422 w 559"/>
              <a:gd name="T103" fmla="*/ 494 h 763"/>
              <a:gd name="T104" fmla="*/ 428 w 559"/>
              <a:gd name="T105" fmla="*/ 526 h 763"/>
              <a:gd name="T106" fmla="*/ 454 w 559"/>
              <a:gd name="T107" fmla="*/ 545 h 763"/>
              <a:gd name="T108" fmla="*/ 411 w 559"/>
              <a:gd name="T109" fmla="*/ 549 h 763"/>
              <a:gd name="T110" fmla="*/ 432 w 559"/>
              <a:gd name="T111" fmla="*/ 599 h 763"/>
              <a:gd name="T112" fmla="*/ 434 w 559"/>
              <a:gd name="T113" fmla="*/ 668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9" h="763">
                <a:moveTo>
                  <a:pt x="434" y="668"/>
                </a:moveTo>
                <a:lnTo>
                  <a:pt x="425" y="713"/>
                </a:lnTo>
                <a:lnTo>
                  <a:pt x="415" y="763"/>
                </a:lnTo>
                <a:lnTo>
                  <a:pt x="398" y="749"/>
                </a:lnTo>
                <a:lnTo>
                  <a:pt x="386" y="746"/>
                </a:lnTo>
                <a:lnTo>
                  <a:pt x="386" y="738"/>
                </a:lnTo>
                <a:lnTo>
                  <a:pt x="410" y="705"/>
                </a:lnTo>
                <a:lnTo>
                  <a:pt x="402" y="692"/>
                </a:lnTo>
                <a:lnTo>
                  <a:pt x="368" y="676"/>
                </a:lnTo>
                <a:lnTo>
                  <a:pt x="352" y="684"/>
                </a:lnTo>
                <a:lnTo>
                  <a:pt x="327" y="676"/>
                </a:lnTo>
                <a:lnTo>
                  <a:pt x="307" y="688"/>
                </a:lnTo>
                <a:lnTo>
                  <a:pt x="275" y="684"/>
                </a:lnTo>
                <a:lnTo>
                  <a:pt x="266" y="675"/>
                </a:lnTo>
                <a:lnTo>
                  <a:pt x="266" y="658"/>
                </a:lnTo>
                <a:lnTo>
                  <a:pt x="253" y="655"/>
                </a:lnTo>
                <a:lnTo>
                  <a:pt x="244" y="628"/>
                </a:lnTo>
                <a:lnTo>
                  <a:pt x="225" y="622"/>
                </a:lnTo>
                <a:lnTo>
                  <a:pt x="210" y="597"/>
                </a:lnTo>
                <a:lnTo>
                  <a:pt x="193" y="583"/>
                </a:lnTo>
                <a:lnTo>
                  <a:pt x="170" y="577"/>
                </a:lnTo>
                <a:lnTo>
                  <a:pt x="136" y="557"/>
                </a:lnTo>
                <a:lnTo>
                  <a:pt x="125" y="563"/>
                </a:lnTo>
                <a:lnTo>
                  <a:pt x="80" y="563"/>
                </a:lnTo>
                <a:lnTo>
                  <a:pt x="72" y="548"/>
                </a:lnTo>
                <a:lnTo>
                  <a:pt x="63" y="540"/>
                </a:lnTo>
                <a:lnTo>
                  <a:pt x="35" y="526"/>
                </a:lnTo>
                <a:lnTo>
                  <a:pt x="5" y="511"/>
                </a:lnTo>
                <a:lnTo>
                  <a:pt x="0" y="498"/>
                </a:lnTo>
                <a:lnTo>
                  <a:pt x="7" y="490"/>
                </a:lnTo>
                <a:lnTo>
                  <a:pt x="17" y="489"/>
                </a:lnTo>
                <a:lnTo>
                  <a:pt x="22" y="458"/>
                </a:lnTo>
                <a:lnTo>
                  <a:pt x="61" y="447"/>
                </a:lnTo>
                <a:lnTo>
                  <a:pt x="68" y="424"/>
                </a:lnTo>
                <a:lnTo>
                  <a:pt x="94" y="396"/>
                </a:lnTo>
                <a:lnTo>
                  <a:pt x="94" y="390"/>
                </a:lnTo>
                <a:lnTo>
                  <a:pt x="83" y="396"/>
                </a:lnTo>
                <a:lnTo>
                  <a:pt x="71" y="393"/>
                </a:lnTo>
                <a:lnTo>
                  <a:pt x="77" y="367"/>
                </a:lnTo>
                <a:lnTo>
                  <a:pt x="69" y="323"/>
                </a:lnTo>
                <a:lnTo>
                  <a:pt x="75" y="311"/>
                </a:lnTo>
                <a:lnTo>
                  <a:pt x="72" y="275"/>
                </a:lnTo>
                <a:lnTo>
                  <a:pt x="60" y="260"/>
                </a:lnTo>
                <a:lnTo>
                  <a:pt x="49" y="237"/>
                </a:lnTo>
                <a:lnTo>
                  <a:pt x="58" y="221"/>
                </a:lnTo>
                <a:lnTo>
                  <a:pt x="66" y="223"/>
                </a:lnTo>
                <a:lnTo>
                  <a:pt x="81" y="204"/>
                </a:lnTo>
                <a:lnTo>
                  <a:pt x="69" y="184"/>
                </a:lnTo>
                <a:lnTo>
                  <a:pt x="72" y="176"/>
                </a:lnTo>
                <a:lnTo>
                  <a:pt x="100" y="204"/>
                </a:lnTo>
                <a:lnTo>
                  <a:pt x="98" y="176"/>
                </a:lnTo>
                <a:lnTo>
                  <a:pt x="120" y="161"/>
                </a:lnTo>
                <a:lnTo>
                  <a:pt x="134" y="142"/>
                </a:lnTo>
                <a:lnTo>
                  <a:pt x="153" y="133"/>
                </a:lnTo>
                <a:lnTo>
                  <a:pt x="156" y="89"/>
                </a:lnTo>
                <a:lnTo>
                  <a:pt x="183" y="65"/>
                </a:lnTo>
                <a:lnTo>
                  <a:pt x="196" y="68"/>
                </a:lnTo>
                <a:lnTo>
                  <a:pt x="204" y="65"/>
                </a:lnTo>
                <a:lnTo>
                  <a:pt x="208" y="76"/>
                </a:lnTo>
                <a:lnTo>
                  <a:pt x="222" y="52"/>
                </a:lnTo>
                <a:lnTo>
                  <a:pt x="244" y="54"/>
                </a:lnTo>
                <a:lnTo>
                  <a:pt x="264" y="47"/>
                </a:lnTo>
                <a:lnTo>
                  <a:pt x="309" y="28"/>
                </a:lnTo>
                <a:lnTo>
                  <a:pt x="320" y="9"/>
                </a:lnTo>
                <a:lnTo>
                  <a:pt x="330" y="9"/>
                </a:lnTo>
                <a:lnTo>
                  <a:pt x="330" y="3"/>
                </a:lnTo>
                <a:lnTo>
                  <a:pt x="340" y="0"/>
                </a:lnTo>
                <a:lnTo>
                  <a:pt x="361" y="9"/>
                </a:lnTo>
                <a:lnTo>
                  <a:pt x="361" y="17"/>
                </a:lnTo>
                <a:lnTo>
                  <a:pt x="352" y="26"/>
                </a:lnTo>
                <a:lnTo>
                  <a:pt x="327" y="34"/>
                </a:lnTo>
                <a:lnTo>
                  <a:pt x="295" y="71"/>
                </a:lnTo>
                <a:lnTo>
                  <a:pt x="284" y="89"/>
                </a:lnTo>
                <a:lnTo>
                  <a:pt x="275" y="128"/>
                </a:lnTo>
                <a:lnTo>
                  <a:pt x="261" y="150"/>
                </a:lnTo>
                <a:lnTo>
                  <a:pt x="283" y="152"/>
                </a:lnTo>
                <a:lnTo>
                  <a:pt x="288" y="172"/>
                </a:lnTo>
                <a:lnTo>
                  <a:pt x="303" y="195"/>
                </a:lnTo>
                <a:lnTo>
                  <a:pt x="307" y="232"/>
                </a:lnTo>
                <a:lnTo>
                  <a:pt x="324" y="243"/>
                </a:lnTo>
                <a:lnTo>
                  <a:pt x="351" y="250"/>
                </a:lnTo>
                <a:lnTo>
                  <a:pt x="388" y="245"/>
                </a:lnTo>
                <a:lnTo>
                  <a:pt x="411" y="254"/>
                </a:lnTo>
                <a:lnTo>
                  <a:pt x="444" y="292"/>
                </a:lnTo>
                <a:lnTo>
                  <a:pt x="464" y="289"/>
                </a:lnTo>
                <a:lnTo>
                  <a:pt x="491" y="294"/>
                </a:lnTo>
                <a:lnTo>
                  <a:pt x="516" y="286"/>
                </a:lnTo>
                <a:lnTo>
                  <a:pt x="530" y="288"/>
                </a:lnTo>
                <a:lnTo>
                  <a:pt x="533" y="299"/>
                </a:lnTo>
                <a:lnTo>
                  <a:pt x="518" y="328"/>
                </a:lnTo>
                <a:lnTo>
                  <a:pt x="513" y="362"/>
                </a:lnTo>
                <a:lnTo>
                  <a:pt x="518" y="388"/>
                </a:lnTo>
                <a:lnTo>
                  <a:pt x="533" y="401"/>
                </a:lnTo>
                <a:lnTo>
                  <a:pt x="541" y="419"/>
                </a:lnTo>
                <a:lnTo>
                  <a:pt x="518" y="444"/>
                </a:lnTo>
                <a:lnTo>
                  <a:pt x="539" y="465"/>
                </a:lnTo>
                <a:lnTo>
                  <a:pt x="559" y="512"/>
                </a:lnTo>
                <a:lnTo>
                  <a:pt x="549" y="520"/>
                </a:lnTo>
                <a:lnTo>
                  <a:pt x="544" y="494"/>
                </a:lnTo>
                <a:lnTo>
                  <a:pt x="532" y="480"/>
                </a:lnTo>
                <a:lnTo>
                  <a:pt x="508" y="489"/>
                </a:lnTo>
                <a:lnTo>
                  <a:pt x="496" y="481"/>
                </a:lnTo>
                <a:lnTo>
                  <a:pt x="490" y="494"/>
                </a:lnTo>
                <a:lnTo>
                  <a:pt x="422" y="494"/>
                </a:lnTo>
                <a:lnTo>
                  <a:pt x="422" y="523"/>
                </a:lnTo>
                <a:lnTo>
                  <a:pt x="428" y="526"/>
                </a:lnTo>
                <a:lnTo>
                  <a:pt x="445" y="524"/>
                </a:lnTo>
                <a:lnTo>
                  <a:pt x="454" y="545"/>
                </a:lnTo>
                <a:lnTo>
                  <a:pt x="436" y="543"/>
                </a:lnTo>
                <a:lnTo>
                  <a:pt x="411" y="549"/>
                </a:lnTo>
                <a:lnTo>
                  <a:pt x="411" y="580"/>
                </a:lnTo>
                <a:lnTo>
                  <a:pt x="432" y="599"/>
                </a:lnTo>
                <a:lnTo>
                  <a:pt x="440" y="630"/>
                </a:lnTo>
                <a:lnTo>
                  <a:pt x="434" y="668"/>
                </a:lnTo>
                <a:close/>
              </a:path>
            </a:pathLst>
          </a:custGeom>
          <a:solidFill>
            <a:schemeClr val="accent1"/>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15" name="Freeform 189">
            <a:extLst>
              <a:ext uri="{FF2B5EF4-FFF2-40B4-BE49-F238E27FC236}">
                <a16:creationId xmlns:a16="http://schemas.microsoft.com/office/drawing/2014/main" id="{5747DF5C-AD52-FC4D-9CCD-E3DA1181E4B2}"/>
              </a:ext>
            </a:extLst>
          </p:cNvPr>
          <p:cNvSpPr>
            <a:spLocks noChangeAspect="1"/>
          </p:cNvSpPr>
          <p:nvPr/>
        </p:nvSpPr>
        <p:spPr bwMode="gray">
          <a:xfrm>
            <a:off x="1212205" y="2443969"/>
            <a:ext cx="573460" cy="1013208"/>
          </a:xfrm>
          <a:custGeom>
            <a:avLst/>
            <a:gdLst>
              <a:gd name="T0" fmla="*/ 504 w 575"/>
              <a:gd name="T1" fmla="*/ 834 h 843"/>
              <a:gd name="T2" fmla="*/ 538 w 575"/>
              <a:gd name="T3" fmla="*/ 811 h 843"/>
              <a:gd name="T4" fmla="*/ 563 w 575"/>
              <a:gd name="T5" fmla="*/ 760 h 843"/>
              <a:gd name="T6" fmla="*/ 546 w 575"/>
              <a:gd name="T7" fmla="*/ 732 h 843"/>
              <a:gd name="T8" fmla="*/ 557 w 575"/>
              <a:gd name="T9" fmla="*/ 698 h 843"/>
              <a:gd name="T10" fmla="*/ 563 w 575"/>
              <a:gd name="T11" fmla="*/ 664 h 843"/>
              <a:gd name="T12" fmla="*/ 575 w 575"/>
              <a:gd name="T13" fmla="*/ 567 h 843"/>
              <a:gd name="T14" fmla="*/ 506 w 575"/>
              <a:gd name="T15" fmla="*/ 503 h 843"/>
              <a:gd name="T16" fmla="*/ 495 w 575"/>
              <a:gd name="T17" fmla="*/ 421 h 843"/>
              <a:gd name="T18" fmla="*/ 442 w 575"/>
              <a:gd name="T19" fmla="*/ 453 h 843"/>
              <a:gd name="T20" fmla="*/ 408 w 575"/>
              <a:gd name="T21" fmla="*/ 430 h 843"/>
              <a:gd name="T22" fmla="*/ 385 w 575"/>
              <a:gd name="T23" fmla="*/ 407 h 843"/>
              <a:gd name="T24" fmla="*/ 343 w 575"/>
              <a:gd name="T25" fmla="*/ 342 h 843"/>
              <a:gd name="T26" fmla="*/ 377 w 575"/>
              <a:gd name="T27" fmla="*/ 296 h 843"/>
              <a:gd name="T28" fmla="*/ 404 w 575"/>
              <a:gd name="T29" fmla="*/ 228 h 843"/>
              <a:gd name="T30" fmla="*/ 497 w 575"/>
              <a:gd name="T31" fmla="*/ 189 h 843"/>
              <a:gd name="T32" fmla="*/ 519 w 575"/>
              <a:gd name="T33" fmla="*/ 186 h 843"/>
              <a:gd name="T34" fmla="*/ 490 w 575"/>
              <a:gd name="T35" fmla="*/ 169 h 843"/>
              <a:gd name="T36" fmla="*/ 514 w 575"/>
              <a:gd name="T37" fmla="*/ 128 h 843"/>
              <a:gd name="T38" fmla="*/ 472 w 575"/>
              <a:gd name="T39" fmla="*/ 99 h 843"/>
              <a:gd name="T40" fmla="*/ 431 w 575"/>
              <a:gd name="T41" fmla="*/ 99 h 843"/>
              <a:gd name="T42" fmla="*/ 379 w 575"/>
              <a:gd name="T43" fmla="*/ 107 h 843"/>
              <a:gd name="T44" fmla="*/ 370 w 575"/>
              <a:gd name="T45" fmla="*/ 81 h 843"/>
              <a:gd name="T46" fmla="*/ 348 w 575"/>
              <a:gd name="T47" fmla="*/ 51 h 843"/>
              <a:gd name="T48" fmla="*/ 314 w 575"/>
              <a:gd name="T49" fmla="*/ 20 h 843"/>
              <a:gd name="T50" fmla="*/ 274 w 575"/>
              <a:gd name="T51" fmla="*/ 0 h 843"/>
              <a:gd name="T52" fmla="*/ 261 w 575"/>
              <a:gd name="T53" fmla="*/ 8 h 843"/>
              <a:gd name="T54" fmla="*/ 272 w 575"/>
              <a:gd name="T55" fmla="*/ 40 h 843"/>
              <a:gd name="T56" fmla="*/ 213 w 575"/>
              <a:gd name="T57" fmla="*/ 115 h 843"/>
              <a:gd name="T58" fmla="*/ 142 w 575"/>
              <a:gd name="T59" fmla="*/ 159 h 843"/>
              <a:gd name="T60" fmla="*/ 119 w 575"/>
              <a:gd name="T61" fmla="*/ 176 h 843"/>
              <a:gd name="T62" fmla="*/ 99 w 575"/>
              <a:gd name="T63" fmla="*/ 221 h 843"/>
              <a:gd name="T64" fmla="*/ 74 w 575"/>
              <a:gd name="T65" fmla="*/ 204 h 843"/>
              <a:gd name="T66" fmla="*/ 54 w 575"/>
              <a:gd name="T67" fmla="*/ 200 h 843"/>
              <a:gd name="T68" fmla="*/ 29 w 575"/>
              <a:gd name="T69" fmla="*/ 184 h 843"/>
              <a:gd name="T70" fmla="*/ 40 w 575"/>
              <a:gd name="T71" fmla="*/ 153 h 843"/>
              <a:gd name="T72" fmla="*/ 6 w 575"/>
              <a:gd name="T73" fmla="*/ 237 h 843"/>
              <a:gd name="T74" fmla="*/ 8 w 575"/>
              <a:gd name="T75" fmla="*/ 266 h 843"/>
              <a:gd name="T76" fmla="*/ 72 w 575"/>
              <a:gd name="T77" fmla="*/ 323 h 843"/>
              <a:gd name="T78" fmla="*/ 109 w 575"/>
              <a:gd name="T79" fmla="*/ 379 h 843"/>
              <a:gd name="T80" fmla="*/ 156 w 575"/>
              <a:gd name="T81" fmla="*/ 484 h 843"/>
              <a:gd name="T82" fmla="*/ 181 w 575"/>
              <a:gd name="T83" fmla="*/ 537 h 843"/>
              <a:gd name="T84" fmla="*/ 224 w 575"/>
              <a:gd name="T85" fmla="*/ 610 h 843"/>
              <a:gd name="T86" fmla="*/ 223 w 575"/>
              <a:gd name="T87" fmla="*/ 641 h 843"/>
              <a:gd name="T88" fmla="*/ 278 w 575"/>
              <a:gd name="T89" fmla="*/ 706 h 843"/>
              <a:gd name="T90" fmla="*/ 411 w 575"/>
              <a:gd name="T91" fmla="*/ 775 h 843"/>
              <a:gd name="T92" fmla="*/ 470 w 575"/>
              <a:gd name="T93" fmla="*/ 829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5" h="843">
                <a:moveTo>
                  <a:pt x="493" y="843"/>
                </a:moveTo>
                <a:lnTo>
                  <a:pt x="504" y="834"/>
                </a:lnTo>
                <a:lnTo>
                  <a:pt x="524" y="833"/>
                </a:lnTo>
                <a:lnTo>
                  <a:pt x="538" y="811"/>
                </a:lnTo>
                <a:lnTo>
                  <a:pt x="532" y="800"/>
                </a:lnTo>
                <a:lnTo>
                  <a:pt x="563" y="760"/>
                </a:lnTo>
                <a:lnTo>
                  <a:pt x="561" y="749"/>
                </a:lnTo>
                <a:lnTo>
                  <a:pt x="546" y="732"/>
                </a:lnTo>
                <a:lnTo>
                  <a:pt x="546" y="714"/>
                </a:lnTo>
                <a:lnTo>
                  <a:pt x="557" y="698"/>
                </a:lnTo>
                <a:lnTo>
                  <a:pt x="548" y="675"/>
                </a:lnTo>
                <a:lnTo>
                  <a:pt x="563" y="664"/>
                </a:lnTo>
                <a:lnTo>
                  <a:pt x="563" y="587"/>
                </a:lnTo>
                <a:lnTo>
                  <a:pt x="575" y="567"/>
                </a:lnTo>
                <a:lnTo>
                  <a:pt x="532" y="497"/>
                </a:lnTo>
                <a:lnTo>
                  <a:pt x="506" y="503"/>
                </a:lnTo>
                <a:lnTo>
                  <a:pt x="495" y="497"/>
                </a:lnTo>
                <a:lnTo>
                  <a:pt x="495" y="421"/>
                </a:lnTo>
                <a:lnTo>
                  <a:pt x="465" y="444"/>
                </a:lnTo>
                <a:lnTo>
                  <a:pt x="442" y="453"/>
                </a:lnTo>
                <a:lnTo>
                  <a:pt x="421" y="449"/>
                </a:lnTo>
                <a:lnTo>
                  <a:pt x="408" y="430"/>
                </a:lnTo>
                <a:lnTo>
                  <a:pt x="380" y="426"/>
                </a:lnTo>
                <a:lnTo>
                  <a:pt x="385" y="407"/>
                </a:lnTo>
                <a:lnTo>
                  <a:pt x="354" y="376"/>
                </a:lnTo>
                <a:lnTo>
                  <a:pt x="343" y="342"/>
                </a:lnTo>
                <a:lnTo>
                  <a:pt x="359" y="303"/>
                </a:lnTo>
                <a:lnTo>
                  <a:pt x="377" y="296"/>
                </a:lnTo>
                <a:lnTo>
                  <a:pt x="379" y="266"/>
                </a:lnTo>
                <a:lnTo>
                  <a:pt x="404" y="228"/>
                </a:lnTo>
                <a:lnTo>
                  <a:pt x="442" y="206"/>
                </a:lnTo>
                <a:lnTo>
                  <a:pt x="497" y="189"/>
                </a:lnTo>
                <a:lnTo>
                  <a:pt x="514" y="191"/>
                </a:lnTo>
                <a:lnTo>
                  <a:pt x="519" y="186"/>
                </a:lnTo>
                <a:lnTo>
                  <a:pt x="502" y="172"/>
                </a:lnTo>
                <a:lnTo>
                  <a:pt x="490" y="169"/>
                </a:lnTo>
                <a:lnTo>
                  <a:pt x="490" y="161"/>
                </a:lnTo>
                <a:lnTo>
                  <a:pt x="514" y="128"/>
                </a:lnTo>
                <a:lnTo>
                  <a:pt x="506" y="115"/>
                </a:lnTo>
                <a:lnTo>
                  <a:pt x="472" y="99"/>
                </a:lnTo>
                <a:lnTo>
                  <a:pt x="456" y="107"/>
                </a:lnTo>
                <a:lnTo>
                  <a:pt x="431" y="99"/>
                </a:lnTo>
                <a:lnTo>
                  <a:pt x="411" y="111"/>
                </a:lnTo>
                <a:lnTo>
                  <a:pt x="379" y="107"/>
                </a:lnTo>
                <a:lnTo>
                  <a:pt x="370" y="98"/>
                </a:lnTo>
                <a:lnTo>
                  <a:pt x="370" y="81"/>
                </a:lnTo>
                <a:lnTo>
                  <a:pt x="357" y="78"/>
                </a:lnTo>
                <a:lnTo>
                  <a:pt x="348" y="51"/>
                </a:lnTo>
                <a:lnTo>
                  <a:pt x="329" y="45"/>
                </a:lnTo>
                <a:lnTo>
                  <a:pt x="314" y="20"/>
                </a:lnTo>
                <a:lnTo>
                  <a:pt x="297" y="6"/>
                </a:lnTo>
                <a:lnTo>
                  <a:pt x="274" y="0"/>
                </a:lnTo>
                <a:lnTo>
                  <a:pt x="263" y="2"/>
                </a:lnTo>
                <a:lnTo>
                  <a:pt x="261" y="8"/>
                </a:lnTo>
                <a:lnTo>
                  <a:pt x="280" y="40"/>
                </a:lnTo>
                <a:lnTo>
                  <a:pt x="272" y="40"/>
                </a:lnTo>
                <a:lnTo>
                  <a:pt x="253" y="74"/>
                </a:lnTo>
                <a:lnTo>
                  <a:pt x="213" y="115"/>
                </a:lnTo>
                <a:lnTo>
                  <a:pt x="148" y="141"/>
                </a:lnTo>
                <a:lnTo>
                  <a:pt x="142" y="159"/>
                </a:lnTo>
                <a:lnTo>
                  <a:pt x="131" y="158"/>
                </a:lnTo>
                <a:lnTo>
                  <a:pt x="119" y="176"/>
                </a:lnTo>
                <a:lnTo>
                  <a:pt x="114" y="209"/>
                </a:lnTo>
                <a:lnTo>
                  <a:pt x="99" y="221"/>
                </a:lnTo>
                <a:lnTo>
                  <a:pt x="84" y="223"/>
                </a:lnTo>
                <a:lnTo>
                  <a:pt x="74" y="204"/>
                </a:lnTo>
                <a:lnTo>
                  <a:pt x="60" y="204"/>
                </a:lnTo>
                <a:lnTo>
                  <a:pt x="54" y="200"/>
                </a:lnTo>
                <a:lnTo>
                  <a:pt x="35" y="204"/>
                </a:lnTo>
                <a:lnTo>
                  <a:pt x="29" y="184"/>
                </a:lnTo>
                <a:lnTo>
                  <a:pt x="45" y="174"/>
                </a:lnTo>
                <a:lnTo>
                  <a:pt x="40" y="153"/>
                </a:lnTo>
                <a:lnTo>
                  <a:pt x="0" y="196"/>
                </a:lnTo>
                <a:lnTo>
                  <a:pt x="6" y="237"/>
                </a:lnTo>
                <a:lnTo>
                  <a:pt x="18" y="251"/>
                </a:lnTo>
                <a:lnTo>
                  <a:pt x="8" y="266"/>
                </a:lnTo>
                <a:lnTo>
                  <a:pt x="59" y="308"/>
                </a:lnTo>
                <a:lnTo>
                  <a:pt x="72" y="323"/>
                </a:lnTo>
                <a:lnTo>
                  <a:pt x="84" y="353"/>
                </a:lnTo>
                <a:lnTo>
                  <a:pt x="109" y="379"/>
                </a:lnTo>
                <a:lnTo>
                  <a:pt x="142" y="460"/>
                </a:lnTo>
                <a:lnTo>
                  <a:pt x="156" y="484"/>
                </a:lnTo>
                <a:lnTo>
                  <a:pt x="165" y="523"/>
                </a:lnTo>
                <a:lnTo>
                  <a:pt x="181" y="537"/>
                </a:lnTo>
                <a:lnTo>
                  <a:pt x="213" y="596"/>
                </a:lnTo>
                <a:lnTo>
                  <a:pt x="224" y="610"/>
                </a:lnTo>
                <a:lnTo>
                  <a:pt x="229" y="631"/>
                </a:lnTo>
                <a:lnTo>
                  <a:pt x="223" y="641"/>
                </a:lnTo>
                <a:lnTo>
                  <a:pt x="226" y="655"/>
                </a:lnTo>
                <a:lnTo>
                  <a:pt x="278" y="706"/>
                </a:lnTo>
                <a:lnTo>
                  <a:pt x="343" y="746"/>
                </a:lnTo>
                <a:lnTo>
                  <a:pt x="411" y="775"/>
                </a:lnTo>
                <a:lnTo>
                  <a:pt x="439" y="795"/>
                </a:lnTo>
                <a:lnTo>
                  <a:pt x="470" y="829"/>
                </a:lnTo>
                <a:lnTo>
                  <a:pt x="493" y="843"/>
                </a:lnTo>
                <a:close/>
              </a:path>
            </a:pathLst>
          </a:custGeom>
          <a:solidFill>
            <a:schemeClr val="accent1"/>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16" name="Freeform 190">
            <a:extLst>
              <a:ext uri="{FF2B5EF4-FFF2-40B4-BE49-F238E27FC236}">
                <a16:creationId xmlns:a16="http://schemas.microsoft.com/office/drawing/2014/main" id="{EC0004A4-6C01-4545-BBEC-9B5B9F78FF00}"/>
              </a:ext>
            </a:extLst>
          </p:cNvPr>
          <p:cNvSpPr>
            <a:spLocks noChangeAspect="1"/>
          </p:cNvSpPr>
          <p:nvPr/>
        </p:nvSpPr>
        <p:spPr bwMode="gray">
          <a:xfrm>
            <a:off x="2064293" y="3515850"/>
            <a:ext cx="382308" cy="492912"/>
          </a:xfrm>
          <a:custGeom>
            <a:avLst/>
            <a:gdLst>
              <a:gd name="T0" fmla="*/ 0 w 388"/>
              <a:gd name="T1" fmla="*/ 151 h 411"/>
              <a:gd name="T2" fmla="*/ 17 w 388"/>
              <a:gd name="T3" fmla="*/ 105 h 411"/>
              <a:gd name="T4" fmla="*/ 17 w 388"/>
              <a:gd name="T5" fmla="*/ 71 h 411"/>
              <a:gd name="T6" fmla="*/ 34 w 388"/>
              <a:gd name="T7" fmla="*/ 43 h 411"/>
              <a:gd name="T8" fmla="*/ 40 w 388"/>
              <a:gd name="T9" fmla="*/ 26 h 411"/>
              <a:gd name="T10" fmla="*/ 129 w 388"/>
              <a:gd name="T11" fmla="*/ 0 h 411"/>
              <a:gd name="T12" fmla="*/ 168 w 388"/>
              <a:gd name="T13" fmla="*/ 0 h 411"/>
              <a:gd name="T14" fmla="*/ 188 w 388"/>
              <a:gd name="T15" fmla="*/ 10 h 411"/>
              <a:gd name="T16" fmla="*/ 215 w 388"/>
              <a:gd name="T17" fmla="*/ 43 h 411"/>
              <a:gd name="T18" fmla="*/ 213 w 388"/>
              <a:gd name="T19" fmla="*/ 49 h 411"/>
              <a:gd name="T20" fmla="*/ 221 w 388"/>
              <a:gd name="T21" fmla="*/ 63 h 411"/>
              <a:gd name="T22" fmla="*/ 221 w 388"/>
              <a:gd name="T23" fmla="*/ 131 h 411"/>
              <a:gd name="T24" fmla="*/ 224 w 388"/>
              <a:gd name="T25" fmla="*/ 137 h 411"/>
              <a:gd name="T26" fmla="*/ 263 w 388"/>
              <a:gd name="T27" fmla="*/ 149 h 411"/>
              <a:gd name="T28" fmla="*/ 294 w 388"/>
              <a:gd name="T29" fmla="*/ 142 h 411"/>
              <a:gd name="T30" fmla="*/ 318 w 388"/>
              <a:gd name="T31" fmla="*/ 152 h 411"/>
              <a:gd name="T32" fmla="val 18576000"/>
              <a:gd name="T33" fmla="*/ 164 h 411"/>
              <a:gd name="T34" fmla="*/ 329 w 388"/>
              <a:gd name="T35" fmla="*/ 215 h 411"/>
              <a:gd name="T36" fmla="*/ 335 w 388"/>
              <a:gd name="T37" fmla="*/ 225 h 411"/>
              <a:gd name="T38" fmla="*/ 348 w 388"/>
              <a:gd name="T39" fmla="*/ 232 h 411"/>
              <a:gd name="T40" fmla="*/ 378 w 388"/>
              <a:gd name="T41" fmla="*/ 227 h 411"/>
              <a:gd name="T42" fmla="*/ 383 w 388"/>
              <a:gd name="T43" fmla="*/ 232 h 411"/>
              <a:gd name="T44" fmla="*/ 388 w 388"/>
              <a:gd name="T45" fmla="*/ 259 h 411"/>
              <a:gd name="T46" fmla="*/ 380 w 388"/>
              <a:gd name="T47" fmla="*/ 315 h 411"/>
              <a:gd name="T48" fmla="*/ 371 w 388"/>
              <a:gd name="T49" fmla="*/ 360 h 411"/>
              <a:gd name="T50" fmla="*/ 326 w 388"/>
              <a:gd name="T51" fmla="*/ 403 h 411"/>
              <a:gd name="T52" fmla="*/ 273 w 388"/>
              <a:gd name="T53" fmla="*/ 411 h 411"/>
              <a:gd name="T54" fmla="*/ 246 w 388"/>
              <a:gd name="T55" fmla="*/ 399 h 411"/>
              <a:gd name="T56" fmla="*/ 201 w 388"/>
              <a:gd name="T57" fmla="*/ 394 h 411"/>
              <a:gd name="T58" fmla="*/ 201 w 388"/>
              <a:gd name="T59" fmla="*/ 383 h 411"/>
              <a:gd name="T60" fmla="*/ 202 w 388"/>
              <a:gd name="T61" fmla="*/ 371 h 411"/>
              <a:gd name="T62" fmla="*/ 230 w 388"/>
              <a:gd name="T63" fmla="*/ 321 h 411"/>
              <a:gd name="T64" fmla="*/ 227 w 388"/>
              <a:gd name="T65" fmla="*/ 301 h 411"/>
              <a:gd name="T66" fmla="*/ 193 w 388"/>
              <a:gd name="T67" fmla="*/ 276 h 411"/>
              <a:gd name="T68" fmla="*/ 141 w 388"/>
              <a:gd name="T69" fmla="*/ 245 h 411"/>
              <a:gd name="T70" fmla="*/ 86 w 388"/>
              <a:gd name="T71" fmla="*/ 233 h 411"/>
              <a:gd name="T72" fmla="*/ 77 w 388"/>
              <a:gd name="T73" fmla="*/ 216 h 411"/>
              <a:gd name="T74" fmla="*/ 43 w 388"/>
              <a:gd name="T75" fmla="*/ 193 h 411"/>
              <a:gd name="T76" fmla="*/ 14 w 388"/>
              <a:gd name="T77" fmla="*/ 156 h 411"/>
              <a:gd name="T78" fmla="*/ 0 w 388"/>
              <a:gd name="T79" fmla="*/ 151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8" h="411">
                <a:moveTo>
                  <a:pt x="0" y="151"/>
                </a:moveTo>
                <a:lnTo>
                  <a:pt x="17" y="105"/>
                </a:lnTo>
                <a:lnTo>
                  <a:pt x="17" y="71"/>
                </a:lnTo>
                <a:lnTo>
                  <a:pt x="34" y="43"/>
                </a:lnTo>
                <a:lnTo>
                  <a:pt x="40" y="26"/>
                </a:lnTo>
                <a:lnTo>
                  <a:pt x="129" y="0"/>
                </a:lnTo>
                <a:lnTo>
                  <a:pt x="168" y="0"/>
                </a:lnTo>
                <a:lnTo>
                  <a:pt x="188" y="10"/>
                </a:lnTo>
                <a:lnTo>
                  <a:pt x="215" y="43"/>
                </a:lnTo>
                <a:lnTo>
                  <a:pt x="213" y="49"/>
                </a:lnTo>
                <a:lnTo>
                  <a:pt x="221" y="63"/>
                </a:lnTo>
                <a:lnTo>
                  <a:pt x="221" y="131"/>
                </a:lnTo>
                <a:lnTo>
                  <a:pt x="224" y="137"/>
                </a:lnTo>
                <a:lnTo>
                  <a:pt x="263" y="149"/>
                </a:lnTo>
                <a:lnTo>
                  <a:pt x="294" y="142"/>
                </a:lnTo>
                <a:lnTo>
                  <a:pt x="318" y="152"/>
                </a:lnTo>
                <a:lnTo>
                  <a:pt x="326" y="164"/>
                </a:lnTo>
                <a:lnTo>
                  <a:pt x="329" y="215"/>
                </a:lnTo>
                <a:lnTo>
                  <a:pt x="335" y="225"/>
                </a:lnTo>
                <a:lnTo>
                  <a:pt x="348" y="232"/>
                </a:lnTo>
                <a:lnTo>
                  <a:pt x="378" y="227"/>
                </a:lnTo>
                <a:lnTo>
                  <a:pt x="383" y="232"/>
                </a:lnTo>
                <a:lnTo>
                  <a:pt x="388" y="259"/>
                </a:lnTo>
                <a:lnTo>
                  <a:pt x="380" y="315"/>
                </a:lnTo>
                <a:lnTo>
                  <a:pt x="371" y="360"/>
                </a:lnTo>
                <a:lnTo>
                  <a:pt x="326" y="403"/>
                </a:lnTo>
                <a:lnTo>
                  <a:pt x="273" y="411"/>
                </a:lnTo>
                <a:lnTo>
                  <a:pt x="246" y="399"/>
                </a:lnTo>
                <a:lnTo>
                  <a:pt x="201" y="394"/>
                </a:lnTo>
                <a:lnTo>
                  <a:pt x="201" y="383"/>
                </a:lnTo>
                <a:lnTo>
                  <a:pt x="202" y="371"/>
                </a:lnTo>
                <a:lnTo>
                  <a:pt x="230" y="321"/>
                </a:lnTo>
                <a:lnTo>
                  <a:pt x="227" y="301"/>
                </a:lnTo>
                <a:lnTo>
                  <a:pt x="193" y="276"/>
                </a:lnTo>
                <a:lnTo>
                  <a:pt x="141" y="245"/>
                </a:lnTo>
                <a:lnTo>
                  <a:pt x="86" y="233"/>
                </a:lnTo>
                <a:lnTo>
                  <a:pt x="77" y="216"/>
                </a:lnTo>
                <a:lnTo>
                  <a:pt x="43" y="193"/>
                </a:lnTo>
                <a:lnTo>
                  <a:pt x="14" y="156"/>
                </a:lnTo>
                <a:lnTo>
                  <a:pt x="0" y="151"/>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17" name="Freeform 191">
            <a:extLst>
              <a:ext uri="{FF2B5EF4-FFF2-40B4-BE49-F238E27FC236}">
                <a16:creationId xmlns:a16="http://schemas.microsoft.com/office/drawing/2014/main" id="{82D12297-5787-A940-AF96-E9CCCDA6EBB3}"/>
              </a:ext>
            </a:extLst>
          </p:cNvPr>
          <p:cNvSpPr>
            <a:spLocks noChangeAspect="1"/>
          </p:cNvSpPr>
          <p:nvPr/>
        </p:nvSpPr>
        <p:spPr bwMode="gray">
          <a:xfrm>
            <a:off x="2258689" y="4169154"/>
            <a:ext cx="239749" cy="316870"/>
          </a:xfrm>
          <a:custGeom>
            <a:avLst/>
            <a:gdLst>
              <a:gd name="T0" fmla="*/ 39 w 246"/>
              <a:gd name="T1" fmla="*/ 8 h 263"/>
              <a:gd name="T2" fmla="*/ 28 w 246"/>
              <a:gd name="T3" fmla="*/ 21 h 263"/>
              <a:gd name="T4" fmla="*/ 26 w 246"/>
              <a:gd name="T5" fmla="*/ 72 h 263"/>
              <a:gd name="T6" fmla="*/ 17 w 246"/>
              <a:gd name="T7" fmla="*/ 100 h 263"/>
              <a:gd name="T8" fmla="*/ 16 w 246"/>
              <a:gd name="T9" fmla="*/ 151 h 263"/>
              <a:gd name="T10" fmla="*/ 5 w 246"/>
              <a:gd name="T11" fmla="*/ 176 h 263"/>
              <a:gd name="T12" fmla="*/ 0 w 246"/>
              <a:gd name="T13" fmla="*/ 210 h 263"/>
              <a:gd name="T14" fmla="*/ 8 w 246"/>
              <a:gd name="T15" fmla="*/ 213 h 263"/>
              <a:gd name="T16" fmla="*/ 25 w 246"/>
              <a:gd name="T17" fmla="*/ 235 h 263"/>
              <a:gd name="T18" fmla="*/ 57 w 246"/>
              <a:gd name="T19" fmla="*/ 238 h 263"/>
              <a:gd name="T20" fmla="*/ 104 w 246"/>
              <a:gd name="T21" fmla="*/ 258 h 263"/>
              <a:gd name="T22" fmla="*/ 136 w 246"/>
              <a:gd name="T23" fmla="*/ 257 h 263"/>
              <a:gd name="T24" fmla="*/ 165 w 246"/>
              <a:gd name="T25" fmla="*/ 263 h 263"/>
              <a:gd name="T26" fmla="*/ 198 w 246"/>
              <a:gd name="T27" fmla="*/ 246 h 263"/>
              <a:gd name="T28" fmla="*/ 232 w 246"/>
              <a:gd name="T29" fmla="*/ 198 h 263"/>
              <a:gd name="T30" fmla="*/ 229 w 246"/>
              <a:gd name="T31" fmla="*/ 190 h 263"/>
              <a:gd name="T32" fmla="*/ 231 w 246"/>
              <a:gd name="T33" fmla="*/ 165 h 263"/>
              <a:gd name="T34" fmla="*/ 246 w 246"/>
              <a:gd name="T35" fmla="*/ 143 h 263"/>
              <a:gd name="T36" fmla="*/ 224 w 246"/>
              <a:gd name="T37" fmla="*/ 125 h 263"/>
              <a:gd name="T38" fmla="*/ 215 w 246"/>
              <a:gd name="T39" fmla="*/ 99 h 263"/>
              <a:gd name="T40" fmla="*/ 192 w 246"/>
              <a:gd name="T41" fmla="*/ 89 h 263"/>
              <a:gd name="T42" fmla="*/ 178 w 246"/>
              <a:gd name="T43" fmla="*/ 72 h 263"/>
              <a:gd name="T44" fmla="*/ 152 w 246"/>
              <a:gd name="T45" fmla="*/ 62 h 263"/>
              <a:gd name="T46" fmla="*/ 135 w 246"/>
              <a:gd name="T47" fmla="*/ 40 h 263"/>
              <a:gd name="T48" fmla="*/ 122 w 246"/>
              <a:gd name="T49" fmla="*/ 48 h 263"/>
              <a:gd name="T50" fmla="*/ 113 w 246"/>
              <a:gd name="T51" fmla="*/ 48 h 263"/>
              <a:gd name="T52" fmla="*/ 107 w 246"/>
              <a:gd name="T53" fmla="*/ 28 h 263"/>
              <a:gd name="T54" fmla="*/ 77 w 246"/>
              <a:gd name="T55" fmla="*/ 1 h 263"/>
              <a:gd name="T56" fmla="*/ 67 w 246"/>
              <a:gd name="T57" fmla="*/ 0 h 263"/>
              <a:gd name="T58" fmla="*/ 53 w 246"/>
              <a:gd name="T59" fmla="*/ 9 h 263"/>
              <a:gd name="T60" fmla="*/ 39 w 246"/>
              <a:gd name="T61" fmla="*/ 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6" h="263">
                <a:moveTo>
                  <a:pt x="39" y="8"/>
                </a:moveTo>
                <a:lnTo>
                  <a:pt x="28" y="21"/>
                </a:lnTo>
                <a:lnTo>
                  <a:pt x="26" y="72"/>
                </a:lnTo>
                <a:lnTo>
                  <a:pt x="17" y="100"/>
                </a:lnTo>
                <a:lnTo>
                  <a:pt x="16" y="151"/>
                </a:lnTo>
                <a:lnTo>
                  <a:pt x="5" y="176"/>
                </a:lnTo>
                <a:lnTo>
                  <a:pt x="0" y="210"/>
                </a:lnTo>
                <a:lnTo>
                  <a:pt x="8" y="213"/>
                </a:lnTo>
                <a:lnTo>
                  <a:pt x="25" y="235"/>
                </a:lnTo>
                <a:lnTo>
                  <a:pt x="57" y="238"/>
                </a:lnTo>
                <a:lnTo>
                  <a:pt x="104" y="258"/>
                </a:lnTo>
                <a:lnTo>
                  <a:pt x="136" y="257"/>
                </a:lnTo>
                <a:lnTo>
                  <a:pt x="165" y="263"/>
                </a:lnTo>
                <a:lnTo>
                  <a:pt x="198" y="246"/>
                </a:lnTo>
                <a:lnTo>
                  <a:pt x="232" y="198"/>
                </a:lnTo>
                <a:lnTo>
                  <a:pt x="229" y="190"/>
                </a:lnTo>
                <a:lnTo>
                  <a:pt x="231" y="165"/>
                </a:lnTo>
                <a:lnTo>
                  <a:pt x="246" y="143"/>
                </a:lnTo>
                <a:lnTo>
                  <a:pt x="224" y="125"/>
                </a:lnTo>
                <a:lnTo>
                  <a:pt x="215" y="99"/>
                </a:lnTo>
                <a:lnTo>
                  <a:pt x="192" y="89"/>
                </a:lnTo>
                <a:lnTo>
                  <a:pt x="178" y="72"/>
                </a:lnTo>
                <a:lnTo>
                  <a:pt x="152" y="62"/>
                </a:lnTo>
                <a:lnTo>
                  <a:pt x="135" y="40"/>
                </a:lnTo>
                <a:lnTo>
                  <a:pt x="122" y="48"/>
                </a:lnTo>
                <a:lnTo>
                  <a:pt x="113" y="48"/>
                </a:lnTo>
                <a:lnTo>
                  <a:pt x="107" y="28"/>
                </a:lnTo>
                <a:lnTo>
                  <a:pt x="77" y="1"/>
                </a:lnTo>
                <a:lnTo>
                  <a:pt x="67" y="0"/>
                </a:lnTo>
                <a:lnTo>
                  <a:pt x="53" y="9"/>
                </a:lnTo>
                <a:lnTo>
                  <a:pt x="39" y="8"/>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18" name="Freeform 192">
            <a:extLst>
              <a:ext uri="{FF2B5EF4-FFF2-40B4-BE49-F238E27FC236}">
                <a16:creationId xmlns:a16="http://schemas.microsoft.com/office/drawing/2014/main" id="{5B047B50-3343-9743-A9D3-F1DFE5835C9F}"/>
              </a:ext>
            </a:extLst>
          </p:cNvPr>
          <p:cNvSpPr>
            <a:spLocks noChangeAspect="1"/>
          </p:cNvSpPr>
          <p:nvPr/>
        </p:nvSpPr>
        <p:spPr bwMode="gray">
          <a:xfrm>
            <a:off x="1740307" y="2972086"/>
            <a:ext cx="554019" cy="758933"/>
          </a:xfrm>
          <a:custGeom>
            <a:avLst/>
            <a:gdLst>
              <a:gd name="T0" fmla="*/ 60 w 554"/>
              <a:gd name="T1" fmla="*/ 63 h 635"/>
              <a:gd name="T2" fmla="*/ 139 w 554"/>
              <a:gd name="T3" fmla="*/ 6 h 635"/>
              <a:gd name="T4" fmla="*/ 204 w 554"/>
              <a:gd name="T5" fmla="*/ 9 h 635"/>
              <a:gd name="T6" fmla="*/ 206 w 554"/>
              <a:gd name="T7" fmla="*/ 51 h 635"/>
              <a:gd name="T8" fmla="*/ 210 w 554"/>
              <a:gd name="T9" fmla="*/ 105 h 635"/>
              <a:gd name="T10" fmla="*/ 294 w 554"/>
              <a:gd name="T11" fmla="*/ 136 h 635"/>
              <a:gd name="T12" fmla="*/ 346 w 554"/>
              <a:gd name="T13" fmla="*/ 163 h 635"/>
              <a:gd name="T14" fmla="*/ 396 w 554"/>
              <a:gd name="T15" fmla="*/ 178 h 635"/>
              <a:gd name="T16" fmla="*/ 422 w 554"/>
              <a:gd name="T17" fmla="*/ 200 h 635"/>
              <a:gd name="T18" fmla="*/ 430 w 554"/>
              <a:gd name="T19" fmla="*/ 257 h 635"/>
              <a:gd name="T20" fmla="*/ 442 w 554"/>
              <a:gd name="T21" fmla="*/ 310 h 635"/>
              <a:gd name="T22" fmla="*/ 518 w 554"/>
              <a:gd name="T23" fmla="*/ 340 h 635"/>
              <a:gd name="T24" fmla="*/ 540 w 554"/>
              <a:gd name="T25" fmla="*/ 364 h 635"/>
              <a:gd name="T26" fmla="*/ 552 w 554"/>
              <a:gd name="T27" fmla="*/ 446 h 635"/>
              <a:gd name="T28" fmla="*/ 546 w 554"/>
              <a:gd name="T29" fmla="*/ 492 h 635"/>
              <a:gd name="T30" fmla="*/ 510 w 554"/>
              <a:gd name="T31" fmla="*/ 464 h 635"/>
              <a:gd name="T32" fmla="*/ 451 w 554"/>
              <a:gd name="T33" fmla="*/ 454 h 635"/>
              <a:gd name="T34" fmla="*/ 356 w 554"/>
              <a:gd name="T35" fmla="*/ 497 h 635"/>
              <a:gd name="T36" fmla="*/ 339 w 554"/>
              <a:gd name="T37" fmla="*/ 559 h 635"/>
              <a:gd name="T38" fmla="*/ 303 w 554"/>
              <a:gd name="T39" fmla="*/ 593 h 635"/>
              <a:gd name="T40" fmla="*/ 248 w 554"/>
              <a:gd name="T41" fmla="*/ 623 h 635"/>
              <a:gd name="T42" fmla="*/ 178 w 554"/>
              <a:gd name="T43" fmla="*/ 594 h 635"/>
              <a:gd name="T44" fmla="*/ 116 w 554"/>
              <a:gd name="T45" fmla="*/ 631 h 635"/>
              <a:gd name="T46" fmla="*/ 80 w 554"/>
              <a:gd name="T47" fmla="*/ 630 h 635"/>
              <a:gd name="T48" fmla="*/ 50 w 554"/>
              <a:gd name="T49" fmla="*/ 523 h 635"/>
              <a:gd name="T50" fmla="*/ 42 w 554"/>
              <a:gd name="T51" fmla="*/ 503 h 635"/>
              <a:gd name="T52" fmla="*/ 51 w 554"/>
              <a:gd name="T53" fmla="*/ 481 h 635"/>
              <a:gd name="T54" fmla="*/ 31 w 554"/>
              <a:gd name="T55" fmla="*/ 437 h 635"/>
              <a:gd name="T56" fmla="*/ 6 w 554"/>
              <a:gd name="T57" fmla="*/ 373 h 635"/>
              <a:gd name="T58" fmla="*/ 31 w 554"/>
              <a:gd name="T59" fmla="*/ 322 h 635"/>
              <a:gd name="T60" fmla="*/ 14 w 554"/>
              <a:gd name="T61" fmla="*/ 294 h 635"/>
              <a:gd name="T62" fmla="*/ 25 w 554"/>
              <a:gd name="T63" fmla="*/ 260 h 635"/>
              <a:gd name="T64" fmla="*/ 31 w 554"/>
              <a:gd name="T65" fmla="*/ 226 h 635"/>
              <a:gd name="T66" fmla="*/ 43 w 554"/>
              <a:gd name="T67" fmla="*/ 129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4" h="635">
                <a:moveTo>
                  <a:pt x="0" y="59"/>
                </a:moveTo>
                <a:lnTo>
                  <a:pt x="60" y="63"/>
                </a:lnTo>
                <a:lnTo>
                  <a:pt x="99" y="46"/>
                </a:lnTo>
                <a:lnTo>
                  <a:pt x="139" y="6"/>
                </a:lnTo>
                <a:lnTo>
                  <a:pt x="195" y="0"/>
                </a:lnTo>
                <a:lnTo>
                  <a:pt x="204" y="9"/>
                </a:lnTo>
                <a:lnTo>
                  <a:pt x="206" y="23"/>
                </a:lnTo>
                <a:lnTo>
                  <a:pt x="206" y="51"/>
                </a:lnTo>
                <a:lnTo>
                  <a:pt x="198" y="74"/>
                </a:lnTo>
                <a:lnTo>
                  <a:pt x="210" y="105"/>
                </a:lnTo>
                <a:lnTo>
                  <a:pt x="240" y="127"/>
                </a:lnTo>
                <a:lnTo>
                  <a:pt x="294" y="136"/>
                </a:lnTo>
                <a:lnTo>
                  <a:pt x="308" y="150"/>
                </a:lnTo>
                <a:lnTo>
                  <a:pt x="346" y="163"/>
                </a:lnTo>
                <a:lnTo>
                  <a:pt x="365" y="178"/>
                </a:lnTo>
                <a:lnTo>
                  <a:pt x="396" y="178"/>
                </a:lnTo>
                <a:lnTo>
                  <a:pt x="410" y="186"/>
                </a:lnTo>
                <a:lnTo>
                  <a:pt x="422" y="200"/>
                </a:lnTo>
                <a:lnTo>
                  <a:pt x="433" y="237"/>
                </a:lnTo>
                <a:lnTo>
                  <a:pt x="430" y="257"/>
                </a:lnTo>
                <a:lnTo>
                  <a:pt x="424" y="263"/>
                </a:lnTo>
                <a:lnTo>
                  <a:pt x="442" y="310"/>
                </a:lnTo>
                <a:lnTo>
                  <a:pt x="523" y="317"/>
                </a:lnTo>
                <a:lnTo>
                  <a:pt x="518" y="340"/>
                </a:lnTo>
                <a:lnTo>
                  <a:pt x="523" y="357"/>
                </a:lnTo>
                <a:lnTo>
                  <a:pt x="540" y="364"/>
                </a:lnTo>
                <a:lnTo>
                  <a:pt x="554" y="399"/>
                </a:lnTo>
                <a:lnTo>
                  <a:pt x="552" y="446"/>
                </a:lnTo>
                <a:lnTo>
                  <a:pt x="543" y="472"/>
                </a:lnTo>
                <a:lnTo>
                  <a:pt x="546" y="492"/>
                </a:lnTo>
                <a:lnTo>
                  <a:pt x="537" y="497"/>
                </a:lnTo>
                <a:lnTo>
                  <a:pt x="510" y="464"/>
                </a:lnTo>
                <a:lnTo>
                  <a:pt x="490" y="454"/>
                </a:lnTo>
                <a:lnTo>
                  <a:pt x="451" y="454"/>
                </a:lnTo>
                <a:lnTo>
                  <a:pt x="362" y="480"/>
                </a:lnTo>
                <a:lnTo>
                  <a:pt x="356" y="497"/>
                </a:lnTo>
                <a:lnTo>
                  <a:pt x="339" y="525"/>
                </a:lnTo>
                <a:lnTo>
                  <a:pt x="339" y="559"/>
                </a:lnTo>
                <a:lnTo>
                  <a:pt x="322" y="605"/>
                </a:lnTo>
                <a:lnTo>
                  <a:pt x="303" y="593"/>
                </a:lnTo>
                <a:lnTo>
                  <a:pt x="258" y="589"/>
                </a:lnTo>
                <a:lnTo>
                  <a:pt x="248" y="623"/>
                </a:lnTo>
                <a:lnTo>
                  <a:pt x="227" y="602"/>
                </a:lnTo>
                <a:lnTo>
                  <a:pt x="178" y="594"/>
                </a:lnTo>
                <a:lnTo>
                  <a:pt x="164" y="579"/>
                </a:lnTo>
                <a:lnTo>
                  <a:pt x="116" y="631"/>
                </a:lnTo>
                <a:lnTo>
                  <a:pt x="93" y="635"/>
                </a:lnTo>
                <a:lnTo>
                  <a:pt x="80" y="630"/>
                </a:lnTo>
                <a:lnTo>
                  <a:pt x="63" y="537"/>
                </a:lnTo>
                <a:lnTo>
                  <a:pt x="50" y="523"/>
                </a:lnTo>
                <a:lnTo>
                  <a:pt x="50" y="509"/>
                </a:lnTo>
                <a:lnTo>
                  <a:pt x="42" y="503"/>
                </a:lnTo>
                <a:lnTo>
                  <a:pt x="43" y="488"/>
                </a:lnTo>
                <a:lnTo>
                  <a:pt x="51" y="481"/>
                </a:lnTo>
                <a:lnTo>
                  <a:pt x="53" y="458"/>
                </a:lnTo>
                <a:lnTo>
                  <a:pt x="31" y="437"/>
                </a:lnTo>
                <a:lnTo>
                  <a:pt x="25" y="395"/>
                </a:lnTo>
                <a:lnTo>
                  <a:pt x="6" y="373"/>
                </a:lnTo>
                <a:lnTo>
                  <a:pt x="0" y="362"/>
                </a:lnTo>
                <a:lnTo>
                  <a:pt x="31" y="322"/>
                </a:lnTo>
                <a:lnTo>
                  <a:pt x="29" y="311"/>
                </a:lnTo>
                <a:lnTo>
                  <a:pt x="14" y="294"/>
                </a:lnTo>
                <a:lnTo>
                  <a:pt x="14" y="276"/>
                </a:lnTo>
                <a:lnTo>
                  <a:pt x="25" y="260"/>
                </a:lnTo>
                <a:lnTo>
                  <a:pt x="16" y="237"/>
                </a:lnTo>
                <a:lnTo>
                  <a:pt x="31" y="226"/>
                </a:lnTo>
                <a:lnTo>
                  <a:pt x="31" y="149"/>
                </a:lnTo>
                <a:lnTo>
                  <a:pt x="43" y="129"/>
                </a:lnTo>
                <a:lnTo>
                  <a:pt x="0" y="59"/>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19" name="Freeform 194">
            <a:extLst>
              <a:ext uri="{FF2B5EF4-FFF2-40B4-BE49-F238E27FC236}">
                <a16:creationId xmlns:a16="http://schemas.microsoft.com/office/drawing/2014/main" id="{C4CB1941-D1D3-DA42-8D73-EBCF8002D2FF}"/>
              </a:ext>
            </a:extLst>
          </p:cNvPr>
          <p:cNvSpPr>
            <a:spLocks noChangeAspect="1"/>
          </p:cNvSpPr>
          <p:nvPr/>
        </p:nvSpPr>
        <p:spPr bwMode="gray">
          <a:xfrm>
            <a:off x="2274887" y="2115359"/>
            <a:ext cx="187914" cy="219076"/>
          </a:xfrm>
          <a:custGeom>
            <a:avLst/>
            <a:gdLst>
              <a:gd name="T0" fmla="*/ 172 w 192"/>
              <a:gd name="T1" fmla="*/ 167 h 187"/>
              <a:gd name="T2" fmla="*/ 146 w 192"/>
              <a:gd name="T3" fmla="*/ 158 h 187"/>
              <a:gd name="T4" fmla="*/ 127 w 192"/>
              <a:gd name="T5" fmla="*/ 163 h 187"/>
              <a:gd name="T6" fmla="*/ 110 w 192"/>
              <a:gd name="T7" fmla="*/ 160 h 187"/>
              <a:gd name="T8" fmla="*/ 105 w 192"/>
              <a:gd name="T9" fmla="*/ 163 h 187"/>
              <a:gd name="T10" fmla="*/ 104 w 192"/>
              <a:gd name="T11" fmla="*/ 187 h 187"/>
              <a:gd name="T12" fmla="*/ 79 w 192"/>
              <a:gd name="T13" fmla="*/ 181 h 187"/>
              <a:gd name="T14" fmla="*/ 56 w 192"/>
              <a:gd name="T15" fmla="*/ 160 h 187"/>
              <a:gd name="T16" fmla="*/ 40 w 192"/>
              <a:gd name="T17" fmla="*/ 121 h 187"/>
              <a:gd name="T18" fmla="*/ 26 w 192"/>
              <a:gd name="T19" fmla="*/ 118 h 187"/>
              <a:gd name="T20" fmla="*/ 0 w 192"/>
              <a:gd name="T21" fmla="*/ 85 h 187"/>
              <a:gd name="T22" fmla="*/ 11 w 192"/>
              <a:gd name="T23" fmla="*/ 50 h 187"/>
              <a:gd name="T24" fmla="*/ 34 w 192"/>
              <a:gd name="T25" fmla="*/ 43 h 187"/>
              <a:gd name="T26" fmla="*/ 40 w 192"/>
              <a:gd name="T27" fmla="*/ 34 h 187"/>
              <a:gd name="T28" fmla="*/ 38 w 192"/>
              <a:gd name="T29" fmla="*/ 23 h 187"/>
              <a:gd name="T30" fmla="*/ 50 w 192"/>
              <a:gd name="T31" fmla="*/ 6 h 187"/>
              <a:gd name="T32" fmla="*/ 56 w 192"/>
              <a:gd name="T33" fmla="*/ 0 h 187"/>
              <a:gd name="T34" fmla="*/ 81 w 192"/>
              <a:gd name="T35" fmla="*/ 6 h 187"/>
              <a:gd name="T36" fmla="*/ 148 w 192"/>
              <a:gd name="T37" fmla="*/ 0 h 187"/>
              <a:gd name="T38" fmla="*/ 190 w 192"/>
              <a:gd name="T39" fmla="*/ 9 h 187"/>
              <a:gd name="T40" fmla="*/ 190 w 192"/>
              <a:gd name="T41" fmla="*/ 20 h 187"/>
              <a:gd name="T42" fmla="*/ 175 w 192"/>
              <a:gd name="T43" fmla="*/ 43 h 187"/>
              <a:gd name="T44" fmla="*/ 177 w 192"/>
              <a:gd name="T45" fmla="*/ 77 h 187"/>
              <a:gd name="T46" fmla="*/ 192 w 192"/>
              <a:gd name="T47" fmla="*/ 105 h 187"/>
              <a:gd name="T48" fmla="*/ 186 w 192"/>
              <a:gd name="T49" fmla="*/ 153 h 187"/>
              <a:gd name="T50" fmla="*/ 172 w 192"/>
              <a:gd name="T51" fmla="*/ 16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2" h="187">
                <a:moveTo>
                  <a:pt x="172" y="167"/>
                </a:moveTo>
                <a:lnTo>
                  <a:pt x="146" y="158"/>
                </a:lnTo>
                <a:lnTo>
                  <a:pt x="127" y="163"/>
                </a:lnTo>
                <a:lnTo>
                  <a:pt x="110" y="160"/>
                </a:lnTo>
                <a:lnTo>
                  <a:pt x="105" y="163"/>
                </a:lnTo>
                <a:lnTo>
                  <a:pt x="104" y="187"/>
                </a:lnTo>
                <a:lnTo>
                  <a:pt x="79" y="181"/>
                </a:lnTo>
                <a:lnTo>
                  <a:pt x="56" y="160"/>
                </a:lnTo>
                <a:lnTo>
                  <a:pt x="40" y="121"/>
                </a:lnTo>
                <a:lnTo>
                  <a:pt x="26" y="118"/>
                </a:lnTo>
                <a:lnTo>
                  <a:pt x="0" y="85"/>
                </a:lnTo>
                <a:lnTo>
                  <a:pt x="11" y="50"/>
                </a:lnTo>
                <a:lnTo>
                  <a:pt x="34" y="43"/>
                </a:lnTo>
                <a:lnTo>
                  <a:pt x="40" y="34"/>
                </a:lnTo>
                <a:lnTo>
                  <a:pt x="38" y="23"/>
                </a:lnTo>
                <a:lnTo>
                  <a:pt x="50" y="6"/>
                </a:lnTo>
                <a:lnTo>
                  <a:pt x="56" y="0"/>
                </a:lnTo>
                <a:lnTo>
                  <a:pt x="81" y="6"/>
                </a:lnTo>
                <a:lnTo>
                  <a:pt x="148" y="0"/>
                </a:lnTo>
                <a:lnTo>
                  <a:pt x="190" y="9"/>
                </a:lnTo>
                <a:lnTo>
                  <a:pt x="190" y="20"/>
                </a:lnTo>
                <a:lnTo>
                  <a:pt x="175" y="43"/>
                </a:lnTo>
                <a:lnTo>
                  <a:pt x="177" y="77"/>
                </a:lnTo>
                <a:lnTo>
                  <a:pt x="192" y="105"/>
                </a:lnTo>
                <a:lnTo>
                  <a:pt x="186" y="153"/>
                </a:lnTo>
                <a:lnTo>
                  <a:pt x="172" y="167"/>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20" name="Freeform 195">
            <a:extLst>
              <a:ext uri="{FF2B5EF4-FFF2-40B4-BE49-F238E27FC236}">
                <a16:creationId xmlns:a16="http://schemas.microsoft.com/office/drawing/2014/main" id="{7D2CB4AC-12C5-CE48-B003-5F5C75ECC565}"/>
              </a:ext>
            </a:extLst>
          </p:cNvPr>
          <p:cNvSpPr>
            <a:spLocks noChangeAspect="1"/>
          </p:cNvSpPr>
          <p:nvPr/>
        </p:nvSpPr>
        <p:spPr bwMode="gray">
          <a:xfrm>
            <a:off x="2129095" y="1982353"/>
            <a:ext cx="223551" cy="387287"/>
          </a:xfrm>
          <a:custGeom>
            <a:avLst/>
            <a:gdLst>
              <a:gd name="T0" fmla="*/ 224 w 224"/>
              <a:gd name="T1" fmla="*/ 291 h 324"/>
              <a:gd name="T2" fmla="*/ 201 w 224"/>
              <a:gd name="T3" fmla="*/ 296 h 324"/>
              <a:gd name="T4" fmla="*/ 190 w 224"/>
              <a:gd name="T5" fmla="*/ 290 h 324"/>
              <a:gd name="T6" fmla="*/ 173 w 224"/>
              <a:gd name="T7" fmla="*/ 304 h 324"/>
              <a:gd name="T8" fmla="*/ 134 w 224"/>
              <a:gd name="T9" fmla="*/ 314 h 324"/>
              <a:gd name="T10" fmla="*/ 124 w 224"/>
              <a:gd name="T11" fmla="*/ 324 h 324"/>
              <a:gd name="T12" fmla="*/ 103 w 224"/>
              <a:gd name="T13" fmla="*/ 321 h 324"/>
              <a:gd name="T14" fmla="*/ 91 w 224"/>
              <a:gd name="T15" fmla="*/ 314 h 324"/>
              <a:gd name="T16" fmla="*/ 76 w 224"/>
              <a:gd name="T17" fmla="*/ 299 h 324"/>
              <a:gd name="T18" fmla="*/ 74 w 224"/>
              <a:gd name="T19" fmla="*/ 279 h 324"/>
              <a:gd name="T20" fmla="*/ 65 w 224"/>
              <a:gd name="T21" fmla="*/ 266 h 324"/>
              <a:gd name="T22" fmla="*/ 71 w 224"/>
              <a:gd name="T23" fmla="*/ 215 h 324"/>
              <a:gd name="T24" fmla="*/ 82 w 224"/>
              <a:gd name="T25" fmla="*/ 203 h 324"/>
              <a:gd name="T26" fmla="*/ 76 w 224"/>
              <a:gd name="T27" fmla="*/ 178 h 324"/>
              <a:gd name="T28" fmla="*/ 57 w 224"/>
              <a:gd name="T29" fmla="*/ 174 h 324"/>
              <a:gd name="T30" fmla="*/ 61 w 224"/>
              <a:gd name="T31" fmla="*/ 157 h 324"/>
              <a:gd name="T32" fmla="*/ 56 w 224"/>
              <a:gd name="T33" fmla="*/ 143 h 324"/>
              <a:gd name="T34" fmla="*/ 31 w 224"/>
              <a:gd name="T35" fmla="*/ 144 h 324"/>
              <a:gd name="T36" fmla="*/ 0 w 224"/>
              <a:gd name="T37" fmla="*/ 107 h 324"/>
              <a:gd name="T38" fmla="*/ 0 w 224"/>
              <a:gd name="T39" fmla="*/ 102 h 324"/>
              <a:gd name="T40" fmla="*/ 10 w 224"/>
              <a:gd name="T41" fmla="*/ 89 h 324"/>
              <a:gd name="T42" fmla="*/ 10 w 224"/>
              <a:gd name="T43" fmla="*/ 76 h 324"/>
              <a:gd name="T44" fmla="*/ 37 w 224"/>
              <a:gd name="T45" fmla="*/ 59 h 324"/>
              <a:gd name="T46" fmla="*/ 22 w 224"/>
              <a:gd name="T47" fmla="*/ 53 h 324"/>
              <a:gd name="T48" fmla="*/ 22 w 224"/>
              <a:gd name="T49" fmla="*/ 31 h 324"/>
              <a:gd name="T50" fmla="*/ 66 w 224"/>
              <a:gd name="T51" fmla="*/ 11 h 324"/>
              <a:gd name="T52" fmla="*/ 68 w 224"/>
              <a:gd name="T53" fmla="*/ 0 h 324"/>
              <a:gd name="T54" fmla="*/ 80 w 224"/>
              <a:gd name="T55" fmla="*/ 0 h 324"/>
              <a:gd name="T56" fmla="*/ 119 w 224"/>
              <a:gd name="T57" fmla="*/ 34 h 324"/>
              <a:gd name="T58" fmla="*/ 125 w 224"/>
              <a:gd name="T59" fmla="*/ 45 h 324"/>
              <a:gd name="T60" fmla="*/ 127 w 224"/>
              <a:gd name="T61" fmla="*/ 68 h 324"/>
              <a:gd name="T62" fmla="*/ 133 w 224"/>
              <a:gd name="T63" fmla="*/ 70 h 324"/>
              <a:gd name="T64" fmla="*/ 151 w 224"/>
              <a:gd name="T65" fmla="*/ 72 h 324"/>
              <a:gd name="T66" fmla="*/ 164 w 224"/>
              <a:gd name="T67" fmla="*/ 79 h 324"/>
              <a:gd name="T68" fmla="*/ 187 w 224"/>
              <a:gd name="T69" fmla="*/ 99 h 324"/>
              <a:gd name="T70" fmla="*/ 195 w 224"/>
              <a:gd name="T71" fmla="*/ 116 h 324"/>
              <a:gd name="T72" fmla="*/ 183 w 224"/>
              <a:gd name="T73" fmla="*/ 133 h 324"/>
              <a:gd name="T74" fmla="*/ 185 w 224"/>
              <a:gd name="T75" fmla="*/ 144 h 324"/>
              <a:gd name="T76" fmla="*/ 179 w 224"/>
              <a:gd name="T77" fmla="*/ 153 h 324"/>
              <a:gd name="T78" fmla="*/ 156 w 224"/>
              <a:gd name="T79" fmla="*/ 160 h 324"/>
              <a:gd name="T80" fmla="*/ 145 w 224"/>
              <a:gd name="T81" fmla="*/ 195 h 324"/>
              <a:gd name="T82" fmla="*/ 171 w 224"/>
              <a:gd name="T83" fmla="*/ 228 h 324"/>
              <a:gd name="T84" fmla="*/ 185 w 224"/>
              <a:gd name="T85" fmla="*/ 231 h 324"/>
              <a:gd name="T86" fmla="*/ 201 w 224"/>
              <a:gd name="T87" fmla="*/ 270 h 324"/>
              <a:gd name="T88" fmla="*/ 224 w 224"/>
              <a:gd name="T89" fmla="*/ 291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4" h="324">
                <a:moveTo>
                  <a:pt x="224" y="291"/>
                </a:moveTo>
                <a:lnTo>
                  <a:pt x="201" y="296"/>
                </a:lnTo>
                <a:lnTo>
                  <a:pt x="190" y="290"/>
                </a:lnTo>
                <a:lnTo>
                  <a:pt x="173" y="304"/>
                </a:lnTo>
                <a:lnTo>
                  <a:pt x="134" y="314"/>
                </a:lnTo>
                <a:lnTo>
                  <a:pt x="124" y="324"/>
                </a:lnTo>
                <a:lnTo>
                  <a:pt x="103" y="321"/>
                </a:lnTo>
                <a:lnTo>
                  <a:pt x="91" y="314"/>
                </a:lnTo>
                <a:lnTo>
                  <a:pt x="76" y="299"/>
                </a:lnTo>
                <a:lnTo>
                  <a:pt x="74" y="279"/>
                </a:lnTo>
                <a:lnTo>
                  <a:pt x="65" y="266"/>
                </a:lnTo>
                <a:lnTo>
                  <a:pt x="71" y="215"/>
                </a:lnTo>
                <a:lnTo>
                  <a:pt x="82" y="203"/>
                </a:lnTo>
                <a:lnTo>
                  <a:pt x="76" y="178"/>
                </a:lnTo>
                <a:lnTo>
                  <a:pt x="57" y="174"/>
                </a:lnTo>
                <a:lnTo>
                  <a:pt x="61" y="157"/>
                </a:lnTo>
                <a:lnTo>
                  <a:pt x="56" y="143"/>
                </a:lnTo>
                <a:lnTo>
                  <a:pt x="31" y="144"/>
                </a:lnTo>
                <a:lnTo>
                  <a:pt x="0" y="107"/>
                </a:lnTo>
                <a:lnTo>
                  <a:pt x="0" y="102"/>
                </a:lnTo>
                <a:lnTo>
                  <a:pt x="10" y="89"/>
                </a:lnTo>
                <a:lnTo>
                  <a:pt x="10" y="76"/>
                </a:lnTo>
                <a:lnTo>
                  <a:pt x="37" y="59"/>
                </a:lnTo>
                <a:lnTo>
                  <a:pt x="22" y="53"/>
                </a:lnTo>
                <a:lnTo>
                  <a:pt x="22" y="31"/>
                </a:lnTo>
                <a:lnTo>
                  <a:pt x="66" y="11"/>
                </a:lnTo>
                <a:lnTo>
                  <a:pt x="68" y="0"/>
                </a:lnTo>
                <a:lnTo>
                  <a:pt x="80" y="0"/>
                </a:lnTo>
                <a:lnTo>
                  <a:pt x="119" y="34"/>
                </a:lnTo>
                <a:lnTo>
                  <a:pt x="125" y="45"/>
                </a:lnTo>
                <a:lnTo>
                  <a:pt x="127" y="68"/>
                </a:lnTo>
                <a:lnTo>
                  <a:pt x="133" y="70"/>
                </a:lnTo>
                <a:lnTo>
                  <a:pt x="151" y="72"/>
                </a:lnTo>
                <a:lnTo>
                  <a:pt x="164" y="79"/>
                </a:lnTo>
                <a:lnTo>
                  <a:pt x="187" y="99"/>
                </a:lnTo>
                <a:lnTo>
                  <a:pt x="195" y="116"/>
                </a:lnTo>
                <a:lnTo>
                  <a:pt x="183" y="133"/>
                </a:lnTo>
                <a:lnTo>
                  <a:pt x="185" y="144"/>
                </a:lnTo>
                <a:lnTo>
                  <a:pt x="179" y="153"/>
                </a:lnTo>
                <a:lnTo>
                  <a:pt x="156" y="160"/>
                </a:lnTo>
                <a:lnTo>
                  <a:pt x="145" y="195"/>
                </a:lnTo>
                <a:lnTo>
                  <a:pt x="171" y="228"/>
                </a:lnTo>
                <a:lnTo>
                  <a:pt x="185" y="231"/>
                </a:lnTo>
                <a:lnTo>
                  <a:pt x="201" y="270"/>
                </a:lnTo>
                <a:lnTo>
                  <a:pt x="224" y="291"/>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21" name="Freeform 196">
            <a:extLst>
              <a:ext uri="{FF2B5EF4-FFF2-40B4-BE49-F238E27FC236}">
                <a16:creationId xmlns:a16="http://schemas.microsoft.com/office/drawing/2014/main" id="{2124F3A2-508D-274C-AF80-181ADAC6CF74}"/>
              </a:ext>
            </a:extLst>
          </p:cNvPr>
          <p:cNvSpPr>
            <a:spLocks noChangeAspect="1"/>
          </p:cNvSpPr>
          <p:nvPr/>
        </p:nvSpPr>
        <p:spPr bwMode="gray">
          <a:xfrm>
            <a:off x="2443363" y="2131007"/>
            <a:ext cx="132837" cy="199510"/>
          </a:xfrm>
          <a:custGeom>
            <a:avLst/>
            <a:gdLst>
              <a:gd name="T0" fmla="*/ 132 w 132"/>
              <a:gd name="T1" fmla="*/ 71 h 167"/>
              <a:gd name="T2" fmla="*/ 132 w 132"/>
              <a:gd name="T3" fmla="*/ 63 h 167"/>
              <a:gd name="T4" fmla="*/ 124 w 132"/>
              <a:gd name="T5" fmla="*/ 54 h 167"/>
              <a:gd name="T6" fmla="*/ 83 w 132"/>
              <a:gd name="T7" fmla="*/ 25 h 167"/>
              <a:gd name="T8" fmla="*/ 31 w 132"/>
              <a:gd name="T9" fmla="*/ 0 h 167"/>
              <a:gd name="T10" fmla="*/ 18 w 132"/>
              <a:gd name="T11" fmla="*/ 6 h 167"/>
              <a:gd name="T12" fmla="*/ 3 w 132"/>
              <a:gd name="T13" fmla="*/ 29 h 167"/>
              <a:gd name="T14" fmla="*/ 5 w 132"/>
              <a:gd name="T15" fmla="*/ 63 h 167"/>
              <a:gd name="T16" fmla="*/ 20 w 132"/>
              <a:gd name="T17" fmla="*/ 91 h 167"/>
              <a:gd name="T18" fmla="*/ 14 w 132"/>
              <a:gd name="T19" fmla="*/ 139 h 167"/>
              <a:gd name="T20" fmla="*/ 0 w 132"/>
              <a:gd name="T21" fmla="*/ 153 h 167"/>
              <a:gd name="T22" fmla="*/ 18 w 132"/>
              <a:gd name="T23" fmla="*/ 167 h 167"/>
              <a:gd name="T24" fmla="*/ 40 w 132"/>
              <a:gd name="T25" fmla="*/ 161 h 167"/>
              <a:gd name="T26" fmla="*/ 65 w 132"/>
              <a:gd name="T27" fmla="*/ 161 h 167"/>
              <a:gd name="T28" fmla="*/ 90 w 132"/>
              <a:gd name="T29" fmla="*/ 139 h 167"/>
              <a:gd name="T30" fmla="*/ 99 w 132"/>
              <a:gd name="T31" fmla="*/ 116 h 167"/>
              <a:gd name="T32" fmla="*/ 132 w 132"/>
              <a:gd name="T33" fmla="*/ 71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67">
                <a:moveTo>
                  <a:pt x="132" y="71"/>
                </a:moveTo>
                <a:lnTo>
                  <a:pt x="132" y="63"/>
                </a:lnTo>
                <a:lnTo>
                  <a:pt x="124" y="54"/>
                </a:lnTo>
                <a:lnTo>
                  <a:pt x="83" y="25"/>
                </a:lnTo>
                <a:lnTo>
                  <a:pt x="31" y="0"/>
                </a:lnTo>
                <a:lnTo>
                  <a:pt x="18" y="6"/>
                </a:lnTo>
                <a:lnTo>
                  <a:pt x="3" y="29"/>
                </a:lnTo>
                <a:lnTo>
                  <a:pt x="5" y="63"/>
                </a:lnTo>
                <a:lnTo>
                  <a:pt x="20" y="91"/>
                </a:lnTo>
                <a:lnTo>
                  <a:pt x="14" y="139"/>
                </a:lnTo>
                <a:lnTo>
                  <a:pt x="0" y="153"/>
                </a:lnTo>
                <a:lnTo>
                  <a:pt x="18" y="167"/>
                </a:lnTo>
                <a:lnTo>
                  <a:pt x="40" y="161"/>
                </a:lnTo>
                <a:lnTo>
                  <a:pt x="65" y="161"/>
                </a:lnTo>
                <a:lnTo>
                  <a:pt x="90" y="139"/>
                </a:lnTo>
                <a:lnTo>
                  <a:pt x="99" y="116"/>
                </a:lnTo>
                <a:lnTo>
                  <a:pt x="132" y="71"/>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22" name="Freeform 197">
            <a:extLst>
              <a:ext uri="{FF2B5EF4-FFF2-40B4-BE49-F238E27FC236}">
                <a16:creationId xmlns:a16="http://schemas.microsoft.com/office/drawing/2014/main" id="{15F41566-D545-DC4F-A79E-7EAB5469630B}"/>
              </a:ext>
            </a:extLst>
          </p:cNvPr>
          <p:cNvSpPr>
            <a:spLocks noChangeAspect="1"/>
          </p:cNvSpPr>
          <p:nvPr/>
        </p:nvSpPr>
        <p:spPr bwMode="gray">
          <a:xfrm>
            <a:off x="2103173" y="1841523"/>
            <a:ext cx="38880" cy="43036"/>
          </a:xfrm>
          <a:custGeom>
            <a:avLst/>
            <a:gdLst>
              <a:gd name="T0" fmla="*/ 42 w 42"/>
              <a:gd name="T1" fmla="*/ 3 h 36"/>
              <a:gd name="T2" fmla="*/ 38 w 42"/>
              <a:gd name="T3" fmla="*/ 15 h 36"/>
              <a:gd name="T4" fmla="*/ 40 w 42"/>
              <a:gd name="T5" fmla="*/ 28 h 36"/>
              <a:gd name="T6" fmla="*/ 34 w 42"/>
              <a:gd name="T7" fmla="*/ 34 h 36"/>
              <a:gd name="T8" fmla="*/ 0 w 42"/>
              <a:gd name="T9" fmla="*/ 36 h 36"/>
              <a:gd name="T10" fmla="*/ 17 w 42"/>
              <a:gd name="T11" fmla="*/ 22 h 36"/>
              <a:gd name="T12" fmla="*/ 18 w 42"/>
              <a:gd name="T13" fmla="*/ 10 h 36"/>
              <a:gd name="T14" fmla="*/ 9 w 42"/>
              <a:gd name="T15" fmla="*/ 5 h 36"/>
              <a:gd name="T16" fmla="*/ 40 w 42"/>
              <a:gd name="T17" fmla="*/ 0 h 36"/>
              <a:gd name="T18" fmla="*/ 42 w 42"/>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36">
                <a:moveTo>
                  <a:pt x="42" y="3"/>
                </a:moveTo>
                <a:lnTo>
                  <a:pt x="38" y="15"/>
                </a:lnTo>
                <a:lnTo>
                  <a:pt x="40" y="28"/>
                </a:lnTo>
                <a:lnTo>
                  <a:pt x="34" y="34"/>
                </a:lnTo>
                <a:lnTo>
                  <a:pt x="0" y="36"/>
                </a:lnTo>
                <a:lnTo>
                  <a:pt x="17" y="22"/>
                </a:lnTo>
                <a:lnTo>
                  <a:pt x="18" y="10"/>
                </a:lnTo>
                <a:lnTo>
                  <a:pt x="9" y="5"/>
                </a:lnTo>
                <a:lnTo>
                  <a:pt x="40" y="0"/>
                </a:lnTo>
                <a:lnTo>
                  <a:pt x="42" y="3"/>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23" name="Freeform 198">
            <a:extLst>
              <a:ext uri="{FF2B5EF4-FFF2-40B4-BE49-F238E27FC236}">
                <a16:creationId xmlns:a16="http://schemas.microsoft.com/office/drawing/2014/main" id="{17EE4F21-6AF0-1B4B-8630-62B49D231B74}"/>
              </a:ext>
            </a:extLst>
          </p:cNvPr>
          <p:cNvSpPr>
            <a:spLocks noChangeAspect="1" noEditPoints="1"/>
          </p:cNvSpPr>
          <p:nvPr/>
        </p:nvSpPr>
        <p:spPr bwMode="gray">
          <a:xfrm>
            <a:off x="745662" y="2432227"/>
            <a:ext cx="100437" cy="70415"/>
          </a:xfrm>
          <a:custGeom>
            <a:avLst/>
            <a:gdLst>
              <a:gd name="T0" fmla="*/ 11 w 102"/>
              <a:gd name="T1" fmla="*/ 0 h 59"/>
              <a:gd name="T2" fmla="*/ 14 w 102"/>
              <a:gd name="T3" fmla="*/ 20 h 59"/>
              <a:gd name="T4" fmla="*/ 23 w 102"/>
              <a:gd name="T5" fmla="*/ 29 h 59"/>
              <a:gd name="T6" fmla="*/ 29 w 102"/>
              <a:gd name="T7" fmla="*/ 46 h 59"/>
              <a:gd name="T8" fmla="*/ 22 w 102"/>
              <a:gd name="T9" fmla="*/ 56 h 59"/>
              <a:gd name="T10" fmla="*/ 12 w 102"/>
              <a:gd name="T11" fmla="*/ 59 h 59"/>
              <a:gd name="T12" fmla="*/ 5 w 102"/>
              <a:gd name="T13" fmla="*/ 56 h 59"/>
              <a:gd name="T14" fmla="*/ 3 w 102"/>
              <a:gd name="T15" fmla="*/ 46 h 59"/>
              <a:gd name="T16" fmla="*/ 15 w 102"/>
              <a:gd name="T17" fmla="*/ 29 h 59"/>
              <a:gd name="T18" fmla="*/ 0 w 102"/>
              <a:gd name="T19" fmla="*/ 10 h 59"/>
              <a:gd name="T20" fmla="*/ 0 w 102"/>
              <a:gd name="T21" fmla="*/ 5 h 59"/>
              <a:gd name="T22" fmla="*/ 11 w 102"/>
              <a:gd name="T23" fmla="*/ 0 h 59"/>
              <a:gd name="T24" fmla="*/ 102 w 102"/>
              <a:gd name="T25" fmla="*/ 40 h 59"/>
              <a:gd name="T26" fmla="*/ 96 w 102"/>
              <a:gd name="T27" fmla="*/ 51 h 59"/>
              <a:gd name="T28" fmla="*/ 90 w 102"/>
              <a:gd name="T29" fmla="*/ 51 h 59"/>
              <a:gd name="T30" fmla="*/ 102 w 102"/>
              <a:gd name="T31" fmla="*/ 40 h 59"/>
              <a:gd name="T32" fmla="*/ 63 w 102"/>
              <a:gd name="T33" fmla="*/ 31 h 59"/>
              <a:gd name="T34" fmla="*/ 59 w 102"/>
              <a:gd name="T35" fmla="*/ 42 h 59"/>
              <a:gd name="T36" fmla="*/ 51 w 102"/>
              <a:gd name="T37" fmla="*/ 39 h 59"/>
              <a:gd name="T38" fmla="*/ 52 w 102"/>
              <a:gd name="T39" fmla="*/ 31 h 59"/>
              <a:gd name="T40" fmla="*/ 63 w 102"/>
              <a:gd name="T41" fmla="*/ 31 h 59"/>
              <a:gd name="T42" fmla="*/ 39 w 102"/>
              <a:gd name="T43" fmla="*/ 17 h 59"/>
              <a:gd name="T44" fmla="*/ 34 w 102"/>
              <a:gd name="T45" fmla="*/ 17 h 59"/>
              <a:gd name="T46" fmla="*/ 32 w 102"/>
              <a:gd name="T47" fmla="*/ 23 h 59"/>
              <a:gd name="T48" fmla="*/ 40 w 102"/>
              <a:gd name="T49" fmla="*/ 26 h 59"/>
              <a:gd name="T50" fmla="*/ 42 w 102"/>
              <a:gd name="T51" fmla="*/ 18 h 59"/>
              <a:gd name="T52" fmla="*/ 39 w 102"/>
              <a:gd name="T53" fmla="*/ 1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59">
                <a:moveTo>
                  <a:pt x="11" y="0"/>
                </a:moveTo>
                <a:lnTo>
                  <a:pt x="14" y="20"/>
                </a:lnTo>
                <a:lnTo>
                  <a:pt x="23" y="29"/>
                </a:lnTo>
                <a:lnTo>
                  <a:pt x="29" y="46"/>
                </a:lnTo>
                <a:lnTo>
                  <a:pt x="22" y="56"/>
                </a:lnTo>
                <a:lnTo>
                  <a:pt x="12" y="59"/>
                </a:lnTo>
                <a:lnTo>
                  <a:pt x="5" y="56"/>
                </a:lnTo>
                <a:lnTo>
                  <a:pt x="3" y="46"/>
                </a:lnTo>
                <a:lnTo>
                  <a:pt x="15" y="29"/>
                </a:lnTo>
                <a:lnTo>
                  <a:pt x="0" y="10"/>
                </a:lnTo>
                <a:lnTo>
                  <a:pt x="0" y="5"/>
                </a:lnTo>
                <a:lnTo>
                  <a:pt x="11" y="0"/>
                </a:lnTo>
                <a:close/>
                <a:moveTo>
                  <a:pt x="102" y="40"/>
                </a:moveTo>
                <a:lnTo>
                  <a:pt x="96" y="51"/>
                </a:lnTo>
                <a:lnTo>
                  <a:pt x="90" y="51"/>
                </a:lnTo>
                <a:lnTo>
                  <a:pt x="102" y="40"/>
                </a:lnTo>
                <a:close/>
                <a:moveTo>
                  <a:pt x="63" y="31"/>
                </a:moveTo>
                <a:lnTo>
                  <a:pt x="59" y="42"/>
                </a:lnTo>
                <a:lnTo>
                  <a:pt x="51" y="39"/>
                </a:lnTo>
                <a:lnTo>
                  <a:pt x="52" y="31"/>
                </a:lnTo>
                <a:lnTo>
                  <a:pt x="63" y="31"/>
                </a:lnTo>
                <a:close/>
                <a:moveTo>
                  <a:pt x="39" y="17"/>
                </a:moveTo>
                <a:lnTo>
                  <a:pt x="34" y="17"/>
                </a:lnTo>
                <a:lnTo>
                  <a:pt x="32" y="23"/>
                </a:lnTo>
                <a:lnTo>
                  <a:pt x="40" y="26"/>
                </a:lnTo>
                <a:lnTo>
                  <a:pt x="42" y="18"/>
                </a:lnTo>
                <a:lnTo>
                  <a:pt x="39" y="17"/>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grpSp>
        <p:nvGrpSpPr>
          <p:cNvPr id="24" name="Group 228">
            <a:extLst>
              <a:ext uri="{FF2B5EF4-FFF2-40B4-BE49-F238E27FC236}">
                <a16:creationId xmlns:a16="http://schemas.microsoft.com/office/drawing/2014/main" id="{ED65EBE3-B938-EA46-9301-A70124E62348}"/>
              </a:ext>
            </a:extLst>
          </p:cNvPr>
          <p:cNvGrpSpPr/>
          <p:nvPr/>
        </p:nvGrpSpPr>
        <p:grpSpPr>
          <a:xfrm>
            <a:off x="1578317" y="1755455"/>
            <a:ext cx="618817" cy="641567"/>
            <a:chOff x="3230624" y="4163860"/>
            <a:chExt cx="254873" cy="270418"/>
          </a:xfrm>
          <a:solidFill>
            <a:schemeClr val="bg1">
              <a:lumMod val="95000"/>
            </a:schemeClr>
          </a:solidFill>
        </p:grpSpPr>
        <p:sp>
          <p:nvSpPr>
            <p:cNvPr id="25" name="Freeform 200">
              <a:extLst>
                <a:ext uri="{FF2B5EF4-FFF2-40B4-BE49-F238E27FC236}">
                  <a16:creationId xmlns:a16="http://schemas.microsoft.com/office/drawing/2014/main" id="{D957A4A3-7D28-E849-B5E1-39C745109195}"/>
                </a:ext>
              </a:extLst>
            </p:cNvPr>
            <p:cNvSpPr>
              <a:spLocks noChangeAspect="1"/>
            </p:cNvSpPr>
            <p:nvPr/>
          </p:nvSpPr>
          <p:spPr bwMode="gray">
            <a:xfrm>
              <a:off x="3309354" y="4163860"/>
              <a:ext cx="6672" cy="6596"/>
            </a:xfrm>
            <a:custGeom>
              <a:avLst/>
              <a:gdLst>
                <a:gd name="T0" fmla="*/ 3 w 15"/>
                <a:gd name="T1" fmla="*/ 5 h 15"/>
                <a:gd name="T2" fmla="*/ 0 w 15"/>
                <a:gd name="T3" fmla="*/ 0 h 15"/>
                <a:gd name="T4" fmla="*/ 3 w 15"/>
                <a:gd name="T5" fmla="*/ 9 h 15"/>
                <a:gd name="T6" fmla="*/ 15 w 15"/>
                <a:gd name="T7" fmla="*/ 15 h 15"/>
                <a:gd name="T8" fmla="*/ 3 w 15"/>
                <a:gd name="T9" fmla="*/ 5 h 15"/>
              </a:gdLst>
              <a:ahLst/>
              <a:cxnLst>
                <a:cxn ang="0">
                  <a:pos x="T0" y="T1"/>
                </a:cxn>
                <a:cxn ang="0">
                  <a:pos x="T2" y="T3"/>
                </a:cxn>
                <a:cxn ang="0">
                  <a:pos x="T4" y="T5"/>
                </a:cxn>
                <a:cxn ang="0">
                  <a:pos x="T6" y="T7"/>
                </a:cxn>
                <a:cxn ang="0">
                  <a:pos x="T8" y="T9"/>
                </a:cxn>
              </a:cxnLst>
              <a:rect l="0" t="0" r="r" b="b"/>
              <a:pathLst>
                <a:path w="15" h="15">
                  <a:moveTo>
                    <a:pt x="3" y="5"/>
                  </a:moveTo>
                  <a:lnTo>
                    <a:pt x="0" y="0"/>
                  </a:lnTo>
                  <a:lnTo>
                    <a:pt x="3" y="9"/>
                  </a:lnTo>
                  <a:lnTo>
                    <a:pt x="15" y="15"/>
                  </a:lnTo>
                  <a:lnTo>
                    <a:pt x="3" y="5"/>
                  </a:lnTo>
                  <a:close/>
                </a:path>
              </a:pathLst>
            </a:custGeom>
            <a:grp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26" name="Freeform 201">
              <a:extLst>
                <a:ext uri="{FF2B5EF4-FFF2-40B4-BE49-F238E27FC236}">
                  <a16:creationId xmlns:a16="http://schemas.microsoft.com/office/drawing/2014/main" id="{7FFBAFFD-B201-6449-91B8-864981FF9985}"/>
                </a:ext>
              </a:extLst>
            </p:cNvPr>
            <p:cNvSpPr>
              <a:spLocks noChangeAspect="1"/>
            </p:cNvSpPr>
            <p:nvPr/>
          </p:nvSpPr>
          <p:spPr bwMode="gray">
            <a:xfrm>
              <a:off x="3324033" y="4165509"/>
              <a:ext cx="2669" cy="4947"/>
            </a:xfrm>
            <a:custGeom>
              <a:avLst/>
              <a:gdLst>
                <a:gd name="T0" fmla="*/ 0 w 8"/>
                <a:gd name="T1" fmla="*/ 0 h 10"/>
                <a:gd name="T2" fmla="*/ 6 w 8"/>
                <a:gd name="T3" fmla="*/ 10 h 10"/>
                <a:gd name="T4" fmla="*/ 8 w 8"/>
                <a:gd name="T5" fmla="*/ 3 h 10"/>
                <a:gd name="T6" fmla="*/ 0 w 8"/>
                <a:gd name="T7" fmla="*/ 0 h 10"/>
              </a:gdLst>
              <a:ahLst/>
              <a:cxnLst>
                <a:cxn ang="0">
                  <a:pos x="T0" y="T1"/>
                </a:cxn>
                <a:cxn ang="0">
                  <a:pos x="T2" y="T3"/>
                </a:cxn>
                <a:cxn ang="0">
                  <a:pos x="T4" y="T5"/>
                </a:cxn>
                <a:cxn ang="0">
                  <a:pos x="T6" y="T7"/>
                </a:cxn>
              </a:cxnLst>
              <a:rect l="0" t="0" r="r" b="b"/>
              <a:pathLst>
                <a:path w="8" h="10">
                  <a:moveTo>
                    <a:pt x="0" y="0"/>
                  </a:moveTo>
                  <a:lnTo>
                    <a:pt x="6" y="10"/>
                  </a:lnTo>
                  <a:lnTo>
                    <a:pt x="8" y="3"/>
                  </a:lnTo>
                  <a:lnTo>
                    <a:pt x="0" y="0"/>
                  </a:lnTo>
                  <a:close/>
                </a:path>
              </a:pathLst>
            </a:custGeom>
            <a:grp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27" name="Freeform 202">
              <a:extLst>
                <a:ext uri="{FF2B5EF4-FFF2-40B4-BE49-F238E27FC236}">
                  <a16:creationId xmlns:a16="http://schemas.microsoft.com/office/drawing/2014/main" id="{A06D1948-E32F-0248-806B-A53A8AC6E31E}"/>
                </a:ext>
              </a:extLst>
            </p:cNvPr>
            <p:cNvSpPr>
              <a:spLocks noChangeAspect="1" noEditPoints="1"/>
            </p:cNvSpPr>
            <p:nvPr/>
          </p:nvSpPr>
          <p:spPr bwMode="gray">
            <a:xfrm>
              <a:off x="3230624" y="4167158"/>
              <a:ext cx="254873" cy="267120"/>
            </a:xfrm>
            <a:custGeom>
              <a:avLst/>
              <a:gdLst>
                <a:gd name="T0" fmla="*/ 69 w 625"/>
                <a:gd name="T1" fmla="*/ 30 h 529"/>
                <a:gd name="T2" fmla="*/ 77 w 625"/>
                <a:gd name="T3" fmla="*/ 80 h 529"/>
                <a:gd name="T4" fmla="*/ 63 w 625"/>
                <a:gd name="T5" fmla="*/ 119 h 529"/>
                <a:gd name="T6" fmla="*/ 83 w 625"/>
                <a:gd name="T7" fmla="*/ 147 h 529"/>
                <a:gd name="T8" fmla="*/ 107 w 625"/>
                <a:gd name="T9" fmla="*/ 133 h 529"/>
                <a:gd name="T10" fmla="*/ 88 w 625"/>
                <a:gd name="T11" fmla="*/ 85 h 529"/>
                <a:gd name="T12" fmla="*/ 117 w 625"/>
                <a:gd name="T13" fmla="*/ 45 h 529"/>
                <a:gd name="T14" fmla="*/ 164 w 625"/>
                <a:gd name="T15" fmla="*/ 28 h 529"/>
                <a:gd name="T16" fmla="*/ 147 w 625"/>
                <a:gd name="T17" fmla="*/ 5 h 529"/>
                <a:gd name="T18" fmla="*/ 162 w 625"/>
                <a:gd name="T19" fmla="*/ 5 h 529"/>
                <a:gd name="T20" fmla="*/ 229 w 625"/>
                <a:gd name="T21" fmla="*/ 47 h 529"/>
                <a:gd name="T22" fmla="*/ 246 w 625"/>
                <a:gd name="T23" fmla="*/ 80 h 529"/>
                <a:gd name="T24" fmla="*/ 356 w 625"/>
                <a:gd name="T25" fmla="*/ 93 h 529"/>
                <a:gd name="T26" fmla="*/ 401 w 625"/>
                <a:gd name="T27" fmla="*/ 92 h 529"/>
                <a:gd name="T28" fmla="*/ 441 w 625"/>
                <a:gd name="T29" fmla="*/ 80 h 529"/>
                <a:gd name="T30" fmla="*/ 420 w 625"/>
                <a:gd name="T31" fmla="*/ 73 h 529"/>
                <a:gd name="T32" fmla="*/ 521 w 625"/>
                <a:gd name="T33" fmla="*/ 72 h 529"/>
                <a:gd name="T34" fmla="*/ 483 w 625"/>
                <a:gd name="T35" fmla="*/ 80 h 529"/>
                <a:gd name="T36" fmla="*/ 496 w 625"/>
                <a:gd name="T37" fmla="*/ 93 h 529"/>
                <a:gd name="T38" fmla="*/ 537 w 625"/>
                <a:gd name="T39" fmla="*/ 114 h 529"/>
                <a:gd name="T40" fmla="*/ 581 w 625"/>
                <a:gd name="T41" fmla="*/ 161 h 529"/>
                <a:gd name="T42" fmla="*/ 571 w 625"/>
                <a:gd name="T43" fmla="*/ 173 h 529"/>
                <a:gd name="T44" fmla="*/ 606 w 625"/>
                <a:gd name="T45" fmla="*/ 169 h 529"/>
                <a:gd name="T46" fmla="*/ 623 w 625"/>
                <a:gd name="T47" fmla="*/ 192 h 529"/>
                <a:gd name="T48" fmla="*/ 579 w 625"/>
                <a:gd name="T49" fmla="*/ 234 h 529"/>
                <a:gd name="T50" fmla="*/ 567 w 625"/>
                <a:gd name="T51" fmla="*/ 257 h 529"/>
                <a:gd name="T52" fmla="*/ 557 w 625"/>
                <a:gd name="T53" fmla="*/ 283 h 529"/>
                <a:gd name="T54" fmla="*/ 588 w 625"/>
                <a:gd name="T55" fmla="*/ 325 h 529"/>
                <a:gd name="T56" fmla="*/ 572 w 625"/>
                <a:gd name="T57" fmla="*/ 355 h 529"/>
                <a:gd name="T58" fmla="*/ 534 w 625"/>
                <a:gd name="T59" fmla="*/ 371 h 529"/>
                <a:gd name="T60" fmla="*/ 478 w 625"/>
                <a:gd name="T61" fmla="*/ 387 h 529"/>
                <a:gd name="T62" fmla="*/ 424 w 625"/>
                <a:gd name="T63" fmla="*/ 371 h 529"/>
                <a:gd name="T64" fmla="*/ 399 w 625"/>
                <a:gd name="T65" fmla="*/ 384 h 529"/>
                <a:gd name="T66" fmla="*/ 416 w 625"/>
                <a:gd name="T67" fmla="*/ 421 h 529"/>
                <a:gd name="T68" fmla="*/ 461 w 625"/>
                <a:gd name="T69" fmla="*/ 454 h 529"/>
                <a:gd name="T70" fmla="*/ 430 w 625"/>
                <a:gd name="T71" fmla="*/ 475 h 529"/>
                <a:gd name="T72" fmla="*/ 368 w 625"/>
                <a:gd name="T73" fmla="*/ 515 h 529"/>
                <a:gd name="T74" fmla="*/ 320 w 625"/>
                <a:gd name="T75" fmla="*/ 529 h 529"/>
                <a:gd name="T76" fmla="*/ 278 w 625"/>
                <a:gd name="T77" fmla="*/ 456 h 529"/>
                <a:gd name="T78" fmla="*/ 280 w 625"/>
                <a:gd name="T79" fmla="*/ 410 h 529"/>
                <a:gd name="T80" fmla="*/ 257 w 625"/>
                <a:gd name="T81" fmla="*/ 379 h 529"/>
                <a:gd name="T82" fmla="*/ 257 w 625"/>
                <a:gd name="T83" fmla="*/ 319 h 529"/>
                <a:gd name="T84" fmla="*/ 269 w 625"/>
                <a:gd name="T85" fmla="*/ 279 h 529"/>
                <a:gd name="T86" fmla="*/ 230 w 625"/>
                <a:gd name="T87" fmla="*/ 285 h 529"/>
                <a:gd name="T88" fmla="*/ 183 w 625"/>
                <a:gd name="T89" fmla="*/ 283 h 529"/>
                <a:gd name="T90" fmla="*/ 127 w 625"/>
                <a:gd name="T91" fmla="*/ 236 h 529"/>
                <a:gd name="T92" fmla="*/ 63 w 625"/>
                <a:gd name="T93" fmla="*/ 234 h 529"/>
                <a:gd name="T94" fmla="*/ 42 w 625"/>
                <a:gd name="T95" fmla="*/ 186 h 529"/>
                <a:gd name="T96" fmla="*/ 22 w 625"/>
                <a:gd name="T97" fmla="*/ 143 h 529"/>
                <a:gd name="T98" fmla="*/ 14 w 625"/>
                <a:gd name="T99" fmla="*/ 119 h 529"/>
                <a:gd name="T100" fmla="*/ 34 w 625"/>
                <a:gd name="T101" fmla="*/ 62 h 529"/>
                <a:gd name="T102" fmla="*/ 91 w 625"/>
                <a:gd name="T103" fmla="*/ 17 h 529"/>
                <a:gd name="T104" fmla="*/ 441 w 625"/>
                <a:gd name="T105" fmla="*/ 56 h 529"/>
                <a:gd name="T106" fmla="*/ 416 w 625"/>
                <a:gd name="T107" fmla="*/ 59 h 529"/>
                <a:gd name="T108" fmla="*/ 427 w 625"/>
                <a:gd name="T109" fmla="*/ 55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5" h="529">
                  <a:moveTo>
                    <a:pt x="91" y="17"/>
                  </a:moveTo>
                  <a:lnTo>
                    <a:pt x="69" y="30"/>
                  </a:lnTo>
                  <a:lnTo>
                    <a:pt x="82" y="70"/>
                  </a:lnTo>
                  <a:lnTo>
                    <a:pt x="77" y="80"/>
                  </a:lnTo>
                  <a:lnTo>
                    <a:pt x="63" y="101"/>
                  </a:lnTo>
                  <a:lnTo>
                    <a:pt x="63" y="119"/>
                  </a:lnTo>
                  <a:lnTo>
                    <a:pt x="74" y="127"/>
                  </a:lnTo>
                  <a:lnTo>
                    <a:pt x="83" y="147"/>
                  </a:lnTo>
                  <a:lnTo>
                    <a:pt x="94" y="146"/>
                  </a:lnTo>
                  <a:lnTo>
                    <a:pt x="107" y="133"/>
                  </a:lnTo>
                  <a:lnTo>
                    <a:pt x="105" y="113"/>
                  </a:lnTo>
                  <a:lnTo>
                    <a:pt x="88" y="85"/>
                  </a:lnTo>
                  <a:lnTo>
                    <a:pt x="88" y="65"/>
                  </a:lnTo>
                  <a:lnTo>
                    <a:pt x="117" y="45"/>
                  </a:lnTo>
                  <a:lnTo>
                    <a:pt x="166" y="34"/>
                  </a:lnTo>
                  <a:lnTo>
                    <a:pt x="164" y="28"/>
                  </a:lnTo>
                  <a:lnTo>
                    <a:pt x="142" y="21"/>
                  </a:lnTo>
                  <a:lnTo>
                    <a:pt x="147" y="5"/>
                  </a:lnTo>
                  <a:lnTo>
                    <a:pt x="156" y="0"/>
                  </a:lnTo>
                  <a:lnTo>
                    <a:pt x="162" y="5"/>
                  </a:lnTo>
                  <a:lnTo>
                    <a:pt x="175" y="34"/>
                  </a:lnTo>
                  <a:lnTo>
                    <a:pt x="229" y="47"/>
                  </a:lnTo>
                  <a:lnTo>
                    <a:pt x="238" y="73"/>
                  </a:lnTo>
                  <a:lnTo>
                    <a:pt x="246" y="80"/>
                  </a:lnTo>
                  <a:lnTo>
                    <a:pt x="332" y="73"/>
                  </a:lnTo>
                  <a:lnTo>
                    <a:pt x="356" y="93"/>
                  </a:lnTo>
                  <a:lnTo>
                    <a:pt x="379" y="96"/>
                  </a:lnTo>
                  <a:lnTo>
                    <a:pt x="401" y="92"/>
                  </a:lnTo>
                  <a:lnTo>
                    <a:pt x="416" y="82"/>
                  </a:lnTo>
                  <a:lnTo>
                    <a:pt x="441" y="80"/>
                  </a:lnTo>
                  <a:lnTo>
                    <a:pt x="442" y="77"/>
                  </a:lnTo>
                  <a:lnTo>
                    <a:pt x="420" y="73"/>
                  </a:lnTo>
                  <a:lnTo>
                    <a:pt x="427" y="70"/>
                  </a:lnTo>
                  <a:lnTo>
                    <a:pt x="521" y="72"/>
                  </a:lnTo>
                  <a:lnTo>
                    <a:pt x="504" y="80"/>
                  </a:lnTo>
                  <a:lnTo>
                    <a:pt x="483" y="80"/>
                  </a:lnTo>
                  <a:lnTo>
                    <a:pt x="479" y="87"/>
                  </a:lnTo>
                  <a:lnTo>
                    <a:pt x="496" y="93"/>
                  </a:lnTo>
                  <a:lnTo>
                    <a:pt x="508" y="113"/>
                  </a:lnTo>
                  <a:lnTo>
                    <a:pt x="537" y="114"/>
                  </a:lnTo>
                  <a:lnTo>
                    <a:pt x="571" y="133"/>
                  </a:lnTo>
                  <a:lnTo>
                    <a:pt x="581" y="161"/>
                  </a:lnTo>
                  <a:lnTo>
                    <a:pt x="569" y="170"/>
                  </a:lnTo>
                  <a:lnTo>
                    <a:pt x="571" y="173"/>
                  </a:lnTo>
                  <a:lnTo>
                    <a:pt x="589" y="177"/>
                  </a:lnTo>
                  <a:lnTo>
                    <a:pt x="606" y="169"/>
                  </a:lnTo>
                  <a:lnTo>
                    <a:pt x="625" y="181"/>
                  </a:lnTo>
                  <a:lnTo>
                    <a:pt x="623" y="192"/>
                  </a:lnTo>
                  <a:lnTo>
                    <a:pt x="579" y="212"/>
                  </a:lnTo>
                  <a:lnTo>
                    <a:pt x="579" y="234"/>
                  </a:lnTo>
                  <a:lnTo>
                    <a:pt x="594" y="240"/>
                  </a:lnTo>
                  <a:lnTo>
                    <a:pt x="567" y="257"/>
                  </a:lnTo>
                  <a:lnTo>
                    <a:pt x="567" y="270"/>
                  </a:lnTo>
                  <a:lnTo>
                    <a:pt x="557" y="283"/>
                  </a:lnTo>
                  <a:lnTo>
                    <a:pt x="557" y="288"/>
                  </a:lnTo>
                  <a:lnTo>
                    <a:pt x="588" y="325"/>
                  </a:lnTo>
                  <a:lnTo>
                    <a:pt x="588" y="338"/>
                  </a:lnTo>
                  <a:lnTo>
                    <a:pt x="572" y="355"/>
                  </a:lnTo>
                  <a:lnTo>
                    <a:pt x="555" y="356"/>
                  </a:lnTo>
                  <a:lnTo>
                    <a:pt x="534" y="371"/>
                  </a:lnTo>
                  <a:lnTo>
                    <a:pt x="496" y="376"/>
                  </a:lnTo>
                  <a:lnTo>
                    <a:pt x="478" y="387"/>
                  </a:lnTo>
                  <a:lnTo>
                    <a:pt x="458" y="385"/>
                  </a:lnTo>
                  <a:lnTo>
                    <a:pt x="424" y="371"/>
                  </a:lnTo>
                  <a:lnTo>
                    <a:pt x="394" y="367"/>
                  </a:lnTo>
                  <a:lnTo>
                    <a:pt x="399" y="384"/>
                  </a:lnTo>
                  <a:lnTo>
                    <a:pt x="420" y="395"/>
                  </a:lnTo>
                  <a:lnTo>
                    <a:pt x="416" y="421"/>
                  </a:lnTo>
                  <a:lnTo>
                    <a:pt x="424" y="452"/>
                  </a:lnTo>
                  <a:lnTo>
                    <a:pt x="461" y="454"/>
                  </a:lnTo>
                  <a:lnTo>
                    <a:pt x="459" y="463"/>
                  </a:lnTo>
                  <a:lnTo>
                    <a:pt x="430" y="475"/>
                  </a:lnTo>
                  <a:lnTo>
                    <a:pt x="418" y="497"/>
                  </a:lnTo>
                  <a:lnTo>
                    <a:pt x="368" y="515"/>
                  </a:lnTo>
                  <a:lnTo>
                    <a:pt x="354" y="528"/>
                  </a:lnTo>
                  <a:lnTo>
                    <a:pt x="320" y="529"/>
                  </a:lnTo>
                  <a:lnTo>
                    <a:pt x="298" y="503"/>
                  </a:lnTo>
                  <a:lnTo>
                    <a:pt x="278" y="456"/>
                  </a:lnTo>
                  <a:lnTo>
                    <a:pt x="257" y="435"/>
                  </a:lnTo>
                  <a:lnTo>
                    <a:pt x="280" y="410"/>
                  </a:lnTo>
                  <a:lnTo>
                    <a:pt x="272" y="392"/>
                  </a:lnTo>
                  <a:lnTo>
                    <a:pt x="257" y="379"/>
                  </a:lnTo>
                  <a:lnTo>
                    <a:pt x="252" y="353"/>
                  </a:lnTo>
                  <a:lnTo>
                    <a:pt x="257" y="319"/>
                  </a:lnTo>
                  <a:lnTo>
                    <a:pt x="272" y="290"/>
                  </a:lnTo>
                  <a:lnTo>
                    <a:pt x="269" y="279"/>
                  </a:lnTo>
                  <a:lnTo>
                    <a:pt x="255" y="277"/>
                  </a:lnTo>
                  <a:lnTo>
                    <a:pt x="230" y="285"/>
                  </a:lnTo>
                  <a:lnTo>
                    <a:pt x="203" y="280"/>
                  </a:lnTo>
                  <a:lnTo>
                    <a:pt x="183" y="283"/>
                  </a:lnTo>
                  <a:lnTo>
                    <a:pt x="150" y="245"/>
                  </a:lnTo>
                  <a:lnTo>
                    <a:pt x="127" y="236"/>
                  </a:lnTo>
                  <a:lnTo>
                    <a:pt x="90" y="241"/>
                  </a:lnTo>
                  <a:lnTo>
                    <a:pt x="63" y="234"/>
                  </a:lnTo>
                  <a:lnTo>
                    <a:pt x="46" y="223"/>
                  </a:lnTo>
                  <a:lnTo>
                    <a:pt x="42" y="186"/>
                  </a:lnTo>
                  <a:lnTo>
                    <a:pt x="27" y="163"/>
                  </a:lnTo>
                  <a:lnTo>
                    <a:pt x="22" y="143"/>
                  </a:lnTo>
                  <a:lnTo>
                    <a:pt x="0" y="141"/>
                  </a:lnTo>
                  <a:lnTo>
                    <a:pt x="14" y="119"/>
                  </a:lnTo>
                  <a:lnTo>
                    <a:pt x="23" y="80"/>
                  </a:lnTo>
                  <a:lnTo>
                    <a:pt x="34" y="62"/>
                  </a:lnTo>
                  <a:lnTo>
                    <a:pt x="66" y="25"/>
                  </a:lnTo>
                  <a:lnTo>
                    <a:pt x="91" y="17"/>
                  </a:lnTo>
                  <a:close/>
                  <a:moveTo>
                    <a:pt x="435" y="48"/>
                  </a:moveTo>
                  <a:lnTo>
                    <a:pt x="441" y="56"/>
                  </a:lnTo>
                  <a:lnTo>
                    <a:pt x="430" y="62"/>
                  </a:lnTo>
                  <a:lnTo>
                    <a:pt x="416" y="59"/>
                  </a:lnTo>
                  <a:lnTo>
                    <a:pt x="413" y="55"/>
                  </a:lnTo>
                  <a:lnTo>
                    <a:pt x="427" y="55"/>
                  </a:lnTo>
                  <a:lnTo>
                    <a:pt x="435" y="48"/>
                  </a:lnTo>
                  <a:close/>
                </a:path>
              </a:pathLst>
            </a:custGeom>
            <a:grp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grpSp>
      <p:sp>
        <p:nvSpPr>
          <p:cNvPr id="28" name="Freeform 203">
            <a:extLst>
              <a:ext uri="{FF2B5EF4-FFF2-40B4-BE49-F238E27FC236}">
                <a16:creationId xmlns:a16="http://schemas.microsoft.com/office/drawing/2014/main" id="{3A5F9871-4DAC-194C-B3AC-90B107A13430}"/>
              </a:ext>
            </a:extLst>
          </p:cNvPr>
          <p:cNvSpPr>
            <a:spLocks noChangeAspect="1" noEditPoints="1"/>
          </p:cNvSpPr>
          <p:nvPr/>
        </p:nvSpPr>
        <p:spPr bwMode="gray">
          <a:xfrm>
            <a:off x="1555632" y="2154480"/>
            <a:ext cx="1781936" cy="2257221"/>
          </a:xfrm>
          <a:custGeom>
            <a:avLst/>
            <a:gdLst>
              <a:gd name="T0" fmla="*/ 1046 w 1796"/>
              <a:gd name="T1" fmla="*/ 1760 h 1883"/>
              <a:gd name="T2" fmla="*/ 1146 w 1796"/>
              <a:gd name="T3" fmla="*/ 1609 h 1883"/>
              <a:gd name="T4" fmla="*/ 1159 w 1796"/>
              <a:gd name="T5" fmla="*/ 1479 h 1883"/>
              <a:gd name="T6" fmla="*/ 1328 w 1796"/>
              <a:gd name="T7" fmla="*/ 1338 h 1883"/>
              <a:gd name="T8" fmla="*/ 1379 w 1796"/>
              <a:gd name="T9" fmla="*/ 1315 h 1883"/>
              <a:gd name="T10" fmla="*/ 1504 w 1796"/>
              <a:gd name="T11" fmla="*/ 1271 h 1883"/>
              <a:gd name="T12" fmla="*/ 1575 w 1796"/>
              <a:gd name="T13" fmla="*/ 1086 h 1883"/>
              <a:gd name="T14" fmla="*/ 1617 w 1796"/>
              <a:gd name="T15" fmla="*/ 837 h 1883"/>
              <a:gd name="T16" fmla="*/ 1728 w 1796"/>
              <a:gd name="T17" fmla="*/ 716 h 1883"/>
              <a:gd name="T18" fmla="*/ 1784 w 1796"/>
              <a:gd name="T19" fmla="*/ 501 h 1883"/>
              <a:gd name="T20" fmla="*/ 1564 w 1796"/>
              <a:gd name="T21" fmla="*/ 374 h 1883"/>
              <a:gd name="T22" fmla="*/ 1363 w 1796"/>
              <a:gd name="T23" fmla="*/ 345 h 1883"/>
              <a:gd name="T24" fmla="*/ 1315 w 1796"/>
              <a:gd name="T25" fmla="*/ 318 h 1883"/>
              <a:gd name="T26" fmla="*/ 1199 w 1796"/>
              <a:gd name="T27" fmla="*/ 269 h 1883"/>
              <a:gd name="T28" fmla="*/ 1129 w 1796"/>
              <a:gd name="T29" fmla="*/ 323 h 1883"/>
              <a:gd name="T30" fmla="*/ 1037 w 1796"/>
              <a:gd name="T31" fmla="*/ 320 h 1883"/>
              <a:gd name="T32" fmla="*/ 1066 w 1796"/>
              <a:gd name="T33" fmla="*/ 278 h 1883"/>
              <a:gd name="T34" fmla="*/ 1097 w 1796"/>
              <a:gd name="T35" fmla="*/ 195 h 1883"/>
              <a:gd name="T36" fmla="*/ 1037 w 1796"/>
              <a:gd name="T37" fmla="*/ 46 h 1883"/>
              <a:gd name="T38" fmla="*/ 936 w 1796"/>
              <a:gd name="T39" fmla="*/ 142 h 1883"/>
              <a:gd name="T40" fmla="*/ 834 w 1796"/>
              <a:gd name="T41" fmla="*/ 127 h 1883"/>
              <a:gd name="T42" fmla="*/ 769 w 1796"/>
              <a:gd name="T43" fmla="*/ 147 h 1883"/>
              <a:gd name="T44" fmla="*/ 670 w 1796"/>
              <a:gd name="T45" fmla="*/ 171 h 1883"/>
              <a:gd name="T46" fmla="*/ 661 w 1796"/>
              <a:gd name="T47" fmla="*/ 60 h 1883"/>
              <a:gd name="T48" fmla="*/ 610 w 1796"/>
              <a:gd name="T49" fmla="*/ 1 h 1883"/>
              <a:gd name="T50" fmla="*/ 518 w 1796"/>
              <a:gd name="T51" fmla="*/ 52 h 1883"/>
              <a:gd name="T52" fmla="*/ 421 w 1796"/>
              <a:gd name="T53" fmla="*/ 60 h 1883"/>
              <a:gd name="T54" fmla="*/ 481 w 1796"/>
              <a:gd name="T55" fmla="*/ 139 h 1883"/>
              <a:gd name="T56" fmla="*/ 342 w 1796"/>
              <a:gd name="T57" fmla="*/ 205 h 1883"/>
              <a:gd name="T58" fmla="*/ 269 w 1796"/>
              <a:gd name="T59" fmla="*/ 156 h 1883"/>
              <a:gd name="T60" fmla="*/ 189 w 1796"/>
              <a:gd name="T61" fmla="*/ 193 h 1883"/>
              <a:gd name="T62" fmla="*/ 172 w 1796"/>
              <a:gd name="T63" fmla="*/ 247 h 1883"/>
              <a:gd name="T64" fmla="*/ 176 w 1796"/>
              <a:gd name="T65" fmla="*/ 430 h 1883"/>
              <a:gd name="T66" fmla="*/ 36 w 1796"/>
              <a:gd name="T67" fmla="*/ 510 h 1883"/>
              <a:gd name="T68" fmla="*/ 42 w 1796"/>
              <a:gd name="T69" fmla="*/ 651 h 1883"/>
              <a:gd name="T70" fmla="*/ 122 w 1796"/>
              <a:gd name="T71" fmla="*/ 688 h 1883"/>
              <a:gd name="T72" fmla="*/ 249 w 1796"/>
              <a:gd name="T73" fmla="*/ 745 h 1883"/>
              <a:gd name="T74" fmla="*/ 395 w 1796"/>
              <a:gd name="T75" fmla="*/ 705 h 1883"/>
              <a:gd name="T76" fmla="*/ 483 w 1796"/>
              <a:gd name="T77" fmla="*/ 818 h 1883"/>
              <a:gd name="T78" fmla="*/ 599 w 1796"/>
              <a:gd name="T79" fmla="*/ 868 h 1883"/>
              <a:gd name="T80" fmla="*/ 631 w 1796"/>
              <a:gd name="T81" fmla="*/ 992 h 1883"/>
              <a:gd name="T82" fmla="*/ 743 w 1796"/>
              <a:gd name="T83" fmla="*/ 1081 h 1883"/>
              <a:gd name="T84" fmla="*/ 724 w 1796"/>
              <a:gd name="T85" fmla="*/ 1185 h 1883"/>
              <a:gd name="T86" fmla="*/ 805 w 1796"/>
              <a:gd name="T87" fmla="*/ 1278 h 1883"/>
              <a:gd name="T88" fmla="*/ 859 w 1796"/>
              <a:gd name="T89" fmla="*/ 1368 h 1883"/>
              <a:gd name="T90" fmla="*/ 913 w 1796"/>
              <a:gd name="T91" fmla="*/ 1449 h 1883"/>
              <a:gd name="T92" fmla="*/ 880 w 1796"/>
              <a:gd name="T93" fmla="*/ 1550 h 1883"/>
              <a:gd name="T94" fmla="*/ 774 w 1796"/>
              <a:gd name="T95" fmla="*/ 1685 h 1883"/>
              <a:gd name="T96" fmla="*/ 842 w 1796"/>
              <a:gd name="T97" fmla="*/ 1725 h 1883"/>
              <a:gd name="T98" fmla="*/ 931 w 1796"/>
              <a:gd name="T99" fmla="*/ 1810 h 1883"/>
              <a:gd name="T100" fmla="*/ 1086 w 1796"/>
              <a:gd name="T101" fmla="*/ 237 h 1883"/>
              <a:gd name="T102" fmla="*/ 1128 w 1796"/>
              <a:gd name="T103" fmla="*/ 246 h 1883"/>
              <a:gd name="T104" fmla="*/ 1171 w 1796"/>
              <a:gd name="T105" fmla="*/ 255 h 1883"/>
              <a:gd name="T106" fmla="*/ 1077 w 1796"/>
              <a:gd name="T107" fmla="*/ 314 h 1883"/>
              <a:gd name="T108" fmla="*/ 1171 w 1796"/>
              <a:gd name="T109" fmla="*/ 255 h 1883"/>
              <a:gd name="T110" fmla="*/ 1058 w 1796"/>
              <a:gd name="T111" fmla="*/ 246 h 1883"/>
              <a:gd name="T112" fmla="*/ 1091 w 1796"/>
              <a:gd name="T113" fmla="*/ 218 h 1883"/>
              <a:gd name="T114" fmla="*/ 1091 w 1796"/>
              <a:gd name="T115" fmla="*/ 218 h 1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96" h="1883">
                <a:moveTo>
                  <a:pt x="939" y="1883"/>
                </a:moveTo>
                <a:lnTo>
                  <a:pt x="964" y="1861"/>
                </a:lnTo>
                <a:lnTo>
                  <a:pt x="982" y="1835"/>
                </a:lnTo>
                <a:lnTo>
                  <a:pt x="990" y="1804"/>
                </a:lnTo>
                <a:lnTo>
                  <a:pt x="1046" y="1760"/>
                </a:lnTo>
                <a:lnTo>
                  <a:pt x="1082" y="1706"/>
                </a:lnTo>
                <a:lnTo>
                  <a:pt x="1086" y="1688"/>
                </a:lnTo>
                <a:lnTo>
                  <a:pt x="1106" y="1649"/>
                </a:lnTo>
                <a:lnTo>
                  <a:pt x="1126" y="1621"/>
                </a:lnTo>
                <a:lnTo>
                  <a:pt x="1146" y="1609"/>
                </a:lnTo>
                <a:lnTo>
                  <a:pt x="1159" y="1592"/>
                </a:lnTo>
                <a:lnTo>
                  <a:pt x="1163" y="1541"/>
                </a:lnTo>
                <a:lnTo>
                  <a:pt x="1170" y="1533"/>
                </a:lnTo>
                <a:lnTo>
                  <a:pt x="1162" y="1520"/>
                </a:lnTo>
                <a:lnTo>
                  <a:pt x="1159" y="1479"/>
                </a:lnTo>
                <a:lnTo>
                  <a:pt x="1176" y="1444"/>
                </a:lnTo>
                <a:lnTo>
                  <a:pt x="1252" y="1375"/>
                </a:lnTo>
                <a:lnTo>
                  <a:pt x="1280" y="1360"/>
                </a:lnTo>
                <a:lnTo>
                  <a:pt x="1304" y="1355"/>
                </a:lnTo>
                <a:lnTo>
                  <a:pt x="1328" y="1338"/>
                </a:lnTo>
                <a:lnTo>
                  <a:pt x="1345" y="1334"/>
                </a:lnTo>
                <a:lnTo>
                  <a:pt x="1345" y="1324"/>
                </a:lnTo>
                <a:lnTo>
                  <a:pt x="1351" y="1317"/>
                </a:lnTo>
                <a:lnTo>
                  <a:pt x="1360" y="1322"/>
                </a:lnTo>
                <a:lnTo>
                  <a:pt x="1379" y="1315"/>
                </a:lnTo>
                <a:lnTo>
                  <a:pt x="1394" y="1318"/>
                </a:lnTo>
                <a:lnTo>
                  <a:pt x="1408" y="1313"/>
                </a:lnTo>
                <a:lnTo>
                  <a:pt x="1456" y="1313"/>
                </a:lnTo>
                <a:lnTo>
                  <a:pt x="1467" y="1295"/>
                </a:lnTo>
                <a:lnTo>
                  <a:pt x="1504" y="1271"/>
                </a:lnTo>
                <a:lnTo>
                  <a:pt x="1510" y="1234"/>
                </a:lnTo>
                <a:lnTo>
                  <a:pt x="1536" y="1202"/>
                </a:lnTo>
                <a:lnTo>
                  <a:pt x="1553" y="1166"/>
                </a:lnTo>
                <a:lnTo>
                  <a:pt x="1569" y="1146"/>
                </a:lnTo>
                <a:lnTo>
                  <a:pt x="1575" y="1086"/>
                </a:lnTo>
                <a:lnTo>
                  <a:pt x="1594" y="1058"/>
                </a:lnTo>
                <a:lnTo>
                  <a:pt x="1606" y="971"/>
                </a:lnTo>
                <a:lnTo>
                  <a:pt x="1600" y="908"/>
                </a:lnTo>
                <a:lnTo>
                  <a:pt x="1607" y="848"/>
                </a:lnTo>
                <a:lnTo>
                  <a:pt x="1617" y="837"/>
                </a:lnTo>
                <a:lnTo>
                  <a:pt x="1629" y="838"/>
                </a:lnTo>
                <a:lnTo>
                  <a:pt x="1643" y="828"/>
                </a:lnTo>
                <a:lnTo>
                  <a:pt x="1680" y="756"/>
                </a:lnTo>
                <a:lnTo>
                  <a:pt x="1725" y="722"/>
                </a:lnTo>
                <a:lnTo>
                  <a:pt x="1728" y="716"/>
                </a:lnTo>
                <a:lnTo>
                  <a:pt x="1779" y="651"/>
                </a:lnTo>
                <a:lnTo>
                  <a:pt x="1792" y="608"/>
                </a:lnTo>
                <a:lnTo>
                  <a:pt x="1796" y="566"/>
                </a:lnTo>
                <a:lnTo>
                  <a:pt x="1796" y="547"/>
                </a:lnTo>
                <a:lnTo>
                  <a:pt x="1784" y="501"/>
                </a:lnTo>
                <a:lnTo>
                  <a:pt x="1768" y="479"/>
                </a:lnTo>
                <a:lnTo>
                  <a:pt x="1695" y="469"/>
                </a:lnTo>
                <a:lnTo>
                  <a:pt x="1624" y="408"/>
                </a:lnTo>
                <a:lnTo>
                  <a:pt x="1585" y="382"/>
                </a:lnTo>
                <a:lnTo>
                  <a:pt x="1564" y="374"/>
                </a:lnTo>
                <a:lnTo>
                  <a:pt x="1473" y="371"/>
                </a:lnTo>
                <a:lnTo>
                  <a:pt x="1400" y="354"/>
                </a:lnTo>
                <a:lnTo>
                  <a:pt x="1397" y="346"/>
                </a:lnTo>
                <a:lnTo>
                  <a:pt x="1355" y="363"/>
                </a:lnTo>
                <a:lnTo>
                  <a:pt x="1363" y="345"/>
                </a:lnTo>
                <a:lnTo>
                  <a:pt x="1357" y="338"/>
                </a:lnTo>
                <a:lnTo>
                  <a:pt x="1346" y="338"/>
                </a:lnTo>
                <a:lnTo>
                  <a:pt x="1351" y="325"/>
                </a:lnTo>
                <a:lnTo>
                  <a:pt x="1337" y="308"/>
                </a:lnTo>
                <a:lnTo>
                  <a:pt x="1315" y="318"/>
                </a:lnTo>
                <a:lnTo>
                  <a:pt x="1309" y="298"/>
                </a:lnTo>
                <a:lnTo>
                  <a:pt x="1277" y="286"/>
                </a:lnTo>
                <a:lnTo>
                  <a:pt x="1260" y="284"/>
                </a:lnTo>
                <a:lnTo>
                  <a:pt x="1233" y="271"/>
                </a:lnTo>
                <a:lnTo>
                  <a:pt x="1199" y="269"/>
                </a:lnTo>
                <a:lnTo>
                  <a:pt x="1190" y="272"/>
                </a:lnTo>
                <a:lnTo>
                  <a:pt x="1171" y="308"/>
                </a:lnTo>
                <a:lnTo>
                  <a:pt x="1148" y="317"/>
                </a:lnTo>
                <a:lnTo>
                  <a:pt x="1131" y="352"/>
                </a:lnTo>
                <a:lnTo>
                  <a:pt x="1129" y="323"/>
                </a:lnTo>
                <a:lnTo>
                  <a:pt x="1071" y="325"/>
                </a:lnTo>
                <a:lnTo>
                  <a:pt x="1058" y="331"/>
                </a:lnTo>
                <a:lnTo>
                  <a:pt x="1038" y="325"/>
                </a:lnTo>
                <a:lnTo>
                  <a:pt x="1032" y="334"/>
                </a:lnTo>
                <a:lnTo>
                  <a:pt x="1037" y="320"/>
                </a:lnTo>
                <a:lnTo>
                  <a:pt x="1060" y="325"/>
                </a:lnTo>
                <a:lnTo>
                  <a:pt x="1071" y="318"/>
                </a:lnTo>
                <a:lnTo>
                  <a:pt x="1071" y="298"/>
                </a:lnTo>
                <a:lnTo>
                  <a:pt x="1058" y="289"/>
                </a:lnTo>
                <a:lnTo>
                  <a:pt x="1066" y="278"/>
                </a:lnTo>
                <a:lnTo>
                  <a:pt x="1055" y="278"/>
                </a:lnTo>
                <a:lnTo>
                  <a:pt x="1048" y="291"/>
                </a:lnTo>
                <a:lnTo>
                  <a:pt x="1040" y="292"/>
                </a:lnTo>
                <a:lnTo>
                  <a:pt x="1037" y="259"/>
                </a:lnTo>
                <a:lnTo>
                  <a:pt x="1097" y="195"/>
                </a:lnTo>
                <a:lnTo>
                  <a:pt x="1105" y="164"/>
                </a:lnTo>
                <a:lnTo>
                  <a:pt x="1080" y="157"/>
                </a:lnTo>
                <a:lnTo>
                  <a:pt x="1065" y="110"/>
                </a:lnTo>
                <a:lnTo>
                  <a:pt x="1048" y="57"/>
                </a:lnTo>
                <a:lnTo>
                  <a:pt x="1037" y="46"/>
                </a:lnTo>
                <a:lnTo>
                  <a:pt x="1028" y="52"/>
                </a:lnTo>
                <a:lnTo>
                  <a:pt x="995" y="97"/>
                </a:lnTo>
                <a:lnTo>
                  <a:pt x="986" y="120"/>
                </a:lnTo>
                <a:lnTo>
                  <a:pt x="961" y="142"/>
                </a:lnTo>
                <a:lnTo>
                  <a:pt x="936" y="142"/>
                </a:lnTo>
                <a:lnTo>
                  <a:pt x="914" y="148"/>
                </a:lnTo>
                <a:lnTo>
                  <a:pt x="896" y="134"/>
                </a:lnTo>
                <a:lnTo>
                  <a:pt x="870" y="125"/>
                </a:lnTo>
                <a:lnTo>
                  <a:pt x="851" y="130"/>
                </a:lnTo>
                <a:lnTo>
                  <a:pt x="834" y="127"/>
                </a:lnTo>
                <a:lnTo>
                  <a:pt x="829" y="130"/>
                </a:lnTo>
                <a:lnTo>
                  <a:pt x="828" y="154"/>
                </a:lnTo>
                <a:lnTo>
                  <a:pt x="803" y="148"/>
                </a:lnTo>
                <a:lnTo>
                  <a:pt x="780" y="153"/>
                </a:lnTo>
                <a:lnTo>
                  <a:pt x="769" y="147"/>
                </a:lnTo>
                <a:lnTo>
                  <a:pt x="752" y="161"/>
                </a:lnTo>
                <a:lnTo>
                  <a:pt x="713" y="171"/>
                </a:lnTo>
                <a:lnTo>
                  <a:pt x="703" y="181"/>
                </a:lnTo>
                <a:lnTo>
                  <a:pt x="682" y="178"/>
                </a:lnTo>
                <a:lnTo>
                  <a:pt x="670" y="171"/>
                </a:lnTo>
                <a:lnTo>
                  <a:pt x="655" y="156"/>
                </a:lnTo>
                <a:lnTo>
                  <a:pt x="653" y="136"/>
                </a:lnTo>
                <a:lnTo>
                  <a:pt x="644" y="123"/>
                </a:lnTo>
                <a:lnTo>
                  <a:pt x="650" y="72"/>
                </a:lnTo>
                <a:lnTo>
                  <a:pt x="661" y="60"/>
                </a:lnTo>
                <a:lnTo>
                  <a:pt x="655" y="35"/>
                </a:lnTo>
                <a:lnTo>
                  <a:pt x="636" y="31"/>
                </a:lnTo>
                <a:lnTo>
                  <a:pt x="640" y="14"/>
                </a:lnTo>
                <a:lnTo>
                  <a:pt x="635" y="0"/>
                </a:lnTo>
                <a:lnTo>
                  <a:pt x="610" y="1"/>
                </a:lnTo>
                <a:lnTo>
                  <a:pt x="610" y="14"/>
                </a:lnTo>
                <a:lnTo>
                  <a:pt x="594" y="31"/>
                </a:lnTo>
                <a:lnTo>
                  <a:pt x="577" y="32"/>
                </a:lnTo>
                <a:lnTo>
                  <a:pt x="556" y="47"/>
                </a:lnTo>
                <a:lnTo>
                  <a:pt x="518" y="52"/>
                </a:lnTo>
                <a:lnTo>
                  <a:pt x="500" y="63"/>
                </a:lnTo>
                <a:lnTo>
                  <a:pt x="480" y="61"/>
                </a:lnTo>
                <a:lnTo>
                  <a:pt x="446" y="47"/>
                </a:lnTo>
                <a:lnTo>
                  <a:pt x="416" y="43"/>
                </a:lnTo>
                <a:lnTo>
                  <a:pt x="421" y="60"/>
                </a:lnTo>
                <a:lnTo>
                  <a:pt x="442" y="71"/>
                </a:lnTo>
                <a:lnTo>
                  <a:pt x="438" y="97"/>
                </a:lnTo>
                <a:lnTo>
                  <a:pt x="446" y="128"/>
                </a:lnTo>
                <a:lnTo>
                  <a:pt x="483" y="130"/>
                </a:lnTo>
                <a:lnTo>
                  <a:pt x="481" y="139"/>
                </a:lnTo>
                <a:lnTo>
                  <a:pt x="452" y="151"/>
                </a:lnTo>
                <a:lnTo>
                  <a:pt x="440" y="173"/>
                </a:lnTo>
                <a:lnTo>
                  <a:pt x="390" y="191"/>
                </a:lnTo>
                <a:lnTo>
                  <a:pt x="376" y="204"/>
                </a:lnTo>
                <a:lnTo>
                  <a:pt x="342" y="205"/>
                </a:lnTo>
                <a:lnTo>
                  <a:pt x="320" y="179"/>
                </a:lnTo>
                <a:lnTo>
                  <a:pt x="310" y="187"/>
                </a:lnTo>
                <a:lnTo>
                  <a:pt x="305" y="161"/>
                </a:lnTo>
                <a:lnTo>
                  <a:pt x="293" y="147"/>
                </a:lnTo>
                <a:lnTo>
                  <a:pt x="269" y="156"/>
                </a:lnTo>
                <a:lnTo>
                  <a:pt x="257" y="148"/>
                </a:lnTo>
                <a:lnTo>
                  <a:pt x="251" y="161"/>
                </a:lnTo>
                <a:lnTo>
                  <a:pt x="183" y="161"/>
                </a:lnTo>
                <a:lnTo>
                  <a:pt x="183" y="190"/>
                </a:lnTo>
                <a:lnTo>
                  <a:pt x="189" y="193"/>
                </a:lnTo>
                <a:lnTo>
                  <a:pt x="206" y="191"/>
                </a:lnTo>
                <a:lnTo>
                  <a:pt x="215" y="212"/>
                </a:lnTo>
                <a:lnTo>
                  <a:pt x="197" y="210"/>
                </a:lnTo>
                <a:lnTo>
                  <a:pt x="172" y="216"/>
                </a:lnTo>
                <a:lnTo>
                  <a:pt x="172" y="247"/>
                </a:lnTo>
                <a:lnTo>
                  <a:pt x="193" y="266"/>
                </a:lnTo>
                <a:lnTo>
                  <a:pt x="201" y="297"/>
                </a:lnTo>
                <a:lnTo>
                  <a:pt x="195" y="335"/>
                </a:lnTo>
                <a:lnTo>
                  <a:pt x="186" y="380"/>
                </a:lnTo>
                <a:lnTo>
                  <a:pt x="176" y="430"/>
                </a:lnTo>
                <a:lnTo>
                  <a:pt x="171" y="435"/>
                </a:lnTo>
                <a:lnTo>
                  <a:pt x="154" y="433"/>
                </a:lnTo>
                <a:lnTo>
                  <a:pt x="99" y="450"/>
                </a:lnTo>
                <a:lnTo>
                  <a:pt x="61" y="472"/>
                </a:lnTo>
                <a:lnTo>
                  <a:pt x="36" y="510"/>
                </a:lnTo>
                <a:lnTo>
                  <a:pt x="34" y="540"/>
                </a:lnTo>
                <a:lnTo>
                  <a:pt x="16" y="547"/>
                </a:lnTo>
                <a:lnTo>
                  <a:pt x="0" y="586"/>
                </a:lnTo>
                <a:lnTo>
                  <a:pt x="11" y="620"/>
                </a:lnTo>
                <a:lnTo>
                  <a:pt x="42" y="651"/>
                </a:lnTo>
                <a:lnTo>
                  <a:pt x="37" y="670"/>
                </a:lnTo>
                <a:lnTo>
                  <a:pt x="65" y="674"/>
                </a:lnTo>
                <a:lnTo>
                  <a:pt x="78" y="693"/>
                </a:lnTo>
                <a:lnTo>
                  <a:pt x="99" y="697"/>
                </a:lnTo>
                <a:lnTo>
                  <a:pt x="122" y="688"/>
                </a:lnTo>
                <a:lnTo>
                  <a:pt x="152" y="665"/>
                </a:lnTo>
                <a:lnTo>
                  <a:pt x="152" y="741"/>
                </a:lnTo>
                <a:lnTo>
                  <a:pt x="163" y="747"/>
                </a:lnTo>
                <a:lnTo>
                  <a:pt x="189" y="741"/>
                </a:lnTo>
                <a:lnTo>
                  <a:pt x="249" y="745"/>
                </a:lnTo>
                <a:lnTo>
                  <a:pt x="288" y="728"/>
                </a:lnTo>
                <a:lnTo>
                  <a:pt x="328" y="688"/>
                </a:lnTo>
                <a:lnTo>
                  <a:pt x="384" y="682"/>
                </a:lnTo>
                <a:lnTo>
                  <a:pt x="393" y="691"/>
                </a:lnTo>
                <a:lnTo>
                  <a:pt x="395" y="705"/>
                </a:lnTo>
                <a:lnTo>
                  <a:pt x="395" y="733"/>
                </a:lnTo>
                <a:lnTo>
                  <a:pt x="387" y="756"/>
                </a:lnTo>
                <a:lnTo>
                  <a:pt x="399" y="787"/>
                </a:lnTo>
                <a:lnTo>
                  <a:pt x="429" y="809"/>
                </a:lnTo>
                <a:lnTo>
                  <a:pt x="483" y="818"/>
                </a:lnTo>
                <a:lnTo>
                  <a:pt x="497" y="832"/>
                </a:lnTo>
                <a:lnTo>
                  <a:pt x="535" y="845"/>
                </a:lnTo>
                <a:lnTo>
                  <a:pt x="554" y="860"/>
                </a:lnTo>
                <a:lnTo>
                  <a:pt x="585" y="860"/>
                </a:lnTo>
                <a:lnTo>
                  <a:pt x="599" y="868"/>
                </a:lnTo>
                <a:lnTo>
                  <a:pt x="611" y="882"/>
                </a:lnTo>
                <a:lnTo>
                  <a:pt x="622" y="919"/>
                </a:lnTo>
                <a:lnTo>
                  <a:pt x="619" y="939"/>
                </a:lnTo>
                <a:lnTo>
                  <a:pt x="613" y="945"/>
                </a:lnTo>
                <a:lnTo>
                  <a:pt x="631" y="992"/>
                </a:lnTo>
                <a:lnTo>
                  <a:pt x="712" y="999"/>
                </a:lnTo>
                <a:lnTo>
                  <a:pt x="707" y="1022"/>
                </a:lnTo>
                <a:lnTo>
                  <a:pt x="712" y="1039"/>
                </a:lnTo>
                <a:lnTo>
                  <a:pt x="729" y="1046"/>
                </a:lnTo>
                <a:lnTo>
                  <a:pt x="743" y="1081"/>
                </a:lnTo>
                <a:lnTo>
                  <a:pt x="741" y="1128"/>
                </a:lnTo>
                <a:lnTo>
                  <a:pt x="732" y="1154"/>
                </a:lnTo>
                <a:lnTo>
                  <a:pt x="735" y="1174"/>
                </a:lnTo>
                <a:lnTo>
                  <a:pt x="726" y="1179"/>
                </a:lnTo>
                <a:lnTo>
                  <a:pt x="724" y="1185"/>
                </a:lnTo>
                <a:lnTo>
                  <a:pt x="732" y="1199"/>
                </a:lnTo>
                <a:lnTo>
                  <a:pt x="732" y="1267"/>
                </a:lnTo>
                <a:lnTo>
                  <a:pt x="735" y="1273"/>
                </a:lnTo>
                <a:lnTo>
                  <a:pt x="774" y="1285"/>
                </a:lnTo>
                <a:lnTo>
                  <a:pt x="805" y="1278"/>
                </a:lnTo>
                <a:lnTo>
                  <a:pt x="829" y="1288"/>
                </a:lnTo>
                <a:lnTo>
                  <a:pt x="837" y="1300"/>
                </a:lnTo>
                <a:lnTo>
                  <a:pt x="840" y="1351"/>
                </a:lnTo>
                <a:lnTo>
                  <a:pt x="846" y="1361"/>
                </a:lnTo>
                <a:lnTo>
                  <a:pt x="859" y="1368"/>
                </a:lnTo>
                <a:lnTo>
                  <a:pt x="889" y="1363"/>
                </a:lnTo>
                <a:lnTo>
                  <a:pt x="894" y="1368"/>
                </a:lnTo>
                <a:lnTo>
                  <a:pt x="899" y="1395"/>
                </a:lnTo>
                <a:lnTo>
                  <a:pt x="891" y="1451"/>
                </a:lnTo>
                <a:lnTo>
                  <a:pt x="913" y="1449"/>
                </a:lnTo>
                <a:lnTo>
                  <a:pt x="918" y="1454"/>
                </a:lnTo>
                <a:lnTo>
                  <a:pt x="928" y="1488"/>
                </a:lnTo>
                <a:lnTo>
                  <a:pt x="925" y="1527"/>
                </a:lnTo>
                <a:lnTo>
                  <a:pt x="904" y="1544"/>
                </a:lnTo>
                <a:lnTo>
                  <a:pt x="880" y="1550"/>
                </a:lnTo>
                <a:lnTo>
                  <a:pt x="828" y="1600"/>
                </a:lnTo>
                <a:lnTo>
                  <a:pt x="789" y="1654"/>
                </a:lnTo>
                <a:lnTo>
                  <a:pt x="746" y="1693"/>
                </a:lnTo>
                <a:lnTo>
                  <a:pt x="760" y="1694"/>
                </a:lnTo>
                <a:lnTo>
                  <a:pt x="774" y="1685"/>
                </a:lnTo>
                <a:lnTo>
                  <a:pt x="784" y="1686"/>
                </a:lnTo>
                <a:lnTo>
                  <a:pt x="814" y="1713"/>
                </a:lnTo>
                <a:lnTo>
                  <a:pt x="820" y="1733"/>
                </a:lnTo>
                <a:lnTo>
                  <a:pt x="829" y="1733"/>
                </a:lnTo>
                <a:lnTo>
                  <a:pt x="842" y="1725"/>
                </a:lnTo>
                <a:lnTo>
                  <a:pt x="859" y="1747"/>
                </a:lnTo>
                <a:lnTo>
                  <a:pt x="885" y="1757"/>
                </a:lnTo>
                <a:lnTo>
                  <a:pt x="899" y="1774"/>
                </a:lnTo>
                <a:lnTo>
                  <a:pt x="922" y="1784"/>
                </a:lnTo>
                <a:lnTo>
                  <a:pt x="931" y="1810"/>
                </a:lnTo>
                <a:lnTo>
                  <a:pt x="953" y="1828"/>
                </a:lnTo>
                <a:lnTo>
                  <a:pt x="938" y="1850"/>
                </a:lnTo>
                <a:lnTo>
                  <a:pt x="936" y="1875"/>
                </a:lnTo>
                <a:lnTo>
                  <a:pt x="939" y="1883"/>
                </a:lnTo>
                <a:close/>
                <a:moveTo>
                  <a:pt x="1086" y="237"/>
                </a:moveTo>
                <a:lnTo>
                  <a:pt x="1088" y="244"/>
                </a:lnTo>
                <a:lnTo>
                  <a:pt x="1082" y="244"/>
                </a:lnTo>
                <a:lnTo>
                  <a:pt x="1080" y="238"/>
                </a:lnTo>
                <a:lnTo>
                  <a:pt x="1086" y="237"/>
                </a:lnTo>
                <a:close/>
                <a:moveTo>
                  <a:pt x="1128" y="246"/>
                </a:moveTo>
                <a:lnTo>
                  <a:pt x="1112" y="247"/>
                </a:lnTo>
                <a:lnTo>
                  <a:pt x="1123" y="237"/>
                </a:lnTo>
                <a:lnTo>
                  <a:pt x="1128" y="238"/>
                </a:lnTo>
                <a:lnTo>
                  <a:pt x="1128" y="246"/>
                </a:lnTo>
                <a:close/>
                <a:moveTo>
                  <a:pt x="1171" y="255"/>
                </a:moveTo>
                <a:lnTo>
                  <a:pt x="1170" y="280"/>
                </a:lnTo>
                <a:lnTo>
                  <a:pt x="1143" y="309"/>
                </a:lnTo>
                <a:lnTo>
                  <a:pt x="1109" y="322"/>
                </a:lnTo>
                <a:lnTo>
                  <a:pt x="1088" y="320"/>
                </a:lnTo>
                <a:lnTo>
                  <a:pt x="1077" y="314"/>
                </a:lnTo>
                <a:lnTo>
                  <a:pt x="1074" y="261"/>
                </a:lnTo>
                <a:lnTo>
                  <a:pt x="1088" y="250"/>
                </a:lnTo>
                <a:lnTo>
                  <a:pt x="1126" y="252"/>
                </a:lnTo>
                <a:lnTo>
                  <a:pt x="1153" y="247"/>
                </a:lnTo>
                <a:lnTo>
                  <a:pt x="1171" y="255"/>
                </a:lnTo>
                <a:close/>
                <a:moveTo>
                  <a:pt x="1074" y="254"/>
                </a:moveTo>
                <a:lnTo>
                  <a:pt x="1058" y="272"/>
                </a:lnTo>
                <a:lnTo>
                  <a:pt x="1052" y="272"/>
                </a:lnTo>
                <a:lnTo>
                  <a:pt x="1048" y="263"/>
                </a:lnTo>
                <a:lnTo>
                  <a:pt x="1058" y="246"/>
                </a:lnTo>
                <a:lnTo>
                  <a:pt x="1074" y="241"/>
                </a:lnTo>
                <a:lnTo>
                  <a:pt x="1065" y="250"/>
                </a:lnTo>
                <a:lnTo>
                  <a:pt x="1072" y="250"/>
                </a:lnTo>
                <a:lnTo>
                  <a:pt x="1074" y="254"/>
                </a:lnTo>
                <a:close/>
                <a:moveTo>
                  <a:pt x="1091" y="218"/>
                </a:moveTo>
                <a:lnTo>
                  <a:pt x="1083" y="224"/>
                </a:lnTo>
                <a:lnTo>
                  <a:pt x="1089" y="235"/>
                </a:lnTo>
                <a:lnTo>
                  <a:pt x="1109" y="238"/>
                </a:lnTo>
                <a:lnTo>
                  <a:pt x="1109" y="232"/>
                </a:lnTo>
                <a:lnTo>
                  <a:pt x="1091" y="218"/>
                </a:lnTo>
                <a:close/>
              </a:path>
            </a:pathLst>
          </a:custGeom>
          <a:solidFill>
            <a:schemeClr val="accent1"/>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29" name="Freeform 204">
            <a:extLst>
              <a:ext uri="{FF2B5EF4-FFF2-40B4-BE49-F238E27FC236}">
                <a16:creationId xmlns:a16="http://schemas.microsoft.com/office/drawing/2014/main" id="{ABBAE544-D81E-0C4B-95DC-2E336F7C9506}"/>
              </a:ext>
            </a:extLst>
          </p:cNvPr>
          <p:cNvSpPr>
            <a:spLocks noChangeAspect="1" noEditPoints="1"/>
          </p:cNvSpPr>
          <p:nvPr/>
        </p:nvSpPr>
        <p:spPr bwMode="gray">
          <a:xfrm>
            <a:off x="1575073" y="3664509"/>
            <a:ext cx="900687" cy="2413697"/>
          </a:xfrm>
          <a:custGeom>
            <a:avLst/>
            <a:gdLst>
              <a:gd name="T0" fmla="*/ 50 w 908"/>
              <a:gd name="T1" fmla="*/ 1759 h 2014"/>
              <a:gd name="T2" fmla="*/ 0 w 908"/>
              <a:gd name="T3" fmla="*/ 1647 h 2014"/>
              <a:gd name="T4" fmla="*/ 44 w 908"/>
              <a:gd name="T5" fmla="*/ 1471 h 2014"/>
              <a:gd name="T6" fmla="*/ 88 w 908"/>
              <a:gd name="T7" fmla="*/ 1302 h 2014"/>
              <a:gd name="T8" fmla="*/ 95 w 908"/>
              <a:gd name="T9" fmla="*/ 1272 h 2014"/>
              <a:gd name="T10" fmla="*/ 67 w 908"/>
              <a:gd name="T11" fmla="*/ 1202 h 2014"/>
              <a:gd name="T12" fmla="*/ 76 w 908"/>
              <a:gd name="T13" fmla="*/ 1095 h 2014"/>
              <a:gd name="T14" fmla="*/ 92 w 908"/>
              <a:gd name="T15" fmla="*/ 921 h 2014"/>
              <a:gd name="T16" fmla="*/ 107 w 908"/>
              <a:gd name="T17" fmla="*/ 777 h 2014"/>
              <a:gd name="T18" fmla="*/ 146 w 908"/>
              <a:gd name="T19" fmla="*/ 670 h 2014"/>
              <a:gd name="T20" fmla="*/ 149 w 908"/>
              <a:gd name="T21" fmla="*/ 571 h 2014"/>
              <a:gd name="T22" fmla="*/ 132 w 908"/>
              <a:gd name="T23" fmla="*/ 486 h 2014"/>
              <a:gd name="T24" fmla="*/ 198 w 908"/>
              <a:gd name="T25" fmla="*/ 298 h 2014"/>
              <a:gd name="T26" fmla="*/ 222 w 908"/>
              <a:gd name="T27" fmla="*/ 173 h 2014"/>
              <a:gd name="T28" fmla="*/ 290 w 908"/>
              <a:gd name="T29" fmla="*/ 71 h 2014"/>
              <a:gd name="T30" fmla="*/ 396 w 908"/>
              <a:gd name="T31" fmla="*/ 23 h 2014"/>
              <a:gd name="T32" fmla="*/ 491 w 908"/>
              <a:gd name="T33" fmla="*/ 26 h 2014"/>
              <a:gd name="T34" fmla="*/ 577 w 908"/>
              <a:gd name="T35" fmla="*/ 108 h 2014"/>
              <a:gd name="T36" fmla="*/ 721 w 908"/>
              <a:gd name="T37" fmla="*/ 196 h 2014"/>
              <a:gd name="T38" fmla="*/ 737 w 908"/>
              <a:gd name="T39" fmla="*/ 274 h 2014"/>
              <a:gd name="T40" fmla="*/ 871 w 908"/>
              <a:gd name="T41" fmla="*/ 190 h 2014"/>
              <a:gd name="T42" fmla="*/ 905 w 908"/>
              <a:gd name="T43" fmla="*/ 266 h 2014"/>
              <a:gd name="T44" fmla="*/ 769 w 908"/>
              <a:gd name="T45" fmla="*/ 393 h 2014"/>
              <a:gd name="T46" fmla="*/ 704 w 908"/>
              <a:gd name="T47" fmla="*/ 524 h 2014"/>
              <a:gd name="T48" fmla="*/ 684 w 908"/>
              <a:gd name="T49" fmla="*/ 651 h 2014"/>
              <a:gd name="T50" fmla="*/ 735 w 908"/>
              <a:gd name="T51" fmla="*/ 738 h 2014"/>
              <a:gd name="T52" fmla="*/ 764 w 908"/>
              <a:gd name="T53" fmla="*/ 809 h 2014"/>
              <a:gd name="T54" fmla="*/ 644 w 908"/>
              <a:gd name="T55" fmla="*/ 908 h 2014"/>
              <a:gd name="T56" fmla="*/ 510 w 908"/>
              <a:gd name="T57" fmla="*/ 934 h 2014"/>
              <a:gd name="T58" fmla="*/ 508 w 908"/>
              <a:gd name="T59" fmla="*/ 982 h 2014"/>
              <a:gd name="T60" fmla="*/ 474 w 908"/>
              <a:gd name="T61" fmla="*/ 1052 h 2014"/>
              <a:gd name="T62" fmla="*/ 379 w 908"/>
              <a:gd name="T63" fmla="*/ 1033 h 2014"/>
              <a:gd name="T64" fmla="*/ 410 w 908"/>
              <a:gd name="T65" fmla="*/ 1129 h 2014"/>
              <a:gd name="T66" fmla="*/ 449 w 908"/>
              <a:gd name="T67" fmla="*/ 1117 h 2014"/>
              <a:gd name="T68" fmla="*/ 420 w 908"/>
              <a:gd name="T69" fmla="*/ 1143 h 2014"/>
              <a:gd name="T70" fmla="*/ 420 w 908"/>
              <a:gd name="T71" fmla="*/ 1166 h 2014"/>
              <a:gd name="T72" fmla="*/ 378 w 908"/>
              <a:gd name="T73" fmla="*/ 1251 h 2014"/>
              <a:gd name="T74" fmla="*/ 319 w 908"/>
              <a:gd name="T75" fmla="*/ 1307 h 2014"/>
              <a:gd name="T76" fmla="*/ 280 w 908"/>
              <a:gd name="T77" fmla="*/ 1398 h 2014"/>
              <a:gd name="T78" fmla="*/ 356 w 908"/>
              <a:gd name="T79" fmla="*/ 1461 h 2014"/>
              <a:gd name="T80" fmla="*/ 344 w 908"/>
              <a:gd name="T81" fmla="*/ 1504 h 2014"/>
              <a:gd name="T82" fmla="*/ 259 w 908"/>
              <a:gd name="T83" fmla="*/ 1589 h 2014"/>
              <a:gd name="T84" fmla="*/ 217 w 908"/>
              <a:gd name="T85" fmla="*/ 1617 h 2014"/>
              <a:gd name="T86" fmla="*/ 183 w 908"/>
              <a:gd name="T87" fmla="*/ 1710 h 2014"/>
              <a:gd name="T88" fmla="*/ 202 w 908"/>
              <a:gd name="T89" fmla="*/ 1756 h 2014"/>
              <a:gd name="T90" fmla="*/ 413 w 908"/>
              <a:gd name="T91" fmla="*/ 2002 h 2014"/>
              <a:gd name="T92" fmla="*/ 219 w 908"/>
              <a:gd name="T93" fmla="*/ 1827 h 2014"/>
              <a:gd name="T94" fmla="*/ 253 w 908"/>
              <a:gd name="T95" fmla="*/ 1909 h 2014"/>
              <a:gd name="T96" fmla="*/ 364 w 908"/>
              <a:gd name="T97" fmla="*/ 2008 h 2014"/>
              <a:gd name="T98" fmla="*/ 222 w 908"/>
              <a:gd name="T99" fmla="*/ 2001 h 2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8" h="2014">
                <a:moveTo>
                  <a:pt x="231" y="1801"/>
                </a:moveTo>
                <a:lnTo>
                  <a:pt x="166" y="1782"/>
                </a:lnTo>
                <a:lnTo>
                  <a:pt x="59" y="1778"/>
                </a:lnTo>
                <a:lnTo>
                  <a:pt x="50" y="1759"/>
                </a:lnTo>
                <a:lnTo>
                  <a:pt x="48" y="1683"/>
                </a:lnTo>
                <a:lnTo>
                  <a:pt x="20" y="1681"/>
                </a:lnTo>
                <a:lnTo>
                  <a:pt x="5" y="1693"/>
                </a:lnTo>
                <a:lnTo>
                  <a:pt x="0" y="1647"/>
                </a:lnTo>
                <a:lnTo>
                  <a:pt x="7" y="1601"/>
                </a:lnTo>
                <a:lnTo>
                  <a:pt x="37" y="1550"/>
                </a:lnTo>
                <a:lnTo>
                  <a:pt x="48" y="1516"/>
                </a:lnTo>
                <a:lnTo>
                  <a:pt x="44" y="1471"/>
                </a:lnTo>
                <a:lnTo>
                  <a:pt x="67" y="1436"/>
                </a:lnTo>
                <a:lnTo>
                  <a:pt x="78" y="1402"/>
                </a:lnTo>
                <a:lnTo>
                  <a:pt x="79" y="1327"/>
                </a:lnTo>
                <a:lnTo>
                  <a:pt x="88" y="1302"/>
                </a:lnTo>
                <a:lnTo>
                  <a:pt x="68" y="1289"/>
                </a:lnTo>
                <a:lnTo>
                  <a:pt x="65" y="1278"/>
                </a:lnTo>
                <a:lnTo>
                  <a:pt x="93" y="1278"/>
                </a:lnTo>
                <a:lnTo>
                  <a:pt x="95" y="1272"/>
                </a:lnTo>
                <a:lnTo>
                  <a:pt x="88" y="1256"/>
                </a:lnTo>
                <a:lnTo>
                  <a:pt x="70" y="1253"/>
                </a:lnTo>
                <a:lnTo>
                  <a:pt x="73" y="1224"/>
                </a:lnTo>
                <a:lnTo>
                  <a:pt x="67" y="1202"/>
                </a:lnTo>
                <a:lnTo>
                  <a:pt x="65" y="1173"/>
                </a:lnTo>
                <a:lnTo>
                  <a:pt x="59" y="1165"/>
                </a:lnTo>
                <a:lnTo>
                  <a:pt x="59" y="1134"/>
                </a:lnTo>
                <a:lnTo>
                  <a:pt x="76" y="1095"/>
                </a:lnTo>
                <a:lnTo>
                  <a:pt x="76" y="1086"/>
                </a:lnTo>
                <a:lnTo>
                  <a:pt x="65" y="1061"/>
                </a:lnTo>
                <a:lnTo>
                  <a:pt x="75" y="985"/>
                </a:lnTo>
                <a:lnTo>
                  <a:pt x="92" y="921"/>
                </a:lnTo>
                <a:lnTo>
                  <a:pt x="107" y="897"/>
                </a:lnTo>
                <a:lnTo>
                  <a:pt x="101" y="854"/>
                </a:lnTo>
                <a:lnTo>
                  <a:pt x="104" y="789"/>
                </a:lnTo>
                <a:lnTo>
                  <a:pt x="107" y="777"/>
                </a:lnTo>
                <a:lnTo>
                  <a:pt x="134" y="752"/>
                </a:lnTo>
                <a:lnTo>
                  <a:pt x="130" y="706"/>
                </a:lnTo>
                <a:lnTo>
                  <a:pt x="141" y="696"/>
                </a:lnTo>
                <a:lnTo>
                  <a:pt x="146" y="670"/>
                </a:lnTo>
                <a:lnTo>
                  <a:pt x="161" y="643"/>
                </a:lnTo>
                <a:lnTo>
                  <a:pt x="158" y="600"/>
                </a:lnTo>
                <a:lnTo>
                  <a:pt x="149" y="589"/>
                </a:lnTo>
                <a:lnTo>
                  <a:pt x="149" y="571"/>
                </a:lnTo>
                <a:lnTo>
                  <a:pt x="138" y="543"/>
                </a:lnTo>
                <a:lnTo>
                  <a:pt x="138" y="518"/>
                </a:lnTo>
                <a:lnTo>
                  <a:pt x="130" y="510"/>
                </a:lnTo>
                <a:lnTo>
                  <a:pt x="132" y="486"/>
                </a:lnTo>
                <a:lnTo>
                  <a:pt x="156" y="433"/>
                </a:lnTo>
                <a:lnTo>
                  <a:pt x="160" y="385"/>
                </a:lnTo>
                <a:lnTo>
                  <a:pt x="177" y="322"/>
                </a:lnTo>
                <a:lnTo>
                  <a:pt x="198" y="298"/>
                </a:lnTo>
                <a:lnTo>
                  <a:pt x="205" y="274"/>
                </a:lnTo>
                <a:lnTo>
                  <a:pt x="231" y="255"/>
                </a:lnTo>
                <a:lnTo>
                  <a:pt x="222" y="187"/>
                </a:lnTo>
                <a:lnTo>
                  <a:pt x="222" y="173"/>
                </a:lnTo>
                <a:lnTo>
                  <a:pt x="228" y="164"/>
                </a:lnTo>
                <a:lnTo>
                  <a:pt x="228" y="136"/>
                </a:lnTo>
                <a:lnTo>
                  <a:pt x="282" y="110"/>
                </a:lnTo>
                <a:lnTo>
                  <a:pt x="290" y="71"/>
                </a:lnTo>
                <a:lnTo>
                  <a:pt x="285" y="52"/>
                </a:lnTo>
                <a:lnTo>
                  <a:pt x="333" y="0"/>
                </a:lnTo>
                <a:lnTo>
                  <a:pt x="347" y="15"/>
                </a:lnTo>
                <a:lnTo>
                  <a:pt x="396" y="23"/>
                </a:lnTo>
                <a:lnTo>
                  <a:pt x="417" y="44"/>
                </a:lnTo>
                <a:lnTo>
                  <a:pt x="427" y="10"/>
                </a:lnTo>
                <a:lnTo>
                  <a:pt x="472" y="14"/>
                </a:lnTo>
                <a:lnTo>
                  <a:pt x="491" y="26"/>
                </a:lnTo>
                <a:lnTo>
                  <a:pt x="505" y="31"/>
                </a:lnTo>
                <a:lnTo>
                  <a:pt x="534" y="68"/>
                </a:lnTo>
                <a:lnTo>
                  <a:pt x="568" y="91"/>
                </a:lnTo>
                <a:lnTo>
                  <a:pt x="577" y="108"/>
                </a:lnTo>
                <a:lnTo>
                  <a:pt x="632" y="120"/>
                </a:lnTo>
                <a:lnTo>
                  <a:pt x="684" y="151"/>
                </a:lnTo>
                <a:lnTo>
                  <a:pt x="718" y="176"/>
                </a:lnTo>
                <a:lnTo>
                  <a:pt x="721" y="196"/>
                </a:lnTo>
                <a:lnTo>
                  <a:pt x="693" y="246"/>
                </a:lnTo>
                <a:lnTo>
                  <a:pt x="692" y="258"/>
                </a:lnTo>
                <a:lnTo>
                  <a:pt x="692" y="269"/>
                </a:lnTo>
                <a:lnTo>
                  <a:pt x="737" y="274"/>
                </a:lnTo>
                <a:lnTo>
                  <a:pt x="764" y="286"/>
                </a:lnTo>
                <a:lnTo>
                  <a:pt x="817" y="278"/>
                </a:lnTo>
                <a:lnTo>
                  <a:pt x="862" y="235"/>
                </a:lnTo>
                <a:lnTo>
                  <a:pt x="871" y="190"/>
                </a:lnTo>
                <a:lnTo>
                  <a:pt x="893" y="188"/>
                </a:lnTo>
                <a:lnTo>
                  <a:pt x="898" y="193"/>
                </a:lnTo>
                <a:lnTo>
                  <a:pt x="908" y="227"/>
                </a:lnTo>
                <a:lnTo>
                  <a:pt x="905" y="266"/>
                </a:lnTo>
                <a:lnTo>
                  <a:pt x="884" y="283"/>
                </a:lnTo>
                <a:lnTo>
                  <a:pt x="860" y="289"/>
                </a:lnTo>
                <a:lnTo>
                  <a:pt x="808" y="339"/>
                </a:lnTo>
                <a:lnTo>
                  <a:pt x="769" y="393"/>
                </a:lnTo>
                <a:lnTo>
                  <a:pt x="726" y="432"/>
                </a:lnTo>
                <a:lnTo>
                  <a:pt x="715" y="445"/>
                </a:lnTo>
                <a:lnTo>
                  <a:pt x="713" y="496"/>
                </a:lnTo>
                <a:lnTo>
                  <a:pt x="704" y="524"/>
                </a:lnTo>
                <a:lnTo>
                  <a:pt x="703" y="575"/>
                </a:lnTo>
                <a:lnTo>
                  <a:pt x="692" y="600"/>
                </a:lnTo>
                <a:lnTo>
                  <a:pt x="687" y="634"/>
                </a:lnTo>
                <a:lnTo>
                  <a:pt x="684" y="651"/>
                </a:lnTo>
                <a:lnTo>
                  <a:pt x="692" y="668"/>
                </a:lnTo>
                <a:lnTo>
                  <a:pt x="720" y="685"/>
                </a:lnTo>
                <a:lnTo>
                  <a:pt x="744" y="710"/>
                </a:lnTo>
                <a:lnTo>
                  <a:pt x="735" y="738"/>
                </a:lnTo>
                <a:lnTo>
                  <a:pt x="749" y="762"/>
                </a:lnTo>
                <a:lnTo>
                  <a:pt x="768" y="766"/>
                </a:lnTo>
                <a:lnTo>
                  <a:pt x="769" y="798"/>
                </a:lnTo>
                <a:lnTo>
                  <a:pt x="764" y="809"/>
                </a:lnTo>
                <a:lnTo>
                  <a:pt x="732" y="852"/>
                </a:lnTo>
                <a:lnTo>
                  <a:pt x="727" y="872"/>
                </a:lnTo>
                <a:lnTo>
                  <a:pt x="706" y="888"/>
                </a:lnTo>
                <a:lnTo>
                  <a:pt x="644" y="908"/>
                </a:lnTo>
                <a:lnTo>
                  <a:pt x="569" y="919"/>
                </a:lnTo>
                <a:lnTo>
                  <a:pt x="522" y="916"/>
                </a:lnTo>
                <a:lnTo>
                  <a:pt x="510" y="906"/>
                </a:lnTo>
                <a:lnTo>
                  <a:pt x="510" y="934"/>
                </a:lnTo>
                <a:lnTo>
                  <a:pt x="520" y="948"/>
                </a:lnTo>
                <a:lnTo>
                  <a:pt x="519" y="964"/>
                </a:lnTo>
                <a:lnTo>
                  <a:pt x="519" y="970"/>
                </a:lnTo>
                <a:lnTo>
                  <a:pt x="508" y="982"/>
                </a:lnTo>
                <a:lnTo>
                  <a:pt x="510" y="1026"/>
                </a:lnTo>
                <a:lnTo>
                  <a:pt x="502" y="1038"/>
                </a:lnTo>
                <a:lnTo>
                  <a:pt x="489" y="1043"/>
                </a:lnTo>
                <a:lnTo>
                  <a:pt x="474" y="1052"/>
                </a:lnTo>
                <a:lnTo>
                  <a:pt x="443" y="1050"/>
                </a:lnTo>
                <a:lnTo>
                  <a:pt x="396" y="1032"/>
                </a:lnTo>
                <a:lnTo>
                  <a:pt x="388" y="1021"/>
                </a:lnTo>
                <a:lnTo>
                  <a:pt x="379" y="1033"/>
                </a:lnTo>
                <a:lnTo>
                  <a:pt x="387" y="1106"/>
                </a:lnTo>
                <a:lnTo>
                  <a:pt x="409" y="1119"/>
                </a:lnTo>
                <a:lnTo>
                  <a:pt x="405" y="1126"/>
                </a:lnTo>
                <a:lnTo>
                  <a:pt x="410" y="1129"/>
                </a:lnTo>
                <a:lnTo>
                  <a:pt x="427" y="1126"/>
                </a:lnTo>
                <a:lnTo>
                  <a:pt x="418" y="1114"/>
                </a:lnTo>
                <a:lnTo>
                  <a:pt x="444" y="1107"/>
                </a:lnTo>
                <a:lnTo>
                  <a:pt x="449" y="1117"/>
                </a:lnTo>
                <a:lnTo>
                  <a:pt x="452" y="1140"/>
                </a:lnTo>
                <a:lnTo>
                  <a:pt x="444" y="1153"/>
                </a:lnTo>
                <a:lnTo>
                  <a:pt x="422" y="1153"/>
                </a:lnTo>
                <a:lnTo>
                  <a:pt x="420" y="1143"/>
                </a:lnTo>
                <a:lnTo>
                  <a:pt x="407" y="1134"/>
                </a:lnTo>
                <a:lnTo>
                  <a:pt x="387" y="1148"/>
                </a:lnTo>
                <a:lnTo>
                  <a:pt x="387" y="1153"/>
                </a:lnTo>
                <a:lnTo>
                  <a:pt x="420" y="1166"/>
                </a:lnTo>
                <a:lnTo>
                  <a:pt x="392" y="1182"/>
                </a:lnTo>
                <a:lnTo>
                  <a:pt x="388" y="1188"/>
                </a:lnTo>
                <a:lnTo>
                  <a:pt x="378" y="1204"/>
                </a:lnTo>
                <a:lnTo>
                  <a:pt x="378" y="1251"/>
                </a:lnTo>
                <a:lnTo>
                  <a:pt x="358" y="1276"/>
                </a:lnTo>
                <a:lnTo>
                  <a:pt x="361" y="1297"/>
                </a:lnTo>
                <a:lnTo>
                  <a:pt x="333" y="1295"/>
                </a:lnTo>
                <a:lnTo>
                  <a:pt x="319" y="1307"/>
                </a:lnTo>
                <a:lnTo>
                  <a:pt x="302" y="1310"/>
                </a:lnTo>
                <a:lnTo>
                  <a:pt x="269" y="1358"/>
                </a:lnTo>
                <a:lnTo>
                  <a:pt x="268" y="1371"/>
                </a:lnTo>
                <a:lnTo>
                  <a:pt x="280" y="1398"/>
                </a:lnTo>
                <a:lnTo>
                  <a:pt x="307" y="1425"/>
                </a:lnTo>
                <a:lnTo>
                  <a:pt x="347" y="1432"/>
                </a:lnTo>
                <a:lnTo>
                  <a:pt x="354" y="1437"/>
                </a:lnTo>
                <a:lnTo>
                  <a:pt x="356" y="1461"/>
                </a:lnTo>
                <a:lnTo>
                  <a:pt x="347" y="1474"/>
                </a:lnTo>
                <a:lnTo>
                  <a:pt x="351" y="1491"/>
                </a:lnTo>
                <a:lnTo>
                  <a:pt x="345" y="1495"/>
                </a:lnTo>
                <a:lnTo>
                  <a:pt x="344" y="1504"/>
                </a:lnTo>
                <a:lnTo>
                  <a:pt x="330" y="1508"/>
                </a:lnTo>
                <a:lnTo>
                  <a:pt x="269" y="1564"/>
                </a:lnTo>
                <a:lnTo>
                  <a:pt x="263" y="1580"/>
                </a:lnTo>
                <a:lnTo>
                  <a:pt x="259" y="1589"/>
                </a:lnTo>
                <a:lnTo>
                  <a:pt x="268" y="1584"/>
                </a:lnTo>
                <a:lnTo>
                  <a:pt x="256" y="1629"/>
                </a:lnTo>
                <a:lnTo>
                  <a:pt x="232" y="1640"/>
                </a:lnTo>
                <a:lnTo>
                  <a:pt x="217" y="1617"/>
                </a:lnTo>
                <a:lnTo>
                  <a:pt x="219" y="1634"/>
                </a:lnTo>
                <a:lnTo>
                  <a:pt x="228" y="1646"/>
                </a:lnTo>
                <a:lnTo>
                  <a:pt x="200" y="1666"/>
                </a:lnTo>
                <a:lnTo>
                  <a:pt x="183" y="1710"/>
                </a:lnTo>
                <a:lnTo>
                  <a:pt x="194" y="1708"/>
                </a:lnTo>
                <a:lnTo>
                  <a:pt x="202" y="1742"/>
                </a:lnTo>
                <a:lnTo>
                  <a:pt x="185" y="1748"/>
                </a:lnTo>
                <a:lnTo>
                  <a:pt x="202" y="1756"/>
                </a:lnTo>
                <a:lnTo>
                  <a:pt x="231" y="1801"/>
                </a:lnTo>
                <a:close/>
                <a:moveTo>
                  <a:pt x="413" y="1994"/>
                </a:moveTo>
                <a:lnTo>
                  <a:pt x="447" y="1991"/>
                </a:lnTo>
                <a:lnTo>
                  <a:pt x="413" y="2002"/>
                </a:lnTo>
                <a:lnTo>
                  <a:pt x="405" y="2001"/>
                </a:lnTo>
                <a:lnTo>
                  <a:pt x="413" y="1994"/>
                </a:lnTo>
                <a:close/>
                <a:moveTo>
                  <a:pt x="222" y="2001"/>
                </a:moveTo>
                <a:lnTo>
                  <a:pt x="219" y="1827"/>
                </a:lnTo>
                <a:lnTo>
                  <a:pt x="240" y="1864"/>
                </a:lnTo>
                <a:lnTo>
                  <a:pt x="232" y="1861"/>
                </a:lnTo>
                <a:lnTo>
                  <a:pt x="226" y="1867"/>
                </a:lnTo>
                <a:lnTo>
                  <a:pt x="253" y="1909"/>
                </a:lnTo>
                <a:lnTo>
                  <a:pt x="336" y="1976"/>
                </a:lnTo>
                <a:lnTo>
                  <a:pt x="379" y="1989"/>
                </a:lnTo>
                <a:lnTo>
                  <a:pt x="376" y="2002"/>
                </a:lnTo>
                <a:lnTo>
                  <a:pt x="364" y="2008"/>
                </a:lnTo>
                <a:lnTo>
                  <a:pt x="347" y="2005"/>
                </a:lnTo>
                <a:lnTo>
                  <a:pt x="325" y="2014"/>
                </a:lnTo>
                <a:lnTo>
                  <a:pt x="246" y="1994"/>
                </a:lnTo>
                <a:lnTo>
                  <a:pt x="222" y="2001"/>
                </a:lnTo>
                <a:close/>
              </a:path>
            </a:pathLst>
          </a:custGeom>
          <a:solidFill>
            <a:schemeClr val="accent4"/>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rgbClr val="17375E"/>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30" name="Freeform 205">
            <a:extLst>
              <a:ext uri="{FF2B5EF4-FFF2-40B4-BE49-F238E27FC236}">
                <a16:creationId xmlns:a16="http://schemas.microsoft.com/office/drawing/2014/main" id="{882BE7CC-4014-234E-8FA5-A3BFCD2B3187}"/>
              </a:ext>
            </a:extLst>
          </p:cNvPr>
          <p:cNvSpPr>
            <a:spLocks noChangeAspect="1" noEditPoints="1"/>
          </p:cNvSpPr>
          <p:nvPr/>
        </p:nvSpPr>
        <p:spPr bwMode="gray">
          <a:xfrm>
            <a:off x="1474636" y="3418054"/>
            <a:ext cx="388784" cy="2722747"/>
          </a:xfrm>
          <a:custGeom>
            <a:avLst/>
            <a:gdLst>
              <a:gd name="T0" fmla="*/ 319 w 393"/>
              <a:gd name="T1" fmla="*/ 150 h 2273"/>
              <a:gd name="T2" fmla="*/ 322 w 393"/>
              <a:gd name="T3" fmla="*/ 379 h 2273"/>
              <a:gd name="T4" fmla="*/ 230 w 393"/>
              <a:gd name="T5" fmla="*/ 716 h 2273"/>
              <a:gd name="T6" fmla="*/ 230 w 393"/>
              <a:gd name="T7" fmla="*/ 912 h 2273"/>
              <a:gd name="T8" fmla="*/ 176 w 393"/>
              <a:gd name="T9" fmla="*/ 1292 h 2273"/>
              <a:gd name="T10" fmla="*/ 195 w 393"/>
              <a:gd name="T11" fmla="*/ 1478 h 2273"/>
              <a:gd name="T12" fmla="*/ 148 w 393"/>
              <a:gd name="T13" fmla="*/ 1722 h 2273"/>
              <a:gd name="T14" fmla="*/ 266 w 393"/>
              <a:gd name="T15" fmla="*/ 1988 h 2273"/>
              <a:gd name="T16" fmla="*/ 154 w 393"/>
              <a:gd name="T17" fmla="*/ 2103 h 2273"/>
              <a:gd name="T18" fmla="*/ 141 w 393"/>
              <a:gd name="T19" fmla="*/ 2024 h 2273"/>
              <a:gd name="T20" fmla="*/ 119 w 393"/>
              <a:gd name="T21" fmla="*/ 1975 h 2273"/>
              <a:gd name="T22" fmla="*/ 85 w 393"/>
              <a:gd name="T23" fmla="*/ 1900 h 2273"/>
              <a:gd name="T24" fmla="*/ 82 w 393"/>
              <a:gd name="T25" fmla="*/ 1811 h 2273"/>
              <a:gd name="T26" fmla="*/ 62 w 393"/>
              <a:gd name="T27" fmla="*/ 1733 h 2273"/>
              <a:gd name="T28" fmla="*/ 85 w 393"/>
              <a:gd name="T29" fmla="*/ 1684 h 2273"/>
              <a:gd name="T30" fmla="*/ 62 w 393"/>
              <a:gd name="T31" fmla="*/ 1617 h 2273"/>
              <a:gd name="T32" fmla="*/ 4 w 393"/>
              <a:gd name="T33" fmla="*/ 1601 h 2273"/>
              <a:gd name="T34" fmla="*/ 80 w 393"/>
              <a:gd name="T35" fmla="*/ 1581 h 2273"/>
              <a:gd name="T36" fmla="*/ 96 w 393"/>
              <a:gd name="T37" fmla="*/ 1530 h 2273"/>
              <a:gd name="T38" fmla="*/ 133 w 393"/>
              <a:gd name="T39" fmla="*/ 1484 h 2273"/>
              <a:gd name="T40" fmla="*/ 131 w 393"/>
              <a:gd name="T41" fmla="*/ 1334 h 2273"/>
              <a:gd name="T42" fmla="*/ 119 w 393"/>
              <a:gd name="T43" fmla="*/ 1279 h 2273"/>
              <a:gd name="T44" fmla="*/ 90 w 393"/>
              <a:gd name="T45" fmla="*/ 1102 h 2273"/>
              <a:gd name="T46" fmla="*/ 153 w 393"/>
              <a:gd name="T47" fmla="*/ 904 h 2273"/>
              <a:gd name="T48" fmla="*/ 192 w 393"/>
              <a:gd name="T49" fmla="*/ 619 h 2273"/>
              <a:gd name="T50" fmla="*/ 230 w 393"/>
              <a:gd name="T51" fmla="*/ 381 h 2273"/>
              <a:gd name="T52" fmla="*/ 261 w 393"/>
              <a:gd name="T53" fmla="*/ 22 h 2273"/>
              <a:gd name="T54" fmla="*/ 65 w 393"/>
              <a:gd name="T55" fmla="*/ 1506 h 2273"/>
              <a:gd name="T56" fmla="*/ 58 w 393"/>
              <a:gd name="T57" fmla="*/ 1474 h 2273"/>
              <a:gd name="T58" fmla="*/ 117 w 393"/>
              <a:gd name="T59" fmla="*/ 1459 h 2273"/>
              <a:gd name="T60" fmla="*/ 83 w 393"/>
              <a:gd name="T61" fmla="*/ 1383 h 2273"/>
              <a:gd name="T62" fmla="*/ 227 w 393"/>
              <a:gd name="T63" fmla="*/ 2136 h 2273"/>
              <a:gd name="T64" fmla="*/ 179 w 393"/>
              <a:gd name="T65" fmla="*/ 2144 h 2273"/>
              <a:gd name="T66" fmla="*/ 159 w 393"/>
              <a:gd name="T67" fmla="*/ 2149 h 2273"/>
              <a:gd name="T68" fmla="*/ 154 w 393"/>
              <a:gd name="T69" fmla="*/ 2126 h 2273"/>
              <a:gd name="T70" fmla="*/ 97 w 393"/>
              <a:gd name="T71" fmla="*/ 2117 h 2273"/>
              <a:gd name="T72" fmla="*/ 112 w 393"/>
              <a:gd name="T73" fmla="*/ 2089 h 2273"/>
              <a:gd name="T74" fmla="*/ 77 w 393"/>
              <a:gd name="T75" fmla="*/ 2029 h 2273"/>
              <a:gd name="T76" fmla="*/ 122 w 393"/>
              <a:gd name="T77" fmla="*/ 2033 h 2273"/>
              <a:gd name="T78" fmla="*/ 133 w 393"/>
              <a:gd name="T79" fmla="*/ 2073 h 2273"/>
              <a:gd name="T80" fmla="*/ 77 w 393"/>
              <a:gd name="T81" fmla="*/ 1942 h 2273"/>
              <a:gd name="T82" fmla="*/ 28 w 393"/>
              <a:gd name="T83" fmla="*/ 1982 h 2273"/>
              <a:gd name="T84" fmla="*/ 49 w 393"/>
              <a:gd name="T85" fmla="*/ 1925 h 2273"/>
              <a:gd name="T86" fmla="*/ 60 w 393"/>
              <a:gd name="T87" fmla="*/ 1883 h 2273"/>
              <a:gd name="T88" fmla="*/ 9 w 393"/>
              <a:gd name="T89" fmla="*/ 1860 h 2273"/>
              <a:gd name="T90" fmla="*/ 48 w 393"/>
              <a:gd name="T91" fmla="*/ 1762 h 2273"/>
              <a:gd name="T92" fmla="*/ 17 w 393"/>
              <a:gd name="T93" fmla="*/ 1775 h 2273"/>
              <a:gd name="T94" fmla="*/ 40 w 393"/>
              <a:gd name="T95" fmla="*/ 1728 h 2273"/>
              <a:gd name="T96" fmla="*/ 19 w 393"/>
              <a:gd name="T97" fmla="*/ 1704 h 2273"/>
              <a:gd name="T98" fmla="*/ 58 w 393"/>
              <a:gd name="T99" fmla="*/ 1682 h 2273"/>
              <a:gd name="T100" fmla="*/ 342 w 393"/>
              <a:gd name="T101" fmla="*/ 2241 h 2273"/>
              <a:gd name="T102" fmla="*/ 275 w 393"/>
              <a:gd name="T103" fmla="*/ 2244 h 2273"/>
              <a:gd name="T104" fmla="*/ 227 w 393"/>
              <a:gd name="T105" fmla="*/ 2225 h 2273"/>
              <a:gd name="T106" fmla="*/ 357 w 393"/>
              <a:gd name="T107" fmla="*/ 2208 h 2273"/>
              <a:gd name="T108" fmla="*/ 302 w 393"/>
              <a:gd name="T109" fmla="*/ 2216 h 2273"/>
              <a:gd name="T110" fmla="*/ 247 w 393"/>
              <a:gd name="T111" fmla="*/ 2173 h 2273"/>
              <a:gd name="T112" fmla="*/ 249 w 393"/>
              <a:gd name="T113" fmla="*/ 2119 h 2273"/>
              <a:gd name="T114" fmla="*/ 246 w 393"/>
              <a:gd name="T115" fmla="*/ 2046 h 2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3" h="2273">
                <a:moveTo>
                  <a:pt x="275" y="0"/>
                </a:moveTo>
                <a:lnTo>
                  <a:pt x="294" y="22"/>
                </a:lnTo>
                <a:lnTo>
                  <a:pt x="300" y="64"/>
                </a:lnTo>
                <a:lnTo>
                  <a:pt x="322" y="85"/>
                </a:lnTo>
                <a:lnTo>
                  <a:pt x="320" y="108"/>
                </a:lnTo>
                <a:lnTo>
                  <a:pt x="312" y="115"/>
                </a:lnTo>
                <a:lnTo>
                  <a:pt x="311" y="130"/>
                </a:lnTo>
                <a:lnTo>
                  <a:pt x="319" y="136"/>
                </a:lnTo>
                <a:lnTo>
                  <a:pt x="319" y="150"/>
                </a:lnTo>
                <a:lnTo>
                  <a:pt x="332" y="164"/>
                </a:lnTo>
                <a:lnTo>
                  <a:pt x="349" y="257"/>
                </a:lnTo>
                <a:lnTo>
                  <a:pt x="362" y="262"/>
                </a:lnTo>
                <a:lnTo>
                  <a:pt x="385" y="258"/>
                </a:lnTo>
                <a:lnTo>
                  <a:pt x="390" y="277"/>
                </a:lnTo>
                <a:lnTo>
                  <a:pt x="382" y="316"/>
                </a:lnTo>
                <a:lnTo>
                  <a:pt x="328" y="342"/>
                </a:lnTo>
                <a:lnTo>
                  <a:pt x="328" y="370"/>
                </a:lnTo>
                <a:lnTo>
                  <a:pt x="322" y="379"/>
                </a:lnTo>
                <a:lnTo>
                  <a:pt x="322" y="393"/>
                </a:lnTo>
                <a:lnTo>
                  <a:pt x="331" y="461"/>
                </a:lnTo>
                <a:lnTo>
                  <a:pt x="305" y="480"/>
                </a:lnTo>
                <a:lnTo>
                  <a:pt x="298" y="504"/>
                </a:lnTo>
                <a:lnTo>
                  <a:pt x="277" y="528"/>
                </a:lnTo>
                <a:lnTo>
                  <a:pt x="260" y="591"/>
                </a:lnTo>
                <a:lnTo>
                  <a:pt x="256" y="639"/>
                </a:lnTo>
                <a:lnTo>
                  <a:pt x="232" y="692"/>
                </a:lnTo>
                <a:lnTo>
                  <a:pt x="230" y="716"/>
                </a:lnTo>
                <a:lnTo>
                  <a:pt x="238" y="724"/>
                </a:lnTo>
                <a:lnTo>
                  <a:pt x="238" y="749"/>
                </a:lnTo>
                <a:lnTo>
                  <a:pt x="249" y="777"/>
                </a:lnTo>
                <a:lnTo>
                  <a:pt x="249" y="795"/>
                </a:lnTo>
                <a:lnTo>
                  <a:pt x="258" y="806"/>
                </a:lnTo>
                <a:lnTo>
                  <a:pt x="261" y="849"/>
                </a:lnTo>
                <a:lnTo>
                  <a:pt x="246" y="876"/>
                </a:lnTo>
                <a:lnTo>
                  <a:pt x="241" y="902"/>
                </a:lnTo>
                <a:lnTo>
                  <a:pt x="230" y="912"/>
                </a:lnTo>
                <a:lnTo>
                  <a:pt x="234" y="958"/>
                </a:lnTo>
                <a:lnTo>
                  <a:pt x="207" y="983"/>
                </a:lnTo>
                <a:lnTo>
                  <a:pt x="204" y="995"/>
                </a:lnTo>
                <a:lnTo>
                  <a:pt x="201" y="1060"/>
                </a:lnTo>
                <a:lnTo>
                  <a:pt x="207" y="1103"/>
                </a:lnTo>
                <a:lnTo>
                  <a:pt x="192" y="1127"/>
                </a:lnTo>
                <a:lnTo>
                  <a:pt x="175" y="1191"/>
                </a:lnTo>
                <a:lnTo>
                  <a:pt x="165" y="1267"/>
                </a:lnTo>
                <a:lnTo>
                  <a:pt x="176" y="1292"/>
                </a:lnTo>
                <a:lnTo>
                  <a:pt x="176" y="1301"/>
                </a:lnTo>
                <a:lnTo>
                  <a:pt x="159" y="1340"/>
                </a:lnTo>
                <a:lnTo>
                  <a:pt x="159" y="1371"/>
                </a:lnTo>
                <a:lnTo>
                  <a:pt x="165" y="1379"/>
                </a:lnTo>
                <a:lnTo>
                  <a:pt x="167" y="1408"/>
                </a:lnTo>
                <a:lnTo>
                  <a:pt x="173" y="1430"/>
                </a:lnTo>
                <a:lnTo>
                  <a:pt x="170" y="1459"/>
                </a:lnTo>
                <a:lnTo>
                  <a:pt x="188" y="1462"/>
                </a:lnTo>
                <a:lnTo>
                  <a:pt x="195" y="1478"/>
                </a:lnTo>
                <a:lnTo>
                  <a:pt x="193" y="1484"/>
                </a:lnTo>
                <a:lnTo>
                  <a:pt x="165" y="1484"/>
                </a:lnTo>
                <a:lnTo>
                  <a:pt x="168" y="1495"/>
                </a:lnTo>
                <a:lnTo>
                  <a:pt x="188" y="1508"/>
                </a:lnTo>
                <a:lnTo>
                  <a:pt x="179" y="1533"/>
                </a:lnTo>
                <a:lnTo>
                  <a:pt x="178" y="1608"/>
                </a:lnTo>
                <a:lnTo>
                  <a:pt x="167" y="1642"/>
                </a:lnTo>
                <a:lnTo>
                  <a:pt x="144" y="1677"/>
                </a:lnTo>
                <a:lnTo>
                  <a:pt x="148" y="1722"/>
                </a:lnTo>
                <a:lnTo>
                  <a:pt x="137" y="1756"/>
                </a:lnTo>
                <a:lnTo>
                  <a:pt x="107" y="1807"/>
                </a:lnTo>
                <a:lnTo>
                  <a:pt x="100" y="1853"/>
                </a:lnTo>
                <a:lnTo>
                  <a:pt x="105" y="1899"/>
                </a:lnTo>
                <a:lnTo>
                  <a:pt x="120" y="1887"/>
                </a:lnTo>
                <a:lnTo>
                  <a:pt x="148" y="1889"/>
                </a:lnTo>
                <a:lnTo>
                  <a:pt x="150" y="1965"/>
                </a:lnTo>
                <a:lnTo>
                  <a:pt x="159" y="1984"/>
                </a:lnTo>
                <a:lnTo>
                  <a:pt x="266" y="1988"/>
                </a:lnTo>
                <a:lnTo>
                  <a:pt x="331" y="2007"/>
                </a:lnTo>
                <a:lnTo>
                  <a:pt x="326" y="2013"/>
                </a:lnTo>
                <a:lnTo>
                  <a:pt x="292" y="2010"/>
                </a:lnTo>
                <a:lnTo>
                  <a:pt x="280" y="2007"/>
                </a:lnTo>
                <a:lnTo>
                  <a:pt x="273" y="2018"/>
                </a:lnTo>
                <a:lnTo>
                  <a:pt x="217" y="2041"/>
                </a:lnTo>
                <a:lnTo>
                  <a:pt x="207" y="2121"/>
                </a:lnTo>
                <a:lnTo>
                  <a:pt x="179" y="2119"/>
                </a:lnTo>
                <a:lnTo>
                  <a:pt x="154" y="2103"/>
                </a:lnTo>
                <a:lnTo>
                  <a:pt x="151" y="2087"/>
                </a:lnTo>
                <a:lnTo>
                  <a:pt x="158" y="2081"/>
                </a:lnTo>
                <a:lnTo>
                  <a:pt x="159" y="2094"/>
                </a:lnTo>
                <a:lnTo>
                  <a:pt x="195" y="2072"/>
                </a:lnTo>
                <a:lnTo>
                  <a:pt x="205" y="2050"/>
                </a:lnTo>
                <a:lnTo>
                  <a:pt x="187" y="2029"/>
                </a:lnTo>
                <a:lnTo>
                  <a:pt x="159" y="2026"/>
                </a:lnTo>
                <a:lnTo>
                  <a:pt x="142" y="2035"/>
                </a:lnTo>
                <a:lnTo>
                  <a:pt x="141" y="2024"/>
                </a:lnTo>
                <a:lnTo>
                  <a:pt x="129" y="2027"/>
                </a:lnTo>
                <a:lnTo>
                  <a:pt x="144" y="2005"/>
                </a:lnTo>
                <a:lnTo>
                  <a:pt x="134" y="1984"/>
                </a:lnTo>
                <a:lnTo>
                  <a:pt x="141" y="1982"/>
                </a:lnTo>
                <a:lnTo>
                  <a:pt x="141" y="1970"/>
                </a:lnTo>
                <a:lnTo>
                  <a:pt x="134" y="1963"/>
                </a:lnTo>
                <a:lnTo>
                  <a:pt x="134" y="1970"/>
                </a:lnTo>
                <a:lnTo>
                  <a:pt x="114" y="1962"/>
                </a:lnTo>
                <a:lnTo>
                  <a:pt x="119" y="1975"/>
                </a:lnTo>
                <a:lnTo>
                  <a:pt x="112" y="1985"/>
                </a:lnTo>
                <a:lnTo>
                  <a:pt x="100" y="1956"/>
                </a:lnTo>
                <a:lnTo>
                  <a:pt x="105" y="1990"/>
                </a:lnTo>
                <a:lnTo>
                  <a:pt x="97" y="1987"/>
                </a:lnTo>
                <a:lnTo>
                  <a:pt x="96" y="1956"/>
                </a:lnTo>
                <a:lnTo>
                  <a:pt x="88" y="1942"/>
                </a:lnTo>
                <a:lnTo>
                  <a:pt x="68" y="1919"/>
                </a:lnTo>
                <a:lnTo>
                  <a:pt x="68" y="1902"/>
                </a:lnTo>
                <a:lnTo>
                  <a:pt x="85" y="1900"/>
                </a:lnTo>
                <a:lnTo>
                  <a:pt x="85" y="1891"/>
                </a:lnTo>
                <a:lnTo>
                  <a:pt x="70" y="1889"/>
                </a:lnTo>
                <a:lnTo>
                  <a:pt x="66" y="1880"/>
                </a:lnTo>
                <a:lnTo>
                  <a:pt x="77" y="1875"/>
                </a:lnTo>
                <a:lnTo>
                  <a:pt x="56" y="1865"/>
                </a:lnTo>
                <a:lnTo>
                  <a:pt x="46" y="1852"/>
                </a:lnTo>
                <a:lnTo>
                  <a:pt x="58" y="1838"/>
                </a:lnTo>
                <a:lnTo>
                  <a:pt x="62" y="1816"/>
                </a:lnTo>
                <a:lnTo>
                  <a:pt x="82" y="1811"/>
                </a:lnTo>
                <a:lnTo>
                  <a:pt x="74" y="1799"/>
                </a:lnTo>
                <a:lnTo>
                  <a:pt x="82" y="1775"/>
                </a:lnTo>
                <a:lnTo>
                  <a:pt x="71" y="1784"/>
                </a:lnTo>
                <a:lnTo>
                  <a:pt x="65" y="1799"/>
                </a:lnTo>
                <a:lnTo>
                  <a:pt x="62" y="1798"/>
                </a:lnTo>
                <a:lnTo>
                  <a:pt x="58" y="1753"/>
                </a:lnTo>
                <a:lnTo>
                  <a:pt x="65" y="1750"/>
                </a:lnTo>
                <a:lnTo>
                  <a:pt x="60" y="1744"/>
                </a:lnTo>
                <a:lnTo>
                  <a:pt x="62" y="1733"/>
                </a:lnTo>
                <a:lnTo>
                  <a:pt x="83" y="1739"/>
                </a:lnTo>
                <a:lnTo>
                  <a:pt x="79" y="1722"/>
                </a:lnTo>
                <a:lnTo>
                  <a:pt x="54" y="1728"/>
                </a:lnTo>
                <a:lnTo>
                  <a:pt x="49" y="1696"/>
                </a:lnTo>
                <a:lnTo>
                  <a:pt x="56" y="1697"/>
                </a:lnTo>
                <a:lnTo>
                  <a:pt x="63" y="1714"/>
                </a:lnTo>
                <a:lnTo>
                  <a:pt x="66" y="1699"/>
                </a:lnTo>
                <a:lnTo>
                  <a:pt x="91" y="1705"/>
                </a:lnTo>
                <a:lnTo>
                  <a:pt x="85" y="1684"/>
                </a:lnTo>
                <a:lnTo>
                  <a:pt x="82" y="1679"/>
                </a:lnTo>
                <a:lnTo>
                  <a:pt x="68" y="1684"/>
                </a:lnTo>
                <a:lnTo>
                  <a:pt x="65" y="1676"/>
                </a:lnTo>
                <a:lnTo>
                  <a:pt x="71" y="1668"/>
                </a:lnTo>
                <a:lnTo>
                  <a:pt x="49" y="1659"/>
                </a:lnTo>
                <a:lnTo>
                  <a:pt x="71" y="1643"/>
                </a:lnTo>
                <a:lnTo>
                  <a:pt x="65" y="1638"/>
                </a:lnTo>
                <a:lnTo>
                  <a:pt x="73" y="1629"/>
                </a:lnTo>
                <a:lnTo>
                  <a:pt x="62" y="1617"/>
                </a:lnTo>
                <a:lnTo>
                  <a:pt x="49" y="1612"/>
                </a:lnTo>
                <a:lnTo>
                  <a:pt x="41" y="1620"/>
                </a:lnTo>
                <a:lnTo>
                  <a:pt x="19" y="1603"/>
                </a:lnTo>
                <a:lnTo>
                  <a:pt x="6" y="1611"/>
                </a:lnTo>
                <a:lnTo>
                  <a:pt x="12" y="1620"/>
                </a:lnTo>
                <a:lnTo>
                  <a:pt x="9" y="1628"/>
                </a:lnTo>
                <a:lnTo>
                  <a:pt x="0" y="1626"/>
                </a:lnTo>
                <a:lnTo>
                  <a:pt x="0" y="1620"/>
                </a:lnTo>
                <a:lnTo>
                  <a:pt x="4" y="1601"/>
                </a:lnTo>
                <a:lnTo>
                  <a:pt x="37" y="1577"/>
                </a:lnTo>
                <a:lnTo>
                  <a:pt x="37" y="1570"/>
                </a:lnTo>
                <a:lnTo>
                  <a:pt x="28" y="1569"/>
                </a:lnTo>
                <a:lnTo>
                  <a:pt x="24" y="1558"/>
                </a:lnTo>
                <a:lnTo>
                  <a:pt x="62" y="1558"/>
                </a:lnTo>
                <a:lnTo>
                  <a:pt x="70" y="1574"/>
                </a:lnTo>
                <a:lnTo>
                  <a:pt x="62" y="1586"/>
                </a:lnTo>
                <a:lnTo>
                  <a:pt x="71" y="1594"/>
                </a:lnTo>
                <a:lnTo>
                  <a:pt x="80" y="1581"/>
                </a:lnTo>
                <a:lnTo>
                  <a:pt x="80" y="1600"/>
                </a:lnTo>
                <a:lnTo>
                  <a:pt x="99" y="1581"/>
                </a:lnTo>
                <a:lnTo>
                  <a:pt x="90" y="1577"/>
                </a:lnTo>
                <a:lnTo>
                  <a:pt x="91" y="1557"/>
                </a:lnTo>
                <a:lnTo>
                  <a:pt x="107" y="1550"/>
                </a:lnTo>
                <a:lnTo>
                  <a:pt x="100" y="1544"/>
                </a:lnTo>
                <a:lnTo>
                  <a:pt x="111" y="1533"/>
                </a:lnTo>
                <a:lnTo>
                  <a:pt x="94" y="1538"/>
                </a:lnTo>
                <a:lnTo>
                  <a:pt x="96" y="1530"/>
                </a:lnTo>
                <a:lnTo>
                  <a:pt x="105" y="1521"/>
                </a:lnTo>
                <a:lnTo>
                  <a:pt x="112" y="1527"/>
                </a:lnTo>
                <a:lnTo>
                  <a:pt x="120" y="1532"/>
                </a:lnTo>
                <a:lnTo>
                  <a:pt x="125" y="1530"/>
                </a:lnTo>
                <a:lnTo>
                  <a:pt x="125" y="1523"/>
                </a:lnTo>
                <a:lnTo>
                  <a:pt x="100" y="1516"/>
                </a:lnTo>
                <a:lnTo>
                  <a:pt x="102" y="1501"/>
                </a:lnTo>
                <a:lnTo>
                  <a:pt x="122" y="1498"/>
                </a:lnTo>
                <a:lnTo>
                  <a:pt x="133" y="1484"/>
                </a:lnTo>
                <a:lnTo>
                  <a:pt x="129" y="1462"/>
                </a:lnTo>
                <a:lnTo>
                  <a:pt x="107" y="1444"/>
                </a:lnTo>
                <a:lnTo>
                  <a:pt x="122" y="1420"/>
                </a:lnTo>
                <a:lnTo>
                  <a:pt x="117" y="1400"/>
                </a:lnTo>
                <a:lnTo>
                  <a:pt x="129" y="1371"/>
                </a:lnTo>
                <a:lnTo>
                  <a:pt x="127" y="1354"/>
                </a:lnTo>
                <a:lnTo>
                  <a:pt x="134" y="1343"/>
                </a:lnTo>
                <a:lnTo>
                  <a:pt x="139" y="1346"/>
                </a:lnTo>
                <a:lnTo>
                  <a:pt x="131" y="1334"/>
                </a:lnTo>
                <a:lnTo>
                  <a:pt x="134" y="1325"/>
                </a:lnTo>
                <a:lnTo>
                  <a:pt x="141" y="1326"/>
                </a:lnTo>
                <a:lnTo>
                  <a:pt x="144" y="1338"/>
                </a:lnTo>
                <a:lnTo>
                  <a:pt x="142" y="1310"/>
                </a:lnTo>
                <a:lnTo>
                  <a:pt x="129" y="1308"/>
                </a:lnTo>
                <a:lnTo>
                  <a:pt x="131" y="1300"/>
                </a:lnTo>
                <a:lnTo>
                  <a:pt x="150" y="1286"/>
                </a:lnTo>
                <a:lnTo>
                  <a:pt x="137" y="1289"/>
                </a:lnTo>
                <a:lnTo>
                  <a:pt x="119" y="1279"/>
                </a:lnTo>
                <a:lnTo>
                  <a:pt x="108" y="1293"/>
                </a:lnTo>
                <a:lnTo>
                  <a:pt x="99" y="1295"/>
                </a:lnTo>
                <a:lnTo>
                  <a:pt x="87" y="1289"/>
                </a:lnTo>
                <a:lnTo>
                  <a:pt x="79" y="1272"/>
                </a:lnTo>
                <a:lnTo>
                  <a:pt x="85" y="1181"/>
                </a:lnTo>
                <a:lnTo>
                  <a:pt x="94" y="1176"/>
                </a:lnTo>
                <a:lnTo>
                  <a:pt x="102" y="1157"/>
                </a:lnTo>
                <a:lnTo>
                  <a:pt x="100" y="1132"/>
                </a:lnTo>
                <a:lnTo>
                  <a:pt x="90" y="1102"/>
                </a:lnTo>
                <a:lnTo>
                  <a:pt x="94" y="1078"/>
                </a:lnTo>
                <a:lnTo>
                  <a:pt x="87" y="1058"/>
                </a:lnTo>
                <a:lnTo>
                  <a:pt x="88" y="1029"/>
                </a:lnTo>
                <a:lnTo>
                  <a:pt x="96" y="1020"/>
                </a:lnTo>
                <a:lnTo>
                  <a:pt x="108" y="1020"/>
                </a:lnTo>
                <a:lnTo>
                  <a:pt x="107" y="992"/>
                </a:lnTo>
                <a:lnTo>
                  <a:pt x="119" y="990"/>
                </a:lnTo>
                <a:lnTo>
                  <a:pt x="139" y="927"/>
                </a:lnTo>
                <a:lnTo>
                  <a:pt x="153" y="904"/>
                </a:lnTo>
                <a:lnTo>
                  <a:pt x="171" y="834"/>
                </a:lnTo>
                <a:lnTo>
                  <a:pt x="176" y="828"/>
                </a:lnTo>
                <a:lnTo>
                  <a:pt x="176" y="797"/>
                </a:lnTo>
                <a:lnTo>
                  <a:pt x="185" y="778"/>
                </a:lnTo>
                <a:lnTo>
                  <a:pt x="185" y="758"/>
                </a:lnTo>
                <a:lnTo>
                  <a:pt x="175" y="662"/>
                </a:lnTo>
                <a:lnTo>
                  <a:pt x="178" y="641"/>
                </a:lnTo>
                <a:lnTo>
                  <a:pt x="188" y="634"/>
                </a:lnTo>
                <a:lnTo>
                  <a:pt x="192" y="619"/>
                </a:lnTo>
                <a:lnTo>
                  <a:pt x="181" y="582"/>
                </a:lnTo>
                <a:lnTo>
                  <a:pt x="185" y="568"/>
                </a:lnTo>
                <a:lnTo>
                  <a:pt x="193" y="557"/>
                </a:lnTo>
                <a:lnTo>
                  <a:pt x="204" y="507"/>
                </a:lnTo>
                <a:lnTo>
                  <a:pt x="210" y="495"/>
                </a:lnTo>
                <a:lnTo>
                  <a:pt x="210" y="478"/>
                </a:lnTo>
                <a:lnTo>
                  <a:pt x="221" y="460"/>
                </a:lnTo>
                <a:lnTo>
                  <a:pt x="221" y="406"/>
                </a:lnTo>
                <a:lnTo>
                  <a:pt x="230" y="381"/>
                </a:lnTo>
                <a:lnTo>
                  <a:pt x="232" y="294"/>
                </a:lnTo>
                <a:lnTo>
                  <a:pt x="227" y="283"/>
                </a:lnTo>
                <a:lnTo>
                  <a:pt x="241" y="260"/>
                </a:lnTo>
                <a:lnTo>
                  <a:pt x="249" y="195"/>
                </a:lnTo>
                <a:lnTo>
                  <a:pt x="244" y="164"/>
                </a:lnTo>
                <a:lnTo>
                  <a:pt x="246" y="118"/>
                </a:lnTo>
                <a:lnTo>
                  <a:pt x="230" y="32"/>
                </a:lnTo>
                <a:lnTo>
                  <a:pt x="241" y="23"/>
                </a:lnTo>
                <a:lnTo>
                  <a:pt x="261" y="22"/>
                </a:lnTo>
                <a:lnTo>
                  <a:pt x="275" y="0"/>
                </a:lnTo>
                <a:close/>
                <a:moveTo>
                  <a:pt x="79" y="1550"/>
                </a:moveTo>
                <a:lnTo>
                  <a:pt x="83" y="1558"/>
                </a:lnTo>
                <a:lnTo>
                  <a:pt x="79" y="1558"/>
                </a:lnTo>
                <a:lnTo>
                  <a:pt x="79" y="1550"/>
                </a:lnTo>
                <a:close/>
                <a:moveTo>
                  <a:pt x="65" y="1513"/>
                </a:moveTo>
                <a:lnTo>
                  <a:pt x="79" y="1523"/>
                </a:lnTo>
                <a:lnTo>
                  <a:pt x="65" y="1513"/>
                </a:lnTo>
                <a:close/>
                <a:moveTo>
                  <a:pt x="65" y="1506"/>
                </a:moveTo>
                <a:lnTo>
                  <a:pt x="80" y="1503"/>
                </a:lnTo>
                <a:lnTo>
                  <a:pt x="83" y="1516"/>
                </a:lnTo>
                <a:lnTo>
                  <a:pt x="65" y="1506"/>
                </a:lnTo>
                <a:close/>
                <a:moveTo>
                  <a:pt x="62" y="1501"/>
                </a:moveTo>
                <a:lnTo>
                  <a:pt x="56" y="1496"/>
                </a:lnTo>
                <a:lnTo>
                  <a:pt x="65" y="1493"/>
                </a:lnTo>
                <a:lnTo>
                  <a:pt x="73" y="1496"/>
                </a:lnTo>
                <a:lnTo>
                  <a:pt x="62" y="1501"/>
                </a:lnTo>
                <a:close/>
                <a:moveTo>
                  <a:pt x="58" y="1474"/>
                </a:moveTo>
                <a:lnTo>
                  <a:pt x="73" y="1479"/>
                </a:lnTo>
                <a:lnTo>
                  <a:pt x="63" y="1484"/>
                </a:lnTo>
                <a:lnTo>
                  <a:pt x="58" y="1474"/>
                </a:lnTo>
                <a:close/>
                <a:moveTo>
                  <a:pt x="117" y="1459"/>
                </a:moveTo>
                <a:lnTo>
                  <a:pt x="127" y="1469"/>
                </a:lnTo>
                <a:lnTo>
                  <a:pt x="127" y="1487"/>
                </a:lnTo>
                <a:lnTo>
                  <a:pt x="105" y="1493"/>
                </a:lnTo>
                <a:lnTo>
                  <a:pt x="97" y="1473"/>
                </a:lnTo>
                <a:lnTo>
                  <a:pt x="117" y="1459"/>
                </a:lnTo>
                <a:close/>
                <a:moveTo>
                  <a:pt x="77" y="1293"/>
                </a:moveTo>
                <a:lnTo>
                  <a:pt x="80" y="1300"/>
                </a:lnTo>
                <a:lnTo>
                  <a:pt x="90" y="1300"/>
                </a:lnTo>
                <a:lnTo>
                  <a:pt x="100" y="1332"/>
                </a:lnTo>
                <a:lnTo>
                  <a:pt x="83" y="1346"/>
                </a:lnTo>
                <a:lnTo>
                  <a:pt x="94" y="1360"/>
                </a:lnTo>
                <a:lnTo>
                  <a:pt x="85" y="1362"/>
                </a:lnTo>
                <a:lnTo>
                  <a:pt x="91" y="1383"/>
                </a:lnTo>
                <a:lnTo>
                  <a:pt x="83" y="1383"/>
                </a:lnTo>
                <a:lnTo>
                  <a:pt x="82" y="1397"/>
                </a:lnTo>
                <a:lnTo>
                  <a:pt x="58" y="1393"/>
                </a:lnTo>
                <a:lnTo>
                  <a:pt x="53" y="1383"/>
                </a:lnTo>
                <a:lnTo>
                  <a:pt x="63" y="1354"/>
                </a:lnTo>
                <a:lnTo>
                  <a:pt x="66" y="1304"/>
                </a:lnTo>
                <a:lnTo>
                  <a:pt x="77" y="1293"/>
                </a:lnTo>
                <a:close/>
                <a:moveTo>
                  <a:pt x="230" y="2106"/>
                </a:moveTo>
                <a:lnTo>
                  <a:pt x="239" y="2141"/>
                </a:lnTo>
                <a:lnTo>
                  <a:pt x="227" y="2136"/>
                </a:lnTo>
                <a:lnTo>
                  <a:pt x="227" y="2143"/>
                </a:lnTo>
                <a:lnTo>
                  <a:pt x="241" y="2158"/>
                </a:lnTo>
                <a:lnTo>
                  <a:pt x="219" y="2141"/>
                </a:lnTo>
                <a:lnTo>
                  <a:pt x="217" y="2129"/>
                </a:lnTo>
                <a:lnTo>
                  <a:pt x="227" y="2124"/>
                </a:lnTo>
                <a:lnTo>
                  <a:pt x="226" y="2115"/>
                </a:lnTo>
                <a:lnTo>
                  <a:pt x="230" y="2106"/>
                </a:lnTo>
                <a:close/>
                <a:moveTo>
                  <a:pt x="170" y="2126"/>
                </a:moveTo>
                <a:lnTo>
                  <a:pt x="179" y="2144"/>
                </a:lnTo>
                <a:lnTo>
                  <a:pt x="185" y="2136"/>
                </a:lnTo>
                <a:lnTo>
                  <a:pt x="195" y="2140"/>
                </a:lnTo>
                <a:lnTo>
                  <a:pt x="201" y="2151"/>
                </a:lnTo>
                <a:lnTo>
                  <a:pt x="205" y="2149"/>
                </a:lnTo>
                <a:lnTo>
                  <a:pt x="210" y="2160"/>
                </a:lnTo>
                <a:lnTo>
                  <a:pt x="201" y="2165"/>
                </a:lnTo>
                <a:lnTo>
                  <a:pt x="179" y="2154"/>
                </a:lnTo>
                <a:lnTo>
                  <a:pt x="178" y="2161"/>
                </a:lnTo>
                <a:lnTo>
                  <a:pt x="159" y="2149"/>
                </a:lnTo>
                <a:lnTo>
                  <a:pt x="156" y="2132"/>
                </a:lnTo>
                <a:lnTo>
                  <a:pt x="170" y="2126"/>
                </a:lnTo>
                <a:close/>
                <a:moveTo>
                  <a:pt x="90" y="2090"/>
                </a:moveTo>
                <a:lnTo>
                  <a:pt x="111" y="2098"/>
                </a:lnTo>
                <a:lnTo>
                  <a:pt x="125" y="2095"/>
                </a:lnTo>
                <a:lnTo>
                  <a:pt x="133" y="2107"/>
                </a:lnTo>
                <a:lnTo>
                  <a:pt x="141" y="2106"/>
                </a:lnTo>
                <a:lnTo>
                  <a:pt x="153" y="2117"/>
                </a:lnTo>
                <a:lnTo>
                  <a:pt x="154" y="2126"/>
                </a:lnTo>
                <a:lnTo>
                  <a:pt x="148" y="2126"/>
                </a:lnTo>
                <a:lnTo>
                  <a:pt x="144" y="2143"/>
                </a:lnTo>
                <a:lnTo>
                  <a:pt x="136" y="2137"/>
                </a:lnTo>
                <a:lnTo>
                  <a:pt x="136" y="2146"/>
                </a:lnTo>
                <a:lnTo>
                  <a:pt x="122" y="2146"/>
                </a:lnTo>
                <a:lnTo>
                  <a:pt x="127" y="2141"/>
                </a:lnTo>
                <a:lnTo>
                  <a:pt x="103" y="2134"/>
                </a:lnTo>
                <a:lnTo>
                  <a:pt x="105" y="2121"/>
                </a:lnTo>
                <a:lnTo>
                  <a:pt x="97" y="2117"/>
                </a:lnTo>
                <a:lnTo>
                  <a:pt x="87" y="2094"/>
                </a:lnTo>
                <a:lnTo>
                  <a:pt x="90" y="2090"/>
                </a:lnTo>
                <a:close/>
                <a:moveTo>
                  <a:pt x="43" y="1963"/>
                </a:moveTo>
                <a:lnTo>
                  <a:pt x="45" y="1985"/>
                </a:lnTo>
                <a:lnTo>
                  <a:pt x="40" y="1992"/>
                </a:lnTo>
                <a:lnTo>
                  <a:pt x="37" y="1982"/>
                </a:lnTo>
                <a:lnTo>
                  <a:pt x="43" y="1963"/>
                </a:lnTo>
                <a:close/>
                <a:moveTo>
                  <a:pt x="41" y="2041"/>
                </a:moveTo>
                <a:lnTo>
                  <a:pt x="112" y="2089"/>
                </a:lnTo>
                <a:lnTo>
                  <a:pt x="96" y="2086"/>
                </a:lnTo>
                <a:lnTo>
                  <a:pt x="79" y="2077"/>
                </a:lnTo>
                <a:lnTo>
                  <a:pt x="49" y="2061"/>
                </a:lnTo>
                <a:lnTo>
                  <a:pt x="41" y="2041"/>
                </a:lnTo>
                <a:close/>
                <a:moveTo>
                  <a:pt x="85" y="2018"/>
                </a:moveTo>
                <a:lnTo>
                  <a:pt x="85" y="2033"/>
                </a:lnTo>
                <a:lnTo>
                  <a:pt x="79" y="2036"/>
                </a:lnTo>
                <a:lnTo>
                  <a:pt x="80" y="2027"/>
                </a:lnTo>
                <a:lnTo>
                  <a:pt x="77" y="2029"/>
                </a:lnTo>
                <a:lnTo>
                  <a:pt x="74" y="2021"/>
                </a:lnTo>
                <a:lnTo>
                  <a:pt x="85" y="2018"/>
                </a:lnTo>
                <a:close/>
                <a:moveTo>
                  <a:pt x="94" y="2001"/>
                </a:moveTo>
                <a:lnTo>
                  <a:pt x="114" y="1993"/>
                </a:lnTo>
                <a:lnTo>
                  <a:pt x="120" y="2009"/>
                </a:lnTo>
                <a:lnTo>
                  <a:pt x="127" y="1987"/>
                </a:lnTo>
                <a:lnTo>
                  <a:pt x="133" y="1990"/>
                </a:lnTo>
                <a:lnTo>
                  <a:pt x="136" y="2009"/>
                </a:lnTo>
                <a:lnTo>
                  <a:pt x="122" y="2033"/>
                </a:lnTo>
                <a:lnTo>
                  <a:pt x="142" y="2053"/>
                </a:lnTo>
                <a:lnTo>
                  <a:pt x="162" y="2036"/>
                </a:lnTo>
                <a:lnTo>
                  <a:pt x="185" y="2038"/>
                </a:lnTo>
                <a:lnTo>
                  <a:pt x="188" y="2052"/>
                </a:lnTo>
                <a:lnTo>
                  <a:pt x="141" y="2078"/>
                </a:lnTo>
                <a:lnTo>
                  <a:pt x="142" y="2098"/>
                </a:lnTo>
                <a:lnTo>
                  <a:pt x="136" y="2095"/>
                </a:lnTo>
                <a:lnTo>
                  <a:pt x="112" y="2073"/>
                </a:lnTo>
                <a:lnTo>
                  <a:pt x="133" y="2073"/>
                </a:lnTo>
                <a:lnTo>
                  <a:pt x="124" y="2056"/>
                </a:lnTo>
                <a:lnTo>
                  <a:pt x="117" y="2063"/>
                </a:lnTo>
                <a:lnTo>
                  <a:pt x="105" y="2063"/>
                </a:lnTo>
                <a:lnTo>
                  <a:pt x="107" y="2055"/>
                </a:lnTo>
                <a:lnTo>
                  <a:pt x="90" y="2041"/>
                </a:lnTo>
                <a:lnTo>
                  <a:pt x="94" y="2001"/>
                </a:lnTo>
                <a:close/>
                <a:moveTo>
                  <a:pt x="85" y="1950"/>
                </a:moveTo>
                <a:lnTo>
                  <a:pt x="87" y="1963"/>
                </a:lnTo>
                <a:lnTo>
                  <a:pt x="77" y="1942"/>
                </a:lnTo>
                <a:lnTo>
                  <a:pt x="85" y="1950"/>
                </a:lnTo>
                <a:close/>
                <a:moveTo>
                  <a:pt x="70" y="1960"/>
                </a:moveTo>
                <a:lnTo>
                  <a:pt x="79" y="1975"/>
                </a:lnTo>
                <a:lnTo>
                  <a:pt x="66" y="1968"/>
                </a:lnTo>
                <a:lnTo>
                  <a:pt x="65" y="1954"/>
                </a:lnTo>
                <a:lnTo>
                  <a:pt x="70" y="1960"/>
                </a:lnTo>
                <a:close/>
                <a:moveTo>
                  <a:pt x="31" y="1993"/>
                </a:moveTo>
                <a:lnTo>
                  <a:pt x="28" y="1993"/>
                </a:lnTo>
                <a:lnTo>
                  <a:pt x="28" y="1982"/>
                </a:lnTo>
                <a:lnTo>
                  <a:pt x="32" y="1960"/>
                </a:lnTo>
                <a:lnTo>
                  <a:pt x="36" y="1975"/>
                </a:lnTo>
                <a:lnTo>
                  <a:pt x="31" y="1993"/>
                </a:lnTo>
                <a:close/>
                <a:moveTo>
                  <a:pt x="31" y="1942"/>
                </a:moveTo>
                <a:lnTo>
                  <a:pt x="43" y="1923"/>
                </a:lnTo>
                <a:lnTo>
                  <a:pt x="46" y="1937"/>
                </a:lnTo>
                <a:lnTo>
                  <a:pt x="31" y="1942"/>
                </a:lnTo>
                <a:close/>
                <a:moveTo>
                  <a:pt x="53" y="1908"/>
                </a:moveTo>
                <a:lnTo>
                  <a:pt x="49" y="1925"/>
                </a:lnTo>
                <a:lnTo>
                  <a:pt x="43" y="1920"/>
                </a:lnTo>
                <a:lnTo>
                  <a:pt x="34" y="1902"/>
                </a:lnTo>
                <a:lnTo>
                  <a:pt x="34" y="1885"/>
                </a:lnTo>
                <a:lnTo>
                  <a:pt x="49" y="1894"/>
                </a:lnTo>
                <a:lnTo>
                  <a:pt x="53" y="1908"/>
                </a:lnTo>
                <a:close/>
                <a:moveTo>
                  <a:pt x="51" y="1887"/>
                </a:moveTo>
                <a:lnTo>
                  <a:pt x="46" y="1885"/>
                </a:lnTo>
                <a:lnTo>
                  <a:pt x="40" y="1865"/>
                </a:lnTo>
                <a:lnTo>
                  <a:pt x="60" y="1883"/>
                </a:lnTo>
                <a:lnTo>
                  <a:pt x="65" y="1897"/>
                </a:lnTo>
                <a:lnTo>
                  <a:pt x="51" y="1887"/>
                </a:lnTo>
                <a:close/>
                <a:moveTo>
                  <a:pt x="9" y="1860"/>
                </a:moveTo>
                <a:lnTo>
                  <a:pt x="9" y="1852"/>
                </a:lnTo>
                <a:lnTo>
                  <a:pt x="32" y="1853"/>
                </a:lnTo>
                <a:lnTo>
                  <a:pt x="28" y="1872"/>
                </a:lnTo>
                <a:lnTo>
                  <a:pt x="17" y="1863"/>
                </a:lnTo>
                <a:lnTo>
                  <a:pt x="11" y="1866"/>
                </a:lnTo>
                <a:lnTo>
                  <a:pt x="9" y="1860"/>
                </a:lnTo>
                <a:close/>
                <a:moveTo>
                  <a:pt x="2" y="1816"/>
                </a:moveTo>
                <a:lnTo>
                  <a:pt x="7" y="1812"/>
                </a:lnTo>
                <a:lnTo>
                  <a:pt x="15" y="1826"/>
                </a:lnTo>
                <a:lnTo>
                  <a:pt x="6" y="1828"/>
                </a:lnTo>
                <a:lnTo>
                  <a:pt x="2" y="1816"/>
                </a:lnTo>
                <a:close/>
                <a:moveTo>
                  <a:pt x="26" y="1765"/>
                </a:moveTo>
                <a:lnTo>
                  <a:pt x="26" y="1753"/>
                </a:lnTo>
                <a:lnTo>
                  <a:pt x="36" y="1745"/>
                </a:lnTo>
                <a:lnTo>
                  <a:pt x="48" y="1762"/>
                </a:lnTo>
                <a:lnTo>
                  <a:pt x="51" y="1823"/>
                </a:lnTo>
                <a:lnTo>
                  <a:pt x="46" y="1840"/>
                </a:lnTo>
                <a:lnTo>
                  <a:pt x="37" y="1841"/>
                </a:lnTo>
                <a:lnTo>
                  <a:pt x="32" y="1833"/>
                </a:lnTo>
                <a:lnTo>
                  <a:pt x="34" y="1804"/>
                </a:lnTo>
                <a:lnTo>
                  <a:pt x="15" y="1789"/>
                </a:lnTo>
                <a:lnTo>
                  <a:pt x="26" y="1790"/>
                </a:lnTo>
                <a:lnTo>
                  <a:pt x="28" y="1781"/>
                </a:lnTo>
                <a:lnTo>
                  <a:pt x="17" y="1775"/>
                </a:lnTo>
                <a:lnTo>
                  <a:pt x="26" y="1765"/>
                </a:lnTo>
                <a:close/>
                <a:moveTo>
                  <a:pt x="4" y="1739"/>
                </a:moveTo>
                <a:lnTo>
                  <a:pt x="4" y="1731"/>
                </a:lnTo>
                <a:lnTo>
                  <a:pt x="9" y="1730"/>
                </a:lnTo>
                <a:lnTo>
                  <a:pt x="12" y="1739"/>
                </a:lnTo>
                <a:lnTo>
                  <a:pt x="6" y="1750"/>
                </a:lnTo>
                <a:lnTo>
                  <a:pt x="4" y="1739"/>
                </a:lnTo>
                <a:close/>
                <a:moveTo>
                  <a:pt x="29" y="1727"/>
                </a:moveTo>
                <a:lnTo>
                  <a:pt x="40" y="1728"/>
                </a:lnTo>
                <a:lnTo>
                  <a:pt x="48" y="1741"/>
                </a:lnTo>
                <a:lnTo>
                  <a:pt x="31" y="1735"/>
                </a:lnTo>
                <a:lnTo>
                  <a:pt x="29" y="1727"/>
                </a:lnTo>
                <a:close/>
                <a:moveTo>
                  <a:pt x="6" y="1710"/>
                </a:moveTo>
                <a:lnTo>
                  <a:pt x="4" y="1702"/>
                </a:lnTo>
                <a:lnTo>
                  <a:pt x="11" y="1699"/>
                </a:lnTo>
                <a:lnTo>
                  <a:pt x="23" y="1736"/>
                </a:lnTo>
                <a:lnTo>
                  <a:pt x="6" y="1710"/>
                </a:lnTo>
                <a:close/>
                <a:moveTo>
                  <a:pt x="19" y="1704"/>
                </a:moveTo>
                <a:lnTo>
                  <a:pt x="34" y="1710"/>
                </a:lnTo>
                <a:lnTo>
                  <a:pt x="36" y="1718"/>
                </a:lnTo>
                <a:lnTo>
                  <a:pt x="29" y="1721"/>
                </a:lnTo>
                <a:lnTo>
                  <a:pt x="19" y="1704"/>
                </a:lnTo>
                <a:close/>
                <a:moveTo>
                  <a:pt x="26" y="1677"/>
                </a:moveTo>
                <a:lnTo>
                  <a:pt x="23" y="1685"/>
                </a:lnTo>
                <a:lnTo>
                  <a:pt x="12" y="1685"/>
                </a:lnTo>
                <a:lnTo>
                  <a:pt x="26" y="1677"/>
                </a:lnTo>
                <a:close/>
                <a:moveTo>
                  <a:pt x="58" y="1682"/>
                </a:moveTo>
                <a:lnTo>
                  <a:pt x="43" y="1679"/>
                </a:lnTo>
                <a:lnTo>
                  <a:pt x="43" y="1674"/>
                </a:lnTo>
                <a:lnTo>
                  <a:pt x="49" y="1667"/>
                </a:lnTo>
                <a:lnTo>
                  <a:pt x="58" y="1682"/>
                </a:lnTo>
                <a:close/>
                <a:moveTo>
                  <a:pt x="260" y="2229"/>
                </a:moveTo>
                <a:lnTo>
                  <a:pt x="329" y="2214"/>
                </a:lnTo>
                <a:lnTo>
                  <a:pt x="337" y="2225"/>
                </a:lnTo>
                <a:lnTo>
                  <a:pt x="339" y="2236"/>
                </a:lnTo>
                <a:lnTo>
                  <a:pt x="342" y="2241"/>
                </a:lnTo>
                <a:lnTo>
                  <a:pt x="345" y="2251"/>
                </a:lnTo>
                <a:lnTo>
                  <a:pt x="353" y="2273"/>
                </a:lnTo>
                <a:lnTo>
                  <a:pt x="332" y="2253"/>
                </a:lnTo>
                <a:lnTo>
                  <a:pt x="319" y="2256"/>
                </a:lnTo>
                <a:lnTo>
                  <a:pt x="302" y="2237"/>
                </a:lnTo>
                <a:lnTo>
                  <a:pt x="288" y="2242"/>
                </a:lnTo>
                <a:lnTo>
                  <a:pt x="302" y="2259"/>
                </a:lnTo>
                <a:lnTo>
                  <a:pt x="286" y="2259"/>
                </a:lnTo>
                <a:lnTo>
                  <a:pt x="275" y="2244"/>
                </a:lnTo>
                <a:lnTo>
                  <a:pt x="286" y="2233"/>
                </a:lnTo>
                <a:lnTo>
                  <a:pt x="263" y="2239"/>
                </a:lnTo>
                <a:lnTo>
                  <a:pt x="260" y="2229"/>
                </a:lnTo>
                <a:close/>
                <a:moveTo>
                  <a:pt x="295" y="2216"/>
                </a:moveTo>
                <a:lnTo>
                  <a:pt x="266" y="2222"/>
                </a:lnTo>
                <a:lnTo>
                  <a:pt x="263" y="2211"/>
                </a:lnTo>
                <a:lnTo>
                  <a:pt x="295" y="2216"/>
                </a:lnTo>
                <a:close/>
                <a:moveTo>
                  <a:pt x="239" y="2237"/>
                </a:moveTo>
                <a:lnTo>
                  <a:pt x="227" y="2225"/>
                </a:lnTo>
                <a:lnTo>
                  <a:pt x="239" y="2227"/>
                </a:lnTo>
                <a:lnTo>
                  <a:pt x="239" y="2237"/>
                </a:lnTo>
                <a:close/>
                <a:moveTo>
                  <a:pt x="210" y="2224"/>
                </a:moveTo>
                <a:lnTo>
                  <a:pt x="219" y="2214"/>
                </a:lnTo>
                <a:lnTo>
                  <a:pt x="222" y="2222"/>
                </a:lnTo>
                <a:lnTo>
                  <a:pt x="210" y="2224"/>
                </a:lnTo>
                <a:close/>
                <a:moveTo>
                  <a:pt x="345" y="2217"/>
                </a:moveTo>
                <a:lnTo>
                  <a:pt x="336" y="2212"/>
                </a:lnTo>
                <a:lnTo>
                  <a:pt x="357" y="2208"/>
                </a:lnTo>
                <a:lnTo>
                  <a:pt x="386" y="2214"/>
                </a:lnTo>
                <a:lnTo>
                  <a:pt x="393" y="2233"/>
                </a:lnTo>
                <a:lnTo>
                  <a:pt x="383" y="2242"/>
                </a:lnTo>
                <a:lnTo>
                  <a:pt x="371" y="2234"/>
                </a:lnTo>
                <a:lnTo>
                  <a:pt x="363" y="2237"/>
                </a:lnTo>
                <a:lnTo>
                  <a:pt x="348" y="2233"/>
                </a:lnTo>
                <a:lnTo>
                  <a:pt x="345" y="2217"/>
                </a:lnTo>
                <a:close/>
                <a:moveTo>
                  <a:pt x="322" y="2207"/>
                </a:moveTo>
                <a:lnTo>
                  <a:pt x="302" y="2216"/>
                </a:lnTo>
                <a:lnTo>
                  <a:pt x="277" y="2203"/>
                </a:lnTo>
                <a:lnTo>
                  <a:pt x="215" y="2202"/>
                </a:lnTo>
                <a:lnTo>
                  <a:pt x="212" y="2197"/>
                </a:lnTo>
                <a:lnTo>
                  <a:pt x="219" y="2190"/>
                </a:lnTo>
                <a:lnTo>
                  <a:pt x="195" y="2190"/>
                </a:lnTo>
                <a:lnTo>
                  <a:pt x="193" y="2177"/>
                </a:lnTo>
                <a:lnTo>
                  <a:pt x="224" y="2165"/>
                </a:lnTo>
                <a:lnTo>
                  <a:pt x="212" y="2144"/>
                </a:lnTo>
                <a:lnTo>
                  <a:pt x="247" y="2173"/>
                </a:lnTo>
                <a:lnTo>
                  <a:pt x="255" y="2168"/>
                </a:lnTo>
                <a:lnTo>
                  <a:pt x="246" y="2161"/>
                </a:lnTo>
                <a:lnTo>
                  <a:pt x="251" y="2157"/>
                </a:lnTo>
                <a:lnTo>
                  <a:pt x="261" y="2168"/>
                </a:lnTo>
                <a:lnTo>
                  <a:pt x="263" y="2160"/>
                </a:lnTo>
                <a:lnTo>
                  <a:pt x="277" y="2169"/>
                </a:lnTo>
                <a:lnTo>
                  <a:pt x="286" y="2165"/>
                </a:lnTo>
                <a:lnTo>
                  <a:pt x="256" y="2149"/>
                </a:lnTo>
                <a:lnTo>
                  <a:pt x="249" y="2119"/>
                </a:lnTo>
                <a:lnTo>
                  <a:pt x="285" y="2103"/>
                </a:lnTo>
                <a:lnTo>
                  <a:pt x="286" y="2092"/>
                </a:lnTo>
                <a:lnTo>
                  <a:pt x="277" y="2086"/>
                </a:lnTo>
                <a:lnTo>
                  <a:pt x="249" y="2094"/>
                </a:lnTo>
                <a:lnTo>
                  <a:pt x="238" y="2086"/>
                </a:lnTo>
                <a:lnTo>
                  <a:pt x="236" y="2060"/>
                </a:lnTo>
                <a:lnTo>
                  <a:pt x="249" y="2061"/>
                </a:lnTo>
                <a:lnTo>
                  <a:pt x="251" y="2055"/>
                </a:lnTo>
                <a:lnTo>
                  <a:pt x="246" y="2046"/>
                </a:lnTo>
                <a:lnTo>
                  <a:pt x="238" y="2041"/>
                </a:lnTo>
                <a:lnTo>
                  <a:pt x="268" y="2039"/>
                </a:lnTo>
                <a:lnTo>
                  <a:pt x="273" y="2022"/>
                </a:lnTo>
                <a:lnTo>
                  <a:pt x="283" y="2019"/>
                </a:lnTo>
                <a:lnTo>
                  <a:pt x="290" y="2031"/>
                </a:lnTo>
                <a:lnTo>
                  <a:pt x="314" y="2026"/>
                </a:lnTo>
                <a:lnTo>
                  <a:pt x="319" y="2033"/>
                </a:lnTo>
                <a:lnTo>
                  <a:pt x="322" y="2207"/>
                </a:lnTo>
                <a:close/>
              </a:path>
            </a:pathLst>
          </a:custGeom>
          <a:solidFill>
            <a:schemeClr val="accent1"/>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31" name="Rectangle 30">
            <a:extLst>
              <a:ext uri="{FF2B5EF4-FFF2-40B4-BE49-F238E27FC236}">
                <a16:creationId xmlns:a16="http://schemas.microsoft.com/office/drawing/2014/main" id="{9D378A5B-C386-B24C-BF7A-11804A483A48}"/>
              </a:ext>
            </a:extLst>
          </p:cNvPr>
          <p:cNvSpPr/>
          <p:nvPr/>
        </p:nvSpPr>
        <p:spPr>
          <a:xfrm>
            <a:off x="2948331" y="5525441"/>
            <a:ext cx="180000" cy="9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u="none" strike="noStrike" kern="1200" cap="none" spc="0" normalizeH="0" baseline="0" noProof="0" dirty="0" err="1">
              <a:ln>
                <a:noFill/>
              </a:ln>
              <a:solidFill>
                <a:srgbClr val="FFFFFF"/>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32" name="TextBox 8">
            <a:extLst>
              <a:ext uri="{FF2B5EF4-FFF2-40B4-BE49-F238E27FC236}">
                <a16:creationId xmlns:a16="http://schemas.microsoft.com/office/drawing/2014/main" id="{FDFEDA72-42E7-A04C-AA2C-1AAF3CECACC9}"/>
              </a:ext>
            </a:extLst>
          </p:cNvPr>
          <p:cNvSpPr txBox="1"/>
          <p:nvPr/>
        </p:nvSpPr>
        <p:spPr>
          <a:xfrm>
            <a:off x="3182270" y="5495766"/>
            <a:ext cx="1041605" cy="1540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dirty="0">
                <a:ln>
                  <a:noFill/>
                </a:ln>
                <a:solidFill>
                  <a:srgbClr val="333333"/>
                </a:solidFill>
                <a:effectLst/>
                <a:uLnTx/>
                <a:uFillTx/>
                <a:latin typeface="Roboto Light" panose="02000000000000000000" pitchFamily="2" charset="0"/>
                <a:ea typeface="Roboto Light" panose="02000000000000000000" pitchFamily="2" charset="0"/>
                <a:cs typeface="Roboto Light" panose="02000000000000000000" pitchFamily="2" charset="0"/>
              </a:rPr>
              <a:t>Appian core countries</a:t>
            </a:r>
          </a:p>
        </p:txBody>
      </p:sp>
      <p:sp>
        <p:nvSpPr>
          <p:cNvPr id="33" name="Ellipse 88">
            <a:extLst>
              <a:ext uri="{FF2B5EF4-FFF2-40B4-BE49-F238E27FC236}">
                <a16:creationId xmlns:a16="http://schemas.microsoft.com/office/drawing/2014/main" id="{2E46BEA4-3B4A-034E-9163-6AF118D8C393}"/>
              </a:ext>
            </a:extLst>
          </p:cNvPr>
          <p:cNvSpPr/>
          <p:nvPr/>
        </p:nvSpPr>
        <p:spPr>
          <a:xfrm>
            <a:off x="1298315" y="2983743"/>
            <a:ext cx="144000" cy="144000"/>
          </a:xfrm>
          <a:prstGeom prst="ellipse">
            <a:avLst/>
          </a:prstGeom>
          <a:solidFill>
            <a:schemeClr val="accent6"/>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00" u="none" strike="noStrike" kern="1200" cap="none" spc="0" normalizeH="0" baseline="0" noProof="0" dirty="0" err="1">
              <a:ln>
                <a:noFill/>
              </a:ln>
              <a:solidFill>
                <a:srgbClr val="FFFFFF"/>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34" name="ZoneTexte 89">
            <a:extLst>
              <a:ext uri="{FF2B5EF4-FFF2-40B4-BE49-F238E27FC236}">
                <a16:creationId xmlns:a16="http://schemas.microsoft.com/office/drawing/2014/main" id="{BFA35C72-6CB4-514C-9C80-9B870C786AB6}"/>
              </a:ext>
            </a:extLst>
          </p:cNvPr>
          <p:cNvSpPr txBox="1"/>
          <p:nvPr/>
        </p:nvSpPr>
        <p:spPr>
          <a:xfrm>
            <a:off x="891232" y="2917921"/>
            <a:ext cx="504492" cy="327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u="none" strike="noStrike" kern="1200" cap="none" spc="0" normalizeH="0" baseline="0" noProof="0" dirty="0">
                <a:ln>
                  <a:noFill/>
                </a:ln>
                <a:solidFill>
                  <a:srgbClr val="333333"/>
                </a:solidFill>
                <a:effectLst/>
                <a:uLnTx/>
                <a:uFillTx/>
                <a:latin typeface="Roboto Light" panose="02000000000000000000" pitchFamily="2" charset="0"/>
                <a:ea typeface="Roboto Light" panose="02000000000000000000" pitchFamily="2" charset="0"/>
                <a:cs typeface="Roboto Light" panose="02000000000000000000" pitchFamily="2" charset="0"/>
              </a:rPr>
              <a:t>Lima</a:t>
            </a:r>
          </a:p>
        </p:txBody>
      </p:sp>
      <p:sp>
        <p:nvSpPr>
          <p:cNvPr id="35" name="Ellipse 90">
            <a:extLst>
              <a:ext uri="{FF2B5EF4-FFF2-40B4-BE49-F238E27FC236}">
                <a16:creationId xmlns:a16="http://schemas.microsoft.com/office/drawing/2014/main" id="{DB8ECA7D-ED00-AA4A-B08E-5DF4CA4A565C}"/>
              </a:ext>
            </a:extLst>
          </p:cNvPr>
          <p:cNvSpPr/>
          <p:nvPr/>
        </p:nvSpPr>
        <p:spPr>
          <a:xfrm>
            <a:off x="1601508" y="4314664"/>
            <a:ext cx="144000" cy="144000"/>
          </a:xfrm>
          <a:prstGeom prst="ellipse">
            <a:avLst/>
          </a:prstGeom>
          <a:solidFill>
            <a:schemeClr val="accent6"/>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00" u="none" strike="noStrike" kern="1200" cap="none" spc="0" normalizeH="0" baseline="0" noProof="0" dirty="0" err="1">
              <a:ln>
                <a:noFill/>
              </a:ln>
              <a:solidFill>
                <a:srgbClr val="FFFFFF"/>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36" name="ZoneTexte 91">
            <a:extLst>
              <a:ext uri="{FF2B5EF4-FFF2-40B4-BE49-F238E27FC236}">
                <a16:creationId xmlns:a16="http://schemas.microsoft.com/office/drawing/2014/main" id="{155AF0A2-6FE4-8E46-BCD6-5B86C4F5CA13}"/>
              </a:ext>
            </a:extLst>
          </p:cNvPr>
          <p:cNvSpPr txBox="1"/>
          <p:nvPr/>
        </p:nvSpPr>
        <p:spPr>
          <a:xfrm>
            <a:off x="1076386" y="4232402"/>
            <a:ext cx="504492" cy="327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u="none" strike="noStrike" kern="1200" cap="none" spc="0" normalizeH="0" baseline="0" noProof="0" dirty="0">
                <a:ln>
                  <a:noFill/>
                </a:ln>
                <a:solidFill>
                  <a:srgbClr val="333333"/>
                </a:solidFill>
                <a:effectLst/>
                <a:uLnTx/>
                <a:uFillTx/>
                <a:latin typeface="Roboto Light" panose="02000000000000000000" pitchFamily="2" charset="0"/>
                <a:ea typeface="Roboto Light" panose="02000000000000000000" pitchFamily="2" charset="0"/>
                <a:cs typeface="Roboto Light" panose="02000000000000000000" pitchFamily="2" charset="0"/>
              </a:rPr>
              <a:t>Santiago</a:t>
            </a:r>
          </a:p>
        </p:txBody>
      </p:sp>
      <p:sp>
        <p:nvSpPr>
          <p:cNvPr id="37" name="Freeform 184">
            <a:extLst>
              <a:ext uri="{FF2B5EF4-FFF2-40B4-BE49-F238E27FC236}">
                <a16:creationId xmlns:a16="http://schemas.microsoft.com/office/drawing/2014/main" id="{CBC79F40-1344-7C44-8A13-927A17414BFE}"/>
              </a:ext>
            </a:extLst>
          </p:cNvPr>
          <p:cNvSpPr>
            <a:spLocks noChangeAspect="1" noEditPoints="1"/>
          </p:cNvSpPr>
          <p:nvPr/>
        </p:nvSpPr>
        <p:spPr bwMode="gray">
          <a:xfrm>
            <a:off x="2910082" y="1370588"/>
            <a:ext cx="1153212" cy="870237"/>
          </a:xfrm>
          <a:custGeom>
            <a:avLst/>
            <a:gdLst>
              <a:gd name="T0" fmla="*/ 238 w 1450"/>
              <a:gd name="T1" fmla="*/ 82 h 908"/>
              <a:gd name="T2" fmla="*/ 280 w 1450"/>
              <a:gd name="T3" fmla="*/ 184 h 908"/>
              <a:gd name="T4" fmla="*/ 361 w 1450"/>
              <a:gd name="T5" fmla="*/ 285 h 908"/>
              <a:gd name="T6" fmla="*/ 412 w 1450"/>
              <a:gd name="T7" fmla="*/ 356 h 908"/>
              <a:gd name="T8" fmla="*/ 463 w 1450"/>
              <a:gd name="T9" fmla="*/ 390 h 908"/>
              <a:gd name="T10" fmla="*/ 537 w 1450"/>
              <a:gd name="T11" fmla="*/ 477 h 908"/>
              <a:gd name="T12" fmla="*/ 607 w 1450"/>
              <a:gd name="T13" fmla="*/ 590 h 908"/>
              <a:gd name="T14" fmla="*/ 597 w 1450"/>
              <a:gd name="T15" fmla="*/ 661 h 908"/>
              <a:gd name="T16" fmla="*/ 739 w 1450"/>
              <a:gd name="T17" fmla="*/ 749 h 908"/>
              <a:gd name="T18" fmla="*/ 930 w 1450"/>
              <a:gd name="T19" fmla="*/ 837 h 908"/>
              <a:gd name="T20" fmla="*/ 1071 w 1450"/>
              <a:gd name="T21" fmla="*/ 832 h 908"/>
              <a:gd name="T22" fmla="*/ 1203 w 1450"/>
              <a:gd name="T23" fmla="*/ 883 h 908"/>
              <a:gd name="T24" fmla="*/ 1230 w 1450"/>
              <a:gd name="T25" fmla="*/ 775 h 908"/>
              <a:gd name="T26" fmla="*/ 1354 w 1450"/>
              <a:gd name="T27" fmla="*/ 749 h 908"/>
              <a:gd name="T28" fmla="*/ 1389 w 1450"/>
              <a:gd name="T29" fmla="*/ 721 h 908"/>
              <a:gd name="T30" fmla="*/ 1408 w 1450"/>
              <a:gd name="T31" fmla="*/ 676 h 908"/>
              <a:gd name="T32" fmla="*/ 1443 w 1450"/>
              <a:gd name="T33" fmla="*/ 607 h 908"/>
              <a:gd name="T34" fmla="*/ 1403 w 1450"/>
              <a:gd name="T35" fmla="*/ 569 h 908"/>
              <a:gd name="T36" fmla="*/ 1276 w 1450"/>
              <a:gd name="T37" fmla="*/ 644 h 908"/>
              <a:gd name="T38" fmla="*/ 1215 w 1450"/>
              <a:gd name="T39" fmla="*/ 721 h 908"/>
              <a:gd name="T40" fmla="*/ 1125 w 1450"/>
              <a:gd name="T41" fmla="*/ 726 h 908"/>
              <a:gd name="T42" fmla="*/ 1037 w 1450"/>
              <a:gd name="T43" fmla="*/ 704 h 908"/>
              <a:gd name="T44" fmla="*/ 966 w 1450"/>
              <a:gd name="T45" fmla="*/ 594 h 908"/>
              <a:gd name="T46" fmla="*/ 950 w 1450"/>
              <a:gd name="T47" fmla="*/ 481 h 908"/>
              <a:gd name="T48" fmla="*/ 975 w 1450"/>
              <a:gd name="T49" fmla="*/ 376 h 908"/>
              <a:gd name="T50" fmla="*/ 961 w 1450"/>
              <a:gd name="T51" fmla="*/ 356 h 908"/>
              <a:gd name="T52" fmla="*/ 869 w 1450"/>
              <a:gd name="T53" fmla="*/ 308 h 908"/>
              <a:gd name="T54" fmla="*/ 805 w 1450"/>
              <a:gd name="T55" fmla="*/ 189 h 908"/>
              <a:gd name="T56" fmla="*/ 692 w 1450"/>
              <a:gd name="T57" fmla="*/ 198 h 908"/>
              <a:gd name="T58" fmla="*/ 586 w 1450"/>
              <a:gd name="T59" fmla="*/ 93 h 908"/>
              <a:gd name="T60" fmla="*/ 498 w 1450"/>
              <a:gd name="T61" fmla="*/ 45 h 908"/>
              <a:gd name="T62" fmla="*/ 268 w 1450"/>
              <a:gd name="T63" fmla="*/ 45 h 908"/>
              <a:gd name="T64" fmla="*/ 92 w 1450"/>
              <a:gd name="T65" fmla="*/ 6 h 908"/>
              <a:gd name="T66" fmla="*/ 109 w 1450"/>
              <a:gd name="T67" fmla="*/ 124 h 908"/>
              <a:gd name="T68" fmla="*/ 197 w 1450"/>
              <a:gd name="T69" fmla="*/ 224 h 908"/>
              <a:gd name="T70" fmla="*/ 173 w 1450"/>
              <a:gd name="T71" fmla="*/ 261 h 908"/>
              <a:gd name="T72" fmla="*/ 181 w 1450"/>
              <a:gd name="T73" fmla="*/ 289 h 908"/>
              <a:gd name="T74" fmla="*/ 244 w 1450"/>
              <a:gd name="T75" fmla="*/ 319 h 908"/>
              <a:gd name="T76" fmla="*/ 282 w 1450"/>
              <a:gd name="T77" fmla="*/ 416 h 908"/>
              <a:gd name="T78" fmla="*/ 311 w 1450"/>
              <a:gd name="T79" fmla="*/ 427 h 908"/>
              <a:gd name="T80" fmla="*/ 405 w 1450"/>
              <a:gd name="T81" fmla="*/ 495 h 908"/>
              <a:gd name="T82" fmla="*/ 367 w 1450"/>
              <a:gd name="T83" fmla="*/ 446 h 908"/>
              <a:gd name="T84" fmla="*/ 341 w 1450"/>
              <a:gd name="T85" fmla="*/ 379 h 908"/>
              <a:gd name="T86" fmla="*/ 305 w 1450"/>
              <a:gd name="T87" fmla="*/ 325 h 908"/>
              <a:gd name="T88" fmla="*/ 261 w 1450"/>
              <a:gd name="T89" fmla="*/ 258 h 908"/>
              <a:gd name="T90" fmla="*/ 217 w 1450"/>
              <a:gd name="T91" fmla="*/ 182 h 908"/>
              <a:gd name="T92" fmla="*/ 163 w 1450"/>
              <a:gd name="T93" fmla="*/ 84 h 908"/>
              <a:gd name="T94" fmla="*/ 1450 w 1450"/>
              <a:gd name="T95" fmla="*/ 619 h 908"/>
              <a:gd name="T96" fmla="*/ 269 w 1450"/>
              <a:gd name="T97" fmla="*/ 207 h 908"/>
              <a:gd name="T98" fmla="*/ 241 w 1450"/>
              <a:gd name="T99" fmla="*/ 198 h 908"/>
              <a:gd name="T100" fmla="*/ 144 w 1450"/>
              <a:gd name="T101" fmla="*/ 248 h 908"/>
              <a:gd name="T102" fmla="*/ 967 w 1450"/>
              <a:gd name="T103" fmla="*/ 39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50" h="908">
                <a:moveTo>
                  <a:pt x="159" y="45"/>
                </a:moveTo>
                <a:lnTo>
                  <a:pt x="190" y="63"/>
                </a:lnTo>
                <a:lnTo>
                  <a:pt x="207" y="63"/>
                </a:lnTo>
                <a:lnTo>
                  <a:pt x="214" y="74"/>
                </a:lnTo>
                <a:lnTo>
                  <a:pt x="238" y="82"/>
                </a:lnTo>
                <a:lnTo>
                  <a:pt x="243" y="110"/>
                </a:lnTo>
                <a:lnTo>
                  <a:pt x="258" y="148"/>
                </a:lnTo>
                <a:lnTo>
                  <a:pt x="268" y="156"/>
                </a:lnTo>
                <a:lnTo>
                  <a:pt x="274" y="177"/>
                </a:lnTo>
                <a:lnTo>
                  <a:pt x="280" y="184"/>
                </a:lnTo>
                <a:lnTo>
                  <a:pt x="297" y="214"/>
                </a:lnTo>
                <a:lnTo>
                  <a:pt x="334" y="249"/>
                </a:lnTo>
                <a:lnTo>
                  <a:pt x="356" y="257"/>
                </a:lnTo>
                <a:lnTo>
                  <a:pt x="354" y="272"/>
                </a:lnTo>
                <a:lnTo>
                  <a:pt x="361" y="285"/>
                </a:lnTo>
                <a:lnTo>
                  <a:pt x="382" y="299"/>
                </a:lnTo>
                <a:lnTo>
                  <a:pt x="395" y="317"/>
                </a:lnTo>
                <a:lnTo>
                  <a:pt x="407" y="317"/>
                </a:lnTo>
                <a:lnTo>
                  <a:pt x="422" y="333"/>
                </a:lnTo>
                <a:lnTo>
                  <a:pt x="412" y="356"/>
                </a:lnTo>
                <a:lnTo>
                  <a:pt x="418" y="373"/>
                </a:lnTo>
                <a:lnTo>
                  <a:pt x="433" y="368"/>
                </a:lnTo>
                <a:lnTo>
                  <a:pt x="433" y="382"/>
                </a:lnTo>
                <a:lnTo>
                  <a:pt x="455" y="392"/>
                </a:lnTo>
                <a:lnTo>
                  <a:pt x="463" y="390"/>
                </a:lnTo>
                <a:lnTo>
                  <a:pt x="480" y="405"/>
                </a:lnTo>
                <a:lnTo>
                  <a:pt x="481" y="426"/>
                </a:lnTo>
                <a:lnTo>
                  <a:pt x="526" y="460"/>
                </a:lnTo>
                <a:lnTo>
                  <a:pt x="531" y="473"/>
                </a:lnTo>
                <a:lnTo>
                  <a:pt x="537" y="477"/>
                </a:lnTo>
                <a:lnTo>
                  <a:pt x="551" y="498"/>
                </a:lnTo>
                <a:lnTo>
                  <a:pt x="583" y="526"/>
                </a:lnTo>
                <a:lnTo>
                  <a:pt x="590" y="558"/>
                </a:lnTo>
                <a:lnTo>
                  <a:pt x="597" y="565"/>
                </a:lnTo>
                <a:lnTo>
                  <a:pt x="607" y="590"/>
                </a:lnTo>
                <a:lnTo>
                  <a:pt x="605" y="602"/>
                </a:lnTo>
                <a:lnTo>
                  <a:pt x="597" y="612"/>
                </a:lnTo>
                <a:lnTo>
                  <a:pt x="603" y="624"/>
                </a:lnTo>
                <a:lnTo>
                  <a:pt x="586" y="634"/>
                </a:lnTo>
                <a:lnTo>
                  <a:pt x="597" y="661"/>
                </a:lnTo>
                <a:lnTo>
                  <a:pt x="627" y="688"/>
                </a:lnTo>
                <a:lnTo>
                  <a:pt x="647" y="693"/>
                </a:lnTo>
                <a:lnTo>
                  <a:pt x="668" y="709"/>
                </a:lnTo>
                <a:lnTo>
                  <a:pt x="688" y="734"/>
                </a:lnTo>
                <a:lnTo>
                  <a:pt x="739" y="749"/>
                </a:lnTo>
                <a:lnTo>
                  <a:pt x="756" y="751"/>
                </a:lnTo>
                <a:lnTo>
                  <a:pt x="803" y="786"/>
                </a:lnTo>
                <a:lnTo>
                  <a:pt x="894" y="819"/>
                </a:lnTo>
                <a:lnTo>
                  <a:pt x="902" y="817"/>
                </a:lnTo>
                <a:lnTo>
                  <a:pt x="930" y="837"/>
                </a:lnTo>
                <a:lnTo>
                  <a:pt x="958" y="848"/>
                </a:lnTo>
                <a:lnTo>
                  <a:pt x="981" y="849"/>
                </a:lnTo>
                <a:lnTo>
                  <a:pt x="1004" y="859"/>
                </a:lnTo>
                <a:lnTo>
                  <a:pt x="1021" y="859"/>
                </a:lnTo>
                <a:lnTo>
                  <a:pt x="1071" y="832"/>
                </a:lnTo>
                <a:lnTo>
                  <a:pt x="1100" y="835"/>
                </a:lnTo>
                <a:lnTo>
                  <a:pt x="1139" y="852"/>
                </a:lnTo>
                <a:lnTo>
                  <a:pt x="1199" y="908"/>
                </a:lnTo>
                <a:lnTo>
                  <a:pt x="1205" y="890"/>
                </a:lnTo>
                <a:lnTo>
                  <a:pt x="1203" y="883"/>
                </a:lnTo>
                <a:lnTo>
                  <a:pt x="1232" y="835"/>
                </a:lnTo>
                <a:lnTo>
                  <a:pt x="1278" y="834"/>
                </a:lnTo>
                <a:lnTo>
                  <a:pt x="1279" y="822"/>
                </a:lnTo>
                <a:lnTo>
                  <a:pt x="1265" y="803"/>
                </a:lnTo>
                <a:lnTo>
                  <a:pt x="1230" y="775"/>
                </a:lnTo>
                <a:lnTo>
                  <a:pt x="1259" y="775"/>
                </a:lnTo>
                <a:lnTo>
                  <a:pt x="1259" y="751"/>
                </a:lnTo>
                <a:lnTo>
                  <a:pt x="1303" y="751"/>
                </a:lnTo>
                <a:lnTo>
                  <a:pt x="1338" y="751"/>
                </a:lnTo>
                <a:lnTo>
                  <a:pt x="1354" y="749"/>
                </a:lnTo>
                <a:lnTo>
                  <a:pt x="1367" y="726"/>
                </a:lnTo>
                <a:lnTo>
                  <a:pt x="1375" y="724"/>
                </a:lnTo>
                <a:lnTo>
                  <a:pt x="1386" y="705"/>
                </a:lnTo>
                <a:lnTo>
                  <a:pt x="1391" y="707"/>
                </a:lnTo>
                <a:lnTo>
                  <a:pt x="1389" y="721"/>
                </a:lnTo>
                <a:lnTo>
                  <a:pt x="1396" y="724"/>
                </a:lnTo>
                <a:lnTo>
                  <a:pt x="1396" y="744"/>
                </a:lnTo>
                <a:lnTo>
                  <a:pt x="1400" y="741"/>
                </a:lnTo>
                <a:lnTo>
                  <a:pt x="1414" y="684"/>
                </a:lnTo>
                <a:lnTo>
                  <a:pt x="1408" y="676"/>
                </a:lnTo>
                <a:lnTo>
                  <a:pt x="1414" y="671"/>
                </a:lnTo>
                <a:lnTo>
                  <a:pt x="1414" y="667"/>
                </a:lnTo>
                <a:lnTo>
                  <a:pt x="1408" y="662"/>
                </a:lnTo>
                <a:lnTo>
                  <a:pt x="1426" y="624"/>
                </a:lnTo>
                <a:lnTo>
                  <a:pt x="1443" y="607"/>
                </a:lnTo>
                <a:lnTo>
                  <a:pt x="1447" y="590"/>
                </a:lnTo>
                <a:lnTo>
                  <a:pt x="1440" y="573"/>
                </a:lnTo>
                <a:lnTo>
                  <a:pt x="1414" y="569"/>
                </a:lnTo>
                <a:lnTo>
                  <a:pt x="1403" y="580"/>
                </a:lnTo>
                <a:lnTo>
                  <a:pt x="1403" y="569"/>
                </a:lnTo>
                <a:lnTo>
                  <a:pt x="1389" y="566"/>
                </a:lnTo>
                <a:lnTo>
                  <a:pt x="1352" y="578"/>
                </a:lnTo>
                <a:lnTo>
                  <a:pt x="1312" y="582"/>
                </a:lnTo>
                <a:lnTo>
                  <a:pt x="1284" y="594"/>
                </a:lnTo>
                <a:lnTo>
                  <a:pt x="1276" y="644"/>
                </a:lnTo>
                <a:lnTo>
                  <a:pt x="1262" y="681"/>
                </a:lnTo>
                <a:lnTo>
                  <a:pt x="1241" y="696"/>
                </a:lnTo>
                <a:lnTo>
                  <a:pt x="1242" y="712"/>
                </a:lnTo>
                <a:lnTo>
                  <a:pt x="1227" y="721"/>
                </a:lnTo>
                <a:lnTo>
                  <a:pt x="1215" y="721"/>
                </a:lnTo>
                <a:lnTo>
                  <a:pt x="1211" y="712"/>
                </a:lnTo>
                <a:lnTo>
                  <a:pt x="1190" y="710"/>
                </a:lnTo>
                <a:lnTo>
                  <a:pt x="1186" y="712"/>
                </a:lnTo>
                <a:lnTo>
                  <a:pt x="1165" y="721"/>
                </a:lnTo>
                <a:lnTo>
                  <a:pt x="1125" y="726"/>
                </a:lnTo>
                <a:lnTo>
                  <a:pt x="1106" y="735"/>
                </a:lnTo>
                <a:lnTo>
                  <a:pt x="1094" y="735"/>
                </a:lnTo>
                <a:lnTo>
                  <a:pt x="1071" y="713"/>
                </a:lnTo>
                <a:lnTo>
                  <a:pt x="1057" y="713"/>
                </a:lnTo>
                <a:lnTo>
                  <a:pt x="1037" y="704"/>
                </a:lnTo>
                <a:lnTo>
                  <a:pt x="1018" y="687"/>
                </a:lnTo>
                <a:lnTo>
                  <a:pt x="1004" y="650"/>
                </a:lnTo>
                <a:lnTo>
                  <a:pt x="981" y="622"/>
                </a:lnTo>
                <a:lnTo>
                  <a:pt x="969" y="602"/>
                </a:lnTo>
                <a:lnTo>
                  <a:pt x="966" y="594"/>
                </a:lnTo>
                <a:lnTo>
                  <a:pt x="971" y="583"/>
                </a:lnTo>
                <a:lnTo>
                  <a:pt x="969" y="574"/>
                </a:lnTo>
                <a:lnTo>
                  <a:pt x="954" y="558"/>
                </a:lnTo>
                <a:lnTo>
                  <a:pt x="947" y="541"/>
                </a:lnTo>
                <a:lnTo>
                  <a:pt x="950" y="481"/>
                </a:lnTo>
                <a:lnTo>
                  <a:pt x="942" y="418"/>
                </a:lnTo>
                <a:lnTo>
                  <a:pt x="953" y="402"/>
                </a:lnTo>
                <a:lnTo>
                  <a:pt x="954" y="385"/>
                </a:lnTo>
                <a:lnTo>
                  <a:pt x="969" y="384"/>
                </a:lnTo>
                <a:lnTo>
                  <a:pt x="975" y="376"/>
                </a:lnTo>
                <a:lnTo>
                  <a:pt x="978" y="363"/>
                </a:lnTo>
                <a:lnTo>
                  <a:pt x="969" y="371"/>
                </a:lnTo>
                <a:lnTo>
                  <a:pt x="975" y="356"/>
                </a:lnTo>
                <a:lnTo>
                  <a:pt x="976" y="354"/>
                </a:lnTo>
                <a:lnTo>
                  <a:pt x="961" y="356"/>
                </a:lnTo>
                <a:lnTo>
                  <a:pt x="945" y="348"/>
                </a:lnTo>
                <a:lnTo>
                  <a:pt x="922" y="346"/>
                </a:lnTo>
                <a:lnTo>
                  <a:pt x="899" y="337"/>
                </a:lnTo>
                <a:lnTo>
                  <a:pt x="885" y="329"/>
                </a:lnTo>
                <a:lnTo>
                  <a:pt x="869" y="308"/>
                </a:lnTo>
                <a:lnTo>
                  <a:pt x="857" y="266"/>
                </a:lnTo>
                <a:lnTo>
                  <a:pt x="842" y="257"/>
                </a:lnTo>
                <a:lnTo>
                  <a:pt x="835" y="241"/>
                </a:lnTo>
                <a:lnTo>
                  <a:pt x="822" y="228"/>
                </a:lnTo>
                <a:lnTo>
                  <a:pt x="805" y="189"/>
                </a:lnTo>
                <a:lnTo>
                  <a:pt x="778" y="160"/>
                </a:lnTo>
                <a:lnTo>
                  <a:pt x="769" y="152"/>
                </a:lnTo>
                <a:lnTo>
                  <a:pt x="724" y="150"/>
                </a:lnTo>
                <a:lnTo>
                  <a:pt x="713" y="155"/>
                </a:lnTo>
                <a:lnTo>
                  <a:pt x="692" y="198"/>
                </a:lnTo>
                <a:lnTo>
                  <a:pt x="673" y="192"/>
                </a:lnTo>
                <a:lnTo>
                  <a:pt x="636" y="167"/>
                </a:lnTo>
                <a:lnTo>
                  <a:pt x="624" y="150"/>
                </a:lnTo>
                <a:lnTo>
                  <a:pt x="611" y="108"/>
                </a:lnTo>
                <a:lnTo>
                  <a:pt x="586" y="93"/>
                </a:lnTo>
                <a:lnTo>
                  <a:pt x="563" y="67"/>
                </a:lnTo>
                <a:lnTo>
                  <a:pt x="552" y="62"/>
                </a:lnTo>
                <a:lnTo>
                  <a:pt x="548" y="51"/>
                </a:lnTo>
                <a:lnTo>
                  <a:pt x="534" y="45"/>
                </a:lnTo>
                <a:lnTo>
                  <a:pt x="498" y="45"/>
                </a:lnTo>
                <a:lnTo>
                  <a:pt x="459" y="45"/>
                </a:lnTo>
                <a:lnTo>
                  <a:pt x="458" y="70"/>
                </a:lnTo>
                <a:lnTo>
                  <a:pt x="382" y="70"/>
                </a:lnTo>
                <a:lnTo>
                  <a:pt x="334" y="70"/>
                </a:lnTo>
                <a:lnTo>
                  <a:pt x="268" y="45"/>
                </a:lnTo>
                <a:lnTo>
                  <a:pt x="202" y="21"/>
                </a:lnTo>
                <a:lnTo>
                  <a:pt x="158" y="4"/>
                </a:lnTo>
                <a:lnTo>
                  <a:pt x="158" y="0"/>
                </a:lnTo>
                <a:lnTo>
                  <a:pt x="126" y="3"/>
                </a:lnTo>
                <a:lnTo>
                  <a:pt x="92" y="6"/>
                </a:lnTo>
                <a:lnTo>
                  <a:pt x="53" y="8"/>
                </a:lnTo>
                <a:lnTo>
                  <a:pt x="79" y="46"/>
                </a:lnTo>
                <a:lnTo>
                  <a:pt x="79" y="60"/>
                </a:lnTo>
                <a:lnTo>
                  <a:pt x="102" y="99"/>
                </a:lnTo>
                <a:lnTo>
                  <a:pt x="109" y="124"/>
                </a:lnTo>
                <a:lnTo>
                  <a:pt x="114" y="122"/>
                </a:lnTo>
                <a:lnTo>
                  <a:pt x="122" y="156"/>
                </a:lnTo>
                <a:lnTo>
                  <a:pt x="148" y="175"/>
                </a:lnTo>
                <a:lnTo>
                  <a:pt x="155" y="175"/>
                </a:lnTo>
                <a:lnTo>
                  <a:pt x="197" y="224"/>
                </a:lnTo>
                <a:lnTo>
                  <a:pt x="198" y="248"/>
                </a:lnTo>
                <a:lnTo>
                  <a:pt x="192" y="252"/>
                </a:lnTo>
                <a:lnTo>
                  <a:pt x="193" y="260"/>
                </a:lnTo>
                <a:lnTo>
                  <a:pt x="187" y="257"/>
                </a:lnTo>
                <a:lnTo>
                  <a:pt x="173" y="261"/>
                </a:lnTo>
                <a:lnTo>
                  <a:pt x="155" y="260"/>
                </a:lnTo>
                <a:lnTo>
                  <a:pt x="155" y="265"/>
                </a:lnTo>
                <a:lnTo>
                  <a:pt x="159" y="265"/>
                </a:lnTo>
                <a:lnTo>
                  <a:pt x="176" y="275"/>
                </a:lnTo>
                <a:lnTo>
                  <a:pt x="181" y="289"/>
                </a:lnTo>
                <a:lnTo>
                  <a:pt x="197" y="294"/>
                </a:lnTo>
                <a:lnTo>
                  <a:pt x="221" y="312"/>
                </a:lnTo>
                <a:lnTo>
                  <a:pt x="231" y="314"/>
                </a:lnTo>
                <a:lnTo>
                  <a:pt x="241" y="303"/>
                </a:lnTo>
                <a:lnTo>
                  <a:pt x="244" y="319"/>
                </a:lnTo>
                <a:lnTo>
                  <a:pt x="254" y="333"/>
                </a:lnTo>
                <a:lnTo>
                  <a:pt x="275" y="342"/>
                </a:lnTo>
                <a:lnTo>
                  <a:pt x="286" y="365"/>
                </a:lnTo>
                <a:lnTo>
                  <a:pt x="288" y="390"/>
                </a:lnTo>
                <a:lnTo>
                  <a:pt x="282" y="416"/>
                </a:lnTo>
                <a:lnTo>
                  <a:pt x="286" y="410"/>
                </a:lnTo>
                <a:lnTo>
                  <a:pt x="288" y="416"/>
                </a:lnTo>
                <a:lnTo>
                  <a:pt x="299" y="418"/>
                </a:lnTo>
                <a:lnTo>
                  <a:pt x="302" y="426"/>
                </a:lnTo>
                <a:lnTo>
                  <a:pt x="311" y="427"/>
                </a:lnTo>
                <a:lnTo>
                  <a:pt x="319" y="439"/>
                </a:lnTo>
                <a:lnTo>
                  <a:pt x="363" y="472"/>
                </a:lnTo>
                <a:lnTo>
                  <a:pt x="373" y="481"/>
                </a:lnTo>
                <a:lnTo>
                  <a:pt x="385" y="509"/>
                </a:lnTo>
                <a:lnTo>
                  <a:pt x="405" y="495"/>
                </a:lnTo>
                <a:lnTo>
                  <a:pt x="410" y="483"/>
                </a:lnTo>
                <a:lnTo>
                  <a:pt x="407" y="477"/>
                </a:lnTo>
                <a:lnTo>
                  <a:pt x="393" y="455"/>
                </a:lnTo>
                <a:lnTo>
                  <a:pt x="375" y="439"/>
                </a:lnTo>
                <a:lnTo>
                  <a:pt x="367" y="446"/>
                </a:lnTo>
                <a:lnTo>
                  <a:pt x="358" y="439"/>
                </a:lnTo>
                <a:lnTo>
                  <a:pt x="351" y="424"/>
                </a:lnTo>
                <a:lnTo>
                  <a:pt x="351" y="410"/>
                </a:lnTo>
                <a:lnTo>
                  <a:pt x="341" y="393"/>
                </a:lnTo>
                <a:lnTo>
                  <a:pt x="341" y="379"/>
                </a:lnTo>
                <a:lnTo>
                  <a:pt x="325" y="363"/>
                </a:lnTo>
                <a:lnTo>
                  <a:pt x="322" y="339"/>
                </a:lnTo>
                <a:lnTo>
                  <a:pt x="312" y="317"/>
                </a:lnTo>
                <a:lnTo>
                  <a:pt x="300" y="311"/>
                </a:lnTo>
                <a:lnTo>
                  <a:pt x="305" y="325"/>
                </a:lnTo>
                <a:lnTo>
                  <a:pt x="299" y="319"/>
                </a:lnTo>
                <a:lnTo>
                  <a:pt x="294" y="300"/>
                </a:lnTo>
                <a:lnTo>
                  <a:pt x="283" y="292"/>
                </a:lnTo>
                <a:lnTo>
                  <a:pt x="278" y="275"/>
                </a:lnTo>
                <a:lnTo>
                  <a:pt x="261" y="258"/>
                </a:lnTo>
                <a:lnTo>
                  <a:pt x="254" y="229"/>
                </a:lnTo>
                <a:lnTo>
                  <a:pt x="246" y="224"/>
                </a:lnTo>
                <a:lnTo>
                  <a:pt x="238" y="206"/>
                </a:lnTo>
                <a:lnTo>
                  <a:pt x="226" y="203"/>
                </a:lnTo>
                <a:lnTo>
                  <a:pt x="217" y="182"/>
                </a:lnTo>
                <a:lnTo>
                  <a:pt x="192" y="158"/>
                </a:lnTo>
                <a:lnTo>
                  <a:pt x="185" y="158"/>
                </a:lnTo>
                <a:lnTo>
                  <a:pt x="173" y="136"/>
                </a:lnTo>
                <a:lnTo>
                  <a:pt x="168" y="96"/>
                </a:lnTo>
                <a:lnTo>
                  <a:pt x="163" y="84"/>
                </a:lnTo>
                <a:lnTo>
                  <a:pt x="159" y="45"/>
                </a:lnTo>
                <a:close/>
                <a:moveTo>
                  <a:pt x="1450" y="619"/>
                </a:moveTo>
                <a:lnTo>
                  <a:pt x="1443" y="620"/>
                </a:lnTo>
                <a:lnTo>
                  <a:pt x="1439" y="633"/>
                </a:lnTo>
                <a:lnTo>
                  <a:pt x="1450" y="619"/>
                </a:lnTo>
                <a:close/>
                <a:moveTo>
                  <a:pt x="269" y="195"/>
                </a:moveTo>
                <a:lnTo>
                  <a:pt x="271" y="187"/>
                </a:lnTo>
                <a:lnTo>
                  <a:pt x="277" y="189"/>
                </a:lnTo>
                <a:lnTo>
                  <a:pt x="280" y="209"/>
                </a:lnTo>
                <a:lnTo>
                  <a:pt x="269" y="207"/>
                </a:lnTo>
                <a:lnTo>
                  <a:pt x="269" y="195"/>
                </a:lnTo>
                <a:close/>
                <a:moveTo>
                  <a:pt x="241" y="198"/>
                </a:moveTo>
                <a:lnTo>
                  <a:pt x="238" y="198"/>
                </a:lnTo>
                <a:lnTo>
                  <a:pt x="221" y="170"/>
                </a:lnTo>
                <a:lnTo>
                  <a:pt x="241" y="198"/>
                </a:lnTo>
                <a:close/>
                <a:moveTo>
                  <a:pt x="0" y="198"/>
                </a:moveTo>
                <a:lnTo>
                  <a:pt x="2" y="190"/>
                </a:lnTo>
                <a:lnTo>
                  <a:pt x="3" y="206"/>
                </a:lnTo>
                <a:lnTo>
                  <a:pt x="0" y="198"/>
                </a:lnTo>
                <a:close/>
                <a:moveTo>
                  <a:pt x="144" y="248"/>
                </a:moveTo>
                <a:lnTo>
                  <a:pt x="139" y="243"/>
                </a:lnTo>
                <a:lnTo>
                  <a:pt x="146" y="231"/>
                </a:lnTo>
                <a:lnTo>
                  <a:pt x="144" y="248"/>
                </a:lnTo>
                <a:close/>
                <a:moveTo>
                  <a:pt x="964" y="387"/>
                </a:moveTo>
                <a:lnTo>
                  <a:pt x="967" y="396"/>
                </a:lnTo>
                <a:lnTo>
                  <a:pt x="962" y="401"/>
                </a:lnTo>
                <a:lnTo>
                  <a:pt x="961" y="393"/>
                </a:lnTo>
                <a:lnTo>
                  <a:pt x="964" y="387"/>
                </a:lnTo>
                <a:close/>
              </a:path>
            </a:pathLst>
          </a:custGeom>
          <a:solidFill>
            <a:schemeClr val="accent1"/>
          </a:solidFill>
          <a:ln w="6350" cap="flat" cmpd="sng">
            <a:solidFill>
              <a:srgbClr val="B2B2B2"/>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38" name="Ellipse 88">
            <a:extLst>
              <a:ext uri="{FF2B5EF4-FFF2-40B4-BE49-F238E27FC236}">
                <a16:creationId xmlns:a16="http://schemas.microsoft.com/office/drawing/2014/main" id="{785F319D-C65C-3B43-AC93-1CF9FED17D16}"/>
              </a:ext>
            </a:extLst>
          </p:cNvPr>
          <p:cNvSpPr/>
          <p:nvPr/>
        </p:nvSpPr>
        <p:spPr>
          <a:xfrm>
            <a:off x="3477060" y="1876751"/>
            <a:ext cx="144000" cy="144000"/>
          </a:xfrm>
          <a:prstGeom prst="ellipse">
            <a:avLst/>
          </a:prstGeom>
          <a:solidFill>
            <a:schemeClr val="accent6"/>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00" u="none" strike="noStrike" kern="1200" cap="none" spc="0" normalizeH="0" baseline="0" noProof="0" dirty="0" err="1">
              <a:ln>
                <a:noFill/>
              </a:ln>
              <a:solidFill>
                <a:srgbClr val="FFFFFF"/>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39" name="ZoneTexte 89">
            <a:extLst>
              <a:ext uri="{FF2B5EF4-FFF2-40B4-BE49-F238E27FC236}">
                <a16:creationId xmlns:a16="http://schemas.microsoft.com/office/drawing/2014/main" id="{7155C41C-4220-4C4D-9FF9-1CE0259A0932}"/>
              </a:ext>
            </a:extLst>
          </p:cNvPr>
          <p:cNvSpPr txBox="1"/>
          <p:nvPr/>
        </p:nvSpPr>
        <p:spPr>
          <a:xfrm>
            <a:off x="2933515" y="1868516"/>
            <a:ext cx="504492" cy="327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u="none" strike="noStrike" kern="1200" cap="none" spc="0" normalizeH="0" baseline="0" noProof="0" dirty="0">
                <a:ln>
                  <a:noFill/>
                </a:ln>
                <a:solidFill>
                  <a:srgbClr val="333333"/>
                </a:solidFill>
                <a:effectLst/>
                <a:uLnTx/>
                <a:uFillTx/>
                <a:latin typeface="Roboto Light" panose="02000000000000000000" pitchFamily="2" charset="0"/>
                <a:ea typeface="Roboto Light" panose="02000000000000000000" pitchFamily="2" charset="0"/>
                <a:cs typeface="Roboto Light" panose="02000000000000000000" pitchFamily="2" charset="0"/>
              </a:rPr>
              <a:t>Mexico City</a:t>
            </a:r>
          </a:p>
        </p:txBody>
      </p:sp>
      <p:sp>
        <p:nvSpPr>
          <p:cNvPr id="40" name="Ellipse 88">
            <a:extLst>
              <a:ext uri="{FF2B5EF4-FFF2-40B4-BE49-F238E27FC236}">
                <a16:creationId xmlns:a16="http://schemas.microsoft.com/office/drawing/2014/main" id="{0DEA81F2-E94C-3847-AB07-1D0210ABBAD8}"/>
              </a:ext>
            </a:extLst>
          </p:cNvPr>
          <p:cNvSpPr/>
          <p:nvPr/>
        </p:nvSpPr>
        <p:spPr>
          <a:xfrm>
            <a:off x="1481604" y="2156600"/>
            <a:ext cx="144000" cy="144000"/>
          </a:xfrm>
          <a:prstGeom prst="ellipse">
            <a:avLst/>
          </a:prstGeom>
          <a:solidFill>
            <a:schemeClr val="accent6"/>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00" u="none" strike="noStrike" kern="1200" cap="none" spc="0" normalizeH="0" baseline="0" noProof="0" dirty="0" err="1">
              <a:ln>
                <a:noFill/>
              </a:ln>
              <a:solidFill>
                <a:srgbClr val="FFFFFF"/>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41" name="ZoneTexte 89">
            <a:extLst>
              <a:ext uri="{FF2B5EF4-FFF2-40B4-BE49-F238E27FC236}">
                <a16:creationId xmlns:a16="http://schemas.microsoft.com/office/drawing/2014/main" id="{9A995149-7905-A84D-B39E-9806CEAB52E2}"/>
              </a:ext>
            </a:extLst>
          </p:cNvPr>
          <p:cNvSpPr txBox="1"/>
          <p:nvPr/>
        </p:nvSpPr>
        <p:spPr>
          <a:xfrm>
            <a:off x="938354" y="2064154"/>
            <a:ext cx="504492" cy="327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u="none" strike="noStrike" kern="1200" cap="none" spc="0" normalizeH="0" baseline="0" noProof="0" dirty="0">
                <a:ln>
                  <a:noFill/>
                </a:ln>
                <a:solidFill>
                  <a:srgbClr val="333333"/>
                </a:solidFill>
                <a:effectLst/>
                <a:uLnTx/>
                <a:uFillTx/>
                <a:latin typeface="Roboto Light" panose="02000000000000000000" pitchFamily="2" charset="0"/>
                <a:ea typeface="Roboto Light" panose="02000000000000000000" pitchFamily="2" charset="0"/>
                <a:cs typeface="Roboto Light" panose="02000000000000000000" pitchFamily="2" charset="0"/>
              </a:rPr>
              <a:t>Bogota</a:t>
            </a:r>
          </a:p>
        </p:txBody>
      </p:sp>
      <p:sp>
        <p:nvSpPr>
          <p:cNvPr id="42" name="Ellipse 90">
            <a:extLst>
              <a:ext uri="{FF2B5EF4-FFF2-40B4-BE49-F238E27FC236}">
                <a16:creationId xmlns:a16="http://schemas.microsoft.com/office/drawing/2014/main" id="{98D120FB-977B-194F-B40B-F1E8353913AA}"/>
              </a:ext>
            </a:extLst>
          </p:cNvPr>
          <p:cNvSpPr/>
          <p:nvPr/>
        </p:nvSpPr>
        <p:spPr>
          <a:xfrm>
            <a:off x="2796704" y="3436176"/>
            <a:ext cx="144000" cy="144000"/>
          </a:xfrm>
          <a:prstGeom prst="ellipse">
            <a:avLst/>
          </a:prstGeom>
          <a:solidFill>
            <a:schemeClr val="accent6"/>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00" u="none" strike="noStrike" kern="1200" cap="none" spc="0" normalizeH="0" baseline="0" noProof="0" dirty="0" err="1">
              <a:ln>
                <a:noFill/>
              </a:ln>
              <a:solidFill>
                <a:srgbClr val="FFFFFF"/>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43" name="ZoneTexte 91">
            <a:extLst>
              <a:ext uri="{FF2B5EF4-FFF2-40B4-BE49-F238E27FC236}">
                <a16:creationId xmlns:a16="http://schemas.microsoft.com/office/drawing/2014/main" id="{9FB91270-8067-874A-8CCC-CF8F4CE05D90}"/>
              </a:ext>
            </a:extLst>
          </p:cNvPr>
          <p:cNvSpPr txBox="1"/>
          <p:nvPr/>
        </p:nvSpPr>
        <p:spPr>
          <a:xfrm>
            <a:off x="2402249" y="3160183"/>
            <a:ext cx="924065" cy="327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800" u="none" strike="noStrike" kern="1200" cap="none" spc="0" normalizeH="0" baseline="0" noProof="0" dirty="0">
                <a:ln>
                  <a:noFill/>
                </a:ln>
                <a:solidFill>
                  <a:schemeClr val="bg1"/>
                </a:solidFill>
                <a:effectLst/>
                <a:uLnTx/>
                <a:uFillTx/>
                <a:latin typeface="Roboto Light" panose="02000000000000000000" pitchFamily="2" charset="0"/>
                <a:ea typeface="Roboto Light" panose="02000000000000000000" pitchFamily="2" charset="0"/>
                <a:cs typeface="Roboto Light" panose="02000000000000000000" pitchFamily="2" charset="0"/>
              </a:rPr>
              <a:t>Belo Horizonte</a:t>
            </a:r>
          </a:p>
        </p:txBody>
      </p:sp>
      <p:sp>
        <p:nvSpPr>
          <p:cNvPr id="44" name="Ellipse 90">
            <a:extLst>
              <a:ext uri="{FF2B5EF4-FFF2-40B4-BE49-F238E27FC236}">
                <a16:creationId xmlns:a16="http://schemas.microsoft.com/office/drawing/2014/main" id="{C1E789F9-4285-6646-9710-66CE4DC06F92}"/>
              </a:ext>
            </a:extLst>
          </p:cNvPr>
          <p:cNvSpPr/>
          <p:nvPr/>
        </p:nvSpPr>
        <p:spPr>
          <a:xfrm>
            <a:off x="2636783" y="3634777"/>
            <a:ext cx="144000" cy="144000"/>
          </a:xfrm>
          <a:prstGeom prst="ellipse">
            <a:avLst/>
          </a:prstGeom>
          <a:solidFill>
            <a:schemeClr val="accent6"/>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00" u="none" strike="noStrike" kern="1200" cap="none" spc="0" normalizeH="0" baseline="0" noProof="0" dirty="0" err="1">
              <a:ln>
                <a:noFill/>
              </a:ln>
              <a:solidFill>
                <a:srgbClr val="FFFFFF"/>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45" name="ZoneTexte 91">
            <a:extLst>
              <a:ext uri="{FF2B5EF4-FFF2-40B4-BE49-F238E27FC236}">
                <a16:creationId xmlns:a16="http://schemas.microsoft.com/office/drawing/2014/main" id="{60135434-6857-4C46-9277-1C2D74AB088D}"/>
              </a:ext>
            </a:extLst>
          </p:cNvPr>
          <p:cNvSpPr txBox="1"/>
          <p:nvPr/>
        </p:nvSpPr>
        <p:spPr>
          <a:xfrm>
            <a:off x="2698033" y="3682141"/>
            <a:ext cx="680596" cy="327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800" u="none" strike="noStrike" kern="1200" cap="none" spc="0" normalizeH="0" baseline="0" noProof="0" dirty="0">
                <a:ln>
                  <a:noFill/>
                </a:ln>
                <a:solidFill>
                  <a:srgbClr val="333333"/>
                </a:solidFill>
                <a:effectLst/>
                <a:uLnTx/>
                <a:uFillTx/>
                <a:latin typeface="Roboto Light" panose="02000000000000000000" pitchFamily="2" charset="0"/>
                <a:ea typeface="Roboto Light" panose="02000000000000000000" pitchFamily="2" charset="0"/>
                <a:cs typeface="Roboto Light" panose="02000000000000000000" pitchFamily="2" charset="0"/>
              </a:rPr>
              <a:t>Sao Paulo</a:t>
            </a:r>
          </a:p>
        </p:txBody>
      </p:sp>
      <p:sp>
        <p:nvSpPr>
          <p:cNvPr id="46" name="Rectangle 45">
            <a:extLst>
              <a:ext uri="{FF2B5EF4-FFF2-40B4-BE49-F238E27FC236}">
                <a16:creationId xmlns:a16="http://schemas.microsoft.com/office/drawing/2014/main" id="{7E6777E8-CDDE-F54E-8F20-B3C246957781}"/>
              </a:ext>
            </a:extLst>
          </p:cNvPr>
          <p:cNvSpPr/>
          <p:nvPr>
            <p:custDataLst>
              <p:tags r:id="rId2"/>
            </p:custDataLst>
          </p:nvPr>
        </p:nvSpPr>
        <p:spPr>
          <a:xfrm>
            <a:off x="2948331" y="5712781"/>
            <a:ext cx="180000" cy="9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u="none" strike="noStrike" kern="1200" cap="none" spc="0" normalizeH="0" baseline="0" noProof="0" dirty="0" err="1">
              <a:ln>
                <a:noFill/>
              </a:ln>
              <a:solidFill>
                <a:srgbClr val="FFFFFF"/>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47" name="TextBox 46">
            <a:extLst>
              <a:ext uri="{FF2B5EF4-FFF2-40B4-BE49-F238E27FC236}">
                <a16:creationId xmlns:a16="http://schemas.microsoft.com/office/drawing/2014/main" id="{2EA506EB-00B1-5F4B-B682-8B1B56C02FDA}"/>
              </a:ext>
            </a:extLst>
          </p:cNvPr>
          <p:cNvSpPr txBox="1"/>
          <p:nvPr/>
        </p:nvSpPr>
        <p:spPr>
          <a:xfrm>
            <a:off x="3182270" y="5680733"/>
            <a:ext cx="1041605" cy="1540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u="none" strike="noStrike" kern="1200" cap="none" spc="0" normalizeH="0" baseline="0" noProof="0" dirty="0">
                <a:ln>
                  <a:noFill/>
                </a:ln>
                <a:solidFill>
                  <a:srgbClr val="333333"/>
                </a:solidFill>
                <a:effectLst/>
                <a:uLnTx/>
                <a:uFillTx/>
                <a:latin typeface="Roboto Light" panose="02000000000000000000" pitchFamily="2" charset="0"/>
                <a:ea typeface="Roboto Light" panose="02000000000000000000" pitchFamily="2" charset="0"/>
                <a:cs typeface="Roboto Light" panose="02000000000000000000" pitchFamily="2" charset="0"/>
              </a:rPr>
              <a:t>Appian watchlist countries</a:t>
            </a:r>
          </a:p>
        </p:txBody>
      </p:sp>
      <p:sp>
        <p:nvSpPr>
          <p:cNvPr id="48" name="Freeform 169">
            <a:extLst>
              <a:ext uri="{FF2B5EF4-FFF2-40B4-BE49-F238E27FC236}">
                <a16:creationId xmlns:a16="http://schemas.microsoft.com/office/drawing/2014/main" id="{1B446EAB-3667-BD46-A582-9267BCBDC728}"/>
              </a:ext>
            </a:extLst>
          </p:cNvPr>
          <p:cNvSpPr>
            <a:spLocks noChangeAspect="1"/>
          </p:cNvSpPr>
          <p:nvPr/>
        </p:nvSpPr>
        <p:spPr bwMode="gray">
          <a:xfrm>
            <a:off x="5334477" y="1446366"/>
            <a:ext cx="175142" cy="234537"/>
          </a:xfrm>
          <a:custGeom>
            <a:avLst/>
            <a:gdLst>
              <a:gd name="T0" fmla="*/ 139 w 178"/>
              <a:gd name="T1" fmla="*/ 0 h 198"/>
              <a:gd name="T2" fmla="*/ 104 w 178"/>
              <a:gd name="T3" fmla="*/ 0 h 198"/>
              <a:gd name="T4" fmla="*/ 60 w 178"/>
              <a:gd name="T5" fmla="*/ 0 h 198"/>
              <a:gd name="T6" fmla="*/ 60 w 178"/>
              <a:gd name="T7" fmla="*/ 24 h 198"/>
              <a:gd name="T8" fmla="*/ 31 w 178"/>
              <a:gd name="T9" fmla="*/ 24 h 198"/>
              <a:gd name="T10" fmla="*/ 66 w 178"/>
              <a:gd name="T11" fmla="*/ 52 h 198"/>
              <a:gd name="T12" fmla="*/ 80 w 178"/>
              <a:gd name="T13" fmla="*/ 71 h 198"/>
              <a:gd name="T14" fmla="*/ 79 w 178"/>
              <a:gd name="T15" fmla="*/ 83 h 198"/>
              <a:gd name="T16" fmla="*/ 33 w 178"/>
              <a:gd name="T17" fmla="*/ 84 h 198"/>
              <a:gd name="T18" fmla="*/ 4 w 178"/>
              <a:gd name="T19" fmla="*/ 132 h 198"/>
              <a:gd name="T20" fmla="*/ 6 w 178"/>
              <a:gd name="T21" fmla="*/ 139 h 198"/>
              <a:gd name="T22" fmla="*/ 0 w 178"/>
              <a:gd name="T23" fmla="*/ 157 h 198"/>
              <a:gd name="T24" fmla="*/ 40 w 178"/>
              <a:gd name="T25" fmla="*/ 188 h 198"/>
              <a:gd name="T26" fmla="*/ 100 w 178"/>
              <a:gd name="T27" fmla="*/ 198 h 198"/>
              <a:gd name="T28" fmla="*/ 105 w 178"/>
              <a:gd name="T29" fmla="*/ 186 h 198"/>
              <a:gd name="T30" fmla="*/ 122 w 178"/>
              <a:gd name="T31" fmla="*/ 177 h 198"/>
              <a:gd name="T32" fmla="*/ 127 w 178"/>
              <a:gd name="T33" fmla="*/ 164 h 198"/>
              <a:gd name="T34" fmla="*/ 138 w 178"/>
              <a:gd name="T35" fmla="*/ 154 h 198"/>
              <a:gd name="T36" fmla="*/ 138 w 178"/>
              <a:gd name="T37" fmla="*/ 140 h 198"/>
              <a:gd name="T38" fmla="*/ 175 w 178"/>
              <a:gd name="T39" fmla="*/ 111 h 198"/>
              <a:gd name="T40" fmla="*/ 178 w 178"/>
              <a:gd name="T41" fmla="*/ 101 h 198"/>
              <a:gd name="T42" fmla="*/ 172 w 178"/>
              <a:gd name="T43" fmla="*/ 98 h 198"/>
              <a:gd name="T44" fmla="*/ 163 w 178"/>
              <a:gd name="T45" fmla="*/ 101 h 198"/>
              <a:gd name="T46" fmla="*/ 153 w 178"/>
              <a:gd name="T47" fmla="*/ 92 h 198"/>
              <a:gd name="T48" fmla="*/ 138 w 178"/>
              <a:gd name="T49" fmla="*/ 91 h 198"/>
              <a:gd name="T50" fmla="*/ 139 w 178"/>
              <a:gd name="T51"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8" h="198">
                <a:moveTo>
                  <a:pt x="139" y="0"/>
                </a:moveTo>
                <a:lnTo>
                  <a:pt x="104" y="0"/>
                </a:lnTo>
                <a:lnTo>
                  <a:pt x="60" y="0"/>
                </a:lnTo>
                <a:lnTo>
                  <a:pt x="60" y="24"/>
                </a:lnTo>
                <a:lnTo>
                  <a:pt x="31" y="24"/>
                </a:lnTo>
                <a:lnTo>
                  <a:pt x="66" y="52"/>
                </a:lnTo>
                <a:lnTo>
                  <a:pt x="80" y="71"/>
                </a:lnTo>
                <a:lnTo>
                  <a:pt x="79" y="83"/>
                </a:lnTo>
                <a:lnTo>
                  <a:pt x="33" y="84"/>
                </a:lnTo>
                <a:lnTo>
                  <a:pt x="4" y="132"/>
                </a:lnTo>
                <a:lnTo>
                  <a:pt x="6" y="139"/>
                </a:lnTo>
                <a:lnTo>
                  <a:pt x="0" y="157"/>
                </a:lnTo>
                <a:lnTo>
                  <a:pt x="40" y="188"/>
                </a:lnTo>
                <a:lnTo>
                  <a:pt x="100" y="198"/>
                </a:lnTo>
                <a:lnTo>
                  <a:pt x="105" y="186"/>
                </a:lnTo>
                <a:lnTo>
                  <a:pt x="122" y="177"/>
                </a:lnTo>
                <a:lnTo>
                  <a:pt x="127" y="164"/>
                </a:lnTo>
                <a:lnTo>
                  <a:pt x="138" y="154"/>
                </a:lnTo>
                <a:lnTo>
                  <a:pt x="138" y="140"/>
                </a:lnTo>
                <a:lnTo>
                  <a:pt x="175" y="111"/>
                </a:lnTo>
                <a:lnTo>
                  <a:pt x="178" y="101"/>
                </a:lnTo>
                <a:lnTo>
                  <a:pt x="172" y="98"/>
                </a:lnTo>
                <a:lnTo>
                  <a:pt x="163" y="101"/>
                </a:lnTo>
                <a:lnTo>
                  <a:pt x="153" y="92"/>
                </a:lnTo>
                <a:lnTo>
                  <a:pt x="138" y="91"/>
                </a:lnTo>
                <a:lnTo>
                  <a:pt x="139" y="0"/>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49" name="Freeform 171">
            <a:extLst>
              <a:ext uri="{FF2B5EF4-FFF2-40B4-BE49-F238E27FC236}">
                <a16:creationId xmlns:a16="http://schemas.microsoft.com/office/drawing/2014/main" id="{A821CD41-78FC-0F40-A16A-D512EEB7413E}"/>
              </a:ext>
            </a:extLst>
          </p:cNvPr>
          <p:cNvSpPr>
            <a:spLocks noChangeAspect="1"/>
          </p:cNvSpPr>
          <p:nvPr/>
        </p:nvSpPr>
        <p:spPr bwMode="gray">
          <a:xfrm>
            <a:off x="5435018" y="1645722"/>
            <a:ext cx="103790" cy="66451"/>
          </a:xfrm>
          <a:custGeom>
            <a:avLst/>
            <a:gdLst>
              <a:gd name="T0" fmla="*/ 0 w 106"/>
              <a:gd name="T1" fmla="*/ 34 h 60"/>
              <a:gd name="T2" fmla="*/ 5 w 106"/>
              <a:gd name="T3" fmla="*/ 22 h 60"/>
              <a:gd name="T4" fmla="*/ 22 w 106"/>
              <a:gd name="T5" fmla="*/ 13 h 60"/>
              <a:gd name="T6" fmla="*/ 27 w 106"/>
              <a:gd name="T7" fmla="*/ 0 h 60"/>
              <a:gd name="T8" fmla="*/ 42 w 106"/>
              <a:gd name="T9" fmla="*/ 4 h 60"/>
              <a:gd name="T10" fmla="*/ 72 w 106"/>
              <a:gd name="T11" fmla="*/ 26 h 60"/>
              <a:gd name="T12" fmla="*/ 90 w 106"/>
              <a:gd name="T13" fmla="*/ 24 h 60"/>
              <a:gd name="T14" fmla="*/ 98 w 106"/>
              <a:gd name="T15" fmla="*/ 27 h 60"/>
              <a:gd name="T16" fmla="*/ 104 w 106"/>
              <a:gd name="T17" fmla="*/ 32 h 60"/>
              <a:gd name="T18" fmla="*/ 106 w 106"/>
              <a:gd name="T19" fmla="*/ 49 h 60"/>
              <a:gd name="T20" fmla="*/ 87 w 106"/>
              <a:gd name="T21" fmla="*/ 60 h 60"/>
              <a:gd name="T22" fmla="*/ 63 w 106"/>
              <a:gd name="T23" fmla="*/ 60 h 60"/>
              <a:gd name="T24" fmla="*/ 17 w 106"/>
              <a:gd name="T25" fmla="*/ 44 h 60"/>
              <a:gd name="T26" fmla="*/ 0 w 106"/>
              <a:gd name="T27"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6" h="60">
                <a:moveTo>
                  <a:pt x="0" y="34"/>
                </a:moveTo>
                <a:lnTo>
                  <a:pt x="5" y="22"/>
                </a:lnTo>
                <a:lnTo>
                  <a:pt x="22" y="13"/>
                </a:lnTo>
                <a:lnTo>
                  <a:pt x="27" y="0"/>
                </a:lnTo>
                <a:lnTo>
                  <a:pt x="42" y="4"/>
                </a:lnTo>
                <a:lnTo>
                  <a:pt x="72" y="26"/>
                </a:lnTo>
                <a:lnTo>
                  <a:pt x="90" y="24"/>
                </a:lnTo>
                <a:lnTo>
                  <a:pt x="98" y="27"/>
                </a:lnTo>
                <a:lnTo>
                  <a:pt x="104" y="32"/>
                </a:lnTo>
                <a:lnTo>
                  <a:pt x="106" y="49"/>
                </a:lnTo>
                <a:lnTo>
                  <a:pt x="87" y="60"/>
                </a:lnTo>
                <a:lnTo>
                  <a:pt x="63" y="60"/>
                </a:lnTo>
                <a:lnTo>
                  <a:pt x="17" y="44"/>
                </a:lnTo>
                <a:lnTo>
                  <a:pt x="0" y="34"/>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50" name="Freeform 172">
            <a:extLst>
              <a:ext uri="{FF2B5EF4-FFF2-40B4-BE49-F238E27FC236}">
                <a16:creationId xmlns:a16="http://schemas.microsoft.com/office/drawing/2014/main" id="{5BAB4B4E-055B-5741-8639-D12F97840C01}"/>
              </a:ext>
            </a:extLst>
          </p:cNvPr>
          <p:cNvSpPr>
            <a:spLocks noChangeAspect="1"/>
          </p:cNvSpPr>
          <p:nvPr/>
        </p:nvSpPr>
        <p:spPr bwMode="gray">
          <a:xfrm>
            <a:off x="5548540" y="1610539"/>
            <a:ext cx="194602" cy="238446"/>
          </a:xfrm>
          <a:custGeom>
            <a:avLst/>
            <a:gdLst>
              <a:gd name="T0" fmla="*/ 82 w 197"/>
              <a:gd name="T1" fmla="*/ 186 h 200"/>
              <a:gd name="T2" fmla="*/ 93 w 197"/>
              <a:gd name="T3" fmla="*/ 181 h 200"/>
              <a:gd name="T4" fmla="*/ 119 w 197"/>
              <a:gd name="T5" fmla="*/ 189 h 200"/>
              <a:gd name="T6" fmla="*/ 138 w 197"/>
              <a:gd name="T7" fmla="*/ 188 h 200"/>
              <a:gd name="T8" fmla="*/ 158 w 197"/>
              <a:gd name="T9" fmla="*/ 200 h 200"/>
              <a:gd name="T10" fmla="*/ 178 w 197"/>
              <a:gd name="T11" fmla="*/ 193 h 200"/>
              <a:gd name="T12" fmla="*/ 172 w 197"/>
              <a:gd name="T13" fmla="*/ 167 h 200"/>
              <a:gd name="T14" fmla="*/ 176 w 197"/>
              <a:gd name="T15" fmla="*/ 152 h 200"/>
              <a:gd name="T16" fmla="*/ 184 w 197"/>
              <a:gd name="T17" fmla="*/ 70 h 200"/>
              <a:gd name="T18" fmla="*/ 195 w 197"/>
              <a:gd name="T19" fmla="*/ 36 h 200"/>
              <a:gd name="T20" fmla="*/ 197 w 197"/>
              <a:gd name="T21" fmla="*/ 0 h 200"/>
              <a:gd name="T22" fmla="*/ 187 w 197"/>
              <a:gd name="T23" fmla="*/ 0 h 200"/>
              <a:gd name="T24" fmla="*/ 151 w 197"/>
              <a:gd name="T25" fmla="*/ 19 h 200"/>
              <a:gd name="T26" fmla="*/ 136 w 197"/>
              <a:gd name="T27" fmla="*/ 17 h 200"/>
              <a:gd name="T28" fmla="*/ 125 w 197"/>
              <a:gd name="T29" fmla="*/ 10 h 200"/>
              <a:gd name="T30" fmla="*/ 111 w 197"/>
              <a:gd name="T31" fmla="*/ 36 h 200"/>
              <a:gd name="T32" fmla="*/ 104 w 197"/>
              <a:gd name="T33" fmla="*/ 36 h 200"/>
              <a:gd name="T34" fmla="*/ 82 w 197"/>
              <a:gd name="T35" fmla="*/ 53 h 200"/>
              <a:gd name="T36" fmla="*/ 65 w 197"/>
              <a:gd name="T37" fmla="*/ 45 h 200"/>
              <a:gd name="T38" fmla="*/ 57 w 197"/>
              <a:gd name="T39" fmla="*/ 61 h 200"/>
              <a:gd name="T40" fmla="*/ 37 w 197"/>
              <a:gd name="T41" fmla="*/ 61 h 200"/>
              <a:gd name="T42" fmla="*/ 36 w 197"/>
              <a:gd name="T43" fmla="*/ 79 h 200"/>
              <a:gd name="T44" fmla="*/ 25 w 197"/>
              <a:gd name="T45" fmla="*/ 93 h 200"/>
              <a:gd name="T46" fmla="*/ 9 w 197"/>
              <a:gd name="T47" fmla="*/ 95 h 200"/>
              <a:gd name="T48" fmla="*/ 0 w 197"/>
              <a:gd name="T49" fmla="*/ 95 h 200"/>
              <a:gd name="T50" fmla="*/ 0 w 197"/>
              <a:gd name="T51" fmla="*/ 102 h 200"/>
              <a:gd name="T52" fmla="*/ 82 w 197"/>
              <a:gd name="T53" fmla="*/ 18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7" h="200">
                <a:moveTo>
                  <a:pt x="82" y="186"/>
                </a:moveTo>
                <a:lnTo>
                  <a:pt x="93" y="181"/>
                </a:lnTo>
                <a:lnTo>
                  <a:pt x="119" y="189"/>
                </a:lnTo>
                <a:lnTo>
                  <a:pt x="138" y="188"/>
                </a:lnTo>
                <a:lnTo>
                  <a:pt x="158" y="200"/>
                </a:lnTo>
                <a:lnTo>
                  <a:pt x="178" y="193"/>
                </a:lnTo>
                <a:lnTo>
                  <a:pt x="172" y="167"/>
                </a:lnTo>
                <a:lnTo>
                  <a:pt x="176" y="152"/>
                </a:lnTo>
                <a:lnTo>
                  <a:pt x="184" y="70"/>
                </a:lnTo>
                <a:lnTo>
                  <a:pt x="195" y="36"/>
                </a:lnTo>
                <a:lnTo>
                  <a:pt x="197" y="0"/>
                </a:lnTo>
                <a:lnTo>
                  <a:pt x="187" y="0"/>
                </a:lnTo>
                <a:lnTo>
                  <a:pt x="151" y="19"/>
                </a:lnTo>
                <a:lnTo>
                  <a:pt x="136" y="17"/>
                </a:lnTo>
                <a:lnTo>
                  <a:pt x="125" y="10"/>
                </a:lnTo>
                <a:lnTo>
                  <a:pt x="111" y="36"/>
                </a:lnTo>
                <a:lnTo>
                  <a:pt x="104" y="36"/>
                </a:lnTo>
                <a:lnTo>
                  <a:pt x="82" y="53"/>
                </a:lnTo>
                <a:lnTo>
                  <a:pt x="65" y="45"/>
                </a:lnTo>
                <a:lnTo>
                  <a:pt x="57" y="61"/>
                </a:lnTo>
                <a:lnTo>
                  <a:pt x="37" y="61"/>
                </a:lnTo>
                <a:lnTo>
                  <a:pt x="36" y="79"/>
                </a:lnTo>
                <a:lnTo>
                  <a:pt x="25" y="93"/>
                </a:lnTo>
                <a:lnTo>
                  <a:pt x="9" y="95"/>
                </a:lnTo>
                <a:lnTo>
                  <a:pt x="0" y="95"/>
                </a:lnTo>
                <a:lnTo>
                  <a:pt x="0" y="102"/>
                </a:lnTo>
                <a:lnTo>
                  <a:pt x="82" y="186"/>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51" name="Freeform 173">
            <a:extLst>
              <a:ext uri="{FF2B5EF4-FFF2-40B4-BE49-F238E27FC236}">
                <a16:creationId xmlns:a16="http://schemas.microsoft.com/office/drawing/2014/main" id="{C4E0E33A-CB82-DF4B-8228-E04A716C1F8D}"/>
              </a:ext>
            </a:extLst>
          </p:cNvPr>
          <p:cNvSpPr>
            <a:spLocks noChangeAspect="1"/>
          </p:cNvSpPr>
          <p:nvPr/>
        </p:nvSpPr>
        <p:spPr bwMode="gray">
          <a:xfrm>
            <a:off x="5460964" y="1551903"/>
            <a:ext cx="282170" cy="171995"/>
          </a:xfrm>
          <a:custGeom>
            <a:avLst/>
            <a:gdLst>
              <a:gd name="T0" fmla="*/ 285 w 285"/>
              <a:gd name="T1" fmla="*/ 46 h 141"/>
              <a:gd name="T2" fmla="*/ 275 w 285"/>
              <a:gd name="T3" fmla="*/ 46 h 141"/>
              <a:gd name="T4" fmla="*/ 239 w 285"/>
              <a:gd name="T5" fmla="*/ 65 h 141"/>
              <a:gd name="T6" fmla="*/ 224 w 285"/>
              <a:gd name="T7" fmla="*/ 63 h 141"/>
              <a:gd name="T8" fmla="*/ 213 w 285"/>
              <a:gd name="T9" fmla="*/ 56 h 141"/>
              <a:gd name="T10" fmla="*/ 199 w 285"/>
              <a:gd name="T11" fmla="*/ 82 h 141"/>
              <a:gd name="T12" fmla="*/ 192 w 285"/>
              <a:gd name="T13" fmla="*/ 82 h 141"/>
              <a:gd name="T14" fmla="*/ 170 w 285"/>
              <a:gd name="T15" fmla="*/ 99 h 141"/>
              <a:gd name="T16" fmla="*/ 153 w 285"/>
              <a:gd name="T17" fmla="*/ 91 h 141"/>
              <a:gd name="T18" fmla="*/ 145 w 285"/>
              <a:gd name="T19" fmla="*/ 107 h 141"/>
              <a:gd name="T20" fmla="*/ 125 w 285"/>
              <a:gd name="T21" fmla="*/ 107 h 141"/>
              <a:gd name="T22" fmla="*/ 124 w 285"/>
              <a:gd name="T23" fmla="*/ 125 h 141"/>
              <a:gd name="T24" fmla="*/ 113 w 285"/>
              <a:gd name="T25" fmla="*/ 139 h 141"/>
              <a:gd name="T26" fmla="*/ 97 w 285"/>
              <a:gd name="T27" fmla="*/ 141 h 141"/>
              <a:gd name="T28" fmla="*/ 88 w 285"/>
              <a:gd name="T29" fmla="*/ 124 h 141"/>
              <a:gd name="T30" fmla="*/ 79 w 285"/>
              <a:gd name="T31" fmla="*/ 122 h 141"/>
              <a:gd name="T32" fmla="*/ 77 w 285"/>
              <a:gd name="T33" fmla="*/ 105 h 141"/>
              <a:gd name="T34" fmla="*/ 71 w 285"/>
              <a:gd name="T35" fmla="*/ 100 h 141"/>
              <a:gd name="T36" fmla="*/ 63 w 285"/>
              <a:gd name="T37" fmla="*/ 97 h 141"/>
              <a:gd name="T38" fmla="*/ 45 w 285"/>
              <a:gd name="T39" fmla="*/ 99 h 141"/>
              <a:gd name="T40" fmla="*/ 15 w 285"/>
              <a:gd name="T41" fmla="*/ 77 h 141"/>
              <a:gd name="T42" fmla="*/ 0 w 285"/>
              <a:gd name="T43" fmla="*/ 73 h 141"/>
              <a:gd name="T44" fmla="*/ 11 w 285"/>
              <a:gd name="T45" fmla="*/ 63 h 141"/>
              <a:gd name="T46" fmla="*/ 11 w 285"/>
              <a:gd name="T47" fmla="*/ 49 h 141"/>
              <a:gd name="T48" fmla="*/ 48 w 285"/>
              <a:gd name="T49" fmla="*/ 20 h 141"/>
              <a:gd name="T50" fmla="*/ 51 w 285"/>
              <a:gd name="T51" fmla="*/ 10 h 141"/>
              <a:gd name="T52" fmla="*/ 79 w 285"/>
              <a:gd name="T53" fmla="*/ 7 h 141"/>
              <a:gd name="T54" fmla="*/ 124 w 285"/>
              <a:gd name="T55" fmla="*/ 10 h 141"/>
              <a:gd name="T56" fmla="*/ 168 w 285"/>
              <a:gd name="T57" fmla="*/ 0 h 141"/>
              <a:gd name="T58" fmla="*/ 176 w 285"/>
              <a:gd name="T59" fmla="*/ 6 h 141"/>
              <a:gd name="T60" fmla="*/ 204 w 285"/>
              <a:gd name="T61" fmla="*/ 1 h 141"/>
              <a:gd name="T62" fmla="*/ 246 w 285"/>
              <a:gd name="T63" fmla="*/ 14 h 141"/>
              <a:gd name="T64" fmla="*/ 277 w 285"/>
              <a:gd name="T65" fmla="*/ 32 h 141"/>
              <a:gd name="T66" fmla="*/ 285 w 285"/>
              <a:gd name="T67" fmla="*/ 4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5" h="141">
                <a:moveTo>
                  <a:pt x="285" y="46"/>
                </a:moveTo>
                <a:lnTo>
                  <a:pt x="275" y="46"/>
                </a:lnTo>
                <a:lnTo>
                  <a:pt x="239" y="65"/>
                </a:lnTo>
                <a:lnTo>
                  <a:pt x="224" y="63"/>
                </a:lnTo>
                <a:lnTo>
                  <a:pt x="213" y="56"/>
                </a:lnTo>
                <a:lnTo>
                  <a:pt x="199" y="82"/>
                </a:lnTo>
                <a:lnTo>
                  <a:pt x="192" y="82"/>
                </a:lnTo>
                <a:lnTo>
                  <a:pt x="170" y="99"/>
                </a:lnTo>
                <a:lnTo>
                  <a:pt x="153" y="91"/>
                </a:lnTo>
                <a:lnTo>
                  <a:pt x="145" y="107"/>
                </a:lnTo>
                <a:lnTo>
                  <a:pt x="125" y="107"/>
                </a:lnTo>
                <a:lnTo>
                  <a:pt x="124" y="125"/>
                </a:lnTo>
                <a:lnTo>
                  <a:pt x="113" y="139"/>
                </a:lnTo>
                <a:lnTo>
                  <a:pt x="97" y="141"/>
                </a:lnTo>
                <a:lnTo>
                  <a:pt x="88" y="124"/>
                </a:lnTo>
                <a:lnTo>
                  <a:pt x="79" y="122"/>
                </a:lnTo>
                <a:lnTo>
                  <a:pt x="77" y="105"/>
                </a:lnTo>
                <a:lnTo>
                  <a:pt x="71" y="100"/>
                </a:lnTo>
                <a:lnTo>
                  <a:pt x="63" y="97"/>
                </a:lnTo>
                <a:lnTo>
                  <a:pt x="45" y="99"/>
                </a:lnTo>
                <a:lnTo>
                  <a:pt x="15" y="77"/>
                </a:lnTo>
                <a:lnTo>
                  <a:pt x="0" y="73"/>
                </a:lnTo>
                <a:lnTo>
                  <a:pt x="11" y="63"/>
                </a:lnTo>
                <a:lnTo>
                  <a:pt x="11" y="49"/>
                </a:lnTo>
                <a:lnTo>
                  <a:pt x="48" y="20"/>
                </a:lnTo>
                <a:lnTo>
                  <a:pt x="51" y="10"/>
                </a:lnTo>
                <a:lnTo>
                  <a:pt x="79" y="7"/>
                </a:lnTo>
                <a:lnTo>
                  <a:pt x="124" y="10"/>
                </a:lnTo>
                <a:lnTo>
                  <a:pt x="168" y="0"/>
                </a:lnTo>
                <a:lnTo>
                  <a:pt x="176" y="6"/>
                </a:lnTo>
                <a:lnTo>
                  <a:pt x="204" y="1"/>
                </a:lnTo>
                <a:lnTo>
                  <a:pt x="246" y="14"/>
                </a:lnTo>
                <a:lnTo>
                  <a:pt x="277" y="32"/>
                </a:lnTo>
                <a:lnTo>
                  <a:pt x="285" y="46"/>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52" name="Freeform 174">
            <a:extLst>
              <a:ext uri="{FF2B5EF4-FFF2-40B4-BE49-F238E27FC236}">
                <a16:creationId xmlns:a16="http://schemas.microsoft.com/office/drawing/2014/main" id="{7A29C255-35FF-F847-9AEF-B07DBF7CAC30}"/>
              </a:ext>
            </a:extLst>
          </p:cNvPr>
          <p:cNvSpPr>
            <a:spLocks noChangeAspect="1"/>
          </p:cNvSpPr>
          <p:nvPr/>
        </p:nvSpPr>
        <p:spPr bwMode="gray">
          <a:xfrm>
            <a:off x="5626374" y="1825534"/>
            <a:ext cx="149194" cy="160263"/>
          </a:xfrm>
          <a:custGeom>
            <a:avLst/>
            <a:gdLst>
              <a:gd name="T0" fmla="*/ 130 w 150"/>
              <a:gd name="T1" fmla="*/ 132 h 132"/>
              <a:gd name="T2" fmla="*/ 136 w 150"/>
              <a:gd name="T3" fmla="*/ 124 h 132"/>
              <a:gd name="T4" fmla="*/ 144 w 150"/>
              <a:gd name="T5" fmla="*/ 98 h 132"/>
              <a:gd name="T6" fmla="*/ 135 w 150"/>
              <a:gd name="T7" fmla="*/ 91 h 132"/>
              <a:gd name="T8" fmla="*/ 136 w 150"/>
              <a:gd name="T9" fmla="*/ 79 h 132"/>
              <a:gd name="T10" fmla="*/ 142 w 150"/>
              <a:gd name="T11" fmla="*/ 73 h 132"/>
              <a:gd name="T12" fmla="*/ 150 w 150"/>
              <a:gd name="T13" fmla="*/ 73 h 132"/>
              <a:gd name="T14" fmla="*/ 118 w 150"/>
              <a:gd name="T15" fmla="*/ 45 h 132"/>
              <a:gd name="T16" fmla="*/ 99 w 150"/>
              <a:gd name="T17" fmla="*/ 12 h 132"/>
              <a:gd name="T18" fmla="*/ 79 w 150"/>
              <a:gd name="T19" fmla="*/ 19 h 132"/>
              <a:gd name="T20" fmla="*/ 59 w 150"/>
              <a:gd name="T21" fmla="*/ 7 h 132"/>
              <a:gd name="T22" fmla="*/ 40 w 150"/>
              <a:gd name="T23" fmla="*/ 8 h 132"/>
              <a:gd name="T24" fmla="*/ 14 w 150"/>
              <a:gd name="T25" fmla="*/ 0 h 132"/>
              <a:gd name="T26" fmla="*/ 3 w 150"/>
              <a:gd name="T27" fmla="*/ 5 h 132"/>
              <a:gd name="T28" fmla="*/ 0 w 150"/>
              <a:gd name="T29" fmla="*/ 34 h 132"/>
              <a:gd name="T30" fmla="*/ 8 w 150"/>
              <a:gd name="T31" fmla="*/ 56 h 132"/>
              <a:gd name="T32" fmla="*/ 37 w 150"/>
              <a:gd name="T33" fmla="*/ 71 h 132"/>
              <a:gd name="T34" fmla="*/ 40 w 150"/>
              <a:gd name="T35" fmla="*/ 57 h 132"/>
              <a:gd name="T36" fmla="*/ 32 w 150"/>
              <a:gd name="T37" fmla="*/ 53 h 132"/>
              <a:gd name="T38" fmla="*/ 42 w 150"/>
              <a:gd name="T39" fmla="*/ 51 h 132"/>
              <a:gd name="T40" fmla="*/ 62 w 150"/>
              <a:gd name="T41" fmla="*/ 78 h 132"/>
              <a:gd name="T42" fmla="*/ 97 w 150"/>
              <a:gd name="T43" fmla="*/ 96 h 132"/>
              <a:gd name="T44" fmla="*/ 101 w 150"/>
              <a:gd name="T45" fmla="*/ 122 h 132"/>
              <a:gd name="T46" fmla="*/ 114 w 150"/>
              <a:gd name="T47" fmla="*/ 127 h 132"/>
              <a:gd name="T48" fmla="*/ 113 w 150"/>
              <a:gd name="T49" fmla="*/ 115 h 132"/>
              <a:gd name="T50" fmla="*/ 118 w 150"/>
              <a:gd name="T51" fmla="*/ 115 h 132"/>
              <a:gd name="T52" fmla="*/ 130 w 150"/>
              <a:gd name="T53"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0" h="132">
                <a:moveTo>
                  <a:pt x="130" y="132"/>
                </a:moveTo>
                <a:lnTo>
                  <a:pt x="136" y="124"/>
                </a:lnTo>
                <a:lnTo>
                  <a:pt x="144" y="98"/>
                </a:lnTo>
                <a:lnTo>
                  <a:pt x="135" y="91"/>
                </a:lnTo>
                <a:lnTo>
                  <a:pt x="136" y="79"/>
                </a:lnTo>
                <a:lnTo>
                  <a:pt x="142" y="73"/>
                </a:lnTo>
                <a:lnTo>
                  <a:pt x="150" y="73"/>
                </a:lnTo>
                <a:lnTo>
                  <a:pt x="118" y="45"/>
                </a:lnTo>
                <a:lnTo>
                  <a:pt x="99" y="12"/>
                </a:lnTo>
                <a:lnTo>
                  <a:pt x="79" y="19"/>
                </a:lnTo>
                <a:lnTo>
                  <a:pt x="59" y="7"/>
                </a:lnTo>
                <a:lnTo>
                  <a:pt x="40" y="8"/>
                </a:lnTo>
                <a:lnTo>
                  <a:pt x="14" y="0"/>
                </a:lnTo>
                <a:lnTo>
                  <a:pt x="3" y="5"/>
                </a:lnTo>
                <a:lnTo>
                  <a:pt x="0" y="34"/>
                </a:lnTo>
                <a:lnTo>
                  <a:pt x="8" y="56"/>
                </a:lnTo>
                <a:lnTo>
                  <a:pt x="37" y="71"/>
                </a:lnTo>
                <a:lnTo>
                  <a:pt x="40" y="57"/>
                </a:lnTo>
                <a:lnTo>
                  <a:pt x="32" y="53"/>
                </a:lnTo>
                <a:lnTo>
                  <a:pt x="42" y="51"/>
                </a:lnTo>
                <a:lnTo>
                  <a:pt x="62" y="78"/>
                </a:lnTo>
                <a:lnTo>
                  <a:pt x="97" y="96"/>
                </a:lnTo>
                <a:lnTo>
                  <a:pt x="101" y="122"/>
                </a:lnTo>
                <a:lnTo>
                  <a:pt x="114" y="127"/>
                </a:lnTo>
                <a:lnTo>
                  <a:pt x="113" y="115"/>
                </a:lnTo>
                <a:lnTo>
                  <a:pt x="118" y="115"/>
                </a:lnTo>
                <a:lnTo>
                  <a:pt x="130" y="132"/>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53" name="Freeform 175">
            <a:extLst>
              <a:ext uri="{FF2B5EF4-FFF2-40B4-BE49-F238E27FC236}">
                <a16:creationId xmlns:a16="http://schemas.microsoft.com/office/drawing/2014/main" id="{53E215BC-19F0-3042-8C6D-BE380F3C0985}"/>
              </a:ext>
            </a:extLst>
          </p:cNvPr>
          <p:cNvSpPr>
            <a:spLocks noChangeAspect="1"/>
          </p:cNvSpPr>
          <p:nvPr/>
        </p:nvSpPr>
        <p:spPr bwMode="gray">
          <a:xfrm>
            <a:off x="5470696" y="1415090"/>
            <a:ext cx="51892" cy="144631"/>
          </a:xfrm>
          <a:custGeom>
            <a:avLst/>
            <a:gdLst>
              <a:gd name="T0" fmla="*/ 15 w 51"/>
              <a:gd name="T1" fmla="*/ 119 h 119"/>
              <a:gd name="T2" fmla="*/ 0 w 51"/>
              <a:gd name="T3" fmla="*/ 118 h 119"/>
              <a:gd name="T4" fmla="*/ 1 w 51"/>
              <a:gd name="T5" fmla="*/ 27 h 119"/>
              <a:gd name="T6" fmla="*/ 17 w 51"/>
              <a:gd name="T7" fmla="*/ 25 h 119"/>
              <a:gd name="T8" fmla="*/ 30 w 51"/>
              <a:gd name="T9" fmla="*/ 2 h 119"/>
              <a:gd name="T10" fmla="*/ 37 w 51"/>
              <a:gd name="T11" fmla="*/ 0 h 119"/>
              <a:gd name="T12" fmla="*/ 51 w 51"/>
              <a:gd name="T13" fmla="*/ 10 h 119"/>
              <a:gd name="T14" fmla="*/ 43 w 51"/>
              <a:gd name="T15" fmla="*/ 34 h 119"/>
              <a:gd name="T16" fmla="*/ 42 w 51"/>
              <a:gd name="T17" fmla="*/ 74 h 119"/>
              <a:gd name="T18" fmla="*/ 37 w 51"/>
              <a:gd name="T19" fmla="*/ 91 h 119"/>
              <a:gd name="T20" fmla="*/ 17 w 51"/>
              <a:gd name="T21" fmla="*/ 110 h 119"/>
              <a:gd name="T22" fmla="*/ 15 w 51"/>
              <a:gd name="T23"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119">
                <a:moveTo>
                  <a:pt x="15" y="119"/>
                </a:moveTo>
                <a:lnTo>
                  <a:pt x="0" y="118"/>
                </a:lnTo>
                <a:lnTo>
                  <a:pt x="1" y="27"/>
                </a:lnTo>
                <a:lnTo>
                  <a:pt x="17" y="25"/>
                </a:lnTo>
                <a:lnTo>
                  <a:pt x="30" y="2"/>
                </a:lnTo>
                <a:lnTo>
                  <a:pt x="37" y="0"/>
                </a:lnTo>
                <a:lnTo>
                  <a:pt x="51" y="10"/>
                </a:lnTo>
                <a:lnTo>
                  <a:pt x="43" y="34"/>
                </a:lnTo>
                <a:lnTo>
                  <a:pt x="42" y="74"/>
                </a:lnTo>
                <a:lnTo>
                  <a:pt x="37" y="91"/>
                </a:lnTo>
                <a:lnTo>
                  <a:pt x="17" y="110"/>
                </a:lnTo>
                <a:lnTo>
                  <a:pt x="15" y="119"/>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54" name="Freeform 182">
            <a:extLst>
              <a:ext uri="{FF2B5EF4-FFF2-40B4-BE49-F238E27FC236}">
                <a16:creationId xmlns:a16="http://schemas.microsoft.com/office/drawing/2014/main" id="{5D5E7B31-EBD9-2340-8D42-58BEBAA4FAE1}"/>
              </a:ext>
            </a:extLst>
          </p:cNvPr>
          <p:cNvSpPr>
            <a:spLocks noChangeAspect="1" noEditPoints="1"/>
          </p:cNvSpPr>
          <p:nvPr/>
        </p:nvSpPr>
        <p:spPr bwMode="gray">
          <a:xfrm>
            <a:off x="6677221" y="1473725"/>
            <a:ext cx="90815" cy="207176"/>
          </a:xfrm>
          <a:custGeom>
            <a:avLst/>
            <a:gdLst>
              <a:gd name="T0" fmla="*/ 89 w 92"/>
              <a:gd name="T1" fmla="*/ 164 h 178"/>
              <a:gd name="T2" fmla="*/ 86 w 92"/>
              <a:gd name="T3" fmla="*/ 177 h 178"/>
              <a:gd name="T4" fmla="*/ 89 w 92"/>
              <a:gd name="T5" fmla="*/ 178 h 178"/>
              <a:gd name="T6" fmla="*/ 89 w 92"/>
              <a:gd name="T7" fmla="*/ 164 h 178"/>
              <a:gd name="T8" fmla="*/ 4 w 92"/>
              <a:gd name="T9" fmla="*/ 0 h 178"/>
              <a:gd name="T10" fmla="*/ 0 w 92"/>
              <a:gd name="T11" fmla="*/ 0 h 178"/>
              <a:gd name="T12" fmla="*/ 3 w 92"/>
              <a:gd name="T13" fmla="*/ 8 h 178"/>
              <a:gd name="T14" fmla="*/ 4 w 92"/>
              <a:gd name="T15" fmla="*/ 0 h 178"/>
              <a:gd name="T16" fmla="*/ 49 w 92"/>
              <a:gd name="T17" fmla="*/ 14 h 178"/>
              <a:gd name="T18" fmla="*/ 49 w 92"/>
              <a:gd name="T19" fmla="*/ 23 h 178"/>
              <a:gd name="T20" fmla="*/ 54 w 92"/>
              <a:gd name="T21" fmla="*/ 17 h 178"/>
              <a:gd name="T22" fmla="*/ 49 w 92"/>
              <a:gd name="T23" fmla="*/ 14 h 178"/>
              <a:gd name="T24" fmla="*/ 67 w 92"/>
              <a:gd name="T25" fmla="*/ 45 h 178"/>
              <a:gd name="T26" fmla="*/ 60 w 92"/>
              <a:gd name="T27" fmla="*/ 53 h 178"/>
              <a:gd name="T28" fmla="*/ 52 w 92"/>
              <a:gd name="T29" fmla="*/ 51 h 178"/>
              <a:gd name="T30" fmla="*/ 51 w 92"/>
              <a:gd name="T31" fmla="*/ 68 h 178"/>
              <a:gd name="T32" fmla="*/ 57 w 92"/>
              <a:gd name="T33" fmla="*/ 68 h 178"/>
              <a:gd name="T34" fmla="*/ 63 w 92"/>
              <a:gd name="T35" fmla="*/ 60 h 178"/>
              <a:gd name="T36" fmla="*/ 74 w 92"/>
              <a:gd name="T37" fmla="*/ 57 h 178"/>
              <a:gd name="T38" fmla="*/ 67 w 92"/>
              <a:gd name="T39" fmla="*/ 45 h 178"/>
              <a:gd name="T40" fmla="*/ 72 w 92"/>
              <a:gd name="T41" fmla="*/ 87 h 178"/>
              <a:gd name="T42" fmla="*/ 69 w 92"/>
              <a:gd name="T43" fmla="*/ 101 h 178"/>
              <a:gd name="T44" fmla="*/ 75 w 92"/>
              <a:gd name="T45" fmla="*/ 105 h 178"/>
              <a:gd name="T46" fmla="*/ 75 w 92"/>
              <a:gd name="T47" fmla="*/ 90 h 178"/>
              <a:gd name="T48" fmla="*/ 72 w 92"/>
              <a:gd name="T49" fmla="*/ 87 h 178"/>
              <a:gd name="T50" fmla="*/ 77 w 92"/>
              <a:gd name="T51" fmla="*/ 121 h 178"/>
              <a:gd name="T52" fmla="*/ 86 w 92"/>
              <a:gd name="T53" fmla="*/ 128 h 178"/>
              <a:gd name="T54" fmla="*/ 92 w 92"/>
              <a:gd name="T55" fmla="*/ 143 h 178"/>
              <a:gd name="T56" fmla="*/ 84 w 92"/>
              <a:gd name="T57" fmla="*/ 141 h 178"/>
              <a:gd name="T58" fmla="*/ 77 w 92"/>
              <a:gd name="T59" fmla="*/ 121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2" h="178">
                <a:moveTo>
                  <a:pt x="89" y="164"/>
                </a:moveTo>
                <a:lnTo>
                  <a:pt x="86" y="177"/>
                </a:lnTo>
                <a:lnTo>
                  <a:pt x="89" y="178"/>
                </a:lnTo>
                <a:lnTo>
                  <a:pt x="89" y="164"/>
                </a:lnTo>
                <a:close/>
                <a:moveTo>
                  <a:pt x="4" y="0"/>
                </a:moveTo>
                <a:lnTo>
                  <a:pt x="0" y="0"/>
                </a:lnTo>
                <a:lnTo>
                  <a:pt x="3" y="8"/>
                </a:lnTo>
                <a:lnTo>
                  <a:pt x="4" y="0"/>
                </a:lnTo>
                <a:close/>
                <a:moveTo>
                  <a:pt x="49" y="14"/>
                </a:moveTo>
                <a:lnTo>
                  <a:pt x="49" y="23"/>
                </a:lnTo>
                <a:lnTo>
                  <a:pt x="54" y="17"/>
                </a:lnTo>
                <a:lnTo>
                  <a:pt x="49" y="14"/>
                </a:lnTo>
                <a:close/>
                <a:moveTo>
                  <a:pt x="67" y="45"/>
                </a:moveTo>
                <a:lnTo>
                  <a:pt x="60" y="53"/>
                </a:lnTo>
                <a:lnTo>
                  <a:pt x="52" y="51"/>
                </a:lnTo>
                <a:lnTo>
                  <a:pt x="51" y="68"/>
                </a:lnTo>
                <a:lnTo>
                  <a:pt x="57" y="68"/>
                </a:lnTo>
                <a:lnTo>
                  <a:pt x="63" y="60"/>
                </a:lnTo>
                <a:lnTo>
                  <a:pt x="74" y="57"/>
                </a:lnTo>
                <a:lnTo>
                  <a:pt x="67" y="45"/>
                </a:lnTo>
                <a:close/>
                <a:moveTo>
                  <a:pt x="72" y="87"/>
                </a:moveTo>
                <a:lnTo>
                  <a:pt x="69" y="101"/>
                </a:lnTo>
                <a:lnTo>
                  <a:pt x="75" y="105"/>
                </a:lnTo>
                <a:lnTo>
                  <a:pt x="75" y="90"/>
                </a:lnTo>
                <a:lnTo>
                  <a:pt x="72" y="87"/>
                </a:lnTo>
                <a:close/>
                <a:moveTo>
                  <a:pt x="77" y="121"/>
                </a:moveTo>
                <a:lnTo>
                  <a:pt x="86" y="128"/>
                </a:lnTo>
                <a:lnTo>
                  <a:pt x="92" y="143"/>
                </a:lnTo>
                <a:lnTo>
                  <a:pt x="84" y="141"/>
                </a:lnTo>
                <a:lnTo>
                  <a:pt x="77" y="121"/>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55" name="Freeform 183">
            <a:extLst>
              <a:ext uri="{FF2B5EF4-FFF2-40B4-BE49-F238E27FC236}">
                <a16:creationId xmlns:a16="http://schemas.microsoft.com/office/drawing/2014/main" id="{41CB14D9-1BC8-1441-9582-38FCBA1CF218}"/>
              </a:ext>
            </a:extLst>
          </p:cNvPr>
          <p:cNvSpPr>
            <a:spLocks noChangeAspect="1" noEditPoints="1"/>
          </p:cNvSpPr>
          <p:nvPr/>
        </p:nvSpPr>
        <p:spPr bwMode="gray">
          <a:xfrm>
            <a:off x="5756109" y="1911527"/>
            <a:ext cx="262712" cy="136815"/>
          </a:xfrm>
          <a:custGeom>
            <a:avLst/>
            <a:gdLst>
              <a:gd name="T0" fmla="*/ 235 w 267"/>
              <a:gd name="T1" fmla="*/ 107 h 111"/>
              <a:gd name="T2" fmla="*/ 244 w 267"/>
              <a:gd name="T3" fmla="*/ 91 h 111"/>
              <a:gd name="T4" fmla="*/ 252 w 267"/>
              <a:gd name="T5" fmla="*/ 93 h 111"/>
              <a:gd name="T6" fmla="*/ 267 w 267"/>
              <a:gd name="T7" fmla="*/ 74 h 111"/>
              <a:gd name="T8" fmla="*/ 255 w 267"/>
              <a:gd name="T9" fmla="*/ 54 h 111"/>
              <a:gd name="T10" fmla="*/ 258 w 267"/>
              <a:gd name="T11" fmla="*/ 46 h 111"/>
              <a:gd name="T12" fmla="*/ 225 w 267"/>
              <a:gd name="T13" fmla="*/ 15 h 111"/>
              <a:gd name="T14" fmla="*/ 176 w 267"/>
              <a:gd name="T15" fmla="*/ 0 h 111"/>
              <a:gd name="T16" fmla="*/ 153 w 267"/>
              <a:gd name="T17" fmla="*/ 1 h 111"/>
              <a:gd name="T18" fmla="*/ 149 w 267"/>
              <a:gd name="T19" fmla="*/ 22 h 111"/>
              <a:gd name="T20" fmla="*/ 141 w 267"/>
              <a:gd name="T21" fmla="*/ 25 h 111"/>
              <a:gd name="T22" fmla="*/ 139 w 267"/>
              <a:gd name="T23" fmla="*/ 17 h 111"/>
              <a:gd name="T24" fmla="*/ 132 w 267"/>
              <a:gd name="T25" fmla="*/ 17 h 111"/>
              <a:gd name="T26" fmla="*/ 85 w 267"/>
              <a:gd name="T27" fmla="*/ 37 h 111"/>
              <a:gd name="T28" fmla="*/ 60 w 267"/>
              <a:gd name="T29" fmla="*/ 29 h 111"/>
              <a:gd name="T30" fmla="*/ 40 w 267"/>
              <a:gd name="T31" fmla="*/ 29 h 111"/>
              <a:gd name="T32" fmla="*/ 32 w 267"/>
              <a:gd name="T33" fmla="*/ 6 h 111"/>
              <a:gd name="T34" fmla="*/ 20 w 267"/>
              <a:gd name="T35" fmla="*/ 0 h 111"/>
              <a:gd name="T36" fmla="*/ 12 w 267"/>
              <a:gd name="T37" fmla="*/ 0 h 111"/>
              <a:gd name="T38" fmla="*/ 6 w 267"/>
              <a:gd name="T39" fmla="*/ 6 h 111"/>
              <a:gd name="T40" fmla="*/ 5 w 267"/>
              <a:gd name="T41" fmla="*/ 18 h 111"/>
              <a:gd name="T42" fmla="*/ 14 w 267"/>
              <a:gd name="T43" fmla="*/ 25 h 111"/>
              <a:gd name="T44" fmla="*/ 6 w 267"/>
              <a:gd name="T45" fmla="*/ 51 h 111"/>
              <a:gd name="T46" fmla="*/ 0 w 267"/>
              <a:gd name="T47" fmla="*/ 59 h 111"/>
              <a:gd name="T48" fmla="*/ 5 w 267"/>
              <a:gd name="T49" fmla="*/ 68 h 111"/>
              <a:gd name="T50" fmla="*/ 12 w 267"/>
              <a:gd name="T51" fmla="*/ 59 h 111"/>
              <a:gd name="T52" fmla="*/ 57 w 267"/>
              <a:gd name="T53" fmla="*/ 68 h 111"/>
              <a:gd name="T54" fmla="*/ 77 w 267"/>
              <a:gd name="T55" fmla="*/ 93 h 111"/>
              <a:gd name="T56" fmla="*/ 93 w 267"/>
              <a:gd name="T57" fmla="*/ 86 h 111"/>
              <a:gd name="T58" fmla="*/ 100 w 267"/>
              <a:gd name="T59" fmla="*/ 111 h 111"/>
              <a:gd name="T60" fmla="*/ 115 w 267"/>
              <a:gd name="T61" fmla="*/ 111 h 111"/>
              <a:gd name="T62" fmla="*/ 134 w 267"/>
              <a:gd name="T63" fmla="*/ 98 h 111"/>
              <a:gd name="T64" fmla="*/ 119 w 267"/>
              <a:gd name="T65" fmla="*/ 77 h 111"/>
              <a:gd name="T66" fmla="*/ 119 w 267"/>
              <a:gd name="T67" fmla="*/ 68 h 111"/>
              <a:gd name="T68" fmla="*/ 142 w 267"/>
              <a:gd name="T69" fmla="*/ 56 h 111"/>
              <a:gd name="T70" fmla="*/ 161 w 267"/>
              <a:gd name="T71" fmla="*/ 34 h 111"/>
              <a:gd name="T72" fmla="*/ 174 w 267"/>
              <a:gd name="T73" fmla="*/ 29 h 111"/>
              <a:gd name="T74" fmla="*/ 203 w 267"/>
              <a:gd name="T75" fmla="*/ 43 h 111"/>
              <a:gd name="T76" fmla="*/ 212 w 267"/>
              <a:gd name="T77" fmla="*/ 54 h 111"/>
              <a:gd name="T78" fmla="*/ 225 w 267"/>
              <a:gd name="T79" fmla="*/ 52 h 111"/>
              <a:gd name="T80" fmla="*/ 230 w 267"/>
              <a:gd name="T81" fmla="*/ 56 h 111"/>
              <a:gd name="T82" fmla="*/ 218 w 267"/>
              <a:gd name="T83" fmla="*/ 66 h 111"/>
              <a:gd name="T84" fmla="*/ 216 w 267"/>
              <a:gd name="T85" fmla="*/ 77 h 111"/>
              <a:gd name="T86" fmla="*/ 221 w 267"/>
              <a:gd name="T87" fmla="*/ 93 h 111"/>
              <a:gd name="T88" fmla="*/ 235 w 267"/>
              <a:gd name="T89" fmla="*/ 107 h 111"/>
              <a:gd name="T90" fmla="*/ 57 w 267"/>
              <a:gd name="T91" fmla="*/ 88 h 111"/>
              <a:gd name="T92" fmla="*/ 52 w 267"/>
              <a:gd name="T93" fmla="*/ 100 h 111"/>
              <a:gd name="T94" fmla="*/ 59 w 267"/>
              <a:gd name="T95" fmla="*/ 107 h 111"/>
              <a:gd name="T96" fmla="*/ 60 w 267"/>
              <a:gd name="T97" fmla="*/ 90 h 111"/>
              <a:gd name="T98" fmla="*/ 57 w 267"/>
              <a:gd name="T99" fmla="*/ 8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7" h="111">
                <a:moveTo>
                  <a:pt x="235" y="107"/>
                </a:moveTo>
                <a:lnTo>
                  <a:pt x="244" y="91"/>
                </a:lnTo>
                <a:lnTo>
                  <a:pt x="252" y="93"/>
                </a:lnTo>
                <a:lnTo>
                  <a:pt x="267" y="74"/>
                </a:lnTo>
                <a:lnTo>
                  <a:pt x="255" y="54"/>
                </a:lnTo>
                <a:lnTo>
                  <a:pt x="258" y="46"/>
                </a:lnTo>
                <a:lnTo>
                  <a:pt x="225" y="15"/>
                </a:lnTo>
                <a:lnTo>
                  <a:pt x="176" y="0"/>
                </a:lnTo>
                <a:lnTo>
                  <a:pt x="153" y="1"/>
                </a:lnTo>
                <a:lnTo>
                  <a:pt x="149" y="22"/>
                </a:lnTo>
                <a:lnTo>
                  <a:pt x="141" y="25"/>
                </a:lnTo>
                <a:lnTo>
                  <a:pt x="139" y="17"/>
                </a:lnTo>
                <a:lnTo>
                  <a:pt x="132" y="17"/>
                </a:lnTo>
                <a:lnTo>
                  <a:pt x="85" y="37"/>
                </a:lnTo>
                <a:lnTo>
                  <a:pt x="60" y="29"/>
                </a:lnTo>
                <a:lnTo>
                  <a:pt x="40" y="29"/>
                </a:lnTo>
                <a:lnTo>
                  <a:pt x="32" y="6"/>
                </a:lnTo>
                <a:lnTo>
                  <a:pt x="20" y="0"/>
                </a:lnTo>
                <a:lnTo>
                  <a:pt x="12" y="0"/>
                </a:lnTo>
                <a:lnTo>
                  <a:pt x="6" y="6"/>
                </a:lnTo>
                <a:lnTo>
                  <a:pt x="5" y="18"/>
                </a:lnTo>
                <a:lnTo>
                  <a:pt x="14" y="25"/>
                </a:lnTo>
                <a:lnTo>
                  <a:pt x="6" y="51"/>
                </a:lnTo>
                <a:lnTo>
                  <a:pt x="0" y="59"/>
                </a:lnTo>
                <a:lnTo>
                  <a:pt x="5" y="68"/>
                </a:lnTo>
                <a:lnTo>
                  <a:pt x="12" y="59"/>
                </a:lnTo>
                <a:lnTo>
                  <a:pt x="57" y="68"/>
                </a:lnTo>
                <a:lnTo>
                  <a:pt x="77" y="93"/>
                </a:lnTo>
                <a:lnTo>
                  <a:pt x="93" y="86"/>
                </a:lnTo>
                <a:lnTo>
                  <a:pt x="100" y="111"/>
                </a:lnTo>
                <a:lnTo>
                  <a:pt x="115" y="111"/>
                </a:lnTo>
                <a:lnTo>
                  <a:pt x="134" y="98"/>
                </a:lnTo>
                <a:lnTo>
                  <a:pt x="119" y="77"/>
                </a:lnTo>
                <a:lnTo>
                  <a:pt x="119" y="68"/>
                </a:lnTo>
                <a:lnTo>
                  <a:pt x="142" y="56"/>
                </a:lnTo>
                <a:lnTo>
                  <a:pt x="161" y="34"/>
                </a:lnTo>
                <a:lnTo>
                  <a:pt x="174" y="29"/>
                </a:lnTo>
                <a:lnTo>
                  <a:pt x="203" y="43"/>
                </a:lnTo>
                <a:lnTo>
                  <a:pt x="212" y="54"/>
                </a:lnTo>
                <a:lnTo>
                  <a:pt x="225" y="52"/>
                </a:lnTo>
                <a:lnTo>
                  <a:pt x="230" y="56"/>
                </a:lnTo>
                <a:lnTo>
                  <a:pt x="218" y="66"/>
                </a:lnTo>
                <a:lnTo>
                  <a:pt x="216" y="77"/>
                </a:lnTo>
                <a:lnTo>
                  <a:pt x="221" y="93"/>
                </a:lnTo>
                <a:lnTo>
                  <a:pt x="235" y="107"/>
                </a:lnTo>
                <a:close/>
                <a:moveTo>
                  <a:pt x="57" y="88"/>
                </a:moveTo>
                <a:lnTo>
                  <a:pt x="52" y="100"/>
                </a:lnTo>
                <a:lnTo>
                  <a:pt x="59" y="107"/>
                </a:lnTo>
                <a:lnTo>
                  <a:pt x="60" y="90"/>
                </a:lnTo>
                <a:lnTo>
                  <a:pt x="57" y="88"/>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56" name="Freeform 187">
            <a:extLst>
              <a:ext uri="{FF2B5EF4-FFF2-40B4-BE49-F238E27FC236}">
                <a16:creationId xmlns:a16="http://schemas.microsoft.com/office/drawing/2014/main" id="{A0CEC94D-A2B7-1044-A0C1-A2B23DE67BFC}"/>
              </a:ext>
            </a:extLst>
          </p:cNvPr>
          <p:cNvSpPr>
            <a:spLocks noChangeAspect="1"/>
          </p:cNvSpPr>
          <p:nvPr/>
        </p:nvSpPr>
        <p:spPr bwMode="gray">
          <a:xfrm>
            <a:off x="5855550" y="2369640"/>
            <a:ext cx="255951" cy="344258"/>
          </a:xfrm>
          <a:custGeom>
            <a:avLst/>
            <a:gdLst>
              <a:gd name="T0" fmla="*/ 254 w 260"/>
              <a:gd name="T1" fmla="*/ 66 h 289"/>
              <a:gd name="T2" fmla="*/ 220 w 260"/>
              <a:gd name="T3" fmla="*/ 46 h 289"/>
              <a:gd name="T4" fmla="*/ 209 w 260"/>
              <a:gd name="T5" fmla="*/ 52 h 289"/>
              <a:gd name="T6" fmla="*/ 164 w 260"/>
              <a:gd name="T7" fmla="*/ 52 h 289"/>
              <a:gd name="T8" fmla="*/ 156 w 260"/>
              <a:gd name="T9" fmla="*/ 37 h 289"/>
              <a:gd name="T10" fmla="*/ 147 w 260"/>
              <a:gd name="T11" fmla="*/ 29 h 289"/>
              <a:gd name="T12" fmla="*/ 119 w 260"/>
              <a:gd name="T13" fmla="*/ 15 h 289"/>
              <a:gd name="T14" fmla="*/ 89 w 260"/>
              <a:gd name="T15" fmla="*/ 0 h 289"/>
              <a:gd name="T16" fmla="*/ 56 w 260"/>
              <a:gd name="T17" fmla="*/ 23 h 289"/>
              <a:gd name="T18" fmla="*/ 37 w 260"/>
              <a:gd name="T19" fmla="*/ 23 h 289"/>
              <a:gd name="T20" fmla="*/ 34 w 260"/>
              <a:gd name="T21" fmla="*/ 29 h 289"/>
              <a:gd name="T22" fmla="*/ 35 w 260"/>
              <a:gd name="T23" fmla="*/ 55 h 289"/>
              <a:gd name="T24" fmla="*/ 22 w 260"/>
              <a:gd name="T25" fmla="*/ 76 h 289"/>
              <a:gd name="T26" fmla="*/ 18 w 260"/>
              <a:gd name="T27" fmla="*/ 94 h 289"/>
              <a:gd name="T28" fmla="*/ 0 w 260"/>
              <a:gd name="T29" fmla="*/ 110 h 289"/>
              <a:gd name="T30" fmla="*/ 0 w 260"/>
              <a:gd name="T31" fmla="*/ 167 h 289"/>
              <a:gd name="T32" fmla="*/ 23 w 260"/>
              <a:gd name="T33" fmla="*/ 182 h 289"/>
              <a:gd name="T34" fmla="*/ 42 w 260"/>
              <a:gd name="T35" fmla="*/ 162 h 289"/>
              <a:gd name="T36" fmla="*/ 47 w 260"/>
              <a:gd name="T37" fmla="*/ 181 h 289"/>
              <a:gd name="T38" fmla="*/ 42 w 260"/>
              <a:gd name="T39" fmla="*/ 204 h 289"/>
              <a:gd name="T40" fmla="*/ 20 w 260"/>
              <a:gd name="T41" fmla="*/ 219 h 289"/>
              <a:gd name="T42" fmla="*/ 25 w 260"/>
              <a:gd name="T43" fmla="*/ 240 h 289"/>
              <a:gd name="T44" fmla="*/ 9 w 260"/>
              <a:gd name="T45" fmla="*/ 250 h 289"/>
              <a:gd name="T46" fmla="*/ 15 w 260"/>
              <a:gd name="T47" fmla="*/ 270 h 289"/>
              <a:gd name="T48" fmla="*/ 34 w 260"/>
              <a:gd name="T49" fmla="*/ 266 h 289"/>
              <a:gd name="T50" fmla="*/ 40 w 260"/>
              <a:gd name="T51" fmla="*/ 270 h 289"/>
              <a:gd name="T52" fmla="*/ 54 w 260"/>
              <a:gd name="T53" fmla="*/ 270 h 289"/>
              <a:gd name="T54" fmla="*/ 64 w 260"/>
              <a:gd name="T55" fmla="*/ 289 h 289"/>
              <a:gd name="T56" fmla="*/ 79 w 260"/>
              <a:gd name="T57" fmla="*/ 287 h 289"/>
              <a:gd name="T58" fmla="*/ 94 w 260"/>
              <a:gd name="T59" fmla="*/ 275 h 289"/>
              <a:gd name="T60" fmla="*/ 99 w 260"/>
              <a:gd name="T61" fmla="*/ 242 h 289"/>
              <a:gd name="T62" fmla="*/ 111 w 260"/>
              <a:gd name="T63" fmla="*/ 224 h 289"/>
              <a:gd name="T64" fmla="*/ 122 w 260"/>
              <a:gd name="T65" fmla="*/ 225 h 289"/>
              <a:gd name="T66" fmla="*/ 128 w 260"/>
              <a:gd name="T67" fmla="*/ 207 h 289"/>
              <a:gd name="T68" fmla="*/ 193 w 260"/>
              <a:gd name="T69" fmla="*/ 181 h 289"/>
              <a:gd name="T70" fmla="*/ 233 w 260"/>
              <a:gd name="T71" fmla="*/ 140 h 289"/>
              <a:gd name="T72" fmla="*/ 252 w 260"/>
              <a:gd name="T73" fmla="*/ 106 h 289"/>
              <a:gd name="T74" fmla="*/ 260 w 260"/>
              <a:gd name="T75" fmla="*/ 106 h 289"/>
              <a:gd name="T76" fmla="*/ 241 w 260"/>
              <a:gd name="T77" fmla="*/ 74 h 289"/>
              <a:gd name="T78" fmla="*/ 243 w 260"/>
              <a:gd name="T79" fmla="*/ 68 h 289"/>
              <a:gd name="T80" fmla="*/ 254 w 260"/>
              <a:gd name="T81" fmla="*/ 66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0" h="289">
                <a:moveTo>
                  <a:pt x="254" y="66"/>
                </a:moveTo>
                <a:lnTo>
                  <a:pt x="220" y="46"/>
                </a:lnTo>
                <a:lnTo>
                  <a:pt x="209" y="52"/>
                </a:lnTo>
                <a:lnTo>
                  <a:pt x="164" y="52"/>
                </a:lnTo>
                <a:lnTo>
                  <a:pt x="156" y="37"/>
                </a:lnTo>
                <a:lnTo>
                  <a:pt x="147" y="29"/>
                </a:lnTo>
                <a:lnTo>
                  <a:pt x="119" y="15"/>
                </a:lnTo>
                <a:lnTo>
                  <a:pt x="89" y="0"/>
                </a:lnTo>
                <a:lnTo>
                  <a:pt x="56" y="23"/>
                </a:lnTo>
                <a:lnTo>
                  <a:pt x="37" y="23"/>
                </a:lnTo>
                <a:lnTo>
                  <a:pt x="34" y="29"/>
                </a:lnTo>
                <a:lnTo>
                  <a:pt x="35" y="55"/>
                </a:lnTo>
                <a:lnTo>
                  <a:pt x="22" y="76"/>
                </a:lnTo>
                <a:lnTo>
                  <a:pt x="18" y="94"/>
                </a:lnTo>
                <a:lnTo>
                  <a:pt x="0" y="110"/>
                </a:lnTo>
                <a:lnTo>
                  <a:pt x="0" y="167"/>
                </a:lnTo>
                <a:lnTo>
                  <a:pt x="23" y="182"/>
                </a:lnTo>
                <a:lnTo>
                  <a:pt x="42" y="162"/>
                </a:lnTo>
                <a:lnTo>
                  <a:pt x="47" y="181"/>
                </a:lnTo>
                <a:lnTo>
                  <a:pt x="42" y="204"/>
                </a:lnTo>
                <a:lnTo>
                  <a:pt x="20" y="219"/>
                </a:lnTo>
                <a:lnTo>
                  <a:pt x="25" y="240"/>
                </a:lnTo>
                <a:lnTo>
                  <a:pt x="9" y="250"/>
                </a:lnTo>
                <a:lnTo>
                  <a:pt x="15" y="270"/>
                </a:lnTo>
                <a:lnTo>
                  <a:pt x="34" y="266"/>
                </a:lnTo>
                <a:lnTo>
                  <a:pt x="40" y="270"/>
                </a:lnTo>
                <a:lnTo>
                  <a:pt x="54" y="270"/>
                </a:lnTo>
                <a:lnTo>
                  <a:pt x="64" y="289"/>
                </a:lnTo>
                <a:lnTo>
                  <a:pt x="79" y="287"/>
                </a:lnTo>
                <a:lnTo>
                  <a:pt x="94" y="275"/>
                </a:lnTo>
                <a:lnTo>
                  <a:pt x="99" y="242"/>
                </a:lnTo>
                <a:lnTo>
                  <a:pt x="111" y="224"/>
                </a:lnTo>
                <a:lnTo>
                  <a:pt x="122" y="225"/>
                </a:lnTo>
                <a:lnTo>
                  <a:pt x="128" y="207"/>
                </a:lnTo>
                <a:lnTo>
                  <a:pt x="193" y="181"/>
                </a:lnTo>
                <a:lnTo>
                  <a:pt x="233" y="140"/>
                </a:lnTo>
                <a:lnTo>
                  <a:pt x="252" y="106"/>
                </a:lnTo>
                <a:lnTo>
                  <a:pt x="260" y="106"/>
                </a:lnTo>
                <a:lnTo>
                  <a:pt x="241" y="74"/>
                </a:lnTo>
                <a:lnTo>
                  <a:pt x="243" y="68"/>
                </a:lnTo>
                <a:lnTo>
                  <a:pt x="254" y="66"/>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57" name="Freeform 188">
            <a:extLst>
              <a:ext uri="{FF2B5EF4-FFF2-40B4-BE49-F238E27FC236}">
                <a16:creationId xmlns:a16="http://schemas.microsoft.com/office/drawing/2014/main" id="{9EC661DB-8F78-E44C-AD00-3871F81C6C67}"/>
              </a:ext>
            </a:extLst>
          </p:cNvPr>
          <p:cNvSpPr>
            <a:spLocks noChangeAspect="1"/>
          </p:cNvSpPr>
          <p:nvPr/>
        </p:nvSpPr>
        <p:spPr bwMode="gray">
          <a:xfrm>
            <a:off x="5936555" y="1755455"/>
            <a:ext cx="557260" cy="915407"/>
          </a:xfrm>
          <a:custGeom>
            <a:avLst/>
            <a:gdLst>
              <a:gd name="T0" fmla="*/ 425 w 559"/>
              <a:gd name="T1" fmla="*/ 713 h 763"/>
              <a:gd name="T2" fmla="*/ 398 w 559"/>
              <a:gd name="T3" fmla="*/ 749 h 763"/>
              <a:gd name="T4" fmla="*/ 386 w 559"/>
              <a:gd name="T5" fmla="*/ 738 h 763"/>
              <a:gd name="T6" fmla="*/ 402 w 559"/>
              <a:gd name="T7" fmla="*/ 692 h 763"/>
              <a:gd name="T8" fmla="*/ 352 w 559"/>
              <a:gd name="T9" fmla="*/ 684 h 763"/>
              <a:gd name="T10" fmla="*/ 307 w 559"/>
              <a:gd name="T11" fmla="*/ 688 h 763"/>
              <a:gd name="T12" fmla="*/ 266 w 559"/>
              <a:gd name="T13" fmla="*/ 675 h 763"/>
              <a:gd name="T14" fmla="*/ 253 w 559"/>
              <a:gd name="T15" fmla="*/ 655 h 763"/>
              <a:gd name="T16" fmla="*/ 225 w 559"/>
              <a:gd name="T17" fmla="*/ 622 h 763"/>
              <a:gd name="T18" fmla="*/ 193 w 559"/>
              <a:gd name="T19" fmla="*/ 583 h 763"/>
              <a:gd name="T20" fmla="*/ 136 w 559"/>
              <a:gd name="T21" fmla="*/ 557 h 763"/>
              <a:gd name="T22" fmla="*/ 80 w 559"/>
              <a:gd name="T23" fmla="*/ 563 h 763"/>
              <a:gd name="T24" fmla="*/ 63 w 559"/>
              <a:gd name="T25" fmla="*/ 540 h 763"/>
              <a:gd name="T26" fmla="*/ 5 w 559"/>
              <a:gd name="T27" fmla="*/ 511 h 763"/>
              <a:gd name="T28" fmla="*/ 7 w 559"/>
              <a:gd name="T29" fmla="*/ 490 h 763"/>
              <a:gd name="T30" fmla="*/ 22 w 559"/>
              <a:gd name="T31" fmla="*/ 458 h 763"/>
              <a:gd name="T32" fmla="*/ 68 w 559"/>
              <a:gd name="T33" fmla="*/ 424 h 763"/>
              <a:gd name="T34" fmla="*/ 94 w 559"/>
              <a:gd name="T35" fmla="*/ 390 h 763"/>
              <a:gd name="T36" fmla="*/ 71 w 559"/>
              <a:gd name="T37" fmla="*/ 393 h 763"/>
              <a:gd name="T38" fmla="*/ 69 w 559"/>
              <a:gd name="T39" fmla="*/ 323 h 763"/>
              <a:gd name="T40" fmla="*/ 72 w 559"/>
              <a:gd name="T41" fmla="*/ 275 h 763"/>
              <a:gd name="T42" fmla="*/ 49 w 559"/>
              <a:gd name="T43" fmla="*/ 237 h 763"/>
              <a:gd name="T44" fmla="*/ 66 w 559"/>
              <a:gd name="T45" fmla="*/ 223 h 763"/>
              <a:gd name="T46" fmla="*/ 69 w 559"/>
              <a:gd name="T47" fmla="*/ 184 h 763"/>
              <a:gd name="T48" fmla="*/ 100 w 559"/>
              <a:gd name="T49" fmla="*/ 204 h 763"/>
              <a:gd name="T50" fmla="*/ 120 w 559"/>
              <a:gd name="T51" fmla="*/ 161 h 763"/>
              <a:gd name="T52" fmla="*/ 153 w 559"/>
              <a:gd name="T53" fmla="*/ 133 h 763"/>
              <a:gd name="T54" fmla="*/ 183 w 559"/>
              <a:gd name="T55" fmla="*/ 65 h 763"/>
              <a:gd name="T56" fmla="*/ 204 w 559"/>
              <a:gd name="T57" fmla="*/ 65 h 763"/>
              <a:gd name="T58" fmla="*/ 222 w 559"/>
              <a:gd name="T59" fmla="*/ 52 h 763"/>
              <a:gd name="T60" fmla="*/ 264 w 559"/>
              <a:gd name="T61" fmla="*/ 47 h 763"/>
              <a:gd name="T62" fmla="*/ 320 w 559"/>
              <a:gd name="T63" fmla="*/ 9 h 763"/>
              <a:gd name="T64" fmla="*/ 330 w 559"/>
              <a:gd name="T65" fmla="*/ 3 h 763"/>
              <a:gd name="T66" fmla="*/ 361 w 559"/>
              <a:gd name="T67" fmla="*/ 9 h 763"/>
              <a:gd name="T68" fmla="*/ 352 w 559"/>
              <a:gd name="T69" fmla="*/ 26 h 763"/>
              <a:gd name="T70" fmla="*/ 295 w 559"/>
              <a:gd name="T71" fmla="*/ 71 h 763"/>
              <a:gd name="T72" fmla="*/ 275 w 559"/>
              <a:gd name="T73" fmla="*/ 128 h 763"/>
              <a:gd name="T74" fmla="*/ 283 w 559"/>
              <a:gd name="T75" fmla="*/ 152 h 763"/>
              <a:gd name="T76" fmla="*/ 303 w 559"/>
              <a:gd name="T77" fmla="*/ 195 h 763"/>
              <a:gd name="T78" fmla="*/ 324 w 559"/>
              <a:gd name="T79" fmla="*/ 243 h 763"/>
              <a:gd name="T80" fmla="*/ 388 w 559"/>
              <a:gd name="T81" fmla="*/ 245 h 763"/>
              <a:gd name="T82" fmla="*/ 444 w 559"/>
              <a:gd name="T83" fmla="*/ 292 h 763"/>
              <a:gd name="T84" fmla="*/ 491 w 559"/>
              <a:gd name="T85" fmla="*/ 294 h 763"/>
              <a:gd name="T86" fmla="*/ 530 w 559"/>
              <a:gd name="T87" fmla="*/ 288 h 763"/>
              <a:gd name="T88" fmla="*/ 518 w 559"/>
              <a:gd name="T89" fmla="*/ 328 h 763"/>
              <a:gd name="T90" fmla="*/ 518 w 559"/>
              <a:gd name="T91" fmla="*/ 388 h 763"/>
              <a:gd name="T92" fmla="*/ 541 w 559"/>
              <a:gd name="T93" fmla="*/ 419 h 763"/>
              <a:gd name="T94" fmla="*/ 539 w 559"/>
              <a:gd name="T95" fmla="*/ 465 h 763"/>
              <a:gd name="T96" fmla="*/ 549 w 559"/>
              <a:gd name="T97" fmla="*/ 520 h 763"/>
              <a:gd name="T98" fmla="*/ 532 w 559"/>
              <a:gd name="T99" fmla="*/ 480 h 763"/>
              <a:gd name="T100" fmla="*/ 496 w 559"/>
              <a:gd name="T101" fmla="*/ 481 h 763"/>
              <a:gd name="T102" fmla="*/ 422 w 559"/>
              <a:gd name="T103" fmla="*/ 494 h 763"/>
              <a:gd name="T104" fmla="*/ 428 w 559"/>
              <a:gd name="T105" fmla="*/ 526 h 763"/>
              <a:gd name="T106" fmla="*/ 454 w 559"/>
              <a:gd name="T107" fmla="*/ 545 h 763"/>
              <a:gd name="T108" fmla="*/ 411 w 559"/>
              <a:gd name="T109" fmla="*/ 549 h 763"/>
              <a:gd name="T110" fmla="*/ 432 w 559"/>
              <a:gd name="T111" fmla="*/ 599 h 763"/>
              <a:gd name="T112" fmla="*/ 434 w 559"/>
              <a:gd name="T113" fmla="*/ 668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9" h="763">
                <a:moveTo>
                  <a:pt x="434" y="668"/>
                </a:moveTo>
                <a:lnTo>
                  <a:pt x="425" y="713"/>
                </a:lnTo>
                <a:lnTo>
                  <a:pt x="415" y="763"/>
                </a:lnTo>
                <a:lnTo>
                  <a:pt x="398" y="749"/>
                </a:lnTo>
                <a:lnTo>
                  <a:pt x="386" y="746"/>
                </a:lnTo>
                <a:lnTo>
                  <a:pt x="386" y="738"/>
                </a:lnTo>
                <a:lnTo>
                  <a:pt x="410" y="705"/>
                </a:lnTo>
                <a:lnTo>
                  <a:pt x="402" y="692"/>
                </a:lnTo>
                <a:lnTo>
                  <a:pt x="368" y="676"/>
                </a:lnTo>
                <a:lnTo>
                  <a:pt x="352" y="684"/>
                </a:lnTo>
                <a:lnTo>
                  <a:pt x="327" y="676"/>
                </a:lnTo>
                <a:lnTo>
                  <a:pt x="307" y="688"/>
                </a:lnTo>
                <a:lnTo>
                  <a:pt x="275" y="684"/>
                </a:lnTo>
                <a:lnTo>
                  <a:pt x="266" y="675"/>
                </a:lnTo>
                <a:lnTo>
                  <a:pt x="266" y="658"/>
                </a:lnTo>
                <a:lnTo>
                  <a:pt x="253" y="655"/>
                </a:lnTo>
                <a:lnTo>
                  <a:pt x="244" y="628"/>
                </a:lnTo>
                <a:lnTo>
                  <a:pt x="225" y="622"/>
                </a:lnTo>
                <a:lnTo>
                  <a:pt x="210" y="597"/>
                </a:lnTo>
                <a:lnTo>
                  <a:pt x="193" y="583"/>
                </a:lnTo>
                <a:lnTo>
                  <a:pt x="170" y="577"/>
                </a:lnTo>
                <a:lnTo>
                  <a:pt x="136" y="557"/>
                </a:lnTo>
                <a:lnTo>
                  <a:pt x="125" y="563"/>
                </a:lnTo>
                <a:lnTo>
                  <a:pt x="80" y="563"/>
                </a:lnTo>
                <a:lnTo>
                  <a:pt x="72" y="548"/>
                </a:lnTo>
                <a:lnTo>
                  <a:pt x="63" y="540"/>
                </a:lnTo>
                <a:lnTo>
                  <a:pt x="35" y="526"/>
                </a:lnTo>
                <a:lnTo>
                  <a:pt x="5" y="511"/>
                </a:lnTo>
                <a:lnTo>
                  <a:pt x="0" y="498"/>
                </a:lnTo>
                <a:lnTo>
                  <a:pt x="7" y="490"/>
                </a:lnTo>
                <a:lnTo>
                  <a:pt x="17" y="489"/>
                </a:lnTo>
                <a:lnTo>
                  <a:pt x="22" y="458"/>
                </a:lnTo>
                <a:lnTo>
                  <a:pt x="61" y="447"/>
                </a:lnTo>
                <a:lnTo>
                  <a:pt x="68" y="424"/>
                </a:lnTo>
                <a:lnTo>
                  <a:pt x="94" y="396"/>
                </a:lnTo>
                <a:lnTo>
                  <a:pt x="94" y="390"/>
                </a:lnTo>
                <a:lnTo>
                  <a:pt x="83" y="396"/>
                </a:lnTo>
                <a:lnTo>
                  <a:pt x="71" y="393"/>
                </a:lnTo>
                <a:lnTo>
                  <a:pt x="77" y="367"/>
                </a:lnTo>
                <a:lnTo>
                  <a:pt x="69" y="323"/>
                </a:lnTo>
                <a:lnTo>
                  <a:pt x="75" y="311"/>
                </a:lnTo>
                <a:lnTo>
                  <a:pt x="72" y="275"/>
                </a:lnTo>
                <a:lnTo>
                  <a:pt x="60" y="260"/>
                </a:lnTo>
                <a:lnTo>
                  <a:pt x="49" y="237"/>
                </a:lnTo>
                <a:lnTo>
                  <a:pt x="58" y="221"/>
                </a:lnTo>
                <a:lnTo>
                  <a:pt x="66" y="223"/>
                </a:lnTo>
                <a:lnTo>
                  <a:pt x="81" y="204"/>
                </a:lnTo>
                <a:lnTo>
                  <a:pt x="69" y="184"/>
                </a:lnTo>
                <a:lnTo>
                  <a:pt x="72" y="176"/>
                </a:lnTo>
                <a:lnTo>
                  <a:pt x="100" y="204"/>
                </a:lnTo>
                <a:lnTo>
                  <a:pt x="98" y="176"/>
                </a:lnTo>
                <a:lnTo>
                  <a:pt x="120" y="161"/>
                </a:lnTo>
                <a:lnTo>
                  <a:pt x="134" y="142"/>
                </a:lnTo>
                <a:lnTo>
                  <a:pt x="153" y="133"/>
                </a:lnTo>
                <a:lnTo>
                  <a:pt x="156" y="89"/>
                </a:lnTo>
                <a:lnTo>
                  <a:pt x="183" y="65"/>
                </a:lnTo>
                <a:lnTo>
                  <a:pt x="196" y="68"/>
                </a:lnTo>
                <a:lnTo>
                  <a:pt x="204" y="65"/>
                </a:lnTo>
                <a:lnTo>
                  <a:pt x="208" y="76"/>
                </a:lnTo>
                <a:lnTo>
                  <a:pt x="222" y="52"/>
                </a:lnTo>
                <a:lnTo>
                  <a:pt x="244" y="54"/>
                </a:lnTo>
                <a:lnTo>
                  <a:pt x="264" y="47"/>
                </a:lnTo>
                <a:lnTo>
                  <a:pt x="309" y="28"/>
                </a:lnTo>
                <a:lnTo>
                  <a:pt x="320" y="9"/>
                </a:lnTo>
                <a:lnTo>
                  <a:pt x="330" y="9"/>
                </a:lnTo>
                <a:lnTo>
                  <a:pt x="330" y="3"/>
                </a:lnTo>
                <a:lnTo>
                  <a:pt x="340" y="0"/>
                </a:lnTo>
                <a:lnTo>
                  <a:pt x="361" y="9"/>
                </a:lnTo>
                <a:lnTo>
                  <a:pt x="361" y="17"/>
                </a:lnTo>
                <a:lnTo>
                  <a:pt x="352" y="26"/>
                </a:lnTo>
                <a:lnTo>
                  <a:pt x="327" y="34"/>
                </a:lnTo>
                <a:lnTo>
                  <a:pt x="295" y="71"/>
                </a:lnTo>
                <a:lnTo>
                  <a:pt x="284" y="89"/>
                </a:lnTo>
                <a:lnTo>
                  <a:pt x="275" y="128"/>
                </a:lnTo>
                <a:lnTo>
                  <a:pt x="261" y="150"/>
                </a:lnTo>
                <a:lnTo>
                  <a:pt x="283" y="152"/>
                </a:lnTo>
                <a:lnTo>
                  <a:pt x="288" y="172"/>
                </a:lnTo>
                <a:lnTo>
                  <a:pt x="303" y="195"/>
                </a:lnTo>
                <a:lnTo>
                  <a:pt x="307" y="232"/>
                </a:lnTo>
                <a:lnTo>
                  <a:pt x="324" y="243"/>
                </a:lnTo>
                <a:lnTo>
                  <a:pt x="351" y="250"/>
                </a:lnTo>
                <a:lnTo>
                  <a:pt x="388" y="245"/>
                </a:lnTo>
                <a:lnTo>
                  <a:pt x="411" y="254"/>
                </a:lnTo>
                <a:lnTo>
                  <a:pt x="444" y="292"/>
                </a:lnTo>
                <a:lnTo>
                  <a:pt x="464" y="289"/>
                </a:lnTo>
                <a:lnTo>
                  <a:pt x="491" y="294"/>
                </a:lnTo>
                <a:lnTo>
                  <a:pt x="516" y="286"/>
                </a:lnTo>
                <a:lnTo>
                  <a:pt x="530" y="288"/>
                </a:lnTo>
                <a:lnTo>
                  <a:pt x="533" y="299"/>
                </a:lnTo>
                <a:lnTo>
                  <a:pt x="518" y="328"/>
                </a:lnTo>
                <a:lnTo>
                  <a:pt x="513" y="362"/>
                </a:lnTo>
                <a:lnTo>
                  <a:pt x="518" y="388"/>
                </a:lnTo>
                <a:lnTo>
                  <a:pt x="533" y="401"/>
                </a:lnTo>
                <a:lnTo>
                  <a:pt x="541" y="419"/>
                </a:lnTo>
                <a:lnTo>
                  <a:pt x="518" y="444"/>
                </a:lnTo>
                <a:lnTo>
                  <a:pt x="539" y="465"/>
                </a:lnTo>
                <a:lnTo>
                  <a:pt x="559" y="512"/>
                </a:lnTo>
                <a:lnTo>
                  <a:pt x="549" y="520"/>
                </a:lnTo>
                <a:lnTo>
                  <a:pt x="544" y="494"/>
                </a:lnTo>
                <a:lnTo>
                  <a:pt x="532" y="480"/>
                </a:lnTo>
                <a:lnTo>
                  <a:pt x="508" y="489"/>
                </a:lnTo>
                <a:lnTo>
                  <a:pt x="496" y="481"/>
                </a:lnTo>
                <a:lnTo>
                  <a:pt x="490" y="494"/>
                </a:lnTo>
                <a:lnTo>
                  <a:pt x="422" y="494"/>
                </a:lnTo>
                <a:lnTo>
                  <a:pt x="422" y="523"/>
                </a:lnTo>
                <a:lnTo>
                  <a:pt x="428" y="526"/>
                </a:lnTo>
                <a:lnTo>
                  <a:pt x="445" y="524"/>
                </a:lnTo>
                <a:lnTo>
                  <a:pt x="454" y="545"/>
                </a:lnTo>
                <a:lnTo>
                  <a:pt x="436" y="543"/>
                </a:lnTo>
                <a:lnTo>
                  <a:pt x="411" y="549"/>
                </a:lnTo>
                <a:lnTo>
                  <a:pt x="411" y="580"/>
                </a:lnTo>
                <a:lnTo>
                  <a:pt x="432" y="599"/>
                </a:lnTo>
                <a:lnTo>
                  <a:pt x="440" y="630"/>
                </a:lnTo>
                <a:lnTo>
                  <a:pt x="434" y="668"/>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58" name="Freeform 189">
            <a:extLst>
              <a:ext uri="{FF2B5EF4-FFF2-40B4-BE49-F238E27FC236}">
                <a16:creationId xmlns:a16="http://schemas.microsoft.com/office/drawing/2014/main" id="{AE9227E9-38CC-B04C-82CC-94F3DEC99C90}"/>
              </a:ext>
            </a:extLst>
          </p:cNvPr>
          <p:cNvSpPr>
            <a:spLocks noChangeAspect="1"/>
          </p:cNvSpPr>
          <p:nvPr/>
        </p:nvSpPr>
        <p:spPr bwMode="gray">
          <a:xfrm>
            <a:off x="5832874" y="2443969"/>
            <a:ext cx="573460" cy="1013208"/>
          </a:xfrm>
          <a:custGeom>
            <a:avLst/>
            <a:gdLst>
              <a:gd name="T0" fmla="*/ 504 w 575"/>
              <a:gd name="T1" fmla="*/ 834 h 843"/>
              <a:gd name="T2" fmla="*/ 538 w 575"/>
              <a:gd name="T3" fmla="*/ 811 h 843"/>
              <a:gd name="T4" fmla="*/ 563 w 575"/>
              <a:gd name="T5" fmla="*/ 760 h 843"/>
              <a:gd name="T6" fmla="*/ 546 w 575"/>
              <a:gd name="T7" fmla="*/ 732 h 843"/>
              <a:gd name="T8" fmla="*/ 557 w 575"/>
              <a:gd name="T9" fmla="*/ 698 h 843"/>
              <a:gd name="T10" fmla="*/ 563 w 575"/>
              <a:gd name="T11" fmla="*/ 664 h 843"/>
              <a:gd name="T12" fmla="*/ 575 w 575"/>
              <a:gd name="T13" fmla="*/ 567 h 843"/>
              <a:gd name="T14" fmla="*/ 506 w 575"/>
              <a:gd name="T15" fmla="*/ 503 h 843"/>
              <a:gd name="T16" fmla="*/ 495 w 575"/>
              <a:gd name="T17" fmla="*/ 421 h 843"/>
              <a:gd name="T18" fmla="*/ 442 w 575"/>
              <a:gd name="T19" fmla="*/ 453 h 843"/>
              <a:gd name="T20" fmla="*/ 408 w 575"/>
              <a:gd name="T21" fmla="*/ 430 h 843"/>
              <a:gd name="T22" fmla="*/ 385 w 575"/>
              <a:gd name="T23" fmla="*/ 407 h 843"/>
              <a:gd name="T24" fmla="*/ 343 w 575"/>
              <a:gd name="T25" fmla="*/ 342 h 843"/>
              <a:gd name="T26" fmla="*/ 377 w 575"/>
              <a:gd name="T27" fmla="*/ 296 h 843"/>
              <a:gd name="T28" fmla="*/ 404 w 575"/>
              <a:gd name="T29" fmla="*/ 228 h 843"/>
              <a:gd name="T30" fmla="*/ 497 w 575"/>
              <a:gd name="T31" fmla="*/ 189 h 843"/>
              <a:gd name="T32" fmla="*/ 519 w 575"/>
              <a:gd name="T33" fmla="*/ 186 h 843"/>
              <a:gd name="T34" fmla="*/ 490 w 575"/>
              <a:gd name="T35" fmla="*/ 169 h 843"/>
              <a:gd name="T36" fmla="*/ 514 w 575"/>
              <a:gd name="T37" fmla="*/ 128 h 843"/>
              <a:gd name="T38" fmla="*/ 472 w 575"/>
              <a:gd name="T39" fmla="*/ 99 h 843"/>
              <a:gd name="T40" fmla="*/ 431 w 575"/>
              <a:gd name="T41" fmla="*/ 99 h 843"/>
              <a:gd name="T42" fmla="*/ 379 w 575"/>
              <a:gd name="T43" fmla="*/ 107 h 843"/>
              <a:gd name="T44" fmla="*/ 370 w 575"/>
              <a:gd name="T45" fmla="*/ 81 h 843"/>
              <a:gd name="T46" fmla="*/ 348 w 575"/>
              <a:gd name="T47" fmla="*/ 51 h 843"/>
              <a:gd name="T48" fmla="*/ 314 w 575"/>
              <a:gd name="T49" fmla="*/ 20 h 843"/>
              <a:gd name="T50" fmla="*/ 274 w 575"/>
              <a:gd name="T51" fmla="*/ 0 h 843"/>
              <a:gd name="T52" fmla="*/ 261 w 575"/>
              <a:gd name="T53" fmla="*/ 8 h 843"/>
              <a:gd name="T54" fmla="*/ 272 w 575"/>
              <a:gd name="T55" fmla="*/ 40 h 843"/>
              <a:gd name="T56" fmla="*/ 213 w 575"/>
              <a:gd name="T57" fmla="*/ 115 h 843"/>
              <a:gd name="T58" fmla="*/ 142 w 575"/>
              <a:gd name="T59" fmla="*/ 159 h 843"/>
              <a:gd name="T60" fmla="*/ 119 w 575"/>
              <a:gd name="T61" fmla="*/ 176 h 843"/>
              <a:gd name="T62" fmla="*/ 99 w 575"/>
              <a:gd name="T63" fmla="*/ 221 h 843"/>
              <a:gd name="T64" fmla="*/ 74 w 575"/>
              <a:gd name="T65" fmla="*/ 204 h 843"/>
              <a:gd name="T66" fmla="*/ 54 w 575"/>
              <a:gd name="T67" fmla="*/ 200 h 843"/>
              <a:gd name="T68" fmla="*/ 29 w 575"/>
              <a:gd name="T69" fmla="*/ 184 h 843"/>
              <a:gd name="T70" fmla="*/ 40 w 575"/>
              <a:gd name="T71" fmla="*/ 153 h 843"/>
              <a:gd name="T72" fmla="*/ 6 w 575"/>
              <a:gd name="T73" fmla="*/ 237 h 843"/>
              <a:gd name="T74" fmla="*/ 8 w 575"/>
              <a:gd name="T75" fmla="*/ 266 h 843"/>
              <a:gd name="T76" fmla="*/ 72 w 575"/>
              <a:gd name="T77" fmla="*/ 323 h 843"/>
              <a:gd name="T78" fmla="*/ 109 w 575"/>
              <a:gd name="T79" fmla="*/ 379 h 843"/>
              <a:gd name="T80" fmla="*/ 156 w 575"/>
              <a:gd name="T81" fmla="*/ 484 h 843"/>
              <a:gd name="T82" fmla="*/ 181 w 575"/>
              <a:gd name="T83" fmla="*/ 537 h 843"/>
              <a:gd name="T84" fmla="*/ 224 w 575"/>
              <a:gd name="T85" fmla="*/ 610 h 843"/>
              <a:gd name="T86" fmla="*/ 223 w 575"/>
              <a:gd name="T87" fmla="*/ 641 h 843"/>
              <a:gd name="T88" fmla="*/ 278 w 575"/>
              <a:gd name="T89" fmla="*/ 706 h 843"/>
              <a:gd name="T90" fmla="*/ 411 w 575"/>
              <a:gd name="T91" fmla="*/ 775 h 843"/>
              <a:gd name="T92" fmla="*/ 470 w 575"/>
              <a:gd name="T93" fmla="*/ 829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5" h="843">
                <a:moveTo>
                  <a:pt x="493" y="843"/>
                </a:moveTo>
                <a:lnTo>
                  <a:pt x="504" y="834"/>
                </a:lnTo>
                <a:lnTo>
                  <a:pt x="524" y="833"/>
                </a:lnTo>
                <a:lnTo>
                  <a:pt x="538" y="811"/>
                </a:lnTo>
                <a:lnTo>
                  <a:pt x="532" y="800"/>
                </a:lnTo>
                <a:lnTo>
                  <a:pt x="563" y="760"/>
                </a:lnTo>
                <a:lnTo>
                  <a:pt x="561" y="749"/>
                </a:lnTo>
                <a:lnTo>
                  <a:pt x="546" y="732"/>
                </a:lnTo>
                <a:lnTo>
                  <a:pt x="546" y="714"/>
                </a:lnTo>
                <a:lnTo>
                  <a:pt x="557" y="698"/>
                </a:lnTo>
                <a:lnTo>
                  <a:pt x="548" y="675"/>
                </a:lnTo>
                <a:lnTo>
                  <a:pt x="563" y="664"/>
                </a:lnTo>
                <a:lnTo>
                  <a:pt x="563" y="587"/>
                </a:lnTo>
                <a:lnTo>
                  <a:pt x="575" y="567"/>
                </a:lnTo>
                <a:lnTo>
                  <a:pt x="532" y="497"/>
                </a:lnTo>
                <a:lnTo>
                  <a:pt x="506" y="503"/>
                </a:lnTo>
                <a:lnTo>
                  <a:pt x="495" y="497"/>
                </a:lnTo>
                <a:lnTo>
                  <a:pt x="495" y="421"/>
                </a:lnTo>
                <a:lnTo>
                  <a:pt x="465" y="444"/>
                </a:lnTo>
                <a:lnTo>
                  <a:pt x="442" y="453"/>
                </a:lnTo>
                <a:lnTo>
                  <a:pt x="421" y="449"/>
                </a:lnTo>
                <a:lnTo>
                  <a:pt x="408" y="430"/>
                </a:lnTo>
                <a:lnTo>
                  <a:pt x="380" y="426"/>
                </a:lnTo>
                <a:lnTo>
                  <a:pt x="385" y="407"/>
                </a:lnTo>
                <a:lnTo>
                  <a:pt x="354" y="376"/>
                </a:lnTo>
                <a:lnTo>
                  <a:pt x="343" y="342"/>
                </a:lnTo>
                <a:lnTo>
                  <a:pt x="359" y="303"/>
                </a:lnTo>
                <a:lnTo>
                  <a:pt x="377" y="296"/>
                </a:lnTo>
                <a:lnTo>
                  <a:pt x="379" y="266"/>
                </a:lnTo>
                <a:lnTo>
                  <a:pt x="404" y="228"/>
                </a:lnTo>
                <a:lnTo>
                  <a:pt x="442" y="206"/>
                </a:lnTo>
                <a:lnTo>
                  <a:pt x="497" y="189"/>
                </a:lnTo>
                <a:lnTo>
                  <a:pt x="514" y="191"/>
                </a:lnTo>
                <a:lnTo>
                  <a:pt x="519" y="186"/>
                </a:lnTo>
                <a:lnTo>
                  <a:pt x="502" y="172"/>
                </a:lnTo>
                <a:lnTo>
                  <a:pt x="490" y="169"/>
                </a:lnTo>
                <a:lnTo>
                  <a:pt x="490" y="161"/>
                </a:lnTo>
                <a:lnTo>
                  <a:pt x="514" y="128"/>
                </a:lnTo>
                <a:lnTo>
                  <a:pt x="506" y="115"/>
                </a:lnTo>
                <a:lnTo>
                  <a:pt x="472" y="99"/>
                </a:lnTo>
                <a:lnTo>
                  <a:pt x="456" y="107"/>
                </a:lnTo>
                <a:lnTo>
                  <a:pt x="431" y="99"/>
                </a:lnTo>
                <a:lnTo>
                  <a:pt x="411" y="111"/>
                </a:lnTo>
                <a:lnTo>
                  <a:pt x="379" y="107"/>
                </a:lnTo>
                <a:lnTo>
                  <a:pt x="370" y="98"/>
                </a:lnTo>
                <a:lnTo>
                  <a:pt x="370" y="81"/>
                </a:lnTo>
                <a:lnTo>
                  <a:pt x="357" y="78"/>
                </a:lnTo>
                <a:lnTo>
                  <a:pt x="348" y="51"/>
                </a:lnTo>
                <a:lnTo>
                  <a:pt x="329" y="45"/>
                </a:lnTo>
                <a:lnTo>
                  <a:pt x="314" y="20"/>
                </a:lnTo>
                <a:lnTo>
                  <a:pt x="297" y="6"/>
                </a:lnTo>
                <a:lnTo>
                  <a:pt x="274" y="0"/>
                </a:lnTo>
                <a:lnTo>
                  <a:pt x="263" y="2"/>
                </a:lnTo>
                <a:lnTo>
                  <a:pt x="261" y="8"/>
                </a:lnTo>
                <a:lnTo>
                  <a:pt x="280" y="40"/>
                </a:lnTo>
                <a:lnTo>
                  <a:pt x="272" y="40"/>
                </a:lnTo>
                <a:lnTo>
                  <a:pt x="253" y="74"/>
                </a:lnTo>
                <a:lnTo>
                  <a:pt x="213" y="115"/>
                </a:lnTo>
                <a:lnTo>
                  <a:pt x="148" y="141"/>
                </a:lnTo>
                <a:lnTo>
                  <a:pt x="142" y="159"/>
                </a:lnTo>
                <a:lnTo>
                  <a:pt x="131" y="158"/>
                </a:lnTo>
                <a:lnTo>
                  <a:pt x="119" y="176"/>
                </a:lnTo>
                <a:lnTo>
                  <a:pt x="114" y="209"/>
                </a:lnTo>
                <a:lnTo>
                  <a:pt x="99" y="221"/>
                </a:lnTo>
                <a:lnTo>
                  <a:pt x="84" y="223"/>
                </a:lnTo>
                <a:lnTo>
                  <a:pt x="74" y="204"/>
                </a:lnTo>
                <a:lnTo>
                  <a:pt x="60" y="204"/>
                </a:lnTo>
                <a:lnTo>
                  <a:pt x="54" y="200"/>
                </a:lnTo>
                <a:lnTo>
                  <a:pt x="35" y="204"/>
                </a:lnTo>
                <a:lnTo>
                  <a:pt x="29" y="184"/>
                </a:lnTo>
                <a:lnTo>
                  <a:pt x="45" y="174"/>
                </a:lnTo>
                <a:lnTo>
                  <a:pt x="40" y="153"/>
                </a:lnTo>
                <a:lnTo>
                  <a:pt x="0" y="196"/>
                </a:lnTo>
                <a:lnTo>
                  <a:pt x="6" y="237"/>
                </a:lnTo>
                <a:lnTo>
                  <a:pt x="18" y="251"/>
                </a:lnTo>
                <a:lnTo>
                  <a:pt x="8" y="266"/>
                </a:lnTo>
                <a:lnTo>
                  <a:pt x="59" y="308"/>
                </a:lnTo>
                <a:lnTo>
                  <a:pt x="72" y="323"/>
                </a:lnTo>
                <a:lnTo>
                  <a:pt x="84" y="353"/>
                </a:lnTo>
                <a:lnTo>
                  <a:pt x="109" y="379"/>
                </a:lnTo>
                <a:lnTo>
                  <a:pt x="142" y="460"/>
                </a:lnTo>
                <a:lnTo>
                  <a:pt x="156" y="484"/>
                </a:lnTo>
                <a:lnTo>
                  <a:pt x="165" y="523"/>
                </a:lnTo>
                <a:lnTo>
                  <a:pt x="181" y="537"/>
                </a:lnTo>
                <a:lnTo>
                  <a:pt x="213" y="596"/>
                </a:lnTo>
                <a:lnTo>
                  <a:pt x="224" y="610"/>
                </a:lnTo>
                <a:lnTo>
                  <a:pt x="229" y="631"/>
                </a:lnTo>
                <a:lnTo>
                  <a:pt x="223" y="641"/>
                </a:lnTo>
                <a:lnTo>
                  <a:pt x="226" y="655"/>
                </a:lnTo>
                <a:lnTo>
                  <a:pt x="278" y="706"/>
                </a:lnTo>
                <a:lnTo>
                  <a:pt x="343" y="746"/>
                </a:lnTo>
                <a:lnTo>
                  <a:pt x="411" y="775"/>
                </a:lnTo>
                <a:lnTo>
                  <a:pt x="439" y="795"/>
                </a:lnTo>
                <a:lnTo>
                  <a:pt x="470" y="829"/>
                </a:lnTo>
                <a:lnTo>
                  <a:pt x="493" y="843"/>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59" name="Freeform 190">
            <a:extLst>
              <a:ext uri="{FF2B5EF4-FFF2-40B4-BE49-F238E27FC236}">
                <a16:creationId xmlns:a16="http://schemas.microsoft.com/office/drawing/2014/main" id="{01DF631D-9F86-154A-83D0-6392A7B7B2B7}"/>
              </a:ext>
            </a:extLst>
          </p:cNvPr>
          <p:cNvSpPr>
            <a:spLocks noChangeAspect="1"/>
          </p:cNvSpPr>
          <p:nvPr/>
        </p:nvSpPr>
        <p:spPr bwMode="gray">
          <a:xfrm>
            <a:off x="6684962" y="3515850"/>
            <a:ext cx="382308" cy="492912"/>
          </a:xfrm>
          <a:custGeom>
            <a:avLst/>
            <a:gdLst>
              <a:gd name="T0" fmla="*/ 0 w 388"/>
              <a:gd name="T1" fmla="*/ 151 h 411"/>
              <a:gd name="T2" fmla="*/ 17 w 388"/>
              <a:gd name="T3" fmla="*/ 105 h 411"/>
              <a:gd name="T4" fmla="*/ 17 w 388"/>
              <a:gd name="T5" fmla="*/ 71 h 411"/>
              <a:gd name="T6" fmla="*/ 34 w 388"/>
              <a:gd name="T7" fmla="*/ 43 h 411"/>
              <a:gd name="T8" fmla="*/ 40 w 388"/>
              <a:gd name="T9" fmla="*/ 26 h 411"/>
              <a:gd name="T10" fmla="*/ 129 w 388"/>
              <a:gd name="T11" fmla="*/ 0 h 411"/>
              <a:gd name="T12" fmla="*/ 168 w 388"/>
              <a:gd name="T13" fmla="*/ 0 h 411"/>
              <a:gd name="T14" fmla="*/ 188 w 388"/>
              <a:gd name="T15" fmla="*/ 10 h 411"/>
              <a:gd name="T16" fmla="*/ 215 w 388"/>
              <a:gd name="T17" fmla="*/ 43 h 411"/>
              <a:gd name="T18" fmla="*/ 213 w 388"/>
              <a:gd name="T19" fmla="*/ 49 h 411"/>
              <a:gd name="T20" fmla="*/ 221 w 388"/>
              <a:gd name="T21" fmla="*/ 63 h 411"/>
              <a:gd name="T22" fmla="*/ 221 w 388"/>
              <a:gd name="T23" fmla="*/ 131 h 411"/>
              <a:gd name="T24" fmla="*/ 224 w 388"/>
              <a:gd name="T25" fmla="*/ 137 h 411"/>
              <a:gd name="T26" fmla="*/ 263 w 388"/>
              <a:gd name="T27" fmla="*/ 149 h 411"/>
              <a:gd name="T28" fmla="*/ 294 w 388"/>
              <a:gd name="T29" fmla="*/ 142 h 411"/>
              <a:gd name="T30" fmla="*/ 318 w 388"/>
              <a:gd name="T31" fmla="*/ 152 h 411"/>
              <a:gd name="T32" fmla="val 18576000"/>
              <a:gd name="T33" fmla="*/ 164 h 411"/>
              <a:gd name="T34" fmla="*/ 329 w 388"/>
              <a:gd name="T35" fmla="*/ 215 h 411"/>
              <a:gd name="T36" fmla="*/ 335 w 388"/>
              <a:gd name="T37" fmla="*/ 225 h 411"/>
              <a:gd name="T38" fmla="*/ 348 w 388"/>
              <a:gd name="T39" fmla="*/ 232 h 411"/>
              <a:gd name="T40" fmla="*/ 378 w 388"/>
              <a:gd name="T41" fmla="*/ 227 h 411"/>
              <a:gd name="T42" fmla="*/ 383 w 388"/>
              <a:gd name="T43" fmla="*/ 232 h 411"/>
              <a:gd name="T44" fmla="*/ 388 w 388"/>
              <a:gd name="T45" fmla="*/ 259 h 411"/>
              <a:gd name="T46" fmla="*/ 380 w 388"/>
              <a:gd name="T47" fmla="*/ 315 h 411"/>
              <a:gd name="T48" fmla="*/ 371 w 388"/>
              <a:gd name="T49" fmla="*/ 360 h 411"/>
              <a:gd name="T50" fmla="*/ 326 w 388"/>
              <a:gd name="T51" fmla="*/ 403 h 411"/>
              <a:gd name="T52" fmla="*/ 273 w 388"/>
              <a:gd name="T53" fmla="*/ 411 h 411"/>
              <a:gd name="T54" fmla="*/ 246 w 388"/>
              <a:gd name="T55" fmla="*/ 399 h 411"/>
              <a:gd name="T56" fmla="*/ 201 w 388"/>
              <a:gd name="T57" fmla="*/ 394 h 411"/>
              <a:gd name="T58" fmla="*/ 201 w 388"/>
              <a:gd name="T59" fmla="*/ 383 h 411"/>
              <a:gd name="T60" fmla="*/ 202 w 388"/>
              <a:gd name="T61" fmla="*/ 371 h 411"/>
              <a:gd name="T62" fmla="*/ 230 w 388"/>
              <a:gd name="T63" fmla="*/ 321 h 411"/>
              <a:gd name="T64" fmla="*/ 227 w 388"/>
              <a:gd name="T65" fmla="*/ 301 h 411"/>
              <a:gd name="T66" fmla="*/ 193 w 388"/>
              <a:gd name="T67" fmla="*/ 276 h 411"/>
              <a:gd name="T68" fmla="*/ 141 w 388"/>
              <a:gd name="T69" fmla="*/ 245 h 411"/>
              <a:gd name="T70" fmla="*/ 86 w 388"/>
              <a:gd name="T71" fmla="*/ 233 h 411"/>
              <a:gd name="T72" fmla="*/ 77 w 388"/>
              <a:gd name="T73" fmla="*/ 216 h 411"/>
              <a:gd name="T74" fmla="*/ 43 w 388"/>
              <a:gd name="T75" fmla="*/ 193 h 411"/>
              <a:gd name="T76" fmla="*/ 14 w 388"/>
              <a:gd name="T77" fmla="*/ 156 h 411"/>
              <a:gd name="T78" fmla="*/ 0 w 388"/>
              <a:gd name="T79" fmla="*/ 151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8" h="411">
                <a:moveTo>
                  <a:pt x="0" y="151"/>
                </a:moveTo>
                <a:lnTo>
                  <a:pt x="17" y="105"/>
                </a:lnTo>
                <a:lnTo>
                  <a:pt x="17" y="71"/>
                </a:lnTo>
                <a:lnTo>
                  <a:pt x="34" y="43"/>
                </a:lnTo>
                <a:lnTo>
                  <a:pt x="40" y="26"/>
                </a:lnTo>
                <a:lnTo>
                  <a:pt x="129" y="0"/>
                </a:lnTo>
                <a:lnTo>
                  <a:pt x="168" y="0"/>
                </a:lnTo>
                <a:lnTo>
                  <a:pt x="188" y="10"/>
                </a:lnTo>
                <a:lnTo>
                  <a:pt x="215" y="43"/>
                </a:lnTo>
                <a:lnTo>
                  <a:pt x="213" y="49"/>
                </a:lnTo>
                <a:lnTo>
                  <a:pt x="221" y="63"/>
                </a:lnTo>
                <a:lnTo>
                  <a:pt x="221" y="131"/>
                </a:lnTo>
                <a:lnTo>
                  <a:pt x="224" y="137"/>
                </a:lnTo>
                <a:lnTo>
                  <a:pt x="263" y="149"/>
                </a:lnTo>
                <a:lnTo>
                  <a:pt x="294" y="142"/>
                </a:lnTo>
                <a:lnTo>
                  <a:pt x="318" y="152"/>
                </a:lnTo>
                <a:lnTo>
                  <a:pt x="326" y="164"/>
                </a:lnTo>
                <a:lnTo>
                  <a:pt x="329" y="215"/>
                </a:lnTo>
                <a:lnTo>
                  <a:pt x="335" y="225"/>
                </a:lnTo>
                <a:lnTo>
                  <a:pt x="348" y="232"/>
                </a:lnTo>
                <a:lnTo>
                  <a:pt x="378" y="227"/>
                </a:lnTo>
                <a:lnTo>
                  <a:pt x="383" y="232"/>
                </a:lnTo>
                <a:lnTo>
                  <a:pt x="388" y="259"/>
                </a:lnTo>
                <a:lnTo>
                  <a:pt x="380" y="315"/>
                </a:lnTo>
                <a:lnTo>
                  <a:pt x="371" y="360"/>
                </a:lnTo>
                <a:lnTo>
                  <a:pt x="326" y="403"/>
                </a:lnTo>
                <a:lnTo>
                  <a:pt x="273" y="411"/>
                </a:lnTo>
                <a:lnTo>
                  <a:pt x="246" y="399"/>
                </a:lnTo>
                <a:lnTo>
                  <a:pt x="201" y="394"/>
                </a:lnTo>
                <a:lnTo>
                  <a:pt x="201" y="383"/>
                </a:lnTo>
                <a:lnTo>
                  <a:pt x="202" y="371"/>
                </a:lnTo>
                <a:lnTo>
                  <a:pt x="230" y="321"/>
                </a:lnTo>
                <a:lnTo>
                  <a:pt x="227" y="301"/>
                </a:lnTo>
                <a:lnTo>
                  <a:pt x="193" y="276"/>
                </a:lnTo>
                <a:lnTo>
                  <a:pt x="141" y="245"/>
                </a:lnTo>
                <a:lnTo>
                  <a:pt x="86" y="233"/>
                </a:lnTo>
                <a:lnTo>
                  <a:pt x="77" y="216"/>
                </a:lnTo>
                <a:lnTo>
                  <a:pt x="43" y="193"/>
                </a:lnTo>
                <a:lnTo>
                  <a:pt x="14" y="156"/>
                </a:lnTo>
                <a:lnTo>
                  <a:pt x="0" y="151"/>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60" name="Freeform 191">
            <a:extLst>
              <a:ext uri="{FF2B5EF4-FFF2-40B4-BE49-F238E27FC236}">
                <a16:creationId xmlns:a16="http://schemas.microsoft.com/office/drawing/2014/main" id="{AA086A82-BB26-5D43-BDE9-75790FCE1C68}"/>
              </a:ext>
            </a:extLst>
          </p:cNvPr>
          <p:cNvSpPr>
            <a:spLocks noChangeAspect="1"/>
          </p:cNvSpPr>
          <p:nvPr/>
        </p:nvSpPr>
        <p:spPr bwMode="gray">
          <a:xfrm>
            <a:off x="6879358" y="4169154"/>
            <a:ext cx="239749" cy="316870"/>
          </a:xfrm>
          <a:custGeom>
            <a:avLst/>
            <a:gdLst>
              <a:gd name="T0" fmla="*/ 39 w 246"/>
              <a:gd name="T1" fmla="*/ 8 h 263"/>
              <a:gd name="T2" fmla="*/ 28 w 246"/>
              <a:gd name="T3" fmla="*/ 21 h 263"/>
              <a:gd name="T4" fmla="*/ 26 w 246"/>
              <a:gd name="T5" fmla="*/ 72 h 263"/>
              <a:gd name="T6" fmla="*/ 17 w 246"/>
              <a:gd name="T7" fmla="*/ 100 h 263"/>
              <a:gd name="T8" fmla="*/ 16 w 246"/>
              <a:gd name="T9" fmla="*/ 151 h 263"/>
              <a:gd name="T10" fmla="*/ 5 w 246"/>
              <a:gd name="T11" fmla="*/ 176 h 263"/>
              <a:gd name="T12" fmla="*/ 0 w 246"/>
              <a:gd name="T13" fmla="*/ 210 h 263"/>
              <a:gd name="T14" fmla="*/ 8 w 246"/>
              <a:gd name="T15" fmla="*/ 213 h 263"/>
              <a:gd name="T16" fmla="*/ 25 w 246"/>
              <a:gd name="T17" fmla="*/ 235 h 263"/>
              <a:gd name="T18" fmla="*/ 57 w 246"/>
              <a:gd name="T19" fmla="*/ 238 h 263"/>
              <a:gd name="T20" fmla="*/ 104 w 246"/>
              <a:gd name="T21" fmla="*/ 258 h 263"/>
              <a:gd name="T22" fmla="*/ 136 w 246"/>
              <a:gd name="T23" fmla="*/ 257 h 263"/>
              <a:gd name="T24" fmla="*/ 165 w 246"/>
              <a:gd name="T25" fmla="*/ 263 h 263"/>
              <a:gd name="T26" fmla="*/ 198 w 246"/>
              <a:gd name="T27" fmla="*/ 246 h 263"/>
              <a:gd name="T28" fmla="*/ 232 w 246"/>
              <a:gd name="T29" fmla="*/ 198 h 263"/>
              <a:gd name="T30" fmla="*/ 229 w 246"/>
              <a:gd name="T31" fmla="*/ 190 h 263"/>
              <a:gd name="T32" fmla="*/ 231 w 246"/>
              <a:gd name="T33" fmla="*/ 165 h 263"/>
              <a:gd name="T34" fmla="*/ 246 w 246"/>
              <a:gd name="T35" fmla="*/ 143 h 263"/>
              <a:gd name="T36" fmla="*/ 224 w 246"/>
              <a:gd name="T37" fmla="*/ 125 h 263"/>
              <a:gd name="T38" fmla="*/ 215 w 246"/>
              <a:gd name="T39" fmla="*/ 99 h 263"/>
              <a:gd name="T40" fmla="*/ 192 w 246"/>
              <a:gd name="T41" fmla="*/ 89 h 263"/>
              <a:gd name="T42" fmla="*/ 178 w 246"/>
              <a:gd name="T43" fmla="*/ 72 h 263"/>
              <a:gd name="T44" fmla="*/ 152 w 246"/>
              <a:gd name="T45" fmla="*/ 62 h 263"/>
              <a:gd name="T46" fmla="*/ 135 w 246"/>
              <a:gd name="T47" fmla="*/ 40 h 263"/>
              <a:gd name="T48" fmla="*/ 122 w 246"/>
              <a:gd name="T49" fmla="*/ 48 h 263"/>
              <a:gd name="T50" fmla="*/ 113 w 246"/>
              <a:gd name="T51" fmla="*/ 48 h 263"/>
              <a:gd name="T52" fmla="*/ 107 w 246"/>
              <a:gd name="T53" fmla="*/ 28 h 263"/>
              <a:gd name="T54" fmla="*/ 77 w 246"/>
              <a:gd name="T55" fmla="*/ 1 h 263"/>
              <a:gd name="T56" fmla="*/ 67 w 246"/>
              <a:gd name="T57" fmla="*/ 0 h 263"/>
              <a:gd name="T58" fmla="*/ 53 w 246"/>
              <a:gd name="T59" fmla="*/ 9 h 263"/>
              <a:gd name="T60" fmla="*/ 39 w 246"/>
              <a:gd name="T61" fmla="*/ 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6" h="263">
                <a:moveTo>
                  <a:pt x="39" y="8"/>
                </a:moveTo>
                <a:lnTo>
                  <a:pt x="28" y="21"/>
                </a:lnTo>
                <a:lnTo>
                  <a:pt x="26" y="72"/>
                </a:lnTo>
                <a:lnTo>
                  <a:pt x="17" y="100"/>
                </a:lnTo>
                <a:lnTo>
                  <a:pt x="16" y="151"/>
                </a:lnTo>
                <a:lnTo>
                  <a:pt x="5" y="176"/>
                </a:lnTo>
                <a:lnTo>
                  <a:pt x="0" y="210"/>
                </a:lnTo>
                <a:lnTo>
                  <a:pt x="8" y="213"/>
                </a:lnTo>
                <a:lnTo>
                  <a:pt x="25" y="235"/>
                </a:lnTo>
                <a:lnTo>
                  <a:pt x="57" y="238"/>
                </a:lnTo>
                <a:lnTo>
                  <a:pt x="104" y="258"/>
                </a:lnTo>
                <a:lnTo>
                  <a:pt x="136" y="257"/>
                </a:lnTo>
                <a:lnTo>
                  <a:pt x="165" y="263"/>
                </a:lnTo>
                <a:lnTo>
                  <a:pt x="198" y="246"/>
                </a:lnTo>
                <a:lnTo>
                  <a:pt x="232" y="198"/>
                </a:lnTo>
                <a:lnTo>
                  <a:pt x="229" y="190"/>
                </a:lnTo>
                <a:lnTo>
                  <a:pt x="231" y="165"/>
                </a:lnTo>
                <a:lnTo>
                  <a:pt x="246" y="143"/>
                </a:lnTo>
                <a:lnTo>
                  <a:pt x="224" y="125"/>
                </a:lnTo>
                <a:lnTo>
                  <a:pt x="215" y="99"/>
                </a:lnTo>
                <a:lnTo>
                  <a:pt x="192" y="89"/>
                </a:lnTo>
                <a:lnTo>
                  <a:pt x="178" y="72"/>
                </a:lnTo>
                <a:lnTo>
                  <a:pt x="152" y="62"/>
                </a:lnTo>
                <a:lnTo>
                  <a:pt x="135" y="40"/>
                </a:lnTo>
                <a:lnTo>
                  <a:pt x="122" y="48"/>
                </a:lnTo>
                <a:lnTo>
                  <a:pt x="113" y="48"/>
                </a:lnTo>
                <a:lnTo>
                  <a:pt x="107" y="28"/>
                </a:lnTo>
                <a:lnTo>
                  <a:pt x="77" y="1"/>
                </a:lnTo>
                <a:lnTo>
                  <a:pt x="67" y="0"/>
                </a:lnTo>
                <a:lnTo>
                  <a:pt x="53" y="9"/>
                </a:lnTo>
                <a:lnTo>
                  <a:pt x="39" y="8"/>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61" name="Freeform 192">
            <a:extLst>
              <a:ext uri="{FF2B5EF4-FFF2-40B4-BE49-F238E27FC236}">
                <a16:creationId xmlns:a16="http://schemas.microsoft.com/office/drawing/2014/main" id="{50480D10-4676-974D-B2F7-66ED6D2EBAB4}"/>
              </a:ext>
            </a:extLst>
          </p:cNvPr>
          <p:cNvSpPr>
            <a:spLocks noChangeAspect="1"/>
          </p:cNvSpPr>
          <p:nvPr/>
        </p:nvSpPr>
        <p:spPr bwMode="gray">
          <a:xfrm>
            <a:off x="6360976" y="2972086"/>
            <a:ext cx="554019" cy="758933"/>
          </a:xfrm>
          <a:custGeom>
            <a:avLst/>
            <a:gdLst>
              <a:gd name="T0" fmla="*/ 60 w 554"/>
              <a:gd name="T1" fmla="*/ 63 h 635"/>
              <a:gd name="T2" fmla="*/ 139 w 554"/>
              <a:gd name="T3" fmla="*/ 6 h 635"/>
              <a:gd name="T4" fmla="*/ 204 w 554"/>
              <a:gd name="T5" fmla="*/ 9 h 635"/>
              <a:gd name="T6" fmla="*/ 206 w 554"/>
              <a:gd name="T7" fmla="*/ 51 h 635"/>
              <a:gd name="T8" fmla="*/ 210 w 554"/>
              <a:gd name="T9" fmla="*/ 105 h 635"/>
              <a:gd name="T10" fmla="*/ 294 w 554"/>
              <a:gd name="T11" fmla="*/ 136 h 635"/>
              <a:gd name="T12" fmla="*/ 346 w 554"/>
              <a:gd name="T13" fmla="*/ 163 h 635"/>
              <a:gd name="T14" fmla="*/ 396 w 554"/>
              <a:gd name="T15" fmla="*/ 178 h 635"/>
              <a:gd name="T16" fmla="*/ 422 w 554"/>
              <a:gd name="T17" fmla="*/ 200 h 635"/>
              <a:gd name="T18" fmla="*/ 430 w 554"/>
              <a:gd name="T19" fmla="*/ 257 h 635"/>
              <a:gd name="T20" fmla="*/ 442 w 554"/>
              <a:gd name="T21" fmla="*/ 310 h 635"/>
              <a:gd name="T22" fmla="*/ 518 w 554"/>
              <a:gd name="T23" fmla="*/ 340 h 635"/>
              <a:gd name="T24" fmla="*/ 540 w 554"/>
              <a:gd name="T25" fmla="*/ 364 h 635"/>
              <a:gd name="T26" fmla="*/ 552 w 554"/>
              <a:gd name="T27" fmla="*/ 446 h 635"/>
              <a:gd name="T28" fmla="*/ 546 w 554"/>
              <a:gd name="T29" fmla="*/ 492 h 635"/>
              <a:gd name="T30" fmla="*/ 510 w 554"/>
              <a:gd name="T31" fmla="*/ 464 h 635"/>
              <a:gd name="T32" fmla="*/ 451 w 554"/>
              <a:gd name="T33" fmla="*/ 454 h 635"/>
              <a:gd name="T34" fmla="*/ 356 w 554"/>
              <a:gd name="T35" fmla="*/ 497 h 635"/>
              <a:gd name="T36" fmla="*/ 339 w 554"/>
              <a:gd name="T37" fmla="*/ 559 h 635"/>
              <a:gd name="T38" fmla="*/ 303 w 554"/>
              <a:gd name="T39" fmla="*/ 593 h 635"/>
              <a:gd name="T40" fmla="*/ 248 w 554"/>
              <a:gd name="T41" fmla="*/ 623 h 635"/>
              <a:gd name="T42" fmla="*/ 178 w 554"/>
              <a:gd name="T43" fmla="*/ 594 h 635"/>
              <a:gd name="T44" fmla="*/ 116 w 554"/>
              <a:gd name="T45" fmla="*/ 631 h 635"/>
              <a:gd name="T46" fmla="*/ 80 w 554"/>
              <a:gd name="T47" fmla="*/ 630 h 635"/>
              <a:gd name="T48" fmla="*/ 50 w 554"/>
              <a:gd name="T49" fmla="*/ 523 h 635"/>
              <a:gd name="T50" fmla="*/ 42 w 554"/>
              <a:gd name="T51" fmla="*/ 503 h 635"/>
              <a:gd name="T52" fmla="*/ 51 w 554"/>
              <a:gd name="T53" fmla="*/ 481 h 635"/>
              <a:gd name="T54" fmla="*/ 31 w 554"/>
              <a:gd name="T55" fmla="*/ 437 h 635"/>
              <a:gd name="T56" fmla="*/ 6 w 554"/>
              <a:gd name="T57" fmla="*/ 373 h 635"/>
              <a:gd name="T58" fmla="*/ 31 w 554"/>
              <a:gd name="T59" fmla="*/ 322 h 635"/>
              <a:gd name="T60" fmla="*/ 14 w 554"/>
              <a:gd name="T61" fmla="*/ 294 h 635"/>
              <a:gd name="T62" fmla="*/ 25 w 554"/>
              <a:gd name="T63" fmla="*/ 260 h 635"/>
              <a:gd name="T64" fmla="*/ 31 w 554"/>
              <a:gd name="T65" fmla="*/ 226 h 635"/>
              <a:gd name="T66" fmla="*/ 43 w 554"/>
              <a:gd name="T67" fmla="*/ 129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4" h="635">
                <a:moveTo>
                  <a:pt x="0" y="59"/>
                </a:moveTo>
                <a:lnTo>
                  <a:pt x="60" y="63"/>
                </a:lnTo>
                <a:lnTo>
                  <a:pt x="99" y="46"/>
                </a:lnTo>
                <a:lnTo>
                  <a:pt x="139" y="6"/>
                </a:lnTo>
                <a:lnTo>
                  <a:pt x="195" y="0"/>
                </a:lnTo>
                <a:lnTo>
                  <a:pt x="204" y="9"/>
                </a:lnTo>
                <a:lnTo>
                  <a:pt x="206" y="23"/>
                </a:lnTo>
                <a:lnTo>
                  <a:pt x="206" y="51"/>
                </a:lnTo>
                <a:lnTo>
                  <a:pt x="198" y="74"/>
                </a:lnTo>
                <a:lnTo>
                  <a:pt x="210" y="105"/>
                </a:lnTo>
                <a:lnTo>
                  <a:pt x="240" y="127"/>
                </a:lnTo>
                <a:lnTo>
                  <a:pt x="294" y="136"/>
                </a:lnTo>
                <a:lnTo>
                  <a:pt x="308" y="150"/>
                </a:lnTo>
                <a:lnTo>
                  <a:pt x="346" y="163"/>
                </a:lnTo>
                <a:lnTo>
                  <a:pt x="365" y="178"/>
                </a:lnTo>
                <a:lnTo>
                  <a:pt x="396" y="178"/>
                </a:lnTo>
                <a:lnTo>
                  <a:pt x="410" y="186"/>
                </a:lnTo>
                <a:lnTo>
                  <a:pt x="422" y="200"/>
                </a:lnTo>
                <a:lnTo>
                  <a:pt x="433" y="237"/>
                </a:lnTo>
                <a:lnTo>
                  <a:pt x="430" y="257"/>
                </a:lnTo>
                <a:lnTo>
                  <a:pt x="424" y="263"/>
                </a:lnTo>
                <a:lnTo>
                  <a:pt x="442" y="310"/>
                </a:lnTo>
                <a:lnTo>
                  <a:pt x="523" y="317"/>
                </a:lnTo>
                <a:lnTo>
                  <a:pt x="518" y="340"/>
                </a:lnTo>
                <a:lnTo>
                  <a:pt x="523" y="357"/>
                </a:lnTo>
                <a:lnTo>
                  <a:pt x="540" y="364"/>
                </a:lnTo>
                <a:lnTo>
                  <a:pt x="554" y="399"/>
                </a:lnTo>
                <a:lnTo>
                  <a:pt x="552" y="446"/>
                </a:lnTo>
                <a:lnTo>
                  <a:pt x="543" y="472"/>
                </a:lnTo>
                <a:lnTo>
                  <a:pt x="546" y="492"/>
                </a:lnTo>
                <a:lnTo>
                  <a:pt x="537" y="497"/>
                </a:lnTo>
                <a:lnTo>
                  <a:pt x="510" y="464"/>
                </a:lnTo>
                <a:lnTo>
                  <a:pt x="490" y="454"/>
                </a:lnTo>
                <a:lnTo>
                  <a:pt x="451" y="454"/>
                </a:lnTo>
                <a:lnTo>
                  <a:pt x="362" y="480"/>
                </a:lnTo>
                <a:lnTo>
                  <a:pt x="356" y="497"/>
                </a:lnTo>
                <a:lnTo>
                  <a:pt x="339" y="525"/>
                </a:lnTo>
                <a:lnTo>
                  <a:pt x="339" y="559"/>
                </a:lnTo>
                <a:lnTo>
                  <a:pt x="322" y="605"/>
                </a:lnTo>
                <a:lnTo>
                  <a:pt x="303" y="593"/>
                </a:lnTo>
                <a:lnTo>
                  <a:pt x="258" y="589"/>
                </a:lnTo>
                <a:lnTo>
                  <a:pt x="248" y="623"/>
                </a:lnTo>
                <a:lnTo>
                  <a:pt x="227" y="602"/>
                </a:lnTo>
                <a:lnTo>
                  <a:pt x="178" y="594"/>
                </a:lnTo>
                <a:lnTo>
                  <a:pt x="164" y="579"/>
                </a:lnTo>
                <a:lnTo>
                  <a:pt x="116" y="631"/>
                </a:lnTo>
                <a:lnTo>
                  <a:pt x="93" y="635"/>
                </a:lnTo>
                <a:lnTo>
                  <a:pt x="80" y="630"/>
                </a:lnTo>
                <a:lnTo>
                  <a:pt x="63" y="537"/>
                </a:lnTo>
                <a:lnTo>
                  <a:pt x="50" y="523"/>
                </a:lnTo>
                <a:lnTo>
                  <a:pt x="50" y="509"/>
                </a:lnTo>
                <a:lnTo>
                  <a:pt x="42" y="503"/>
                </a:lnTo>
                <a:lnTo>
                  <a:pt x="43" y="488"/>
                </a:lnTo>
                <a:lnTo>
                  <a:pt x="51" y="481"/>
                </a:lnTo>
                <a:lnTo>
                  <a:pt x="53" y="458"/>
                </a:lnTo>
                <a:lnTo>
                  <a:pt x="31" y="437"/>
                </a:lnTo>
                <a:lnTo>
                  <a:pt x="25" y="395"/>
                </a:lnTo>
                <a:lnTo>
                  <a:pt x="6" y="373"/>
                </a:lnTo>
                <a:lnTo>
                  <a:pt x="0" y="362"/>
                </a:lnTo>
                <a:lnTo>
                  <a:pt x="31" y="322"/>
                </a:lnTo>
                <a:lnTo>
                  <a:pt x="29" y="311"/>
                </a:lnTo>
                <a:lnTo>
                  <a:pt x="14" y="294"/>
                </a:lnTo>
                <a:lnTo>
                  <a:pt x="14" y="276"/>
                </a:lnTo>
                <a:lnTo>
                  <a:pt x="25" y="260"/>
                </a:lnTo>
                <a:lnTo>
                  <a:pt x="16" y="237"/>
                </a:lnTo>
                <a:lnTo>
                  <a:pt x="31" y="226"/>
                </a:lnTo>
                <a:lnTo>
                  <a:pt x="31" y="149"/>
                </a:lnTo>
                <a:lnTo>
                  <a:pt x="43" y="129"/>
                </a:lnTo>
                <a:lnTo>
                  <a:pt x="0" y="59"/>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62" name="Freeform 194">
            <a:extLst>
              <a:ext uri="{FF2B5EF4-FFF2-40B4-BE49-F238E27FC236}">
                <a16:creationId xmlns:a16="http://schemas.microsoft.com/office/drawing/2014/main" id="{7D5B70CE-EB47-6A42-B9F6-C7F80DAE7093}"/>
              </a:ext>
            </a:extLst>
          </p:cNvPr>
          <p:cNvSpPr>
            <a:spLocks noChangeAspect="1"/>
          </p:cNvSpPr>
          <p:nvPr/>
        </p:nvSpPr>
        <p:spPr bwMode="gray">
          <a:xfrm>
            <a:off x="6895556" y="2115359"/>
            <a:ext cx="187914" cy="219076"/>
          </a:xfrm>
          <a:custGeom>
            <a:avLst/>
            <a:gdLst>
              <a:gd name="T0" fmla="*/ 172 w 192"/>
              <a:gd name="T1" fmla="*/ 167 h 187"/>
              <a:gd name="T2" fmla="*/ 146 w 192"/>
              <a:gd name="T3" fmla="*/ 158 h 187"/>
              <a:gd name="T4" fmla="*/ 127 w 192"/>
              <a:gd name="T5" fmla="*/ 163 h 187"/>
              <a:gd name="T6" fmla="*/ 110 w 192"/>
              <a:gd name="T7" fmla="*/ 160 h 187"/>
              <a:gd name="T8" fmla="*/ 105 w 192"/>
              <a:gd name="T9" fmla="*/ 163 h 187"/>
              <a:gd name="T10" fmla="*/ 104 w 192"/>
              <a:gd name="T11" fmla="*/ 187 h 187"/>
              <a:gd name="T12" fmla="*/ 79 w 192"/>
              <a:gd name="T13" fmla="*/ 181 h 187"/>
              <a:gd name="T14" fmla="*/ 56 w 192"/>
              <a:gd name="T15" fmla="*/ 160 h 187"/>
              <a:gd name="T16" fmla="*/ 40 w 192"/>
              <a:gd name="T17" fmla="*/ 121 h 187"/>
              <a:gd name="T18" fmla="*/ 26 w 192"/>
              <a:gd name="T19" fmla="*/ 118 h 187"/>
              <a:gd name="T20" fmla="*/ 0 w 192"/>
              <a:gd name="T21" fmla="*/ 85 h 187"/>
              <a:gd name="T22" fmla="*/ 11 w 192"/>
              <a:gd name="T23" fmla="*/ 50 h 187"/>
              <a:gd name="T24" fmla="*/ 34 w 192"/>
              <a:gd name="T25" fmla="*/ 43 h 187"/>
              <a:gd name="T26" fmla="*/ 40 w 192"/>
              <a:gd name="T27" fmla="*/ 34 h 187"/>
              <a:gd name="T28" fmla="*/ 38 w 192"/>
              <a:gd name="T29" fmla="*/ 23 h 187"/>
              <a:gd name="T30" fmla="*/ 50 w 192"/>
              <a:gd name="T31" fmla="*/ 6 h 187"/>
              <a:gd name="T32" fmla="*/ 56 w 192"/>
              <a:gd name="T33" fmla="*/ 0 h 187"/>
              <a:gd name="T34" fmla="*/ 81 w 192"/>
              <a:gd name="T35" fmla="*/ 6 h 187"/>
              <a:gd name="T36" fmla="*/ 148 w 192"/>
              <a:gd name="T37" fmla="*/ 0 h 187"/>
              <a:gd name="T38" fmla="*/ 190 w 192"/>
              <a:gd name="T39" fmla="*/ 9 h 187"/>
              <a:gd name="T40" fmla="*/ 190 w 192"/>
              <a:gd name="T41" fmla="*/ 20 h 187"/>
              <a:gd name="T42" fmla="*/ 175 w 192"/>
              <a:gd name="T43" fmla="*/ 43 h 187"/>
              <a:gd name="T44" fmla="*/ 177 w 192"/>
              <a:gd name="T45" fmla="*/ 77 h 187"/>
              <a:gd name="T46" fmla="*/ 192 w 192"/>
              <a:gd name="T47" fmla="*/ 105 h 187"/>
              <a:gd name="T48" fmla="*/ 186 w 192"/>
              <a:gd name="T49" fmla="*/ 153 h 187"/>
              <a:gd name="T50" fmla="*/ 172 w 192"/>
              <a:gd name="T51" fmla="*/ 16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2" h="187">
                <a:moveTo>
                  <a:pt x="172" y="167"/>
                </a:moveTo>
                <a:lnTo>
                  <a:pt x="146" y="158"/>
                </a:lnTo>
                <a:lnTo>
                  <a:pt x="127" y="163"/>
                </a:lnTo>
                <a:lnTo>
                  <a:pt x="110" y="160"/>
                </a:lnTo>
                <a:lnTo>
                  <a:pt x="105" y="163"/>
                </a:lnTo>
                <a:lnTo>
                  <a:pt x="104" y="187"/>
                </a:lnTo>
                <a:lnTo>
                  <a:pt x="79" y="181"/>
                </a:lnTo>
                <a:lnTo>
                  <a:pt x="56" y="160"/>
                </a:lnTo>
                <a:lnTo>
                  <a:pt x="40" y="121"/>
                </a:lnTo>
                <a:lnTo>
                  <a:pt x="26" y="118"/>
                </a:lnTo>
                <a:lnTo>
                  <a:pt x="0" y="85"/>
                </a:lnTo>
                <a:lnTo>
                  <a:pt x="11" y="50"/>
                </a:lnTo>
                <a:lnTo>
                  <a:pt x="34" y="43"/>
                </a:lnTo>
                <a:lnTo>
                  <a:pt x="40" y="34"/>
                </a:lnTo>
                <a:lnTo>
                  <a:pt x="38" y="23"/>
                </a:lnTo>
                <a:lnTo>
                  <a:pt x="50" y="6"/>
                </a:lnTo>
                <a:lnTo>
                  <a:pt x="56" y="0"/>
                </a:lnTo>
                <a:lnTo>
                  <a:pt x="81" y="6"/>
                </a:lnTo>
                <a:lnTo>
                  <a:pt x="148" y="0"/>
                </a:lnTo>
                <a:lnTo>
                  <a:pt x="190" y="9"/>
                </a:lnTo>
                <a:lnTo>
                  <a:pt x="190" y="20"/>
                </a:lnTo>
                <a:lnTo>
                  <a:pt x="175" y="43"/>
                </a:lnTo>
                <a:lnTo>
                  <a:pt x="177" y="77"/>
                </a:lnTo>
                <a:lnTo>
                  <a:pt x="192" y="105"/>
                </a:lnTo>
                <a:lnTo>
                  <a:pt x="186" y="153"/>
                </a:lnTo>
                <a:lnTo>
                  <a:pt x="172" y="167"/>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63" name="Freeform 195">
            <a:extLst>
              <a:ext uri="{FF2B5EF4-FFF2-40B4-BE49-F238E27FC236}">
                <a16:creationId xmlns:a16="http://schemas.microsoft.com/office/drawing/2014/main" id="{60D321B3-6913-E841-B4D1-B7B03CDF547D}"/>
              </a:ext>
            </a:extLst>
          </p:cNvPr>
          <p:cNvSpPr>
            <a:spLocks noChangeAspect="1"/>
          </p:cNvSpPr>
          <p:nvPr/>
        </p:nvSpPr>
        <p:spPr bwMode="gray">
          <a:xfrm>
            <a:off x="6749764" y="1982353"/>
            <a:ext cx="223551" cy="387287"/>
          </a:xfrm>
          <a:custGeom>
            <a:avLst/>
            <a:gdLst>
              <a:gd name="T0" fmla="*/ 224 w 224"/>
              <a:gd name="T1" fmla="*/ 291 h 324"/>
              <a:gd name="T2" fmla="*/ 201 w 224"/>
              <a:gd name="T3" fmla="*/ 296 h 324"/>
              <a:gd name="T4" fmla="*/ 190 w 224"/>
              <a:gd name="T5" fmla="*/ 290 h 324"/>
              <a:gd name="T6" fmla="*/ 173 w 224"/>
              <a:gd name="T7" fmla="*/ 304 h 324"/>
              <a:gd name="T8" fmla="*/ 134 w 224"/>
              <a:gd name="T9" fmla="*/ 314 h 324"/>
              <a:gd name="T10" fmla="*/ 124 w 224"/>
              <a:gd name="T11" fmla="*/ 324 h 324"/>
              <a:gd name="T12" fmla="*/ 103 w 224"/>
              <a:gd name="T13" fmla="*/ 321 h 324"/>
              <a:gd name="T14" fmla="*/ 91 w 224"/>
              <a:gd name="T15" fmla="*/ 314 h 324"/>
              <a:gd name="T16" fmla="*/ 76 w 224"/>
              <a:gd name="T17" fmla="*/ 299 h 324"/>
              <a:gd name="T18" fmla="*/ 74 w 224"/>
              <a:gd name="T19" fmla="*/ 279 h 324"/>
              <a:gd name="T20" fmla="*/ 65 w 224"/>
              <a:gd name="T21" fmla="*/ 266 h 324"/>
              <a:gd name="T22" fmla="*/ 71 w 224"/>
              <a:gd name="T23" fmla="*/ 215 h 324"/>
              <a:gd name="T24" fmla="*/ 82 w 224"/>
              <a:gd name="T25" fmla="*/ 203 h 324"/>
              <a:gd name="T26" fmla="*/ 76 w 224"/>
              <a:gd name="T27" fmla="*/ 178 h 324"/>
              <a:gd name="T28" fmla="*/ 57 w 224"/>
              <a:gd name="T29" fmla="*/ 174 h 324"/>
              <a:gd name="T30" fmla="*/ 61 w 224"/>
              <a:gd name="T31" fmla="*/ 157 h 324"/>
              <a:gd name="T32" fmla="*/ 56 w 224"/>
              <a:gd name="T33" fmla="*/ 143 h 324"/>
              <a:gd name="T34" fmla="*/ 31 w 224"/>
              <a:gd name="T35" fmla="*/ 144 h 324"/>
              <a:gd name="T36" fmla="*/ 0 w 224"/>
              <a:gd name="T37" fmla="*/ 107 h 324"/>
              <a:gd name="T38" fmla="*/ 0 w 224"/>
              <a:gd name="T39" fmla="*/ 102 h 324"/>
              <a:gd name="T40" fmla="*/ 10 w 224"/>
              <a:gd name="T41" fmla="*/ 89 h 324"/>
              <a:gd name="T42" fmla="*/ 10 w 224"/>
              <a:gd name="T43" fmla="*/ 76 h 324"/>
              <a:gd name="T44" fmla="*/ 37 w 224"/>
              <a:gd name="T45" fmla="*/ 59 h 324"/>
              <a:gd name="T46" fmla="*/ 22 w 224"/>
              <a:gd name="T47" fmla="*/ 53 h 324"/>
              <a:gd name="T48" fmla="*/ 22 w 224"/>
              <a:gd name="T49" fmla="*/ 31 h 324"/>
              <a:gd name="T50" fmla="*/ 66 w 224"/>
              <a:gd name="T51" fmla="*/ 11 h 324"/>
              <a:gd name="T52" fmla="*/ 68 w 224"/>
              <a:gd name="T53" fmla="*/ 0 h 324"/>
              <a:gd name="T54" fmla="*/ 80 w 224"/>
              <a:gd name="T55" fmla="*/ 0 h 324"/>
              <a:gd name="T56" fmla="*/ 119 w 224"/>
              <a:gd name="T57" fmla="*/ 34 h 324"/>
              <a:gd name="T58" fmla="*/ 125 w 224"/>
              <a:gd name="T59" fmla="*/ 45 h 324"/>
              <a:gd name="T60" fmla="*/ 127 w 224"/>
              <a:gd name="T61" fmla="*/ 68 h 324"/>
              <a:gd name="T62" fmla="*/ 133 w 224"/>
              <a:gd name="T63" fmla="*/ 70 h 324"/>
              <a:gd name="T64" fmla="*/ 151 w 224"/>
              <a:gd name="T65" fmla="*/ 72 h 324"/>
              <a:gd name="T66" fmla="*/ 164 w 224"/>
              <a:gd name="T67" fmla="*/ 79 h 324"/>
              <a:gd name="T68" fmla="*/ 187 w 224"/>
              <a:gd name="T69" fmla="*/ 99 h 324"/>
              <a:gd name="T70" fmla="*/ 195 w 224"/>
              <a:gd name="T71" fmla="*/ 116 h 324"/>
              <a:gd name="T72" fmla="*/ 183 w 224"/>
              <a:gd name="T73" fmla="*/ 133 h 324"/>
              <a:gd name="T74" fmla="*/ 185 w 224"/>
              <a:gd name="T75" fmla="*/ 144 h 324"/>
              <a:gd name="T76" fmla="*/ 179 w 224"/>
              <a:gd name="T77" fmla="*/ 153 h 324"/>
              <a:gd name="T78" fmla="*/ 156 w 224"/>
              <a:gd name="T79" fmla="*/ 160 h 324"/>
              <a:gd name="T80" fmla="*/ 145 w 224"/>
              <a:gd name="T81" fmla="*/ 195 h 324"/>
              <a:gd name="T82" fmla="*/ 171 w 224"/>
              <a:gd name="T83" fmla="*/ 228 h 324"/>
              <a:gd name="T84" fmla="*/ 185 w 224"/>
              <a:gd name="T85" fmla="*/ 231 h 324"/>
              <a:gd name="T86" fmla="*/ 201 w 224"/>
              <a:gd name="T87" fmla="*/ 270 h 324"/>
              <a:gd name="T88" fmla="*/ 224 w 224"/>
              <a:gd name="T89" fmla="*/ 291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4" h="324">
                <a:moveTo>
                  <a:pt x="224" y="291"/>
                </a:moveTo>
                <a:lnTo>
                  <a:pt x="201" y="296"/>
                </a:lnTo>
                <a:lnTo>
                  <a:pt x="190" y="290"/>
                </a:lnTo>
                <a:lnTo>
                  <a:pt x="173" y="304"/>
                </a:lnTo>
                <a:lnTo>
                  <a:pt x="134" y="314"/>
                </a:lnTo>
                <a:lnTo>
                  <a:pt x="124" y="324"/>
                </a:lnTo>
                <a:lnTo>
                  <a:pt x="103" y="321"/>
                </a:lnTo>
                <a:lnTo>
                  <a:pt x="91" y="314"/>
                </a:lnTo>
                <a:lnTo>
                  <a:pt x="76" y="299"/>
                </a:lnTo>
                <a:lnTo>
                  <a:pt x="74" y="279"/>
                </a:lnTo>
                <a:lnTo>
                  <a:pt x="65" y="266"/>
                </a:lnTo>
                <a:lnTo>
                  <a:pt x="71" y="215"/>
                </a:lnTo>
                <a:lnTo>
                  <a:pt x="82" y="203"/>
                </a:lnTo>
                <a:lnTo>
                  <a:pt x="76" y="178"/>
                </a:lnTo>
                <a:lnTo>
                  <a:pt x="57" y="174"/>
                </a:lnTo>
                <a:lnTo>
                  <a:pt x="61" y="157"/>
                </a:lnTo>
                <a:lnTo>
                  <a:pt x="56" y="143"/>
                </a:lnTo>
                <a:lnTo>
                  <a:pt x="31" y="144"/>
                </a:lnTo>
                <a:lnTo>
                  <a:pt x="0" y="107"/>
                </a:lnTo>
                <a:lnTo>
                  <a:pt x="0" y="102"/>
                </a:lnTo>
                <a:lnTo>
                  <a:pt x="10" y="89"/>
                </a:lnTo>
                <a:lnTo>
                  <a:pt x="10" y="76"/>
                </a:lnTo>
                <a:lnTo>
                  <a:pt x="37" y="59"/>
                </a:lnTo>
                <a:lnTo>
                  <a:pt x="22" y="53"/>
                </a:lnTo>
                <a:lnTo>
                  <a:pt x="22" y="31"/>
                </a:lnTo>
                <a:lnTo>
                  <a:pt x="66" y="11"/>
                </a:lnTo>
                <a:lnTo>
                  <a:pt x="68" y="0"/>
                </a:lnTo>
                <a:lnTo>
                  <a:pt x="80" y="0"/>
                </a:lnTo>
                <a:lnTo>
                  <a:pt x="119" y="34"/>
                </a:lnTo>
                <a:lnTo>
                  <a:pt x="125" y="45"/>
                </a:lnTo>
                <a:lnTo>
                  <a:pt x="127" y="68"/>
                </a:lnTo>
                <a:lnTo>
                  <a:pt x="133" y="70"/>
                </a:lnTo>
                <a:lnTo>
                  <a:pt x="151" y="72"/>
                </a:lnTo>
                <a:lnTo>
                  <a:pt x="164" y="79"/>
                </a:lnTo>
                <a:lnTo>
                  <a:pt x="187" y="99"/>
                </a:lnTo>
                <a:lnTo>
                  <a:pt x="195" y="116"/>
                </a:lnTo>
                <a:lnTo>
                  <a:pt x="183" y="133"/>
                </a:lnTo>
                <a:lnTo>
                  <a:pt x="185" y="144"/>
                </a:lnTo>
                <a:lnTo>
                  <a:pt x="179" y="153"/>
                </a:lnTo>
                <a:lnTo>
                  <a:pt x="156" y="160"/>
                </a:lnTo>
                <a:lnTo>
                  <a:pt x="145" y="195"/>
                </a:lnTo>
                <a:lnTo>
                  <a:pt x="171" y="228"/>
                </a:lnTo>
                <a:lnTo>
                  <a:pt x="185" y="231"/>
                </a:lnTo>
                <a:lnTo>
                  <a:pt x="201" y="270"/>
                </a:lnTo>
                <a:lnTo>
                  <a:pt x="224" y="291"/>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64" name="Freeform 196">
            <a:extLst>
              <a:ext uri="{FF2B5EF4-FFF2-40B4-BE49-F238E27FC236}">
                <a16:creationId xmlns:a16="http://schemas.microsoft.com/office/drawing/2014/main" id="{CE498FD6-FD58-4944-8094-BC07C271C71A}"/>
              </a:ext>
            </a:extLst>
          </p:cNvPr>
          <p:cNvSpPr>
            <a:spLocks noChangeAspect="1"/>
          </p:cNvSpPr>
          <p:nvPr/>
        </p:nvSpPr>
        <p:spPr bwMode="gray">
          <a:xfrm>
            <a:off x="7064032" y="2131007"/>
            <a:ext cx="132837" cy="199510"/>
          </a:xfrm>
          <a:custGeom>
            <a:avLst/>
            <a:gdLst>
              <a:gd name="T0" fmla="*/ 132 w 132"/>
              <a:gd name="T1" fmla="*/ 71 h 167"/>
              <a:gd name="T2" fmla="*/ 132 w 132"/>
              <a:gd name="T3" fmla="*/ 63 h 167"/>
              <a:gd name="T4" fmla="*/ 124 w 132"/>
              <a:gd name="T5" fmla="*/ 54 h 167"/>
              <a:gd name="T6" fmla="*/ 83 w 132"/>
              <a:gd name="T7" fmla="*/ 25 h 167"/>
              <a:gd name="T8" fmla="*/ 31 w 132"/>
              <a:gd name="T9" fmla="*/ 0 h 167"/>
              <a:gd name="T10" fmla="*/ 18 w 132"/>
              <a:gd name="T11" fmla="*/ 6 h 167"/>
              <a:gd name="T12" fmla="*/ 3 w 132"/>
              <a:gd name="T13" fmla="*/ 29 h 167"/>
              <a:gd name="T14" fmla="*/ 5 w 132"/>
              <a:gd name="T15" fmla="*/ 63 h 167"/>
              <a:gd name="T16" fmla="*/ 20 w 132"/>
              <a:gd name="T17" fmla="*/ 91 h 167"/>
              <a:gd name="T18" fmla="*/ 14 w 132"/>
              <a:gd name="T19" fmla="*/ 139 h 167"/>
              <a:gd name="T20" fmla="*/ 0 w 132"/>
              <a:gd name="T21" fmla="*/ 153 h 167"/>
              <a:gd name="T22" fmla="*/ 18 w 132"/>
              <a:gd name="T23" fmla="*/ 167 h 167"/>
              <a:gd name="T24" fmla="*/ 40 w 132"/>
              <a:gd name="T25" fmla="*/ 161 h 167"/>
              <a:gd name="T26" fmla="*/ 65 w 132"/>
              <a:gd name="T27" fmla="*/ 161 h 167"/>
              <a:gd name="T28" fmla="*/ 90 w 132"/>
              <a:gd name="T29" fmla="*/ 139 h 167"/>
              <a:gd name="T30" fmla="*/ 99 w 132"/>
              <a:gd name="T31" fmla="*/ 116 h 167"/>
              <a:gd name="T32" fmla="*/ 132 w 132"/>
              <a:gd name="T33" fmla="*/ 71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67">
                <a:moveTo>
                  <a:pt x="132" y="71"/>
                </a:moveTo>
                <a:lnTo>
                  <a:pt x="132" y="63"/>
                </a:lnTo>
                <a:lnTo>
                  <a:pt x="124" y="54"/>
                </a:lnTo>
                <a:lnTo>
                  <a:pt x="83" y="25"/>
                </a:lnTo>
                <a:lnTo>
                  <a:pt x="31" y="0"/>
                </a:lnTo>
                <a:lnTo>
                  <a:pt x="18" y="6"/>
                </a:lnTo>
                <a:lnTo>
                  <a:pt x="3" y="29"/>
                </a:lnTo>
                <a:lnTo>
                  <a:pt x="5" y="63"/>
                </a:lnTo>
                <a:lnTo>
                  <a:pt x="20" y="91"/>
                </a:lnTo>
                <a:lnTo>
                  <a:pt x="14" y="139"/>
                </a:lnTo>
                <a:lnTo>
                  <a:pt x="0" y="153"/>
                </a:lnTo>
                <a:lnTo>
                  <a:pt x="18" y="167"/>
                </a:lnTo>
                <a:lnTo>
                  <a:pt x="40" y="161"/>
                </a:lnTo>
                <a:lnTo>
                  <a:pt x="65" y="161"/>
                </a:lnTo>
                <a:lnTo>
                  <a:pt x="90" y="139"/>
                </a:lnTo>
                <a:lnTo>
                  <a:pt x="99" y="116"/>
                </a:lnTo>
                <a:lnTo>
                  <a:pt x="132" y="71"/>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65" name="Freeform 197">
            <a:extLst>
              <a:ext uri="{FF2B5EF4-FFF2-40B4-BE49-F238E27FC236}">
                <a16:creationId xmlns:a16="http://schemas.microsoft.com/office/drawing/2014/main" id="{3154A10B-8AFA-8046-A1CC-6D39E4E40776}"/>
              </a:ext>
            </a:extLst>
          </p:cNvPr>
          <p:cNvSpPr>
            <a:spLocks noChangeAspect="1"/>
          </p:cNvSpPr>
          <p:nvPr/>
        </p:nvSpPr>
        <p:spPr bwMode="gray">
          <a:xfrm>
            <a:off x="6723842" y="1841523"/>
            <a:ext cx="38880" cy="43036"/>
          </a:xfrm>
          <a:custGeom>
            <a:avLst/>
            <a:gdLst>
              <a:gd name="T0" fmla="*/ 42 w 42"/>
              <a:gd name="T1" fmla="*/ 3 h 36"/>
              <a:gd name="T2" fmla="*/ 38 w 42"/>
              <a:gd name="T3" fmla="*/ 15 h 36"/>
              <a:gd name="T4" fmla="*/ 40 w 42"/>
              <a:gd name="T5" fmla="*/ 28 h 36"/>
              <a:gd name="T6" fmla="*/ 34 w 42"/>
              <a:gd name="T7" fmla="*/ 34 h 36"/>
              <a:gd name="T8" fmla="*/ 0 w 42"/>
              <a:gd name="T9" fmla="*/ 36 h 36"/>
              <a:gd name="T10" fmla="*/ 17 w 42"/>
              <a:gd name="T11" fmla="*/ 22 h 36"/>
              <a:gd name="T12" fmla="*/ 18 w 42"/>
              <a:gd name="T13" fmla="*/ 10 h 36"/>
              <a:gd name="T14" fmla="*/ 9 w 42"/>
              <a:gd name="T15" fmla="*/ 5 h 36"/>
              <a:gd name="T16" fmla="*/ 40 w 42"/>
              <a:gd name="T17" fmla="*/ 0 h 36"/>
              <a:gd name="T18" fmla="*/ 42 w 42"/>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36">
                <a:moveTo>
                  <a:pt x="42" y="3"/>
                </a:moveTo>
                <a:lnTo>
                  <a:pt x="38" y="15"/>
                </a:lnTo>
                <a:lnTo>
                  <a:pt x="40" y="28"/>
                </a:lnTo>
                <a:lnTo>
                  <a:pt x="34" y="34"/>
                </a:lnTo>
                <a:lnTo>
                  <a:pt x="0" y="36"/>
                </a:lnTo>
                <a:lnTo>
                  <a:pt x="17" y="22"/>
                </a:lnTo>
                <a:lnTo>
                  <a:pt x="18" y="10"/>
                </a:lnTo>
                <a:lnTo>
                  <a:pt x="9" y="5"/>
                </a:lnTo>
                <a:lnTo>
                  <a:pt x="40" y="0"/>
                </a:lnTo>
                <a:lnTo>
                  <a:pt x="42" y="3"/>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66" name="Freeform 198">
            <a:extLst>
              <a:ext uri="{FF2B5EF4-FFF2-40B4-BE49-F238E27FC236}">
                <a16:creationId xmlns:a16="http://schemas.microsoft.com/office/drawing/2014/main" id="{85D2CAA4-0E2F-3647-BA0E-D186306E60CD}"/>
              </a:ext>
            </a:extLst>
          </p:cNvPr>
          <p:cNvSpPr>
            <a:spLocks noChangeAspect="1" noEditPoints="1"/>
          </p:cNvSpPr>
          <p:nvPr/>
        </p:nvSpPr>
        <p:spPr bwMode="gray">
          <a:xfrm>
            <a:off x="5366331" y="2432227"/>
            <a:ext cx="100437" cy="70415"/>
          </a:xfrm>
          <a:custGeom>
            <a:avLst/>
            <a:gdLst>
              <a:gd name="T0" fmla="*/ 11 w 102"/>
              <a:gd name="T1" fmla="*/ 0 h 59"/>
              <a:gd name="T2" fmla="*/ 14 w 102"/>
              <a:gd name="T3" fmla="*/ 20 h 59"/>
              <a:gd name="T4" fmla="*/ 23 w 102"/>
              <a:gd name="T5" fmla="*/ 29 h 59"/>
              <a:gd name="T6" fmla="*/ 29 w 102"/>
              <a:gd name="T7" fmla="*/ 46 h 59"/>
              <a:gd name="T8" fmla="*/ 22 w 102"/>
              <a:gd name="T9" fmla="*/ 56 h 59"/>
              <a:gd name="T10" fmla="*/ 12 w 102"/>
              <a:gd name="T11" fmla="*/ 59 h 59"/>
              <a:gd name="T12" fmla="*/ 5 w 102"/>
              <a:gd name="T13" fmla="*/ 56 h 59"/>
              <a:gd name="T14" fmla="*/ 3 w 102"/>
              <a:gd name="T15" fmla="*/ 46 h 59"/>
              <a:gd name="T16" fmla="*/ 15 w 102"/>
              <a:gd name="T17" fmla="*/ 29 h 59"/>
              <a:gd name="T18" fmla="*/ 0 w 102"/>
              <a:gd name="T19" fmla="*/ 10 h 59"/>
              <a:gd name="T20" fmla="*/ 0 w 102"/>
              <a:gd name="T21" fmla="*/ 5 h 59"/>
              <a:gd name="T22" fmla="*/ 11 w 102"/>
              <a:gd name="T23" fmla="*/ 0 h 59"/>
              <a:gd name="T24" fmla="*/ 102 w 102"/>
              <a:gd name="T25" fmla="*/ 40 h 59"/>
              <a:gd name="T26" fmla="*/ 96 w 102"/>
              <a:gd name="T27" fmla="*/ 51 h 59"/>
              <a:gd name="T28" fmla="*/ 90 w 102"/>
              <a:gd name="T29" fmla="*/ 51 h 59"/>
              <a:gd name="T30" fmla="*/ 102 w 102"/>
              <a:gd name="T31" fmla="*/ 40 h 59"/>
              <a:gd name="T32" fmla="*/ 63 w 102"/>
              <a:gd name="T33" fmla="*/ 31 h 59"/>
              <a:gd name="T34" fmla="*/ 59 w 102"/>
              <a:gd name="T35" fmla="*/ 42 h 59"/>
              <a:gd name="T36" fmla="*/ 51 w 102"/>
              <a:gd name="T37" fmla="*/ 39 h 59"/>
              <a:gd name="T38" fmla="*/ 52 w 102"/>
              <a:gd name="T39" fmla="*/ 31 h 59"/>
              <a:gd name="T40" fmla="*/ 63 w 102"/>
              <a:gd name="T41" fmla="*/ 31 h 59"/>
              <a:gd name="T42" fmla="*/ 39 w 102"/>
              <a:gd name="T43" fmla="*/ 17 h 59"/>
              <a:gd name="T44" fmla="*/ 34 w 102"/>
              <a:gd name="T45" fmla="*/ 17 h 59"/>
              <a:gd name="T46" fmla="*/ 32 w 102"/>
              <a:gd name="T47" fmla="*/ 23 h 59"/>
              <a:gd name="T48" fmla="*/ 40 w 102"/>
              <a:gd name="T49" fmla="*/ 26 h 59"/>
              <a:gd name="T50" fmla="*/ 42 w 102"/>
              <a:gd name="T51" fmla="*/ 18 h 59"/>
              <a:gd name="T52" fmla="*/ 39 w 102"/>
              <a:gd name="T53" fmla="*/ 1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59">
                <a:moveTo>
                  <a:pt x="11" y="0"/>
                </a:moveTo>
                <a:lnTo>
                  <a:pt x="14" y="20"/>
                </a:lnTo>
                <a:lnTo>
                  <a:pt x="23" y="29"/>
                </a:lnTo>
                <a:lnTo>
                  <a:pt x="29" y="46"/>
                </a:lnTo>
                <a:lnTo>
                  <a:pt x="22" y="56"/>
                </a:lnTo>
                <a:lnTo>
                  <a:pt x="12" y="59"/>
                </a:lnTo>
                <a:lnTo>
                  <a:pt x="5" y="56"/>
                </a:lnTo>
                <a:lnTo>
                  <a:pt x="3" y="46"/>
                </a:lnTo>
                <a:lnTo>
                  <a:pt x="15" y="29"/>
                </a:lnTo>
                <a:lnTo>
                  <a:pt x="0" y="10"/>
                </a:lnTo>
                <a:lnTo>
                  <a:pt x="0" y="5"/>
                </a:lnTo>
                <a:lnTo>
                  <a:pt x="11" y="0"/>
                </a:lnTo>
                <a:close/>
                <a:moveTo>
                  <a:pt x="102" y="40"/>
                </a:moveTo>
                <a:lnTo>
                  <a:pt x="96" y="51"/>
                </a:lnTo>
                <a:lnTo>
                  <a:pt x="90" y="51"/>
                </a:lnTo>
                <a:lnTo>
                  <a:pt x="102" y="40"/>
                </a:lnTo>
                <a:close/>
                <a:moveTo>
                  <a:pt x="63" y="31"/>
                </a:moveTo>
                <a:lnTo>
                  <a:pt x="59" y="42"/>
                </a:lnTo>
                <a:lnTo>
                  <a:pt x="51" y="39"/>
                </a:lnTo>
                <a:lnTo>
                  <a:pt x="52" y="31"/>
                </a:lnTo>
                <a:lnTo>
                  <a:pt x="63" y="31"/>
                </a:lnTo>
                <a:close/>
                <a:moveTo>
                  <a:pt x="39" y="17"/>
                </a:moveTo>
                <a:lnTo>
                  <a:pt x="34" y="17"/>
                </a:lnTo>
                <a:lnTo>
                  <a:pt x="32" y="23"/>
                </a:lnTo>
                <a:lnTo>
                  <a:pt x="40" y="26"/>
                </a:lnTo>
                <a:lnTo>
                  <a:pt x="42" y="18"/>
                </a:lnTo>
                <a:lnTo>
                  <a:pt x="39" y="17"/>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grpSp>
        <p:nvGrpSpPr>
          <p:cNvPr id="67" name="Group 228">
            <a:extLst>
              <a:ext uri="{FF2B5EF4-FFF2-40B4-BE49-F238E27FC236}">
                <a16:creationId xmlns:a16="http://schemas.microsoft.com/office/drawing/2014/main" id="{F622542E-D985-CD47-8319-40145A3CB869}"/>
              </a:ext>
            </a:extLst>
          </p:cNvPr>
          <p:cNvGrpSpPr/>
          <p:nvPr/>
        </p:nvGrpSpPr>
        <p:grpSpPr>
          <a:xfrm>
            <a:off x="6198986" y="1755455"/>
            <a:ext cx="618817" cy="641567"/>
            <a:chOff x="3230624" y="4163860"/>
            <a:chExt cx="254873" cy="270418"/>
          </a:xfrm>
          <a:solidFill>
            <a:schemeClr val="bg1">
              <a:lumMod val="95000"/>
            </a:schemeClr>
          </a:solidFill>
        </p:grpSpPr>
        <p:sp>
          <p:nvSpPr>
            <p:cNvPr id="68" name="Freeform 200">
              <a:extLst>
                <a:ext uri="{FF2B5EF4-FFF2-40B4-BE49-F238E27FC236}">
                  <a16:creationId xmlns:a16="http://schemas.microsoft.com/office/drawing/2014/main" id="{39CE7A27-6086-F645-9FBC-62D87F77BF29}"/>
                </a:ext>
              </a:extLst>
            </p:cNvPr>
            <p:cNvSpPr>
              <a:spLocks noChangeAspect="1"/>
            </p:cNvSpPr>
            <p:nvPr/>
          </p:nvSpPr>
          <p:spPr bwMode="gray">
            <a:xfrm>
              <a:off x="3309354" y="4163860"/>
              <a:ext cx="6672" cy="6596"/>
            </a:xfrm>
            <a:custGeom>
              <a:avLst/>
              <a:gdLst>
                <a:gd name="T0" fmla="*/ 3 w 15"/>
                <a:gd name="T1" fmla="*/ 5 h 15"/>
                <a:gd name="T2" fmla="*/ 0 w 15"/>
                <a:gd name="T3" fmla="*/ 0 h 15"/>
                <a:gd name="T4" fmla="*/ 3 w 15"/>
                <a:gd name="T5" fmla="*/ 9 h 15"/>
                <a:gd name="T6" fmla="*/ 15 w 15"/>
                <a:gd name="T7" fmla="*/ 15 h 15"/>
                <a:gd name="T8" fmla="*/ 3 w 15"/>
                <a:gd name="T9" fmla="*/ 5 h 15"/>
              </a:gdLst>
              <a:ahLst/>
              <a:cxnLst>
                <a:cxn ang="0">
                  <a:pos x="T0" y="T1"/>
                </a:cxn>
                <a:cxn ang="0">
                  <a:pos x="T2" y="T3"/>
                </a:cxn>
                <a:cxn ang="0">
                  <a:pos x="T4" y="T5"/>
                </a:cxn>
                <a:cxn ang="0">
                  <a:pos x="T6" y="T7"/>
                </a:cxn>
                <a:cxn ang="0">
                  <a:pos x="T8" y="T9"/>
                </a:cxn>
              </a:cxnLst>
              <a:rect l="0" t="0" r="r" b="b"/>
              <a:pathLst>
                <a:path w="15" h="15">
                  <a:moveTo>
                    <a:pt x="3" y="5"/>
                  </a:moveTo>
                  <a:lnTo>
                    <a:pt x="0" y="0"/>
                  </a:lnTo>
                  <a:lnTo>
                    <a:pt x="3" y="9"/>
                  </a:lnTo>
                  <a:lnTo>
                    <a:pt x="15" y="15"/>
                  </a:lnTo>
                  <a:lnTo>
                    <a:pt x="3" y="5"/>
                  </a:lnTo>
                  <a:close/>
                </a:path>
              </a:pathLst>
            </a:custGeom>
            <a:grp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69" name="Freeform 201">
              <a:extLst>
                <a:ext uri="{FF2B5EF4-FFF2-40B4-BE49-F238E27FC236}">
                  <a16:creationId xmlns:a16="http://schemas.microsoft.com/office/drawing/2014/main" id="{41562BA0-EEC2-7D43-8AE0-139515A47263}"/>
                </a:ext>
              </a:extLst>
            </p:cNvPr>
            <p:cNvSpPr>
              <a:spLocks noChangeAspect="1"/>
            </p:cNvSpPr>
            <p:nvPr/>
          </p:nvSpPr>
          <p:spPr bwMode="gray">
            <a:xfrm>
              <a:off x="3324033" y="4165509"/>
              <a:ext cx="2669" cy="4947"/>
            </a:xfrm>
            <a:custGeom>
              <a:avLst/>
              <a:gdLst>
                <a:gd name="T0" fmla="*/ 0 w 8"/>
                <a:gd name="T1" fmla="*/ 0 h 10"/>
                <a:gd name="T2" fmla="*/ 6 w 8"/>
                <a:gd name="T3" fmla="*/ 10 h 10"/>
                <a:gd name="T4" fmla="*/ 8 w 8"/>
                <a:gd name="T5" fmla="*/ 3 h 10"/>
                <a:gd name="T6" fmla="*/ 0 w 8"/>
                <a:gd name="T7" fmla="*/ 0 h 10"/>
              </a:gdLst>
              <a:ahLst/>
              <a:cxnLst>
                <a:cxn ang="0">
                  <a:pos x="T0" y="T1"/>
                </a:cxn>
                <a:cxn ang="0">
                  <a:pos x="T2" y="T3"/>
                </a:cxn>
                <a:cxn ang="0">
                  <a:pos x="T4" y="T5"/>
                </a:cxn>
                <a:cxn ang="0">
                  <a:pos x="T6" y="T7"/>
                </a:cxn>
              </a:cxnLst>
              <a:rect l="0" t="0" r="r" b="b"/>
              <a:pathLst>
                <a:path w="8" h="10">
                  <a:moveTo>
                    <a:pt x="0" y="0"/>
                  </a:moveTo>
                  <a:lnTo>
                    <a:pt x="6" y="10"/>
                  </a:lnTo>
                  <a:lnTo>
                    <a:pt x="8" y="3"/>
                  </a:lnTo>
                  <a:lnTo>
                    <a:pt x="0" y="0"/>
                  </a:lnTo>
                  <a:close/>
                </a:path>
              </a:pathLst>
            </a:custGeom>
            <a:grp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70" name="Freeform 202">
              <a:extLst>
                <a:ext uri="{FF2B5EF4-FFF2-40B4-BE49-F238E27FC236}">
                  <a16:creationId xmlns:a16="http://schemas.microsoft.com/office/drawing/2014/main" id="{F4E2F744-D14A-D345-B05E-B9A357CEA4B3}"/>
                </a:ext>
              </a:extLst>
            </p:cNvPr>
            <p:cNvSpPr>
              <a:spLocks noChangeAspect="1" noEditPoints="1"/>
            </p:cNvSpPr>
            <p:nvPr/>
          </p:nvSpPr>
          <p:spPr bwMode="gray">
            <a:xfrm>
              <a:off x="3230624" y="4167158"/>
              <a:ext cx="254873" cy="267120"/>
            </a:xfrm>
            <a:custGeom>
              <a:avLst/>
              <a:gdLst>
                <a:gd name="T0" fmla="*/ 69 w 625"/>
                <a:gd name="T1" fmla="*/ 30 h 529"/>
                <a:gd name="T2" fmla="*/ 77 w 625"/>
                <a:gd name="T3" fmla="*/ 80 h 529"/>
                <a:gd name="T4" fmla="*/ 63 w 625"/>
                <a:gd name="T5" fmla="*/ 119 h 529"/>
                <a:gd name="T6" fmla="*/ 83 w 625"/>
                <a:gd name="T7" fmla="*/ 147 h 529"/>
                <a:gd name="T8" fmla="*/ 107 w 625"/>
                <a:gd name="T9" fmla="*/ 133 h 529"/>
                <a:gd name="T10" fmla="*/ 88 w 625"/>
                <a:gd name="T11" fmla="*/ 85 h 529"/>
                <a:gd name="T12" fmla="*/ 117 w 625"/>
                <a:gd name="T13" fmla="*/ 45 h 529"/>
                <a:gd name="T14" fmla="*/ 164 w 625"/>
                <a:gd name="T15" fmla="*/ 28 h 529"/>
                <a:gd name="T16" fmla="*/ 147 w 625"/>
                <a:gd name="T17" fmla="*/ 5 h 529"/>
                <a:gd name="T18" fmla="*/ 162 w 625"/>
                <a:gd name="T19" fmla="*/ 5 h 529"/>
                <a:gd name="T20" fmla="*/ 229 w 625"/>
                <a:gd name="T21" fmla="*/ 47 h 529"/>
                <a:gd name="T22" fmla="*/ 246 w 625"/>
                <a:gd name="T23" fmla="*/ 80 h 529"/>
                <a:gd name="T24" fmla="*/ 356 w 625"/>
                <a:gd name="T25" fmla="*/ 93 h 529"/>
                <a:gd name="T26" fmla="*/ 401 w 625"/>
                <a:gd name="T27" fmla="*/ 92 h 529"/>
                <a:gd name="T28" fmla="*/ 441 w 625"/>
                <a:gd name="T29" fmla="*/ 80 h 529"/>
                <a:gd name="T30" fmla="*/ 420 w 625"/>
                <a:gd name="T31" fmla="*/ 73 h 529"/>
                <a:gd name="T32" fmla="*/ 521 w 625"/>
                <a:gd name="T33" fmla="*/ 72 h 529"/>
                <a:gd name="T34" fmla="*/ 483 w 625"/>
                <a:gd name="T35" fmla="*/ 80 h 529"/>
                <a:gd name="T36" fmla="*/ 496 w 625"/>
                <a:gd name="T37" fmla="*/ 93 h 529"/>
                <a:gd name="T38" fmla="*/ 537 w 625"/>
                <a:gd name="T39" fmla="*/ 114 h 529"/>
                <a:gd name="T40" fmla="*/ 581 w 625"/>
                <a:gd name="T41" fmla="*/ 161 h 529"/>
                <a:gd name="T42" fmla="*/ 571 w 625"/>
                <a:gd name="T43" fmla="*/ 173 h 529"/>
                <a:gd name="T44" fmla="*/ 606 w 625"/>
                <a:gd name="T45" fmla="*/ 169 h 529"/>
                <a:gd name="T46" fmla="*/ 623 w 625"/>
                <a:gd name="T47" fmla="*/ 192 h 529"/>
                <a:gd name="T48" fmla="*/ 579 w 625"/>
                <a:gd name="T49" fmla="*/ 234 h 529"/>
                <a:gd name="T50" fmla="*/ 567 w 625"/>
                <a:gd name="T51" fmla="*/ 257 h 529"/>
                <a:gd name="T52" fmla="*/ 557 w 625"/>
                <a:gd name="T53" fmla="*/ 283 h 529"/>
                <a:gd name="T54" fmla="*/ 588 w 625"/>
                <a:gd name="T55" fmla="*/ 325 h 529"/>
                <a:gd name="T56" fmla="*/ 572 w 625"/>
                <a:gd name="T57" fmla="*/ 355 h 529"/>
                <a:gd name="T58" fmla="*/ 534 w 625"/>
                <a:gd name="T59" fmla="*/ 371 h 529"/>
                <a:gd name="T60" fmla="*/ 478 w 625"/>
                <a:gd name="T61" fmla="*/ 387 h 529"/>
                <a:gd name="T62" fmla="*/ 424 w 625"/>
                <a:gd name="T63" fmla="*/ 371 h 529"/>
                <a:gd name="T64" fmla="*/ 399 w 625"/>
                <a:gd name="T65" fmla="*/ 384 h 529"/>
                <a:gd name="T66" fmla="*/ 416 w 625"/>
                <a:gd name="T67" fmla="*/ 421 h 529"/>
                <a:gd name="T68" fmla="*/ 461 w 625"/>
                <a:gd name="T69" fmla="*/ 454 h 529"/>
                <a:gd name="T70" fmla="*/ 430 w 625"/>
                <a:gd name="T71" fmla="*/ 475 h 529"/>
                <a:gd name="T72" fmla="*/ 368 w 625"/>
                <a:gd name="T73" fmla="*/ 515 h 529"/>
                <a:gd name="T74" fmla="*/ 320 w 625"/>
                <a:gd name="T75" fmla="*/ 529 h 529"/>
                <a:gd name="T76" fmla="*/ 278 w 625"/>
                <a:gd name="T77" fmla="*/ 456 h 529"/>
                <a:gd name="T78" fmla="*/ 280 w 625"/>
                <a:gd name="T79" fmla="*/ 410 h 529"/>
                <a:gd name="T80" fmla="*/ 257 w 625"/>
                <a:gd name="T81" fmla="*/ 379 h 529"/>
                <a:gd name="T82" fmla="*/ 257 w 625"/>
                <a:gd name="T83" fmla="*/ 319 h 529"/>
                <a:gd name="T84" fmla="*/ 269 w 625"/>
                <a:gd name="T85" fmla="*/ 279 h 529"/>
                <a:gd name="T86" fmla="*/ 230 w 625"/>
                <a:gd name="T87" fmla="*/ 285 h 529"/>
                <a:gd name="T88" fmla="*/ 183 w 625"/>
                <a:gd name="T89" fmla="*/ 283 h 529"/>
                <a:gd name="T90" fmla="*/ 127 w 625"/>
                <a:gd name="T91" fmla="*/ 236 h 529"/>
                <a:gd name="T92" fmla="*/ 63 w 625"/>
                <a:gd name="T93" fmla="*/ 234 h 529"/>
                <a:gd name="T94" fmla="*/ 42 w 625"/>
                <a:gd name="T95" fmla="*/ 186 h 529"/>
                <a:gd name="T96" fmla="*/ 22 w 625"/>
                <a:gd name="T97" fmla="*/ 143 h 529"/>
                <a:gd name="T98" fmla="*/ 14 w 625"/>
                <a:gd name="T99" fmla="*/ 119 h 529"/>
                <a:gd name="T100" fmla="*/ 34 w 625"/>
                <a:gd name="T101" fmla="*/ 62 h 529"/>
                <a:gd name="T102" fmla="*/ 91 w 625"/>
                <a:gd name="T103" fmla="*/ 17 h 529"/>
                <a:gd name="T104" fmla="*/ 441 w 625"/>
                <a:gd name="T105" fmla="*/ 56 h 529"/>
                <a:gd name="T106" fmla="*/ 416 w 625"/>
                <a:gd name="T107" fmla="*/ 59 h 529"/>
                <a:gd name="T108" fmla="*/ 427 w 625"/>
                <a:gd name="T109" fmla="*/ 55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5" h="529">
                  <a:moveTo>
                    <a:pt x="91" y="17"/>
                  </a:moveTo>
                  <a:lnTo>
                    <a:pt x="69" y="30"/>
                  </a:lnTo>
                  <a:lnTo>
                    <a:pt x="82" y="70"/>
                  </a:lnTo>
                  <a:lnTo>
                    <a:pt x="77" y="80"/>
                  </a:lnTo>
                  <a:lnTo>
                    <a:pt x="63" y="101"/>
                  </a:lnTo>
                  <a:lnTo>
                    <a:pt x="63" y="119"/>
                  </a:lnTo>
                  <a:lnTo>
                    <a:pt x="74" y="127"/>
                  </a:lnTo>
                  <a:lnTo>
                    <a:pt x="83" y="147"/>
                  </a:lnTo>
                  <a:lnTo>
                    <a:pt x="94" y="146"/>
                  </a:lnTo>
                  <a:lnTo>
                    <a:pt x="107" y="133"/>
                  </a:lnTo>
                  <a:lnTo>
                    <a:pt x="105" y="113"/>
                  </a:lnTo>
                  <a:lnTo>
                    <a:pt x="88" y="85"/>
                  </a:lnTo>
                  <a:lnTo>
                    <a:pt x="88" y="65"/>
                  </a:lnTo>
                  <a:lnTo>
                    <a:pt x="117" y="45"/>
                  </a:lnTo>
                  <a:lnTo>
                    <a:pt x="166" y="34"/>
                  </a:lnTo>
                  <a:lnTo>
                    <a:pt x="164" y="28"/>
                  </a:lnTo>
                  <a:lnTo>
                    <a:pt x="142" y="21"/>
                  </a:lnTo>
                  <a:lnTo>
                    <a:pt x="147" y="5"/>
                  </a:lnTo>
                  <a:lnTo>
                    <a:pt x="156" y="0"/>
                  </a:lnTo>
                  <a:lnTo>
                    <a:pt x="162" y="5"/>
                  </a:lnTo>
                  <a:lnTo>
                    <a:pt x="175" y="34"/>
                  </a:lnTo>
                  <a:lnTo>
                    <a:pt x="229" y="47"/>
                  </a:lnTo>
                  <a:lnTo>
                    <a:pt x="238" y="73"/>
                  </a:lnTo>
                  <a:lnTo>
                    <a:pt x="246" y="80"/>
                  </a:lnTo>
                  <a:lnTo>
                    <a:pt x="332" y="73"/>
                  </a:lnTo>
                  <a:lnTo>
                    <a:pt x="356" y="93"/>
                  </a:lnTo>
                  <a:lnTo>
                    <a:pt x="379" y="96"/>
                  </a:lnTo>
                  <a:lnTo>
                    <a:pt x="401" y="92"/>
                  </a:lnTo>
                  <a:lnTo>
                    <a:pt x="416" y="82"/>
                  </a:lnTo>
                  <a:lnTo>
                    <a:pt x="441" y="80"/>
                  </a:lnTo>
                  <a:lnTo>
                    <a:pt x="442" y="77"/>
                  </a:lnTo>
                  <a:lnTo>
                    <a:pt x="420" y="73"/>
                  </a:lnTo>
                  <a:lnTo>
                    <a:pt x="427" y="70"/>
                  </a:lnTo>
                  <a:lnTo>
                    <a:pt x="521" y="72"/>
                  </a:lnTo>
                  <a:lnTo>
                    <a:pt x="504" y="80"/>
                  </a:lnTo>
                  <a:lnTo>
                    <a:pt x="483" y="80"/>
                  </a:lnTo>
                  <a:lnTo>
                    <a:pt x="479" y="87"/>
                  </a:lnTo>
                  <a:lnTo>
                    <a:pt x="496" y="93"/>
                  </a:lnTo>
                  <a:lnTo>
                    <a:pt x="508" y="113"/>
                  </a:lnTo>
                  <a:lnTo>
                    <a:pt x="537" y="114"/>
                  </a:lnTo>
                  <a:lnTo>
                    <a:pt x="571" y="133"/>
                  </a:lnTo>
                  <a:lnTo>
                    <a:pt x="581" y="161"/>
                  </a:lnTo>
                  <a:lnTo>
                    <a:pt x="569" y="170"/>
                  </a:lnTo>
                  <a:lnTo>
                    <a:pt x="571" y="173"/>
                  </a:lnTo>
                  <a:lnTo>
                    <a:pt x="589" y="177"/>
                  </a:lnTo>
                  <a:lnTo>
                    <a:pt x="606" y="169"/>
                  </a:lnTo>
                  <a:lnTo>
                    <a:pt x="625" y="181"/>
                  </a:lnTo>
                  <a:lnTo>
                    <a:pt x="623" y="192"/>
                  </a:lnTo>
                  <a:lnTo>
                    <a:pt x="579" y="212"/>
                  </a:lnTo>
                  <a:lnTo>
                    <a:pt x="579" y="234"/>
                  </a:lnTo>
                  <a:lnTo>
                    <a:pt x="594" y="240"/>
                  </a:lnTo>
                  <a:lnTo>
                    <a:pt x="567" y="257"/>
                  </a:lnTo>
                  <a:lnTo>
                    <a:pt x="567" y="270"/>
                  </a:lnTo>
                  <a:lnTo>
                    <a:pt x="557" y="283"/>
                  </a:lnTo>
                  <a:lnTo>
                    <a:pt x="557" y="288"/>
                  </a:lnTo>
                  <a:lnTo>
                    <a:pt x="588" y="325"/>
                  </a:lnTo>
                  <a:lnTo>
                    <a:pt x="588" y="338"/>
                  </a:lnTo>
                  <a:lnTo>
                    <a:pt x="572" y="355"/>
                  </a:lnTo>
                  <a:lnTo>
                    <a:pt x="555" y="356"/>
                  </a:lnTo>
                  <a:lnTo>
                    <a:pt x="534" y="371"/>
                  </a:lnTo>
                  <a:lnTo>
                    <a:pt x="496" y="376"/>
                  </a:lnTo>
                  <a:lnTo>
                    <a:pt x="478" y="387"/>
                  </a:lnTo>
                  <a:lnTo>
                    <a:pt x="458" y="385"/>
                  </a:lnTo>
                  <a:lnTo>
                    <a:pt x="424" y="371"/>
                  </a:lnTo>
                  <a:lnTo>
                    <a:pt x="394" y="367"/>
                  </a:lnTo>
                  <a:lnTo>
                    <a:pt x="399" y="384"/>
                  </a:lnTo>
                  <a:lnTo>
                    <a:pt x="420" y="395"/>
                  </a:lnTo>
                  <a:lnTo>
                    <a:pt x="416" y="421"/>
                  </a:lnTo>
                  <a:lnTo>
                    <a:pt x="424" y="452"/>
                  </a:lnTo>
                  <a:lnTo>
                    <a:pt x="461" y="454"/>
                  </a:lnTo>
                  <a:lnTo>
                    <a:pt x="459" y="463"/>
                  </a:lnTo>
                  <a:lnTo>
                    <a:pt x="430" y="475"/>
                  </a:lnTo>
                  <a:lnTo>
                    <a:pt x="418" y="497"/>
                  </a:lnTo>
                  <a:lnTo>
                    <a:pt x="368" y="515"/>
                  </a:lnTo>
                  <a:lnTo>
                    <a:pt x="354" y="528"/>
                  </a:lnTo>
                  <a:lnTo>
                    <a:pt x="320" y="529"/>
                  </a:lnTo>
                  <a:lnTo>
                    <a:pt x="298" y="503"/>
                  </a:lnTo>
                  <a:lnTo>
                    <a:pt x="278" y="456"/>
                  </a:lnTo>
                  <a:lnTo>
                    <a:pt x="257" y="435"/>
                  </a:lnTo>
                  <a:lnTo>
                    <a:pt x="280" y="410"/>
                  </a:lnTo>
                  <a:lnTo>
                    <a:pt x="272" y="392"/>
                  </a:lnTo>
                  <a:lnTo>
                    <a:pt x="257" y="379"/>
                  </a:lnTo>
                  <a:lnTo>
                    <a:pt x="252" y="353"/>
                  </a:lnTo>
                  <a:lnTo>
                    <a:pt x="257" y="319"/>
                  </a:lnTo>
                  <a:lnTo>
                    <a:pt x="272" y="290"/>
                  </a:lnTo>
                  <a:lnTo>
                    <a:pt x="269" y="279"/>
                  </a:lnTo>
                  <a:lnTo>
                    <a:pt x="255" y="277"/>
                  </a:lnTo>
                  <a:lnTo>
                    <a:pt x="230" y="285"/>
                  </a:lnTo>
                  <a:lnTo>
                    <a:pt x="203" y="280"/>
                  </a:lnTo>
                  <a:lnTo>
                    <a:pt x="183" y="283"/>
                  </a:lnTo>
                  <a:lnTo>
                    <a:pt x="150" y="245"/>
                  </a:lnTo>
                  <a:lnTo>
                    <a:pt x="127" y="236"/>
                  </a:lnTo>
                  <a:lnTo>
                    <a:pt x="90" y="241"/>
                  </a:lnTo>
                  <a:lnTo>
                    <a:pt x="63" y="234"/>
                  </a:lnTo>
                  <a:lnTo>
                    <a:pt x="46" y="223"/>
                  </a:lnTo>
                  <a:lnTo>
                    <a:pt x="42" y="186"/>
                  </a:lnTo>
                  <a:lnTo>
                    <a:pt x="27" y="163"/>
                  </a:lnTo>
                  <a:lnTo>
                    <a:pt x="22" y="143"/>
                  </a:lnTo>
                  <a:lnTo>
                    <a:pt x="0" y="141"/>
                  </a:lnTo>
                  <a:lnTo>
                    <a:pt x="14" y="119"/>
                  </a:lnTo>
                  <a:lnTo>
                    <a:pt x="23" y="80"/>
                  </a:lnTo>
                  <a:lnTo>
                    <a:pt x="34" y="62"/>
                  </a:lnTo>
                  <a:lnTo>
                    <a:pt x="66" y="25"/>
                  </a:lnTo>
                  <a:lnTo>
                    <a:pt x="91" y="17"/>
                  </a:lnTo>
                  <a:close/>
                  <a:moveTo>
                    <a:pt x="435" y="48"/>
                  </a:moveTo>
                  <a:lnTo>
                    <a:pt x="441" y="56"/>
                  </a:lnTo>
                  <a:lnTo>
                    <a:pt x="430" y="62"/>
                  </a:lnTo>
                  <a:lnTo>
                    <a:pt x="416" y="59"/>
                  </a:lnTo>
                  <a:lnTo>
                    <a:pt x="413" y="55"/>
                  </a:lnTo>
                  <a:lnTo>
                    <a:pt x="427" y="55"/>
                  </a:lnTo>
                  <a:lnTo>
                    <a:pt x="435" y="48"/>
                  </a:lnTo>
                  <a:close/>
                </a:path>
              </a:pathLst>
            </a:custGeom>
            <a:grp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grpSp>
      <p:sp>
        <p:nvSpPr>
          <p:cNvPr id="71" name="Freeform 203">
            <a:extLst>
              <a:ext uri="{FF2B5EF4-FFF2-40B4-BE49-F238E27FC236}">
                <a16:creationId xmlns:a16="http://schemas.microsoft.com/office/drawing/2014/main" id="{1B67583A-209C-4848-AF82-568A5E01DCB2}"/>
              </a:ext>
            </a:extLst>
          </p:cNvPr>
          <p:cNvSpPr>
            <a:spLocks noChangeAspect="1" noEditPoints="1"/>
          </p:cNvSpPr>
          <p:nvPr/>
        </p:nvSpPr>
        <p:spPr bwMode="gray">
          <a:xfrm>
            <a:off x="6176301" y="2154480"/>
            <a:ext cx="1781936" cy="2257221"/>
          </a:xfrm>
          <a:custGeom>
            <a:avLst/>
            <a:gdLst>
              <a:gd name="T0" fmla="*/ 1046 w 1796"/>
              <a:gd name="T1" fmla="*/ 1760 h 1883"/>
              <a:gd name="T2" fmla="*/ 1146 w 1796"/>
              <a:gd name="T3" fmla="*/ 1609 h 1883"/>
              <a:gd name="T4" fmla="*/ 1159 w 1796"/>
              <a:gd name="T5" fmla="*/ 1479 h 1883"/>
              <a:gd name="T6" fmla="*/ 1328 w 1796"/>
              <a:gd name="T7" fmla="*/ 1338 h 1883"/>
              <a:gd name="T8" fmla="*/ 1379 w 1796"/>
              <a:gd name="T9" fmla="*/ 1315 h 1883"/>
              <a:gd name="T10" fmla="*/ 1504 w 1796"/>
              <a:gd name="T11" fmla="*/ 1271 h 1883"/>
              <a:gd name="T12" fmla="*/ 1575 w 1796"/>
              <a:gd name="T13" fmla="*/ 1086 h 1883"/>
              <a:gd name="T14" fmla="*/ 1617 w 1796"/>
              <a:gd name="T15" fmla="*/ 837 h 1883"/>
              <a:gd name="T16" fmla="*/ 1728 w 1796"/>
              <a:gd name="T17" fmla="*/ 716 h 1883"/>
              <a:gd name="T18" fmla="*/ 1784 w 1796"/>
              <a:gd name="T19" fmla="*/ 501 h 1883"/>
              <a:gd name="T20" fmla="*/ 1564 w 1796"/>
              <a:gd name="T21" fmla="*/ 374 h 1883"/>
              <a:gd name="T22" fmla="*/ 1363 w 1796"/>
              <a:gd name="T23" fmla="*/ 345 h 1883"/>
              <a:gd name="T24" fmla="*/ 1315 w 1796"/>
              <a:gd name="T25" fmla="*/ 318 h 1883"/>
              <a:gd name="T26" fmla="*/ 1199 w 1796"/>
              <a:gd name="T27" fmla="*/ 269 h 1883"/>
              <a:gd name="T28" fmla="*/ 1129 w 1796"/>
              <a:gd name="T29" fmla="*/ 323 h 1883"/>
              <a:gd name="T30" fmla="*/ 1037 w 1796"/>
              <a:gd name="T31" fmla="*/ 320 h 1883"/>
              <a:gd name="T32" fmla="*/ 1066 w 1796"/>
              <a:gd name="T33" fmla="*/ 278 h 1883"/>
              <a:gd name="T34" fmla="*/ 1097 w 1796"/>
              <a:gd name="T35" fmla="*/ 195 h 1883"/>
              <a:gd name="T36" fmla="*/ 1037 w 1796"/>
              <a:gd name="T37" fmla="*/ 46 h 1883"/>
              <a:gd name="T38" fmla="*/ 936 w 1796"/>
              <a:gd name="T39" fmla="*/ 142 h 1883"/>
              <a:gd name="T40" fmla="*/ 834 w 1796"/>
              <a:gd name="T41" fmla="*/ 127 h 1883"/>
              <a:gd name="T42" fmla="*/ 769 w 1796"/>
              <a:gd name="T43" fmla="*/ 147 h 1883"/>
              <a:gd name="T44" fmla="*/ 670 w 1796"/>
              <a:gd name="T45" fmla="*/ 171 h 1883"/>
              <a:gd name="T46" fmla="*/ 661 w 1796"/>
              <a:gd name="T47" fmla="*/ 60 h 1883"/>
              <a:gd name="T48" fmla="*/ 610 w 1796"/>
              <a:gd name="T49" fmla="*/ 1 h 1883"/>
              <a:gd name="T50" fmla="*/ 518 w 1796"/>
              <a:gd name="T51" fmla="*/ 52 h 1883"/>
              <a:gd name="T52" fmla="*/ 421 w 1796"/>
              <a:gd name="T53" fmla="*/ 60 h 1883"/>
              <a:gd name="T54" fmla="*/ 481 w 1796"/>
              <a:gd name="T55" fmla="*/ 139 h 1883"/>
              <a:gd name="T56" fmla="*/ 342 w 1796"/>
              <a:gd name="T57" fmla="*/ 205 h 1883"/>
              <a:gd name="T58" fmla="*/ 269 w 1796"/>
              <a:gd name="T59" fmla="*/ 156 h 1883"/>
              <a:gd name="T60" fmla="*/ 189 w 1796"/>
              <a:gd name="T61" fmla="*/ 193 h 1883"/>
              <a:gd name="T62" fmla="*/ 172 w 1796"/>
              <a:gd name="T63" fmla="*/ 247 h 1883"/>
              <a:gd name="T64" fmla="*/ 176 w 1796"/>
              <a:gd name="T65" fmla="*/ 430 h 1883"/>
              <a:gd name="T66" fmla="*/ 36 w 1796"/>
              <a:gd name="T67" fmla="*/ 510 h 1883"/>
              <a:gd name="T68" fmla="*/ 42 w 1796"/>
              <a:gd name="T69" fmla="*/ 651 h 1883"/>
              <a:gd name="T70" fmla="*/ 122 w 1796"/>
              <a:gd name="T71" fmla="*/ 688 h 1883"/>
              <a:gd name="T72" fmla="*/ 249 w 1796"/>
              <a:gd name="T73" fmla="*/ 745 h 1883"/>
              <a:gd name="T74" fmla="*/ 395 w 1796"/>
              <a:gd name="T75" fmla="*/ 705 h 1883"/>
              <a:gd name="T76" fmla="*/ 483 w 1796"/>
              <a:gd name="T77" fmla="*/ 818 h 1883"/>
              <a:gd name="T78" fmla="*/ 599 w 1796"/>
              <a:gd name="T79" fmla="*/ 868 h 1883"/>
              <a:gd name="T80" fmla="*/ 631 w 1796"/>
              <a:gd name="T81" fmla="*/ 992 h 1883"/>
              <a:gd name="T82" fmla="*/ 743 w 1796"/>
              <a:gd name="T83" fmla="*/ 1081 h 1883"/>
              <a:gd name="T84" fmla="*/ 724 w 1796"/>
              <a:gd name="T85" fmla="*/ 1185 h 1883"/>
              <a:gd name="T86" fmla="*/ 805 w 1796"/>
              <a:gd name="T87" fmla="*/ 1278 h 1883"/>
              <a:gd name="T88" fmla="*/ 859 w 1796"/>
              <a:gd name="T89" fmla="*/ 1368 h 1883"/>
              <a:gd name="T90" fmla="*/ 913 w 1796"/>
              <a:gd name="T91" fmla="*/ 1449 h 1883"/>
              <a:gd name="T92" fmla="*/ 880 w 1796"/>
              <a:gd name="T93" fmla="*/ 1550 h 1883"/>
              <a:gd name="T94" fmla="*/ 774 w 1796"/>
              <a:gd name="T95" fmla="*/ 1685 h 1883"/>
              <a:gd name="T96" fmla="*/ 842 w 1796"/>
              <a:gd name="T97" fmla="*/ 1725 h 1883"/>
              <a:gd name="T98" fmla="*/ 931 w 1796"/>
              <a:gd name="T99" fmla="*/ 1810 h 1883"/>
              <a:gd name="T100" fmla="*/ 1086 w 1796"/>
              <a:gd name="T101" fmla="*/ 237 h 1883"/>
              <a:gd name="T102" fmla="*/ 1128 w 1796"/>
              <a:gd name="T103" fmla="*/ 246 h 1883"/>
              <a:gd name="T104" fmla="*/ 1171 w 1796"/>
              <a:gd name="T105" fmla="*/ 255 h 1883"/>
              <a:gd name="T106" fmla="*/ 1077 w 1796"/>
              <a:gd name="T107" fmla="*/ 314 h 1883"/>
              <a:gd name="T108" fmla="*/ 1171 w 1796"/>
              <a:gd name="T109" fmla="*/ 255 h 1883"/>
              <a:gd name="T110" fmla="*/ 1058 w 1796"/>
              <a:gd name="T111" fmla="*/ 246 h 1883"/>
              <a:gd name="T112" fmla="*/ 1091 w 1796"/>
              <a:gd name="T113" fmla="*/ 218 h 1883"/>
              <a:gd name="T114" fmla="*/ 1091 w 1796"/>
              <a:gd name="T115" fmla="*/ 218 h 1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96" h="1883">
                <a:moveTo>
                  <a:pt x="939" y="1883"/>
                </a:moveTo>
                <a:lnTo>
                  <a:pt x="964" y="1861"/>
                </a:lnTo>
                <a:lnTo>
                  <a:pt x="982" y="1835"/>
                </a:lnTo>
                <a:lnTo>
                  <a:pt x="990" y="1804"/>
                </a:lnTo>
                <a:lnTo>
                  <a:pt x="1046" y="1760"/>
                </a:lnTo>
                <a:lnTo>
                  <a:pt x="1082" y="1706"/>
                </a:lnTo>
                <a:lnTo>
                  <a:pt x="1086" y="1688"/>
                </a:lnTo>
                <a:lnTo>
                  <a:pt x="1106" y="1649"/>
                </a:lnTo>
                <a:lnTo>
                  <a:pt x="1126" y="1621"/>
                </a:lnTo>
                <a:lnTo>
                  <a:pt x="1146" y="1609"/>
                </a:lnTo>
                <a:lnTo>
                  <a:pt x="1159" y="1592"/>
                </a:lnTo>
                <a:lnTo>
                  <a:pt x="1163" y="1541"/>
                </a:lnTo>
                <a:lnTo>
                  <a:pt x="1170" y="1533"/>
                </a:lnTo>
                <a:lnTo>
                  <a:pt x="1162" y="1520"/>
                </a:lnTo>
                <a:lnTo>
                  <a:pt x="1159" y="1479"/>
                </a:lnTo>
                <a:lnTo>
                  <a:pt x="1176" y="1444"/>
                </a:lnTo>
                <a:lnTo>
                  <a:pt x="1252" y="1375"/>
                </a:lnTo>
                <a:lnTo>
                  <a:pt x="1280" y="1360"/>
                </a:lnTo>
                <a:lnTo>
                  <a:pt x="1304" y="1355"/>
                </a:lnTo>
                <a:lnTo>
                  <a:pt x="1328" y="1338"/>
                </a:lnTo>
                <a:lnTo>
                  <a:pt x="1345" y="1334"/>
                </a:lnTo>
                <a:lnTo>
                  <a:pt x="1345" y="1324"/>
                </a:lnTo>
                <a:lnTo>
                  <a:pt x="1351" y="1317"/>
                </a:lnTo>
                <a:lnTo>
                  <a:pt x="1360" y="1322"/>
                </a:lnTo>
                <a:lnTo>
                  <a:pt x="1379" y="1315"/>
                </a:lnTo>
                <a:lnTo>
                  <a:pt x="1394" y="1318"/>
                </a:lnTo>
                <a:lnTo>
                  <a:pt x="1408" y="1313"/>
                </a:lnTo>
                <a:lnTo>
                  <a:pt x="1456" y="1313"/>
                </a:lnTo>
                <a:lnTo>
                  <a:pt x="1467" y="1295"/>
                </a:lnTo>
                <a:lnTo>
                  <a:pt x="1504" y="1271"/>
                </a:lnTo>
                <a:lnTo>
                  <a:pt x="1510" y="1234"/>
                </a:lnTo>
                <a:lnTo>
                  <a:pt x="1536" y="1202"/>
                </a:lnTo>
                <a:lnTo>
                  <a:pt x="1553" y="1166"/>
                </a:lnTo>
                <a:lnTo>
                  <a:pt x="1569" y="1146"/>
                </a:lnTo>
                <a:lnTo>
                  <a:pt x="1575" y="1086"/>
                </a:lnTo>
                <a:lnTo>
                  <a:pt x="1594" y="1058"/>
                </a:lnTo>
                <a:lnTo>
                  <a:pt x="1606" y="971"/>
                </a:lnTo>
                <a:lnTo>
                  <a:pt x="1600" y="908"/>
                </a:lnTo>
                <a:lnTo>
                  <a:pt x="1607" y="848"/>
                </a:lnTo>
                <a:lnTo>
                  <a:pt x="1617" y="837"/>
                </a:lnTo>
                <a:lnTo>
                  <a:pt x="1629" y="838"/>
                </a:lnTo>
                <a:lnTo>
                  <a:pt x="1643" y="828"/>
                </a:lnTo>
                <a:lnTo>
                  <a:pt x="1680" y="756"/>
                </a:lnTo>
                <a:lnTo>
                  <a:pt x="1725" y="722"/>
                </a:lnTo>
                <a:lnTo>
                  <a:pt x="1728" y="716"/>
                </a:lnTo>
                <a:lnTo>
                  <a:pt x="1779" y="651"/>
                </a:lnTo>
                <a:lnTo>
                  <a:pt x="1792" y="608"/>
                </a:lnTo>
                <a:lnTo>
                  <a:pt x="1796" y="566"/>
                </a:lnTo>
                <a:lnTo>
                  <a:pt x="1796" y="547"/>
                </a:lnTo>
                <a:lnTo>
                  <a:pt x="1784" y="501"/>
                </a:lnTo>
                <a:lnTo>
                  <a:pt x="1768" y="479"/>
                </a:lnTo>
                <a:lnTo>
                  <a:pt x="1695" y="469"/>
                </a:lnTo>
                <a:lnTo>
                  <a:pt x="1624" y="408"/>
                </a:lnTo>
                <a:lnTo>
                  <a:pt x="1585" y="382"/>
                </a:lnTo>
                <a:lnTo>
                  <a:pt x="1564" y="374"/>
                </a:lnTo>
                <a:lnTo>
                  <a:pt x="1473" y="371"/>
                </a:lnTo>
                <a:lnTo>
                  <a:pt x="1400" y="354"/>
                </a:lnTo>
                <a:lnTo>
                  <a:pt x="1397" y="346"/>
                </a:lnTo>
                <a:lnTo>
                  <a:pt x="1355" y="363"/>
                </a:lnTo>
                <a:lnTo>
                  <a:pt x="1363" y="345"/>
                </a:lnTo>
                <a:lnTo>
                  <a:pt x="1357" y="338"/>
                </a:lnTo>
                <a:lnTo>
                  <a:pt x="1346" y="338"/>
                </a:lnTo>
                <a:lnTo>
                  <a:pt x="1351" y="325"/>
                </a:lnTo>
                <a:lnTo>
                  <a:pt x="1337" y="308"/>
                </a:lnTo>
                <a:lnTo>
                  <a:pt x="1315" y="318"/>
                </a:lnTo>
                <a:lnTo>
                  <a:pt x="1309" y="298"/>
                </a:lnTo>
                <a:lnTo>
                  <a:pt x="1277" y="286"/>
                </a:lnTo>
                <a:lnTo>
                  <a:pt x="1260" y="284"/>
                </a:lnTo>
                <a:lnTo>
                  <a:pt x="1233" y="271"/>
                </a:lnTo>
                <a:lnTo>
                  <a:pt x="1199" y="269"/>
                </a:lnTo>
                <a:lnTo>
                  <a:pt x="1190" y="272"/>
                </a:lnTo>
                <a:lnTo>
                  <a:pt x="1171" y="308"/>
                </a:lnTo>
                <a:lnTo>
                  <a:pt x="1148" y="317"/>
                </a:lnTo>
                <a:lnTo>
                  <a:pt x="1131" y="352"/>
                </a:lnTo>
                <a:lnTo>
                  <a:pt x="1129" y="323"/>
                </a:lnTo>
                <a:lnTo>
                  <a:pt x="1071" y="325"/>
                </a:lnTo>
                <a:lnTo>
                  <a:pt x="1058" y="331"/>
                </a:lnTo>
                <a:lnTo>
                  <a:pt x="1038" y="325"/>
                </a:lnTo>
                <a:lnTo>
                  <a:pt x="1032" y="334"/>
                </a:lnTo>
                <a:lnTo>
                  <a:pt x="1037" y="320"/>
                </a:lnTo>
                <a:lnTo>
                  <a:pt x="1060" y="325"/>
                </a:lnTo>
                <a:lnTo>
                  <a:pt x="1071" y="318"/>
                </a:lnTo>
                <a:lnTo>
                  <a:pt x="1071" y="298"/>
                </a:lnTo>
                <a:lnTo>
                  <a:pt x="1058" y="289"/>
                </a:lnTo>
                <a:lnTo>
                  <a:pt x="1066" y="278"/>
                </a:lnTo>
                <a:lnTo>
                  <a:pt x="1055" y="278"/>
                </a:lnTo>
                <a:lnTo>
                  <a:pt x="1048" y="291"/>
                </a:lnTo>
                <a:lnTo>
                  <a:pt x="1040" y="292"/>
                </a:lnTo>
                <a:lnTo>
                  <a:pt x="1037" y="259"/>
                </a:lnTo>
                <a:lnTo>
                  <a:pt x="1097" y="195"/>
                </a:lnTo>
                <a:lnTo>
                  <a:pt x="1105" y="164"/>
                </a:lnTo>
                <a:lnTo>
                  <a:pt x="1080" y="157"/>
                </a:lnTo>
                <a:lnTo>
                  <a:pt x="1065" y="110"/>
                </a:lnTo>
                <a:lnTo>
                  <a:pt x="1048" y="57"/>
                </a:lnTo>
                <a:lnTo>
                  <a:pt x="1037" y="46"/>
                </a:lnTo>
                <a:lnTo>
                  <a:pt x="1028" y="52"/>
                </a:lnTo>
                <a:lnTo>
                  <a:pt x="995" y="97"/>
                </a:lnTo>
                <a:lnTo>
                  <a:pt x="986" y="120"/>
                </a:lnTo>
                <a:lnTo>
                  <a:pt x="961" y="142"/>
                </a:lnTo>
                <a:lnTo>
                  <a:pt x="936" y="142"/>
                </a:lnTo>
                <a:lnTo>
                  <a:pt x="914" y="148"/>
                </a:lnTo>
                <a:lnTo>
                  <a:pt x="896" y="134"/>
                </a:lnTo>
                <a:lnTo>
                  <a:pt x="870" y="125"/>
                </a:lnTo>
                <a:lnTo>
                  <a:pt x="851" y="130"/>
                </a:lnTo>
                <a:lnTo>
                  <a:pt x="834" y="127"/>
                </a:lnTo>
                <a:lnTo>
                  <a:pt x="829" y="130"/>
                </a:lnTo>
                <a:lnTo>
                  <a:pt x="828" y="154"/>
                </a:lnTo>
                <a:lnTo>
                  <a:pt x="803" y="148"/>
                </a:lnTo>
                <a:lnTo>
                  <a:pt x="780" y="153"/>
                </a:lnTo>
                <a:lnTo>
                  <a:pt x="769" y="147"/>
                </a:lnTo>
                <a:lnTo>
                  <a:pt x="752" y="161"/>
                </a:lnTo>
                <a:lnTo>
                  <a:pt x="713" y="171"/>
                </a:lnTo>
                <a:lnTo>
                  <a:pt x="703" y="181"/>
                </a:lnTo>
                <a:lnTo>
                  <a:pt x="682" y="178"/>
                </a:lnTo>
                <a:lnTo>
                  <a:pt x="670" y="171"/>
                </a:lnTo>
                <a:lnTo>
                  <a:pt x="655" y="156"/>
                </a:lnTo>
                <a:lnTo>
                  <a:pt x="653" y="136"/>
                </a:lnTo>
                <a:lnTo>
                  <a:pt x="644" y="123"/>
                </a:lnTo>
                <a:lnTo>
                  <a:pt x="650" y="72"/>
                </a:lnTo>
                <a:lnTo>
                  <a:pt x="661" y="60"/>
                </a:lnTo>
                <a:lnTo>
                  <a:pt x="655" y="35"/>
                </a:lnTo>
                <a:lnTo>
                  <a:pt x="636" y="31"/>
                </a:lnTo>
                <a:lnTo>
                  <a:pt x="640" y="14"/>
                </a:lnTo>
                <a:lnTo>
                  <a:pt x="635" y="0"/>
                </a:lnTo>
                <a:lnTo>
                  <a:pt x="610" y="1"/>
                </a:lnTo>
                <a:lnTo>
                  <a:pt x="610" y="14"/>
                </a:lnTo>
                <a:lnTo>
                  <a:pt x="594" y="31"/>
                </a:lnTo>
                <a:lnTo>
                  <a:pt x="577" y="32"/>
                </a:lnTo>
                <a:lnTo>
                  <a:pt x="556" y="47"/>
                </a:lnTo>
                <a:lnTo>
                  <a:pt x="518" y="52"/>
                </a:lnTo>
                <a:lnTo>
                  <a:pt x="500" y="63"/>
                </a:lnTo>
                <a:lnTo>
                  <a:pt x="480" y="61"/>
                </a:lnTo>
                <a:lnTo>
                  <a:pt x="446" y="47"/>
                </a:lnTo>
                <a:lnTo>
                  <a:pt x="416" y="43"/>
                </a:lnTo>
                <a:lnTo>
                  <a:pt x="421" y="60"/>
                </a:lnTo>
                <a:lnTo>
                  <a:pt x="442" y="71"/>
                </a:lnTo>
                <a:lnTo>
                  <a:pt x="438" y="97"/>
                </a:lnTo>
                <a:lnTo>
                  <a:pt x="446" y="128"/>
                </a:lnTo>
                <a:lnTo>
                  <a:pt x="483" y="130"/>
                </a:lnTo>
                <a:lnTo>
                  <a:pt x="481" y="139"/>
                </a:lnTo>
                <a:lnTo>
                  <a:pt x="452" y="151"/>
                </a:lnTo>
                <a:lnTo>
                  <a:pt x="440" y="173"/>
                </a:lnTo>
                <a:lnTo>
                  <a:pt x="390" y="191"/>
                </a:lnTo>
                <a:lnTo>
                  <a:pt x="376" y="204"/>
                </a:lnTo>
                <a:lnTo>
                  <a:pt x="342" y="205"/>
                </a:lnTo>
                <a:lnTo>
                  <a:pt x="320" y="179"/>
                </a:lnTo>
                <a:lnTo>
                  <a:pt x="310" y="187"/>
                </a:lnTo>
                <a:lnTo>
                  <a:pt x="305" y="161"/>
                </a:lnTo>
                <a:lnTo>
                  <a:pt x="293" y="147"/>
                </a:lnTo>
                <a:lnTo>
                  <a:pt x="269" y="156"/>
                </a:lnTo>
                <a:lnTo>
                  <a:pt x="257" y="148"/>
                </a:lnTo>
                <a:lnTo>
                  <a:pt x="251" y="161"/>
                </a:lnTo>
                <a:lnTo>
                  <a:pt x="183" y="161"/>
                </a:lnTo>
                <a:lnTo>
                  <a:pt x="183" y="190"/>
                </a:lnTo>
                <a:lnTo>
                  <a:pt x="189" y="193"/>
                </a:lnTo>
                <a:lnTo>
                  <a:pt x="206" y="191"/>
                </a:lnTo>
                <a:lnTo>
                  <a:pt x="215" y="212"/>
                </a:lnTo>
                <a:lnTo>
                  <a:pt x="197" y="210"/>
                </a:lnTo>
                <a:lnTo>
                  <a:pt x="172" y="216"/>
                </a:lnTo>
                <a:lnTo>
                  <a:pt x="172" y="247"/>
                </a:lnTo>
                <a:lnTo>
                  <a:pt x="193" y="266"/>
                </a:lnTo>
                <a:lnTo>
                  <a:pt x="201" y="297"/>
                </a:lnTo>
                <a:lnTo>
                  <a:pt x="195" y="335"/>
                </a:lnTo>
                <a:lnTo>
                  <a:pt x="186" y="380"/>
                </a:lnTo>
                <a:lnTo>
                  <a:pt x="176" y="430"/>
                </a:lnTo>
                <a:lnTo>
                  <a:pt x="171" y="435"/>
                </a:lnTo>
                <a:lnTo>
                  <a:pt x="154" y="433"/>
                </a:lnTo>
                <a:lnTo>
                  <a:pt x="99" y="450"/>
                </a:lnTo>
                <a:lnTo>
                  <a:pt x="61" y="472"/>
                </a:lnTo>
                <a:lnTo>
                  <a:pt x="36" y="510"/>
                </a:lnTo>
                <a:lnTo>
                  <a:pt x="34" y="540"/>
                </a:lnTo>
                <a:lnTo>
                  <a:pt x="16" y="547"/>
                </a:lnTo>
                <a:lnTo>
                  <a:pt x="0" y="586"/>
                </a:lnTo>
                <a:lnTo>
                  <a:pt x="11" y="620"/>
                </a:lnTo>
                <a:lnTo>
                  <a:pt x="42" y="651"/>
                </a:lnTo>
                <a:lnTo>
                  <a:pt x="37" y="670"/>
                </a:lnTo>
                <a:lnTo>
                  <a:pt x="65" y="674"/>
                </a:lnTo>
                <a:lnTo>
                  <a:pt x="78" y="693"/>
                </a:lnTo>
                <a:lnTo>
                  <a:pt x="99" y="697"/>
                </a:lnTo>
                <a:lnTo>
                  <a:pt x="122" y="688"/>
                </a:lnTo>
                <a:lnTo>
                  <a:pt x="152" y="665"/>
                </a:lnTo>
                <a:lnTo>
                  <a:pt x="152" y="741"/>
                </a:lnTo>
                <a:lnTo>
                  <a:pt x="163" y="747"/>
                </a:lnTo>
                <a:lnTo>
                  <a:pt x="189" y="741"/>
                </a:lnTo>
                <a:lnTo>
                  <a:pt x="249" y="745"/>
                </a:lnTo>
                <a:lnTo>
                  <a:pt x="288" y="728"/>
                </a:lnTo>
                <a:lnTo>
                  <a:pt x="328" y="688"/>
                </a:lnTo>
                <a:lnTo>
                  <a:pt x="384" y="682"/>
                </a:lnTo>
                <a:lnTo>
                  <a:pt x="393" y="691"/>
                </a:lnTo>
                <a:lnTo>
                  <a:pt x="395" y="705"/>
                </a:lnTo>
                <a:lnTo>
                  <a:pt x="395" y="733"/>
                </a:lnTo>
                <a:lnTo>
                  <a:pt x="387" y="756"/>
                </a:lnTo>
                <a:lnTo>
                  <a:pt x="399" y="787"/>
                </a:lnTo>
                <a:lnTo>
                  <a:pt x="429" y="809"/>
                </a:lnTo>
                <a:lnTo>
                  <a:pt x="483" y="818"/>
                </a:lnTo>
                <a:lnTo>
                  <a:pt x="497" y="832"/>
                </a:lnTo>
                <a:lnTo>
                  <a:pt x="535" y="845"/>
                </a:lnTo>
                <a:lnTo>
                  <a:pt x="554" y="860"/>
                </a:lnTo>
                <a:lnTo>
                  <a:pt x="585" y="860"/>
                </a:lnTo>
                <a:lnTo>
                  <a:pt x="599" y="868"/>
                </a:lnTo>
                <a:lnTo>
                  <a:pt x="611" y="882"/>
                </a:lnTo>
                <a:lnTo>
                  <a:pt x="622" y="919"/>
                </a:lnTo>
                <a:lnTo>
                  <a:pt x="619" y="939"/>
                </a:lnTo>
                <a:lnTo>
                  <a:pt x="613" y="945"/>
                </a:lnTo>
                <a:lnTo>
                  <a:pt x="631" y="992"/>
                </a:lnTo>
                <a:lnTo>
                  <a:pt x="712" y="999"/>
                </a:lnTo>
                <a:lnTo>
                  <a:pt x="707" y="1022"/>
                </a:lnTo>
                <a:lnTo>
                  <a:pt x="712" y="1039"/>
                </a:lnTo>
                <a:lnTo>
                  <a:pt x="729" y="1046"/>
                </a:lnTo>
                <a:lnTo>
                  <a:pt x="743" y="1081"/>
                </a:lnTo>
                <a:lnTo>
                  <a:pt x="741" y="1128"/>
                </a:lnTo>
                <a:lnTo>
                  <a:pt x="732" y="1154"/>
                </a:lnTo>
                <a:lnTo>
                  <a:pt x="735" y="1174"/>
                </a:lnTo>
                <a:lnTo>
                  <a:pt x="726" y="1179"/>
                </a:lnTo>
                <a:lnTo>
                  <a:pt x="724" y="1185"/>
                </a:lnTo>
                <a:lnTo>
                  <a:pt x="732" y="1199"/>
                </a:lnTo>
                <a:lnTo>
                  <a:pt x="732" y="1267"/>
                </a:lnTo>
                <a:lnTo>
                  <a:pt x="735" y="1273"/>
                </a:lnTo>
                <a:lnTo>
                  <a:pt x="774" y="1285"/>
                </a:lnTo>
                <a:lnTo>
                  <a:pt x="805" y="1278"/>
                </a:lnTo>
                <a:lnTo>
                  <a:pt x="829" y="1288"/>
                </a:lnTo>
                <a:lnTo>
                  <a:pt x="837" y="1300"/>
                </a:lnTo>
                <a:lnTo>
                  <a:pt x="840" y="1351"/>
                </a:lnTo>
                <a:lnTo>
                  <a:pt x="846" y="1361"/>
                </a:lnTo>
                <a:lnTo>
                  <a:pt x="859" y="1368"/>
                </a:lnTo>
                <a:lnTo>
                  <a:pt x="889" y="1363"/>
                </a:lnTo>
                <a:lnTo>
                  <a:pt x="894" y="1368"/>
                </a:lnTo>
                <a:lnTo>
                  <a:pt x="899" y="1395"/>
                </a:lnTo>
                <a:lnTo>
                  <a:pt x="891" y="1451"/>
                </a:lnTo>
                <a:lnTo>
                  <a:pt x="913" y="1449"/>
                </a:lnTo>
                <a:lnTo>
                  <a:pt x="918" y="1454"/>
                </a:lnTo>
                <a:lnTo>
                  <a:pt x="928" y="1488"/>
                </a:lnTo>
                <a:lnTo>
                  <a:pt x="925" y="1527"/>
                </a:lnTo>
                <a:lnTo>
                  <a:pt x="904" y="1544"/>
                </a:lnTo>
                <a:lnTo>
                  <a:pt x="880" y="1550"/>
                </a:lnTo>
                <a:lnTo>
                  <a:pt x="828" y="1600"/>
                </a:lnTo>
                <a:lnTo>
                  <a:pt x="789" y="1654"/>
                </a:lnTo>
                <a:lnTo>
                  <a:pt x="746" y="1693"/>
                </a:lnTo>
                <a:lnTo>
                  <a:pt x="760" y="1694"/>
                </a:lnTo>
                <a:lnTo>
                  <a:pt x="774" y="1685"/>
                </a:lnTo>
                <a:lnTo>
                  <a:pt x="784" y="1686"/>
                </a:lnTo>
                <a:lnTo>
                  <a:pt x="814" y="1713"/>
                </a:lnTo>
                <a:lnTo>
                  <a:pt x="820" y="1733"/>
                </a:lnTo>
                <a:lnTo>
                  <a:pt x="829" y="1733"/>
                </a:lnTo>
                <a:lnTo>
                  <a:pt x="842" y="1725"/>
                </a:lnTo>
                <a:lnTo>
                  <a:pt x="859" y="1747"/>
                </a:lnTo>
                <a:lnTo>
                  <a:pt x="885" y="1757"/>
                </a:lnTo>
                <a:lnTo>
                  <a:pt x="899" y="1774"/>
                </a:lnTo>
                <a:lnTo>
                  <a:pt x="922" y="1784"/>
                </a:lnTo>
                <a:lnTo>
                  <a:pt x="931" y="1810"/>
                </a:lnTo>
                <a:lnTo>
                  <a:pt x="953" y="1828"/>
                </a:lnTo>
                <a:lnTo>
                  <a:pt x="938" y="1850"/>
                </a:lnTo>
                <a:lnTo>
                  <a:pt x="936" y="1875"/>
                </a:lnTo>
                <a:lnTo>
                  <a:pt x="939" y="1883"/>
                </a:lnTo>
                <a:close/>
                <a:moveTo>
                  <a:pt x="1086" y="237"/>
                </a:moveTo>
                <a:lnTo>
                  <a:pt x="1088" y="244"/>
                </a:lnTo>
                <a:lnTo>
                  <a:pt x="1082" y="244"/>
                </a:lnTo>
                <a:lnTo>
                  <a:pt x="1080" y="238"/>
                </a:lnTo>
                <a:lnTo>
                  <a:pt x="1086" y="237"/>
                </a:lnTo>
                <a:close/>
                <a:moveTo>
                  <a:pt x="1128" y="246"/>
                </a:moveTo>
                <a:lnTo>
                  <a:pt x="1112" y="247"/>
                </a:lnTo>
                <a:lnTo>
                  <a:pt x="1123" y="237"/>
                </a:lnTo>
                <a:lnTo>
                  <a:pt x="1128" y="238"/>
                </a:lnTo>
                <a:lnTo>
                  <a:pt x="1128" y="246"/>
                </a:lnTo>
                <a:close/>
                <a:moveTo>
                  <a:pt x="1171" y="255"/>
                </a:moveTo>
                <a:lnTo>
                  <a:pt x="1170" y="280"/>
                </a:lnTo>
                <a:lnTo>
                  <a:pt x="1143" y="309"/>
                </a:lnTo>
                <a:lnTo>
                  <a:pt x="1109" y="322"/>
                </a:lnTo>
                <a:lnTo>
                  <a:pt x="1088" y="320"/>
                </a:lnTo>
                <a:lnTo>
                  <a:pt x="1077" y="314"/>
                </a:lnTo>
                <a:lnTo>
                  <a:pt x="1074" y="261"/>
                </a:lnTo>
                <a:lnTo>
                  <a:pt x="1088" y="250"/>
                </a:lnTo>
                <a:lnTo>
                  <a:pt x="1126" y="252"/>
                </a:lnTo>
                <a:lnTo>
                  <a:pt x="1153" y="247"/>
                </a:lnTo>
                <a:lnTo>
                  <a:pt x="1171" y="255"/>
                </a:lnTo>
                <a:close/>
                <a:moveTo>
                  <a:pt x="1074" y="254"/>
                </a:moveTo>
                <a:lnTo>
                  <a:pt x="1058" y="272"/>
                </a:lnTo>
                <a:lnTo>
                  <a:pt x="1052" y="272"/>
                </a:lnTo>
                <a:lnTo>
                  <a:pt x="1048" y="263"/>
                </a:lnTo>
                <a:lnTo>
                  <a:pt x="1058" y="246"/>
                </a:lnTo>
                <a:lnTo>
                  <a:pt x="1074" y="241"/>
                </a:lnTo>
                <a:lnTo>
                  <a:pt x="1065" y="250"/>
                </a:lnTo>
                <a:lnTo>
                  <a:pt x="1072" y="250"/>
                </a:lnTo>
                <a:lnTo>
                  <a:pt x="1074" y="254"/>
                </a:lnTo>
                <a:close/>
                <a:moveTo>
                  <a:pt x="1091" y="218"/>
                </a:moveTo>
                <a:lnTo>
                  <a:pt x="1083" y="224"/>
                </a:lnTo>
                <a:lnTo>
                  <a:pt x="1089" y="235"/>
                </a:lnTo>
                <a:lnTo>
                  <a:pt x="1109" y="238"/>
                </a:lnTo>
                <a:lnTo>
                  <a:pt x="1109" y="232"/>
                </a:lnTo>
                <a:lnTo>
                  <a:pt x="1091" y="218"/>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72" name="Freeform 204">
            <a:extLst>
              <a:ext uri="{FF2B5EF4-FFF2-40B4-BE49-F238E27FC236}">
                <a16:creationId xmlns:a16="http://schemas.microsoft.com/office/drawing/2014/main" id="{6DD12BCB-8539-BE4C-90B6-A4C0C3A8A144}"/>
              </a:ext>
            </a:extLst>
          </p:cNvPr>
          <p:cNvSpPr>
            <a:spLocks noChangeAspect="1" noEditPoints="1"/>
          </p:cNvSpPr>
          <p:nvPr/>
        </p:nvSpPr>
        <p:spPr bwMode="gray">
          <a:xfrm>
            <a:off x="6195742" y="3664509"/>
            <a:ext cx="900687" cy="2413697"/>
          </a:xfrm>
          <a:custGeom>
            <a:avLst/>
            <a:gdLst>
              <a:gd name="T0" fmla="*/ 50 w 908"/>
              <a:gd name="T1" fmla="*/ 1759 h 2014"/>
              <a:gd name="T2" fmla="*/ 0 w 908"/>
              <a:gd name="T3" fmla="*/ 1647 h 2014"/>
              <a:gd name="T4" fmla="*/ 44 w 908"/>
              <a:gd name="T5" fmla="*/ 1471 h 2014"/>
              <a:gd name="T6" fmla="*/ 88 w 908"/>
              <a:gd name="T7" fmla="*/ 1302 h 2014"/>
              <a:gd name="T8" fmla="*/ 95 w 908"/>
              <a:gd name="T9" fmla="*/ 1272 h 2014"/>
              <a:gd name="T10" fmla="*/ 67 w 908"/>
              <a:gd name="T11" fmla="*/ 1202 h 2014"/>
              <a:gd name="T12" fmla="*/ 76 w 908"/>
              <a:gd name="T13" fmla="*/ 1095 h 2014"/>
              <a:gd name="T14" fmla="*/ 92 w 908"/>
              <a:gd name="T15" fmla="*/ 921 h 2014"/>
              <a:gd name="T16" fmla="*/ 107 w 908"/>
              <a:gd name="T17" fmla="*/ 777 h 2014"/>
              <a:gd name="T18" fmla="*/ 146 w 908"/>
              <a:gd name="T19" fmla="*/ 670 h 2014"/>
              <a:gd name="T20" fmla="*/ 149 w 908"/>
              <a:gd name="T21" fmla="*/ 571 h 2014"/>
              <a:gd name="T22" fmla="*/ 132 w 908"/>
              <a:gd name="T23" fmla="*/ 486 h 2014"/>
              <a:gd name="T24" fmla="*/ 198 w 908"/>
              <a:gd name="T25" fmla="*/ 298 h 2014"/>
              <a:gd name="T26" fmla="*/ 222 w 908"/>
              <a:gd name="T27" fmla="*/ 173 h 2014"/>
              <a:gd name="T28" fmla="*/ 290 w 908"/>
              <a:gd name="T29" fmla="*/ 71 h 2014"/>
              <a:gd name="T30" fmla="*/ 396 w 908"/>
              <a:gd name="T31" fmla="*/ 23 h 2014"/>
              <a:gd name="T32" fmla="*/ 491 w 908"/>
              <a:gd name="T33" fmla="*/ 26 h 2014"/>
              <a:gd name="T34" fmla="*/ 577 w 908"/>
              <a:gd name="T35" fmla="*/ 108 h 2014"/>
              <a:gd name="T36" fmla="*/ 721 w 908"/>
              <a:gd name="T37" fmla="*/ 196 h 2014"/>
              <a:gd name="T38" fmla="*/ 737 w 908"/>
              <a:gd name="T39" fmla="*/ 274 h 2014"/>
              <a:gd name="T40" fmla="*/ 871 w 908"/>
              <a:gd name="T41" fmla="*/ 190 h 2014"/>
              <a:gd name="T42" fmla="*/ 905 w 908"/>
              <a:gd name="T43" fmla="*/ 266 h 2014"/>
              <a:gd name="T44" fmla="*/ 769 w 908"/>
              <a:gd name="T45" fmla="*/ 393 h 2014"/>
              <a:gd name="T46" fmla="*/ 704 w 908"/>
              <a:gd name="T47" fmla="*/ 524 h 2014"/>
              <a:gd name="T48" fmla="*/ 684 w 908"/>
              <a:gd name="T49" fmla="*/ 651 h 2014"/>
              <a:gd name="T50" fmla="*/ 735 w 908"/>
              <a:gd name="T51" fmla="*/ 738 h 2014"/>
              <a:gd name="T52" fmla="*/ 764 w 908"/>
              <a:gd name="T53" fmla="*/ 809 h 2014"/>
              <a:gd name="T54" fmla="*/ 644 w 908"/>
              <a:gd name="T55" fmla="*/ 908 h 2014"/>
              <a:gd name="T56" fmla="*/ 510 w 908"/>
              <a:gd name="T57" fmla="*/ 934 h 2014"/>
              <a:gd name="T58" fmla="*/ 508 w 908"/>
              <a:gd name="T59" fmla="*/ 982 h 2014"/>
              <a:gd name="T60" fmla="*/ 474 w 908"/>
              <a:gd name="T61" fmla="*/ 1052 h 2014"/>
              <a:gd name="T62" fmla="*/ 379 w 908"/>
              <a:gd name="T63" fmla="*/ 1033 h 2014"/>
              <a:gd name="T64" fmla="*/ 410 w 908"/>
              <a:gd name="T65" fmla="*/ 1129 h 2014"/>
              <a:gd name="T66" fmla="*/ 449 w 908"/>
              <a:gd name="T67" fmla="*/ 1117 h 2014"/>
              <a:gd name="T68" fmla="*/ 420 w 908"/>
              <a:gd name="T69" fmla="*/ 1143 h 2014"/>
              <a:gd name="T70" fmla="*/ 420 w 908"/>
              <a:gd name="T71" fmla="*/ 1166 h 2014"/>
              <a:gd name="T72" fmla="*/ 378 w 908"/>
              <a:gd name="T73" fmla="*/ 1251 h 2014"/>
              <a:gd name="T74" fmla="*/ 319 w 908"/>
              <a:gd name="T75" fmla="*/ 1307 h 2014"/>
              <a:gd name="T76" fmla="*/ 280 w 908"/>
              <a:gd name="T77" fmla="*/ 1398 h 2014"/>
              <a:gd name="T78" fmla="*/ 356 w 908"/>
              <a:gd name="T79" fmla="*/ 1461 h 2014"/>
              <a:gd name="T80" fmla="*/ 344 w 908"/>
              <a:gd name="T81" fmla="*/ 1504 h 2014"/>
              <a:gd name="T82" fmla="*/ 259 w 908"/>
              <a:gd name="T83" fmla="*/ 1589 h 2014"/>
              <a:gd name="T84" fmla="*/ 217 w 908"/>
              <a:gd name="T85" fmla="*/ 1617 h 2014"/>
              <a:gd name="T86" fmla="*/ 183 w 908"/>
              <a:gd name="T87" fmla="*/ 1710 h 2014"/>
              <a:gd name="T88" fmla="*/ 202 w 908"/>
              <a:gd name="T89" fmla="*/ 1756 h 2014"/>
              <a:gd name="T90" fmla="*/ 413 w 908"/>
              <a:gd name="T91" fmla="*/ 2002 h 2014"/>
              <a:gd name="T92" fmla="*/ 219 w 908"/>
              <a:gd name="T93" fmla="*/ 1827 h 2014"/>
              <a:gd name="T94" fmla="*/ 253 w 908"/>
              <a:gd name="T95" fmla="*/ 1909 h 2014"/>
              <a:gd name="T96" fmla="*/ 364 w 908"/>
              <a:gd name="T97" fmla="*/ 2008 h 2014"/>
              <a:gd name="T98" fmla="*/ 222 w 908"/>
              <a:gd name="T99" fmla="*/ 2001 h 2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8" h="2014">
                <a:moveTo>
                  <a:pt x="231" y="1801"/>
                </a:moveTo>
                <a:lnTo>
                  <a:pt x="166" y="1782"/>
                </a:lnTo>
                <a:lnTo>
                  <a:pt x="59" y="1778"/>
                </a:lnTo>
                <a:lnTo>
                  <a:pt x="50" y="1759"/>
                </a:lnTo>
                <a:lnTo>
                  <a:pt x="48" y="1683"/>
                </a:lnTo>
                <a:lnTo>
                  <a:pt x="20" y="1681"/>
                </a:lnTo>
                <a:lnTo>
                  <a:pt x="5" y="1693"/>
                </a:lnTo>
                <a:lnTo>
                  <a:pt x="0" y="1647"/>
                </a:lnTo>
                <a:lnTo>
                  <a:pt x="7" y="1601"/>
                </a:lnTo>
                <a:lnTo>
                  <a:pt x="37" y="1550"/>
                </a:lnTo>
                <a:lnTo>
                  <a:pt x="48" y="1516"/>
                </a:lnTo>
                <a:lnTo>
                  <a:pt x="44" y="1471"/>
                </a:lnTo>
                <a:lnTo>
                  <a:pt x="67" y="1436"/>
                </a:lnTo>
                <a:lnTo>
                  <a:pt x="78" y="1402"/>
                </a:lnTo>
                <a:lnTo>
                  <a:pt x="79" y="1327"/>
                </a:lnTo>
                <a:lnTo>
                  <a:pt x="88" y="1302"/>
                </a:lnTo>
                <a:lnTo>
                  <a:pt x="68" y="1289"/>
                </a:lnTo>
                <a:lnTo>
                  <a:pt x="65" y="1278"/>
                </a:lnTo>
                <a:lnTo>
                  <a:pt x="93" y="1278"/>
                </a:lnTo>
                <a:lnTo>
                  <a:pt x="95" y="1272"/>
                </a:lnTo>
                <a:lnTo>
                  <a:pt x="88" y="1256"/>
                </a:lnTo>
                <a:lnTo>
                  <a:pt x="70" y="1253"/>
                </a:lnTo>
                <a:lnTo>
                  <a:pt x="73" y="1224"/>
                </a:lnTo>
                <a:lnTo>
                  <a:pt x="67" y="1202"/>
                </a:lnTo>
                <a:lnTo>
                  <a:pt x="65" y="1173"/>
                </a:lnTo>
                <a:lnTo>
                  <a:pt x="59" y="1165"/>
                </a:lnTo>
                <a:lnTo>
                  <a:pt x="59" y="1134"/>
                </a:lnTo>
                <a:lnTo>
                  <a:pt x="76" y="1095"/>
                </a:lnTo>
                <a:lnTo>
                  <a:pt x="76" y="1086"/>
                </a:lnTo>
                <a:lnTo>
                  <a:pt x="65" y="1061"/>
                </a:lnTo>
                <a:lnTo>
                  <a:pt x="75" y="985"/>
                </a:lnTo>
                <a:lnTo>
                  <a:pt x="92" y="921"/>
                </a:lnTo>
                <a:lnTo>
                  <a:pt x="107" y="897"/>
                </a:lnTo>
                <a:lnTo>
                  <a:pt x="101" y="854"/>
                </a:lnTo>
                <a:lnTo>
                  <a:pt x="104" y="789"/>
                </a:lnTo>
                <a:lnTo>
                  <a:pt x="107" y="777"/>
                </a:lnTo>
                <a:lnTo>
                  <a:pt x="134" y="752"/>
                </a:lnTo>
                <a:lnTo>
                  <a:pt x="130" y="706"/>
                </a:lnTo>
                <a:lnTo>
                  <a:pt x="141" y="696"/>
                </a:lnTo>
                <a:lnTo>
                  <a:pt x="146" y="670"/>
                </a:lnTo>
                <a:lnTo>
                  <a:pt x="161" y="643"/>
                </a:lnTo>
                <a:lnTo>
                  <a:pt x="158" y="600"/>
                </a:lnTo>
                <a:lnTo>
                  <a:pt x="149" y="589"/>
                </a:lnTo>
                <a:lnTo>
                  <a:pt x="149" y="571"/>
                </a:lnTo>
                <a:lnTo>
                  <a:pt x="138" y="543"/>
                </a:lnTo>
                <a:lnTo>
                  <a:pt x="138" y="518"/>
                </a:lnTo>
                <a:lnTo>
                  <a:pt x="130" y="510"/>
                </a:lnTo>
                <a:lnTo>
                  <a:pt x="132" y="486"/>
                </a:lnTo>
                <a:lnTo>
                  <a:pt x="156" y="433"/>
                </a:lnTo>
                <a:lnTo>
                  <a:pt x="160" y="385"/>
                </a:lnTo>
                <a:lnTo>
                  <a:pt x="177" y="322"/>
                </a:lnTo>
                <a:lnTo>
                  <a:pt x="198" y="298"/>
                </a:lnTo>
                <a:lnTo>
                  <a:pt x="205" y="274"/>
                </a:lnTo>
                <a:lnTo>
                  <a:pt x="231" y="255"/>
                </a:lnTo>
                <a:lnTo>
                  <a:pt x="222" y="187"/>
                </a:lnTo>
                <a:lnTo>
                  <a:pt x="222" y="173"/>
                </a:lnTo>
                <a:lnTo>
                  <a:pt x="228" y="164"/>
                </a:lnTo>
                <a:lnTo>
                  <a:pt x="228" y="136"/>
                </a:lnTo>
                <a:lnTo>
                  <a:pt x="282" y="110"/>
                </a:lnTo>
                <a:lnTo>
                  <a:pt x="290" y="71"/>
                </a:lnTo>
                <a:lnTo>
                  <a:pt x="285" y="52"/>
                </a:lnTo>
                <a:lnTo>
                  <a:pt x="333" y="0"/>
                </a:lnTo>
                <a:lnTo>
                  <a:pt x="347" y="15"/>
                </a:lnTo>
                <a:lnTo>
                  <a:pt x="396" y="23"/>
                </a:lnTo>
                <a:lnTo>
                  <a:pt x="417" y="44"/>
                </a:lnTo>
                <a:lnTo>
                  <a:pt x="427" y="10"/>
                </a:lnTo>
                <a:lnTo>
                  <a:pt x="472" y="14"/>
                </a:lnTo>
                <a:lnTo>
                  <a:pt x="491" y="26"/>
                </a:lnTo>
                <a:lnTo>
                  <a:pt x="505" y="31"/>
                </a:lnTo>
                <a:lnTo>
                  <a:pt x="534" y="68"/>
                </a:lnTo>
                <a:lnTo>
                  <a:pt x="568" y="91"/>
                </a:lnTo>
                <a:lnTo>
                  <a:pt x="577" y="108"/>
                </a:lnTo>
                <a:lnTo>
                  <a:pt x="632" y="120"/>
                </a:lnTo>
                <a:lnTo>
                  <a:pt x="684" y="151"/>
                </a:lnTo>
                <a:lnTo>
                  <a:pt x="718" y="176"/>
                </a:lnTo>
                <a:lnTo>
                  <a:pt x="721" y="196"/>
                </a:lnTo>
                <a:lnTo>
                  <a:pt x="693" y="246"/>
                </a:lnTo>
                <a:lnTo>
                  <a:pt x="692" y="258"/>
                </a:lnTo>
                <a:lnTo>
                  <a:pt x="692" y="269"/>
                </a:lnTo>
                <a:lnTo>
                  <a:pt x="737" y="274"/>
                </a:lnTo>
                <a:lnTo>
                  <a:pt x="764" y="286"/>
                </a:lnTo>
                <a:lnTo>
                  <a:pt x="817" y="278"/>
                </a:lnTo>
                <a:lnTo>
                  <a:pt x="862" y="235"/>
                </a:lnTo>
                <a:lnTo>
                  <a:pt x="871" y="190"/>
                </a:lnTo>
                <a:lnTo>
                  <a:pt x="893" y="188"/>
                </a:lnTo>
                <a:lnTo>
                  <a:pt x="898" y="193"/>
                </a:lnTo>
                <a:lnTo>
                  <a:pt x="908" y="227"/>
                </a:lnTo>
                <a:lnTo>
                  <a:pt x="905" y="266"/>
                </a:lnTo>
                <a:lnTo>
                  <a:pt x="884" y="283"/>
                </a:lnTo>
                <a:lnTo>
                  <a:pt x="860" y="289"/>
                </a:lnTo>
                <a:lnTo>
                  <a:pt x="808" y="339"/>
                </a:lnTo>
                <a:lnTo>
                  <a:pt x="769" y="393"/>
                </a:lnTo>
                <a:lnTo>
                  <a:pt x="726" y="432"/>
                </a:lnTo>
                <a:lnTo>
                  <a:pt x="715" y="445"/>
                </a:lnTo>
                <a:lnTo>
                  <a:pt x="713" y="496"/>
                </a:lnTo>
                <a:lnTo>
                  <a:pt x="704" y="524"/>
                </a:lnTo>
                <a:lnTo>
                  <a:pt x="703" y="575"/>
                </a:lnTo>
                <a:lnTo>
                  <a:pt x="692" y="600"/>
                </a:lnTo>
                <a:lnTo>
                  <a:pt x="687" y="634"/>
                </a:lnTo>
                <a:lnTo>
                  <a:pt x="684" y="651"/>
                </a:lnTo>
                <a:lnTo>
                  <a:pt x="692" y="668"/>
                </a:lnTo>
                <a:lnTo>
                  <a:pt x="720" y="685"/>
                </a:lnTo>
                <a:lnTo>
                  <a:pt x="744" y="710"/>
                </a:lnTo>
                <a:lnTo>
                  <a:pt x="735" y="738"/>
                </a:lnTo>
                <a:lnTo>
                  <a:pt x="749" y="762"/>
                </a:lnTo>
                <a:lnTo>
                  <a:pt x="768" y="766"/>
                </a:lnTo>
                <a:lnTo>
                  <a:pt x="769" y="798"/>
                </a:lnTo>
                <a:lnTo>
                  <a:pt x="764" y="809"/>
                </a:lnTo>
                <a:lnTo>
                  <a:pt x="732" y="852"/>
                </a:lnTo>
                <a:lnTo>
                  <a:pt x="727" y="872"/>
                </a:lnTo>
                <a:lnTo>
                  <a:pt x="706" y="888"/>
                </a:lnTo>
                <a:lnTo>
                  <a:pt x="644" y="908"/>
                </a:lnTo>
                <a:lnTo>
                  <a:pt x="569" y="919"/>
                </a:lnTo>
                <a:lnTo>
                  <a:pt x="522" y="916"/>
                </a:lnTo>
                <a:lnTo>
                  <a:pt x="510" y="906"/>
                </a:lnTo>
                <a:lnTo>
                  <a:pt x="510" y="934"/>
                </a:lnTo>
                <a:lnTo>
                  <a:pt x="520" y="948"/>
                </a:lnTo>
                <a:lnTo>
                  <a:pt x="519" y="964"/>
                </a:lnTo>
                <a:lnTo>
                  <a:pt x="519" y="970"/>
                </a:lnTo>
                <a:lnTo>
                  <a:pt x="508" y="982"/>
                </a:lnTo>
                <a:lnTo>
                  <a:pt x="510" y="1026"/>
                </a:lnTo>
                <a:lnTo>
                  <a:pt x="502" y="1038"/>
                </a:lnTo>
                <a:lnTo>
                  <a:pt x="489" y="1043"/>
                </a:lnTo>
                <a:lnTo>
                  <a:pt x="474" y="1052"/>
                </a:lnTo>
                <a:lnTo>
                  <a:pt x="443" y="1050"/>
                </a:lnTo>
                <a:lnTo>
                  <a:pt x="396" y="1032"/>
                </a:lnTo>
                <a:lnTo>
                  <a:pt x="388" y="1021"/>
                </a:lnTo>
                <a:lnTo>
                  <a:pt x="379" y="1033"/>
                </a:lnTo>
                <a:lnTo>
                  <a:pt x="387" y="1106"/>
                </a:lnTo>
                <a:lnTo>
                  <a:pt x="409" y="1119"/>
                </a:lnTo>
                <a:lnTo>
                  <a:pt x="405" y="1126"/>
                </a:lnTo>
                <a:lnTo>
                  <a:pt x="410" y="1129"/>
                </a:lnTo>
                <a:lnTo>
                  <a:pt x="427" y="1126"/>
                </a:lnTo>
                <a:lnTo>
                  <a:pt x="418" y="1114"/>
                </a:lnTo>
                <a:lnTo>
                  <a:pt x="444" y="1107"/>
                </a:lnTo>
                <a:lnTo>
                  <a:pt x="449" y="1117"/>
                </a:lnTo>
                <a:lnTo>
                  <a:pt x="452" y="1140"/>
                </a:lnTo>
                <a:lnTo>
                  <a:pt x="444" y="1153"/>
                </a:lnTo>
                <a:lnTo>
                  <a:pt x="422" y="1153"/>
                </a:lnTo>
                <a:lnTo>
                  <a:pt x="420" y="1143"/>
                </a:lnTo>
                <a:lnTo>
                  <a:pt x="407" y="1134"/>
                </a:lnTo>
                <a:lnTo>
                  <a:pt x="387" y="1148"/>
                </a:lnTo>
                <a:lnTo>
                  <a:pt x="387" y="1153"/>
                </a:lnTo>
                <a:lnTo>
                  <a:pt x="420" y="1166"/>
                </a:lnTo>
                <a:lnTo>
                  <a:pt x="392" y="1182"/>
                </a:lnTo>
                <a:lnTo>
                  <a:pt x="388" y="1188"/>
                </a:lnTo>
                <a:lnTo>
                  <a:pt x="378" y="1204"/>
                </a:lnTo>
                <a:lnTo>
                  <a:pt x="378" y="1251"/>
                </a:lnTo>
                <a:lnTo>
                  <a:pt x="358" y="1276"/>
                </a:lnTo>
                <a:lnTo>
                  <a:pt x="361" y="1297"/>
                </a:lnTo>
                <a:lnTo>
                  <a:pt x="333" y="1295"/>
                </a:lnTo>
                <a:lnTo>
                  <a:pt x="319" y="1307"/>
                </a:lnTo>
                <a:lnTo>
                  <a:pt x="302" y="1310"/>
                </a:lnTo>
                <a:lnTo>
                  <a:pt x="269" y="1358"/>
                </a:lnTo>
                <a:lnTo>
                  <a:pt x="268" y="1371"/>
                </a:lnTo>
                <a:lnTo>
                  <a:pt x="280" y="1398"/>
                </a:lnTo>
                <a:lnTo>
                  <a:pt x="307" y="1425"/>
                </a:lnTo>
                <a:lnTo>
                  <a:pt x="347" y="1432"/>
                </a:lnTo>
                <a:lnTo>
                  <a:pt x="354" y="1437"/>
                </a:lnTo>
                <a:lnTo>
                  <a:pt x="356" y="1461"/>
                </a:lnTo>
                <a:lnTo>
                  <a:pt x="347" y="1474"/>
                </a:lnTo>
                <a:lnTo>
                  <a:pt x="351" y="1491"/>
                </a:lnTo>
                <a:lnTo>
                  <a:pt x="345" y="1495"/>
                </a:lnTo>
                <a:lnTo>
                  <a:pt x="344" y="1504"/>
                </a:lnTo>
                <a:lnTo>
                  <a:pt x="330" y="1508"/>
                </a:lnTo>
                <a:lnTo>
                  <a:pt x="269" y="1564"/>
                </a:lnTo>
                <a:lnTo>
                  <a:pt x="263" y="1580"/>
                </a:lnTo>
                <a:lnTo>
                  <a:pt x="259" y="1589"/>
                </a:lnTo>
                <a:lnTo>
                  <a:pt x="268" y="1584"/>
                </a:lnTo>
                <a:lnTo>
                  <a:pt x="256" y="1629"/>
                </a:lnTo>
                <a:lnTo>
                  <a:pt x="232" y="1640"/>
                </a:lnTo>
                <a:lnTo>
                  <a:pt x="217" y="1617"/>
                </a:lnTo>
                <a:lnTo>
                  <a:pt x="219" y="1634"/>
                </a:lnTo>
                <a:lnTo>
                  <a:pt x="228" y="1646"/>
                </a:lnTo>
                <a:lnTo>
                  <a:pt x="200" y="1666"/>
                </a:lnTo>
                <a:lnTo>
                  <a:pt x="183" y="1710"/>
                </a:lnTo>
                <a:lnTo>
                  <a:pt x="194" y="1708"/>
                </a:lnTo>
                <a:lnTo>
                  <a:pt x="202" y="1742"/>
                </a:lnTo>
                <a:lnTo>
                  <a:pt x="185" y="1748"/>
                </a:lnTo>
                <a:lnTo>
                  <a:pt x="202" y="1756"/>
                </a:lnTo>
                <a:lnTo>
                  <a:pt x="231" y="1801"/>
                </a:lnTo>
                <a:close/>
                <a:moveTo>
                  <a:pt x="413" y="1994"/>
                </a:moveTo>
                <a:lnTo>
                  <a:pt x="447" y="1991"/>
                </a:lnTo>
                <a:lnTo>
                  <a:pt x="413" y="2002"/>
                </a:lnTo>
                <a:lnTo>
                  <a:pt x="405" y="2001"/>
                </a:lnTo>
                <a:lnTo>
                  <a:pt x="413" y="1994"/>
                </a:lnTo>
                <a:close/>
                <a:moveTo>
                  <a:pt x="222" y="2001"/>
                </a:moveTo>
                <a:lnTo>
                  <a:pt x="219" y="1827"/>
                </a:lnTo>
                <a:lnTo>
                  <a:pt x="240" y="1864"/>
                </a:lnTo>
                <a:lnTo>
                  <a:pt x="232" y="1861"/>
                </a:lnTo>
                <a:lnTo>
                  <a:pt x="226" y="1867"/>
                </a:lnTo>
                <a:lnTo>
                  <a:pt x="253" y="1909"/>
                </a:lnTo>
                <a:lnTo>
                  <a:pt x="336" y="1976"/>
                </a:lnTo>
                <a:lnTo>
                  <a:pt x="379" y="1989"/>
                </a:lnTo>
                <a:lnTo>
                  <a:pt x="376" y="2002"/>
                </a:lnTo>
                <a:lnTo>
                  <a:pt x="364" y="2008"/>
                </a:lnTo>
                <a:lnTo>
                  <a:pt x="347" y="2005"/>
                </a:lnTo>
                <a:lnTo>
                  <a:pt x="325" y="2014"/>
                </a:lnTo>
                <a:lnTo>
                  <a:pt x="246" y="1994"/>
                </a:lnTo>
                <a:lnTo>
                  <a:pt x="222" y="2001"/>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rgbClr val="17375E"/>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73" name="Freeform 205">
            <a:extLst>
              <a:ext uri="{FF2B5EF4-FFF2-40B4-BE49-F238E27FC236}">
                <a16:creationId xmlns:a16="http://schemas.microsoft.com/office/drawing/2014/main" id="{45AE6AB2-F858-9741-B34B-175DFA63232E}"/>
              </a:ext>
            </a:extLst>
          </p:cNvPr>
          <p:cNvSpPr>
            <a:spLocks noChangeAspect="1" noEditPoints="1"/>
          </p:cNvSpPr>
          <p:nvPr/>
        </p:nvSpPr>
        <p:spPr bwMode="gray">
          <a:xfrm>
            <a:off x="6095305" y="3418054"/>
            <a:ext cx="388784" cy="2722747"/>
          </a:xfrm>
          <a:custGeom>
            <a:avLst/>
            <a:gdLst>
              <a:gd name="T0" fmla="*/ 319 w 393"/>
              <a:gd name="T1" fmla="*/ 150 h 2273"/>
              <a:gd name="T2" fmla="*/ 322 w 393"/>
              <a:gd name="T3" fmla="*/ 379 h 2273"/>
              <a:gd name="T4" fmla="*/ 230 w 393"/>
              <a:gd name="T5" fmla="*/ 716 h 2273"/>
              <a:gd name="T6" fmla="*/ 230 w 393"/>
              <a:gd name="T7" fmla="*/ 912 h 2273"/>
              <a:gd name="T8" fmla="*/ 176 w 393"/>
              <a:gd name="T9" fmla="*/ 1292 h 2273"/>
              <a:gd name="T10" fmla="*/ 195 w 393"/>
              <a:gd name="T11" fmla="*/ 1478 h 2273"/>
              <a:gd name="T12" fmla="*/ 148 w 393"/>
              <a:gd name="T13" fmla="*/ 1722 h 2273"/>
              <a:gd name="T14" fmla="*/ 266 w 393"/>
              <a:gd name="T15" fmla="*/ 1988 h 2273"/>
              <a:gd name="T16" fmla="*/ 154 w 393"/>
              <a:gd name="T17" fmla="*/ 2103 h 2273"/>
              <a:gd name="T18" fmla="*/ 141 w 393"/>
              <a:gd name="T19" fmla="*/ 2024 h 2273"/>
              <a:gd name="T20" fmla="*/ 119 w 393"/>
              <a:gd name="T21" fmla="*/ 1975 h 2273"/>
              <a:gd name="T22" fmla="*/ 85 w 393"/>
              <a:gd name="T23" fmla="*/ 1900 h 2273"/>
              <a:gd name="T24" fmla="*/ 82 w 393"/>
              <a:gd name="T25" fmla="*/ 1811 h 2273"/>
              <a:gd name="T26" fmla="*/ 62 w 393"/>
              <a:gd name="T27" fmla="*/ 1733 h 2273"/>
              <a:gd name="T28" fmla="*/ 85 w 393"/>
              <a:gd name="T29" fmla="*/ 1684 h 2273"/>
              <a:gd name="T30" fmla="*/ 62 w 393"/>
              <a:gd name="T31" fmla="*/ 1617 h 2273"/>
              <a:gd name="T32" fmla="*/ 4 w 393"/>
              <a:gd name="T33" fmla="*/ 1601 h 2273"/>
              <a:gd name="T34" fmla="*/ 80 w 393"/>
              <a:gd name="T35" fmla="*/ 1581 h 2273"/>
              <a:gd name="T36" fmla="*/ 96 w 393"/>
              <a:gd name="T37" fmla="*/ 1530 h 2273"/>
              <a:gd name="T38" fmla="*/ 133 w 393"/>
              <a:gd name="T39" fmla="*/ 1484 h 2273"/>
              <a:gd name="T40" fmla="*/ 131 w 393"/>
              <a:gd name="T41" fmla="*/ 1334 h 2273"/>
              <a:gd name="T42" fmla="*/ 119 w 393"/>
              <a:gd name="T43" fmla="*/ 1279 h 2273"/>
              <a:gd name="T44" fmla="*/ 90 w 393"/>
              <a:gd name="T45" fmla="*/ 1102 h 2273"/>
              <a:gd name="T46" fmla="*/ 153 w 393"/>
              <a:gd name="T47" fmla="*/ 904 h 2273"/>
              <a:gd name="T48" fmla="*/ 192 w 393"/>
              <a:gd name="T49" fmla="*/ 619 h 2273"/>
              <a:gd name="T50" fmla="*/ 230 w 393"/>
              <a:gd name="T51" fmla="*/ 381 h 2273"/>
              <a:gd name="T52" fmla="*/ 261 w 393"/>
              <a:gd name="T53" fmla="*/ 22 h 2273"/>
              <a:gd name="T54" fmla="*/ 65 w 393"/>
              <a:gd name="T55" fmla="*/ 1506 h 2273"/>
              <a:gd name="T56" fmla="*/ 58 w 393"/>
              <a:gd name="T57" fmla="*/ 1474 h 2273"/>
              <a:gd name="T58" fmla="*/ 117 w 393"/>
              <a:gd name="T59" fmla="*/ 1459 h 2273"/>
              <a:gd name="T60" fmla="*/ 83 w 393"/>
              <a:gd name="T61" fmla="*/ 1383 h 2273"/>
              <a:gd name="T62" fmla="*/ 227 w 393"/>
              <a:gd name="T63" fmla="*/ 2136 h 2273"/>
              <a:gd name="T64" fmla="*/ 179 w 393"/>
              <a:gd name="T65" fmla="*/ 2144 h 2273"/>
              <a:gd name="T66" fmla="*/ 159 w 393"/>
              <a:gd name="T67" fmla="*/ 2149 h 2273"/>
              <a:gd name="T68" fmla="*/ 154 w 393"/>
              <a:gd name="T69" fmla="*/ 2126 h 2273"/>
              <a:gd name="T70" fmla="*/ 97 w 393"/>
              <a:gd name="T71" fmla="*/ 2117 h 2273"/>
              <a:gd name="T72" fmla="*/ 112 w 393"/>
              <a:gd name="T73" fmla="*/ 2089 h 2273"/>
              <a:gd name="T74" fmla="*/ 77 w 393"/>
              <a:gd name="T75" fmla="*/ 2029 h 2273"/>
              <a:gd name="T76" fmla="*/ 122 w 393"/>
              <a:gd name="T77" fmla="*/ 2033 h 2273"/>
              <a:gd name="T78" fmla="*/ 133 w 393"/>
              <a:gd name="T79" fmla="*/ 2073 h 2273"/>
              <a:gd name="T80" fmla="*/ 77 w 393"/>
              <a:gd name="T81" fmla="*/ 1942 h 2273"/>
              <a:gd name="T82" fmla="*/ 28 w 393"/>
              <a:gd name="T83" fmla="*/ 1982 h 2273"/>
              <a:gd name="T84" fmla="*/ 49 w 393"/>
              <a:gd name="T85" fmla="*/ 1925 h 2273"/>
              <a:gd name="T86" fmla="*/ 60 w 393"/>
              <a:gd name="T87" fmla="*/ 1883 h 2273"/>
              <a:gd name="T88" fmla="*/ 9 w 393"/>
              <a:gd name="T89" fmla="*/ 1860 h 2273"/>
              <a:gd name="T90" fmla="*/ 48 w 393"/>
              <a:gd name="T91" fmla="*/ 1762 h 2273"/>
              <a:gd name="T92" fmla="*/ 17 w 393"/>
              <a:gd name="T93" fmla="*/ 1775 h 2273"/>
              <a:gd name="T94" fmla="*/ 40 w 393"/>
              <a:gd name="T95" fmla="*/ 1728 h 2273"/>
              <a:gd name="T96" fmla="*/ 19 w 393"/>
              <a:gd name="T97" fmla="*/ 1704 h 2273"/>
              <a:gd name="T98" fmla="*/ 58 w 393"/>
              <a:gd name="T99" fmla="*/ 1682 h 2273"/>
              <a:gd name="T100" fmla="*/ 342 w 393"/>
              <a:gd name="T101" fmla="*/ 2241 h 2273"/>
              <a:gd name="T102" fmla="*/ 275 w 393"/>
              <a:gd name="T103" fmla="*/ 2244 h 2273"/>
              <a:gd name="T104" fmla="*/ 227 w 393"/>
              <a:gd name="T105" fmla="*/ 2225 h 2273"/>
              <a:gd name="T106" fmla="*/ 357 w 393"/>
              <a:gd name="T107" fmla="*/ 2208 h 2273"/>
              <a:gd name="T108" fmla="*/ 302 w 393"/>
              <a:gd name="T109" fmla="*/ 2216 h 2273"/>
              <a:gd name="T110" fmla="*/ 247 w 393"/>
              <a:gd name="T111" fmla="*/ 2173 h 2273"/>
              <a:gd name="T112" fmla="*/ 249 w 393"/>
              <a:gd name="T113" fmla="*/ 2119 h 2273"/>
              <a:gd name="T114" fmla="*/ 246 w 393"/>
              <a:gd name="T115" fmla="*/ 2046 h 2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3" h="2273">
                <a:moveTo>
                  <a:pt x="275" y="0"/>
                </a:moveTo>
                <a:lnTo>
                  <a:pt x="294" y="22"/>
                </a:lnTo>
                <a:lnTo>
                  <a:pt x="300" y="64"/>
                </a:lnTo>
                <a:lnTo>
                  <a:pt x="322" y="85"/>
                </a:lnTo>
                <a:lnTo>
                  <a:pt x="320" y="108"/>
                </a:lnTo>
                <a:lnTo>
                  <a:pt x="312" y="115"/>
                </a:lnTo>
                <a:lnTo>
                  <a:pt x="311" y="130"/>
                </a:lnTo>
                <a:lnTo>
                  <a:pt x="319" y="136"/>
                </a:lnTo>
                <a:lnTo>
                  <a:pt x="319" y="150"/>
                </a:lnTo>
                <a:lnTo>
                  <a:pt x="332" y="164"/>
                </a:lnTo>
                <a:lnTo>
                  <a:pt x="349" y="257"/>
                </a:lnTo>
                <a:lnTo>
                  <a:pt x="362" y="262"/>
                </a:lnTo>
                <a:lnTo>
                  <a:pt x="385" y="258"/>
                </a:lnTo>
                <a:lnTo>
                  <a:pt x="390" y="277"/>
                </a:lnTo>
                <a:lnTo>
                  <a:pt x="382" y="316"/>
                </a:lnTo>
                <a:lnTo>
                  <a:pt x="328" y="342"/>
                </a:lnTo>
                <a:lnTo>
                  <a:pt x="328" y="370"/>
                </a:lnTo>
                <a:lnTo>
                  <a:pt x="322" y="379"/>
                </a:lnTo>
                <a:lnTo>
                  <a:pt x="322" y="393"/>
                </a:lnTo>
                <a:lnTo>
                  <a:pt x="331" y="461"/>
                </a:lnTo>
                <a:lnTo>
                  <a:pt x="305" y="480"/>
                </a:lnTo>
                <a:lnTo>
                  <a:pt x="298" y="504"/>
                </a:lnTo>
                <a:lnTo>
                  <a:pt x="277" y="528"/>
                </a:lnTo>
                <a:lnTo>
                  <a:pt x="260" y="591"/>
                </a:lnTo>
                <a:lnTo>
                  <a:pt x="256" y="639"/>
                </a:lnTo>
                <a:lnTo>
                  <a:pt x="232" y="692"/>
                </a:lnTo>
                <a:lnTo>
                  <a:pt x="230" y="716"/>
                </a:lnTo>
                <a:lnTo>
                  <a:pt x="238" y="724"/>
                </a:lnTo>
                <a:lnTo>
                  <a:pt x="238" y="749"/>
                </a:lnTo>
                <a:lnTo>
                  <a:pt x="249" y="777"/>
                </a:lnTo>
                <a:lnTo>
                  <a:pt x="249" y="795"/>
                </a:lnTo>
                <a:lnTo>
                  <a:pt x="258" y="806"/>
                </a:lnTo>
                <a:lnTo>
                  <a:pt x="261" y="849"/>
                </a:lnTo>
                <a:lnTo>
                  <a:pt x="246" y="876"/>
                </a:lnTo>
                <a:lnTo>
                  <a:pt x="241" y="902"/>
                </a:lnTo>
                <a:lnTo>
                  <a:pt x="230" y="912"/>
                </a:lnTo>
                <a:lnTo>
                  <a:pt x="234" y="958"/>
                </a:lnTo>
                <a:lnTo>
                  <a:pt x="207" y="983"/>
                </a:lnTo>
                <a:lnTo>
                  <a:pt x="204" y="995"/>
                </a:lnTo>
                <a:lnTo>
                  <a:pt x="201" y="1060"/>
                </a:lnTo>
                <a:lnTo>
                  <a:pt x="207" y="1103"/>
                </a:lnTo>
                <a:lnTo>
                  <a:pt x="192" y="1127"/>
                </a:lnTo>
                <a:lnTo>
                  <a:pt x="175" y="1191"/>
                </a:lnTo>
                <a:lnTo>
                  <a:pt x="165" y="1267"/>
                </a:lnTo>
                <a:lnTo>
                  <a:pt x="176" y="1292"/>
                </a:lnTo>
                <a:lnTo>
                  <a:pt x="176" y="1301"/>
                </a:lnTo>
                <a:lnTo>
                  <a:pt x="159" y="1340"/>
                </a:lnTo>
                <a:lnTo>
                  <a:pt x="159" y="1371"/>
                </a:lnTo>
                <a:lnTo>
                  <a:pt x="165" y="1379"/>
                </a:lnTo>
                <a:lnTo>
                  <a:pt x="167" y="1408"/>
                </a:lnTo>
                <a:lnTo>
                  <a:pt x="173" y="1430"/>
                </a:lnTo>
                <a:lnTo>
                  <a:pt x="170" y="1459"/>
                </a:lnTo>
                <a:lnTo>
                  <a:pt x="188" y="1462"/>
                </a:lnTo>
                <a:lnTo>
                  <a:pt x="195" y="1478"/>
                </a:lnTo>
                <a:lnTo>
                  <a:pt x="193" y="1484"/>
                </a:lnTo>
                <a:lnTo>
                  <a:pt x="165" y="1484"/>
                </a:lnTo>
                <a:lnTo>
                  <a:pt x="168" y="1495"/>
                </a:lnTo>
                <a:lnTo>
                  <a:pt x="188" y="1508"/>
                </a:lnTo>
                <a:lnTo>
                  <a:pt x="179" y="1533"/>
                </a:lnTo>
                <a:lnTo>
                  <a:pt x="178" y="1608"/>
                </a:lnTo>
                <a:lnTo>
                  <a:pt x="167" y="1642"/>
                </a:lnTo>
                <a:lnTo>
                  <a:pt x="144" y="1677"/>
                </a:lnTo>
                <a:lnTo>
                  <a:pt x="148" y="1722"/>
                </a:lnTo>
                <a:lnTo>
                  <a:pt x="137" y="1756"/>
                </a:lnTo>
                <a:lnTo>
                  <a:pt x="107" y="1807"/>
                </a:lnTo>
                <a:lnTo>
                  <a:pt x="100" y="1853"/>
                </a:lnTo>
                <a:lnTo>
                  <a:pt x="105" y="1899"/>
                </a:lnTo>
                <a:lnTo>
                  <a:pt x="120" y="1887"/>
                </a:lnTo>
                <a:lnTo>
                  <a:pt x="148" y="1889"/>
                </a:lnTo>
                <a:lnTo>
                  <a:pt x="150" y="1965"/>
                </a:lnTo>
                <a:lnTo>
                  <a:pt x="159" y="1984"/>
                </a:lnTo>
                <a:lnTo>
                  <a:pt x="266" y="1988"/>
                </a:lnTo>
                <a:lnTo>
                  <a:pt x="331" y="2007"/>
                </a:lnTo>
                <a:lnTo>
                  <a:pt x="326" y="2013"/>
                </a:lnTo>
                <a:lnTo>
                  <a:pt x="292" y="2010"/>
                </a:lnTo>
                <a:lnTo>
                  <a:pt x="280" y="2007"/>
                </a:lnTo>
                <a:lnTo>
                  <a:pt x="273" y="2018"/>
                </a:lnTo>
                <a:lnTo>
                  <a:pt x="217" y="2041"/>
                </a:lnTo>
                <a:lnTo>
                  <a:pt x="207" y="2121"/>
                </a:lnTo>
                <a:lnTo>
                  <a:pt x="179" y="2119"/>
                </a:lnTo>
                <a:lnTo>
                  <a:pt x="154" y="2103"/>
                </a:lnTo>
                <a:lnTo>
                  <a:pt x="151" y="2087"/>
                </a:lnTo>
                <a:lnTo>
                  <a:pt x="158" y="2081"/>
                </a:lnTo>
                <a:lnTo>
                  <a:pt x="159" y="2094"/>
                </a:lnTo>
                <a:lnTo>
                  <a:pt x="195" y="2072"/>
                </a:lnTo>
                <a:lnTo>
                  <a:pt x="205" y="2050"/>
                </a:lnTo>
                <a:lnTo>
                  <a:pt x="187" y="2029"/>
                </a:lnTo>
                <a:lnTo>
                  <a:pt x="159" y="2026"/>
                </a:lnTo>
                <a:lnTo>
                  <a:pt x="142" y="2035"/>
                </a:lnTo>
                <a:lnTo>
                  <a:pt x="141" y="2024"/>
                </a:lnTo>
                <a:lnTo>
                  <a:pt x="129" y="2027"/>
                </a:lnTo>
                <a:lnTo>
                  <a:pt x="144" y="2005"/>
                </a:lnTo>
                <a:lnTo>
                  <a:pt x="134" y="1984"/>
                </a:lnTo>
                <a:lnTo>
                  <a:pt x="141" y="1982"/>
                </a:lnTo>
                <a:lnTo>
                  <a:pt x="141" y="1970"/>
                </a:lnTo>
                <a:lnTo>
                  <a:pt x="134" y="1963"/>
                </a:lnTo>
                <a:lnTo>
                  <a:pt x="134" y="1970"/>
                </a:lnTo>
                <a:lnTo>
                  <a:pt x="114" y="1962"/>
                </a:lnTo>
                <a:lnTo>
                  <a:pt x="119" y="1975"/>
                </a:lnTo>
                <a:lnTo>
                  <a:pt x="112" y="1985"/>
                </a:lnTo>
                <a:lnTo>
                  <a:pt x="100" y="1956"/>
                </a:lnTo>
                <a:lnTo>
                  <a:pt x="105" y="1990"/>
                </a:lnTo>
                <a:lnTo>
                  <a:pt x="97" y="1987"/>
                </a:lnTo>
                <a:lnTo>
                  <a:pt x="96" y="1956"/>
                </a:lnTo>
                <a:lnTo>
                  <a:pt x="88" y="1942"/>
                </a:lnTo>
                <a:lnTo>
                  <a:pt x="68" y="1919"/>
                </a:lnTo>
                <a:lnTo>
                  <a:pt x="68" y="1902"/>
                </a:lnTo>
                <a:lnTo>
                  <a:pt x="85" y="1900"/>
                </a:lnTo>
                <a:lnTo>
                  <a:pt x="85" y="1891"/>
                </a:lnTo>
                <a:lnTo>
                  <a:pt x="70" y="1889"/>
                </a:lnTo>
                <a:lnTo>
                  <a:pt x="66" y="1880"/>
                </a:lnTo>
                <a:lnTo>
                  <a:pt x="77" y="1875"/>
                </a:lnTo>
                <a:lnTo>
                  <a:pt x="56" y="1865"/>
                </a:lnTo>
                <a:lnTo>
                  <a:pt x="46" y="1852"/>
                </a:lnTo>
                <a:lnTo>
                  <a:pt x="58" y="1838"/>
                </a:lnTo>
                <a:lnTo>
                  <a:pt x="62" y="1816"/>
                </a:lnTo>
                <a:lnTo>
                  <a:pt x="82" y="1811"/>
                </a:lnTo>
                <a:lnTo>
                  <a:pt x="74" y="1799"/>
                </a:lnTo>
                <a:lnTo>
                  <a:pt x="82" y="1775"/>
                </a:lnTo>
                <a:lnTo>
                  <a:pt x="71" y="1784"/>
                </a:lnTo>
                <a:lnTo>
                  <a:pt x="65" y="1799"/>
                </a:lnTo>
                <a:lnTo>
                  <a:pt x="62" y="1798"/>
                </a:lnTo>
                <a:lnTo>
                  <a:pt x="58" y="1753"/>
                </a:lnTo>
                <a:lnTo>
                  <a:pt x="65" y="1750"/>
                </a:lnTo>
                <a:lnTo>
                  <a:pt x="60" y="1744"/>
                </a:lnTo>
                <a:lnTo>
                  <a:pt x="62" y="1733"/>
                </a:lnTo>
                <a:lnTo>
                  <a:pt x="83" y="1739"/>
                </a:lnTo>
                <a:lnTo>
                  <a:pt x="79" y="1722"/>
                </a:lnTo>
                <a:lnTo>
                  <a:pt x="54" y="1728"/>
                </a:lnTo>
                <a:lnTo>
                  <a:pt x="49" y="1696"/>
                </a:lnTo>
                <a:lnTo>
                  <a:pt x="56" y="1697"/>
                </a:lnTo>
                <a:lnTo>
                  <a:pt x="63" y="1714"/>
                </a:lnTo>
                <a:lnTo>
                  <a:pt x="66" y="1699"/>
                </a:lnTo>
                <a:lnTo>
                  <a:pt x="91" y="1705"/>
                </a:lnTo>
                <a:lnTo>
                  <a:pt x="85" y="1684"/>
                </a:lnTo>
                <a:lnTo>
                  <a:pt x="82" y="1679"/>
                </a:lnTo>
                <a:lnTo>
                  <a:pt x="68" y="1684"/>
                </a:lnTo>
                <a:lnTo>
                  <a:pt x="65" y="1676"/>
                </a:lnTo>
                <a:lnTo>
                  <a:pt x="71" y="1668"/>
                </a:lnTo>
                <a:lnTo>
                  <a:pt x="49" y="1659"/>
                </a:lnTo>
                <a:lnTo>
                  <a:pt x="71" y="1643"/>
                </a:lnTo>
                <a:lnTo>
                  <a:pt x="65" y="1638"/>
                </a:lnTo>
                <a:lnTo>
                  <a:pt x="73" y="1629"/>
                </a:lnTo>
                <a:lnTo>
                  <a:pt x="62" y="1617"/>
                </a:lnTo>
                <a:lnTo>
                  <a:pt x="49" y="1612"/>
                </a:lnTo>
                <a:lnTo>
                  <a:pt x="41" y="1620"/>
                </a:lnTo>
                <a:lnTo>
                  <a:pt x="19" y="1603"/>
                </a:lnTo>
                <a:lnTo>
                  <a:pt x="6" y="1611"/>
                </a:lnTo>
                <a:lnTo>
                  <a:pt x="12" y="1620"/>
                </a:lnTo>
                <a:lnTo>
                  <a:pt x="9" y="1628"/>
                </a:lnTo>
                <a:lnTo>
                  <a:pt x="0" y="1626"/>
                </a:lnTo>
                <a:lnTo>
                  <a:pt x="0" y="1620"/>
                </a:lnTo>
                <a:lnTo>
                  <a:pt x="4" y="1601"/>
                </a:lnTo>
                <a:lnTo>
                  <a:pt x="37" y="1577"/>
                </a:lnTo>
                <a:lnTo>
                  <a:pt x="37" y="1570"/>
                </a:lnTo>
                <a:lnTo>
                  <a:pt x="28" y="1569"/>
                </a:lnTo>
                <a:lnTo>
                  <a:pt x="24" y="1558"/>
                </a:lnTo>
                <a:lnTo>
                  <a:pt x="62" y="1558"/>
                </a:lnTo>
                <a:lnTo>
                  <a:pt x="70" y="1574"/>
                </a:lnTo>
                <a:lnTo>
                  <a:pt x="62" y="1586"/>
                </a:lnTo>
                <a:lnTo>
                  <a:pt x="71" y="1594"/>
                </a:lnTo>
                <a:lnTo>
                  <a:pt x="80" y="1581"/>
                </a:lnTo>
                <a:lnTo>
                  <a:pt x="80" y="1600"/>
                </a:lnTo>
                <a:lnTo>
                  <a:pt x="99" y="1581"/>
                </a:lnTo>
                <a:lnTo>
                  <a:pt x="90" y="1577"/>
                </a:lnTo>
                <a:lnTo>
                  <a:pt x="91" y="1557"/>
                </a:lnTo>
                <a:lnTo>
                  <a:pt x="107" y="1550"/>
                </a:lnTo>
                <a:lnTo>
                  <a:pt x="100" y="1544"/>
                </a:lnTo>
                <a:lnTo>
                  <a:pt x="111" y="1533"/>
                </a:lnTo>
                <a:lnTo>
                  <a:pt x="94" y="1538"/>
                </a:lnTo>
                <a:lnTo>
                  <a:pt x="96" y="1530"/>
                </a:lnTo>
                <a:lnTo>
                  <a:pt x="105" y="1521"/>
                </a:lnTo>
                <a:lnTo>
                  <a:pt x="112" y="1527"/>
                </a:lnTo>
                <a:lnTo>
                  <a:pt x="120" y="1532"/>
                </a:lnTo>
                <a:lnTo>
                  <a:pt x="125" y="1530"/>
                </a:lnTo>
                <a:lnTo>
                  <a:pt x="125" y="1523"/>
                </a:lnTo>
                <a:lnTo>
                  <a:pt x="100" y="1516"/>
                </a:lnTo>
                <a:lnTo>
                  <a:pt x="102" y="1501"/>
                </a:lnTo>
                <a:lnTo>
                  <a:pt x="122" y="1498"/>
                </a:lnTo>
                <a:lnTo>
                  <a:pt x="133" y="1484"/>
                </a:lnTo>
                <a:lnTo>
                  <a:pt x="129" y="1462"/>
                </a:lnTo>
                <a:lnTo>
                  <a:pt x="107" y="1444"/>
                </a:lnTo>
                <a:lnTo>
                  <a:pt x="122" y="1420"/>
                </a:lnTo>
                <a:lnTo>
                  <a:pt x="117" y="1400"/>
                </a:lnTo>
                <a:lnTo>
                  <a:pt x="129" y="1371"/>
                </a:lnTo>
                <a:lnTo>
                  <a:pt x="127" y="1354"/>
                </a:lnTo>
                <a:lnTo>
                  <a:pt x="134" y="1343"/>
                </a:lnTo>
                <a:lnTo>
                  <a:pt x="139" y="1346"/>
                </a:lnTo>
                <a:lnTo>
                  <a:pt x="131" y="1334"/>
                </a:lnTo>
                <a:lnTo>
                  <a:pt x="134" y="1325"/>
                </a:lnTo>
                <a:lnTo>
                  <a:pt x="141" y="1326"/>
                </a:lnTo>
                <a:lnTo>
                  <a:pt x="144" y="1338"/>
                </a:lnTo>
                <a:lnTo>
                  <a:pt x="142" y="1310"/>
                </a:lnTo>
                <a:lnTo>
                  <a:pt x="129" y="1308"/>
                </a:lnTo>
                <a:lnTo>
                  <a:pt x="131" y="1300"/>
                </a:lnTo>
                <a:lnTo>
                  <a:pt x="150" y="1286"/>
                </a:lnTo>
                <a:lnTo>
                  <a:pt x="137" y="1289"/>
                </a:lnTo>
                <a:lnTo>
                  <a:pt x="119" y="1279"/>
                </a:lnTo>
                <a:lnTo>
                  <a:pt x="108" y="1293"/>
                </a:lnTo>
                <a:lnTo>
                  <a:pt x="99" y="1295"/>
                </a:lnTo>
                <a:lnTo>
                  <a:pt x="87" y="1289"/>
                </a:lnTo>
                <a:lnTo>
                  <a:pt x="79" y="1272"/>
                </a:lnTo>
                <a:lnTo>
                  <a:pt x="85" y="1181"/>
                </a:lnTo>
                <a:lnTo>
                  <a:pt x="94" y="1176"/>
                </a:lnTo>
                <a:lnTo>
                  <a:pt x="102" y="1157"/>
                </a:lnTo>
                <a:lnTo>
                  <a:pt x="100" y="1132"/>
                </a:lnTo>
                <a:lnTo>
                  <a:pt x="90" y="1102"/>
                </a:lnTo>
                <a:lnTo>
                  <a:pt x="94" y="1078"/>
                </a:lnTo>
                <a:lnTo>
                  <a:pt x="87" y="1058"/>
                </a:lnTo>
                <a:lnTo>
                  <a:pt x="88" y="1029"/>
                </a:lnTo>
                <a:lnTo>
                  <a:pt x="96" y="1020"/>
                </a:lnTo>
                <a:lnTo>
                  <a:pt x="108" y="1020"/>
                </a:lnTo>
                <a:lnTo>
                  <a:pt x="107" y="992"/>
                </a:lnTo>
                <a:lnTo>
                  <a:pt x="119" y="990"/>
                </a:lnTo>
                <a:lnTo>
                  <a:pt x="139" y="927"/>
                </a:lnTo>
                <a:lnTo>
                  <a:pt x="153" y="904"/>
                </a:lnTo>
                <a:lnTo>
                  <a:pt x="171" y="834"/>
                </a:lnTo>
                <a:lnTo>
                  <a:pt x="176" y="828"/>
                </a:lnTo>
                <a:lnTo>
                  <a:pt x="176" y="797"/>
                </a:lnTo>
                <a:lnTo>
                  <a:pt x="185" y="778"/>
                </a:lnTo>
                <a:lnTo>
                  <a:pt x="185" y="758"/>
                </a:lnTo>
                <a:lnTo>
                  <a:pt x="175" y="662"/>
                </a:lnTo>
                <a:lnTo>
                  <a:pt x="178" y="641"/>
                </a:lnTo>
                <a:lnTo>
                  <a:pt x="188" y="634"/>
                </a:lnTo>
                <a:lnTo>
                  <a:pt x="192" y="619"/>
                </a:lnTo>
                <a:lnTo>
                  <a:pt x="181" y="582"/>
                </a:lnTo>
                <a:lnTo>
                  <a:pt x="185" y="568"/>
                </a:lnTo>
                <a:lnTo>
                  <a:pt x="193" y="557"/>
                </a:lnTo>
                <a:lnTo>
                  <a:pt x="204" y="507"/>
                </a:lnTo>
                <a:lnTo>
                  <a:pt x="210" y="495"/>
                </a:lnTo>
                <a:lnTo>
                  <a:pt x="210" y="478"/>
                </a:lnTo>
                <a:lnTo>
                  <a:pt x="221" y="460"/>
                </a:lnTo>
                <a:lnTo>
                  <a:pt x="221" y="406"/>
                </a:lnTo>
                <a:lnTo>
                  <a:pt x="230" y="381"/>
                </a:lnTo>
                <a:lnTo>
                  <a:pt x="232" y="294"/>
                </a:lnTo>
                <a:lnTo>
                  <a:pt x="227" y="283"/>
                </a:lnTo>
                <a:lnTo>
                  <a:pt x="241" y="260"/>
                </a:lnTo>
                <a:lnTo>
                  <a:pt x="249" y="195"/>
                </a:lnTo>
                <a:lnTo>
                  <a:pt x="244" y="164"/>
                </a:lnTo>
                <a:lnTo>
                  <a:pt x="246" y="118"/>
                </a:lnTo>
                <a:lnTo>
                  <a:pt x="230" y="32"/>
                </a:lnTo>
                <a:lnTo>
                  <a:pt x="241" y="23"/>
                </a:lnTo>
                <a:lnTo>
                  <a:pt x="261" y="22"/>
                </a:lnTo>
                <a:lnTo>
                  <a:pt x="275" y="0"/>
                </a:lnTo>
                <a:close/>
                <a:moveTo>
                  <a:pt x="79" y="1550"/>
                </a:moveTo>
                <a:lnTo>
                  <a:pt x="83" y="1558"/>
                </a:lnTo>
                <a:lnTo>
                  <a:pt x="79" y="1558"/>
                </a:lnTo>
                <a:lnTo>
                  <a:pt x="79" y="1550"/>
                </a:lnTo>
                <a:close/>
                <a:moveTo>
                  <a:pt x="65" y="1513"/>
                </a:moveTo>
                <a:lnTo>
                  <a:pt x="79" y="1523"/>
                </a:lnTo>
                <a:lnTo>
                  <a:pt x="65" y="1513"/>
                </a:lnTo>
                <a:close/>
                <a:moveTo>
                  <a:pt x="65" y="1506"/>
                </a:moveTo>
                <a:lnTo>
                  <a:pt x="80" y="1503"/>
                </a:lnTo>
                <a:lnTo>
                  <a:pt x="83" y="1516"/>
                </a:lnTo>
                <a:lnTo>
                  <a:pt x="65" y="1506"/>
                </a:lnTo>
                <a:close/>
                <a:moveTo>
                  <a:pt x="62" y="1501"/>
                </a:moveTo>
                <a:lnTo>
                  <a:pt x="56" y="1496"/>
                </a:lnTo>
                <a:lnTo>
                  <a:pt x="65" y="1493"/>
                </a:lnTo>
                <a:lnTo>
                  <a:pt x="73" y="1496"/>
                </a:lnTo>
                <a:lnTo>
                  <a:pt x="62" y="1501"/>
                </a:lnTo>
                <a:close/>
                <a:moveTo>
                  <a:pt x="58" y="1474"/>
                </a:moveTo>
                <a:lnTo>
                  <a:pt x="73" y="1479"/>
                </a:lnTo>
                <a:lnTo>
                  <a:pt x="63" y="1484"/>
                </a:lnTo>
                <a:lnTo>
                  <a:pt x="58" y="1474"/>
                </a:lnTo>
                <a:close/>
                <a:moveTo>
                  <a:pt x="117" y="1459"/>
                </a:moveTo>
                <a:lnTo>
                  <a:pt x="127" y="1469"/>
                </a:lnTo>
                <a:lnTo>
                  <a:pt x="127" y="1487"/>
                </a:lnTo>
                <a:lnTo>
                  <a:pt x="105" y="1493"/>
                </a:lnTo>
                <a:lnTo>
                  <a:pt x="97" y="1473"/>
                </a:lnTo>
                <a:lnTo>
                  <a:pt x="117" y="1459"/>
                </a:lnTo>
                <a:close/>
                <a:moveTo>
                  <a:pt x="77" y="1293"/>
                </a:moveTo>
                <a:lnTo>
                  <a:pt x="80" y="1300"/>
                </a:lnTo>
                <a:lnTo>
                  <a:pt x="90" y="1300"/>
                </a:lnTo>
                <a:lnTo>
                  <a:pt x="100" y="1332"/>
                </a:lnTo>
                <a:lnTo>
                  <a:pt x="83" y="1346"/>
                </a:lnTo>
                <a:lnTo>
                  <a:pt x="94" y="1360"/>
                </a:lnTo>
                <a:lnTo>
                  <a:pt x="85" y="1362"/>
                </a:lnTo>
                <a:lnTo>
                  <a:pt x="91" y="1383"/>
                </a:lnTo>
                <a:lnTo>
                  <a:pt x="83" y="1383"/>
                </a:lnTo>
                <a:lnTo>
                  <a:pt x="82" y="1397"/>
                </a:lnTo>
                <a:lnTo>
                  <a:pt x="58" y="1393"/>
                </a:lnTo>
                <a:lnTo>
                  <a:pt x="53" y="1383"/>
                </a:lnTo>
                <a:lnTo>
                  <a:pt x="63" y="1354"/>
                </a:lnTo>
                <a:lnTo>
                  <a:pt x="66" y="1304"/>
                </a:lnTo>
                <a:lnTo>
                  <a:pt x="77" y="1293"/>
                </a:lnTo>
                <a:close/>
                <a:moveTo>
                  <a:pt x="230" y="2106"/>
                </a:moveTo>
                <a:lnTo>
                  <a:pt x="239" y="2141"/>
                </a:lnTo>
                <a:lnTo>
                  <a:pt x="227" y="2136"/>
                </a:lnTo>
                <a:lnTo>
                  <a:pt x="227" y="2143"/>
                </a:lnTo>
                <a:lnTo>
                  <a:pt x="241" y="2158"/>
                </a:lnTo>
                <a:lnTo>
                  <a:pt x="219" y="2141"/>
                </a:lnTo>
                <a:lnTo>
                  <a:pt x="217" y="2129"/>
                </a:lnTo>
                <a:lnTo>
                  <a:pt x="227" y="2124"/>
                </a:lnTo>
                <a:lnTo>
                  <a:pt x="226" y="2115"/>
                </a:lnTo>
                <a:lnTo>
                  <a:pt x="230" y="2106"/>
                </a:lnTo>
                <a:close/>
                <a:moveTo>
                  <a:pt x="170" y="2126"/>
                </a:moveTo>
                <a:lnTo>
                  <a:pt x="179" y="2144"/>
                </a:lnTo>
                <a:lnTo>
                  <a:pt x="185" y="2136"/>
                </a:lnTo>
                <a:lnTo>
                  <a:pt x="195" y="2140"/>
                </a:lnTo>
                <a:lnTo>
                  <a:pt x="201" y="2151"/>
                </a:lnTo>
                <a:lnTo>
                  <a:pt x="205" y="2149"/>
                </a:lnTo>
                <a:lnTo>
                  <a:pt x="210" y="2160"/>
                </a:lnTo>
                <a:lnTo>
                  <a:pt x="201" y="2165"/>
                </a:lnTo>
                <a:lnTo>
                  <a:pt x="179" y="2154"/>
                </a:lnTo>
                <a:lnTo>
                  <a:pt x="178" y="2161"/>
                </a:lnTo>
                <a:lnTo>
                  <a:pt x="159" y="2149"/>
                </a:lnTo>
                <a:lnTo>
                  <a:pt x="156" y="2132"/>
                </a:lnTo>
                <a:lnTo>
                  <a:pt x="170" y="2126"/>
                </a:lnTo>
                <a:close/>
                <a:moveTo>
                  <a:pt x="90" y="2090"/>
                </a:moveTo>
                <a:lnTo>
                  <a:pt x="111" y="2098"/>
                </a:lnTo>
                <a:lnTo>
                  <a:pt x="125" y="2095"/>
                </a:lnTo>
                <a:lnTo>
                  <a:pt x="133" y="2107"/>
                </a:lnTo>
                <a:lnTo>
                  <a:pt x="141" y="2106"/>
                </a:lnTo>
                <a:lnTo>
                  <a:pt x="153" y="2117"/>
                </a:lnTo>
                <a:lnTo>
                  <a:pt x="154" y="2126"/>
                </a:lnTo>
                <a:lnTo>
                  <a:pt x="148" y="2126"/>
                </a:lnTo>
                <a:lnTo>
                  <a:pt x="144" y="2143"/>
                </a:lnTo>
                <a:lnTo>
                  <a:pt x="136" y="2137"/>
                </a:lnTo>
                <a:lnTo>
                  <a:pt x="136" y="2146"/>
                </a:lnTo>
                <a:lnTo>
                  <a:pt x="122" y="2146"/>
                </a:lnTo>
                <a:lnTo>
                  <a:pt x="127" y="2141"/>
                </a:lnTo>
                <a:lnTo>
                  <a:pt x="103" y="2134"/>
                </a:lnTo>
                <a:lnTo>
                  <a:pt x="105" y="2121"/>
                </a:lnTo>
                <a:lnTo>
                  <a:pt x="97" y="2117"/>
                </a:lnTo>
                <a:lnTo>
                  <a:pt x="87" y="2094"/>
                </a:lnTo>
                <a:lnTo>
                  <a:pt x="90" y="2090"/>
                </a:lnTo>
                <a:close/>
                <a:moveTo>
                  <a:pt x="43" y="1963"/>
                </a:moveTo>
                <a:lnTo>
                  <a:pt x="45" y="1985"/>
                </a:lnTo>
                <a:lnTo>
                  <a:pt x="40" y="1992"/>
                </a:lnTo>
                <a:lnTo>
                  <a:pt x="37" y="1982"/>
                </a:lnTo>
                <a:lnTo>
                  <a:pt x="43" y="1963"/>
                </a:lnTo>
                <a:close/>
                <a:moveTo>
                  <a:pt x="41" y="2041"/>
                </a:moveTo>
                <a:lnTo>
                  <a:pt x="112" y="2089"/>
                </a:lnTo>
                <a:lnTo>
                  <a:pt x="96" y="2086"/>
                </a:lnTo>
                <a:lnTo>
                  <a:pt x="79" y="2077"/>
                </a:lnTo>
                <a:lnTo>
                  <a:pt x="49" y="2061"/>
                </a:lnTo>
                <a:lnTo>
                  <a:pt x="41" y="2041"/>
                </a:lnTo>
                <a:close/>
                <a:moveTo>
                  <a:pt x="85" y="2018"/>
                </a:moveTo>
                <a:lnTo>
                  <a:pt x="85" y="2033"/>
                </a:lnTo>
                <a:lnTo>
                  <a:pt x="79" y="2036"/>
                </a:lnTo>
                <a:lnTo>
                  <a:pt x="80" y="2027"/>
                </a:lnTo>
                <a:lnTo>
                  <a:pt x="77" y="2029"/>
                </a:lnTo>
                <a:lnTo>
                  <a:pt x="74" y="2021"/>
                </a:lnTo>
                <a:lnTo>
                  <a:pt x="85" y="2018"/>
                </a:lnTo>
                <a:close/>
                <a:moveTo>
                  <a:pt x="94" y="2001"/>
                </a:moveTo>
                <a:lnTo>
                  <a:pt x="114" y="1993"/>
                </a:lnTo>
                <a:lnTo>
                  <a:pt x="120" y="2009"/>
                </a:lnTo>
                <a:lnTo>
                  <a:pt x="127" y="1987"/>
                </a:lnTo>
                <a:lnTo>
                  <a:pt x="133" y="1990"/>
                </a:lnTo>
                <a:lnTo>
                  <a:pt x="136" y="2009"/>
                </a:lnTo>
                <a:lnTo>
                  <a:pt x="122" y="2033"/>
                </a:lnTo>
                <a:lnTo>
                  <a:pt x="142" y="2053"/>
                </a:lnTo>
                <a:lnTo>
                  <a:pt x="162" y="2036"/>
                </a:lnTo>
                <a:lnTo>
                  <a:pt x="185" y="2038"/>
                </a:lnTo>
                <a:lnTo>
                  <a:pt x="188" y="2052"/>
                </a:lnTo>
                <a:lnTo>
                  <a:pt x="141" y="2078"/>
                </a:lnTo>
                <a:lnTo>
                  <a:pt x="142" y="2098"/>
                </a:lnTo>
                <a:lnTo>
                  <a:pt x="136" y="2095"/>
                </a:lnTo>
                <a:lnTo>
                  <a:pt x="112" y="2073"/>
                </a:lnTo>
                <a:lnTo>
                  <a:pt x="133" y="2073"/>
                </a:lnTo>
                <a:lnTo>
                  <a:pt x="124" y="2056"/>
                </a:lnTo>
                <a:lnTo>
                  <a:pt x="117" y="2063"/>
                </a:lnTo>
                <a:lnTo>
                  <a:pt x="105" y="2063"/>
                </a:lnTo>
                <a:lnTo>
                  <a:pt x="107" y="2055"/>
                </a:lnTo>
                <a:lnTo>
                  <a:pt x="90" y="2041"/>
                </a:lnTo>
                <a:lnTo>
                  <a:pt x="94" y="2001"/>
                </a:lnTo>
                <a:close/>
                <a:moveTo>
                  <a:pt x="85" y="1950"/>
                </a:moveTo>
                <a:lnTo>
                  <a:pt x="87" y="1963"/>
                </a:lnTo>
                <a:lnTo>
                  <a:pt x="77" y="1942"/>
                </a:lnTo>
                <a:lnTo>
                  <a:pt x="85" y="1950"/>
                </a:lnTo>
                <a:close/>
                <a:moveTo>
                  <a:pt x="70" y="1960"/>
                </a:moveTo>
                <a:lnTo>
                  <a:pt x="79" y="1975"/>
                </a:lnTo>
                <a:lnTo>
                  <a:pt x="66" y="1968"/>
                </a:lnTo>
                <a:lnTo>
                  <a:pt x="65" y="1954"/>
                </a:lnTo>
                <a:lnTo>
                  <a:pt x="70" y="1960"/>
                </a:lnTo>
                <a:close/>
                <a:moveTo>
                  <a:pt x="31" y="1993"/>
                </a:moveTo>
                <a:lnTo>
                  <a:pt x="28" y="1993"/>
                </a:lnTo>
                <a:lnTo>
                  <a:pt x="28" y="1982"/>
                </a:lnTo>
                <a:lnTo>
                  <a:pt x="32" y="1960"/>
                </a:lnTo>
                <a:lnTo>
                  <a:pt x="36" y="1975"/>
                </a:lnTo>
                <a:lnTo>
                  <a:pt x="31" y="1993"/>
                </a:lnTo>
                <a:close/>
                <a:moveTo>
                  <a:pt x="31" y="1942"/>
                </a:moveTo>
                <a:lnTo>
                  <a:pt x="43" y="1923"/>
                </a:lnTo>
                <a:lnTo>
                  <a:pt x="46" y="1937"/>
                </a:lnTo>
                <a:lnTo>
                  <a:pt x="31" y="1942"/>
                </a:lnTo>
                <a:close/>
                <a:moveTo>
                  <a:pt x="53" y="1908"/>
                </a:moveTo>
                <a:lnTo>
                  <a:pt x="49" y="1925"/>
                </a:lnTo>
                <a:lnTo>
                  <a:pt x="43" y="1920"/>
                </a:lnTo>
                <a:lnTo>
                  <a:pt x="34" y="1902"/>
                </a:lnTo>
                <a:lnTo>
                  <a:pt x="34" y="1885"/>
                </a:lnTo>
                <a:lnTo>
                  <a:pt x="49" y="1894"/>
                </a:lnTo>
                <a:lnTo>
                  <a:pt x="53" y="1908"/>
                </a:lnTo>
                <a:close/>
                <a:moveTo>
                  <a:pt x="51" y="1887"/>
                </a:moveTo>
                <a:lnTo>
                  <a:pt x="46" y="1885"/>
                </a:lnTo>
                <a:lnTo>
                  <a:pt x="40" y="1865"/>
                </a:lnTo>
                <a:lnTo>
                  <a:pt x="60" y="1883"/>
                </a:lnTo>
                <a:lnTo>
                  <a:pt x="65" y="1897"/>
                </a:lnTo>
                <a:lnTo>
                  <a:pt x="51" y="1887"/>
                </a:lnTo>
                <a:close/>
                <a:moveTo>
                  <a:pt x="9" y="1860"/>
                </a:moveTo>
                <a:lnTo>
                  <a:pt x="9" y="1852"/>
                </a:lnTo>
                <a:lnTo>
                  <a:pt x="32" y="1853"/>
                </a:lnTo>
                <a:lnTo>
                  <a:pt x="28" y="1872"/>
                </a:lnTo>
                <a:lnTo>
                  <a:pt x="17" y="1863"/>
                </a:lnTo>
                <a:lnTo>
                  <a:pt x="11" y="1866"/>
                </a:lnTo>
                <a:lnTo>
                  <a:pt x="9" y="1860"/>
                </a:lnTo>
                <a:close/>
                <a:moveTo>
                  <a:pt x="2" y="1816"/>
                </a:moveTo>
                <a:lnTo>
                  <a:pt x="7" y="1812"/>
                </a:lnTo>
                <a:lnTo>
                  <a:pt x="15" y="1826"/>
                </a:lnTo>
                <a:lnTo>
                  <a:pt x="6" y="1828"/>
                </a:lnTo>
                <a:lnTo>
                  <a:pt x="2" y="1816"/>
                </a:lnTo>
                <a:close/>
                <a:moveTo>
                  <a:pt x="26" y="1765"/>
                </a:moveTo>
                <a:lnTo>
                  <a:pt x="26" y="1753"/>
                </a:lnTo>
                <a:lnTo>
                  <a:pt x="36" y="1745"/>
                </a:lnTo>
                <a:lnTo>
                  <a:pt x="48" y="1762"/>
                </a:lnTo>
                <a:lnTo>
                  <a:pt x="51" y="1823"/>
                </a:lnTo>
                <a:lnTo>
                  <a:pt x="46" y="1840"/>
                </a:lnTo>
                <a:lnTo>
                  <a:pt x="37" y="1841"/>
                </a:lnTo>
                <a:lnTo>
                  <a:pt x="32" y="1833"/>
                </a:lnTo>
                <a:lnTo>
                  <a:pt x="34" y="1804"/>
                </a:lnTo>
                <a:lnTo>
                  <a:pt x="15" y="1789"/>
                </a:lnTo>
                <a:lnTo>
                  <a:pt x="26" y="1790"/>
                </a:lnTo>
                <a:lnTo>
                  <a:pt x="28" y="1781"/>
                </a:lnTo>
                <a:lnTo>
                  <a:pt x="17" y="1775"/>
                </a:lnTo>
                <a:lnTo>
                  <a:pt x="26" y="1765"/>
                </a:lnTo>
                <a:close/>
                <a:moveTo>
                  <a:pt x="4" y="1739"/>
                </a:moveTo>
                <a:lnTo>
                  <a:pt x="4" y="1731"/>
                </a:lnTo>
                <a:lnTo>
                  <a:pt x="9" y="1730"/>
                </a:lnTo>
                <a:lnTo>
                  <a:pt x="12" y="1739"/>
                </a:lnTo>
                <a:lnTo>
                  <a:pt x="6" y="1750"/>
                </a:lnTo>
                <a:lnTo>
                  <a:pt x="4" y="1739"/>
                </a:lnTo>
                <a:close/>
                <a:moveTo>
                  <a:pt x="29" y="1727"/>
                </a:moveTo>
                <a:lnTo>
                  <a:pt x="40" y="1728"/>
                </a:lnTo>
                <a:lnTo>
                  <a:pt x="48" y="1741"/>
                </a:lnTo>
                <a:lnTo>
                  <a:pt x="31" y="1735"/>
                </a:lnTo>
                <a:lnTo>
                  <a:pt x="29" y="1727"/>
                </a:lnTo>
                <a:close/>
                <a:moveTo>
                  <a:pt x="6" y="1710"/>
                </a:moveTo>
                <a:lnTo>
                  <a:pt x="4" y="1702"/>
                </a:lnTo>
                <a:lnTo>
                  <a:pt x="11" y="1699"/>
                </a:lnTo>
                <a:lnTo>
                  <a:pt x="23" y="1736"/>
                </a:lnTo>
                <a:lnTo>
                  <a:pt x="6" y="1710"/>
                </a:lnTo>
                <a:close/>
                <a:moveTo>
                  <a:pt x="19" y="1704"/>
                </a:moveTo>
                <a:lnTo>
                  <a:pt x="34" y="1710"/>
                </a:lnTo>
                <a:lnTo>
                  <a:pt x="36" y="1718"/>
                </a:lnTo>
                <a:lnTo>
                  <a:pt x="29" y="1721"/>
                </a:lnTo>
                <a:lnTo>
                  <a:pt x="19" y="1704"/>
                </a:lnTo>
                <a:close/>
                <a:moveTo>
                  <a:pt x="26" y="1677"/>
                </a:moveTo>
                <a:lnTo>
                  <a:pt x="23" y="1685"/>
                </a:lnTo>
                <a:lnTo>
                  <a:pt x="12" y="1685"/>
                </a:lnTo>
                <a:lnTo>
                  <a:pt x="26" y="1677"/>
                </a:lnTo>
                <a:close/>
                <a:moveTo>
                  <a:pt x="58" y="1682"/>
                </a:moveTo>
                <a:lnTo>
                  <a:pt x="43" y="1679"/>
                </a:lnTo>
                <a:lnTo>
                  <a:pt x="43" y="1674"/>
                </a:lnTo>
                <a:lnTo>
                  <a:pt x="49" y="1667"/>
                </a:lnTo>
                <a:lnTo>
                  <a:pt x="58" y="1682"/>
                </a:lnTo>
                <a:close/>
                <a:moveTo>
                  <a:pt x="260" y="2229"/>
                </a:moveTo>
                <a:lnTo>
                  <a:pt x="329" y="2214"/>
                </a:lnTo>
                <a:lnTo>
                  <a:pt x="337" y="2225"/>
                </a:lnTo>
                <a:lnTo>
                  <a:pt x="339" y="2236"/>
                </a:lnTo>
                <a:lnTo>
                  <a:pt x="342" y="2241"/>
                </a:lnTo>
                <a:lnTo>
                  <a:pt x="345" y="2251"/>
                </a:lnTo>
                <a:lnTo>
                  <a:pt x="353" y="2273"/>
                </a:lnTo>
                <a:lnTo>
                  <a:pt x="332" y="2253"/>
                </a:lnTo>
                <a:lnTo>
                  <a:pt x="319" y="2256"/>
                </a:lnTo>
                <a:lnTo>
                  <a:pt x="302" y="2237"/>
                </a:lnTo>
                <a:lnTo>
                  <a:pt x="288" y="2242"/>
                </a:lnTo>
                <a:lnTo>
                  <a:pt x="302" y="2259"/>
                </a:lnTo>
                <a:lnTo>
                  <a:pt x="286" y="2259"/>
                </a:lnTo>
                <a:lnTo>
                  <a:pt x="275" y="2244"/>
                </a:lnTo>
                <a:lnTo>
                  <a:pt x="286" y="2233"/>
                </a:lnTo>
                <a:lnTo>
                  <a:pt x="263" y="2239"/>
                </a:lnTo>
                <a:lnTo>
                  <a:pt x="260" y="2229"/>
                </a:lnTo>
                <a:close/>
                <a:moveTo>
                  <a:pt x="295" y="2216"/>
                </a:moveTo>
                <a:lnTo>
                  <a:pt x="266" y="2222"/>
                </a:lnTo>
                <a:lnTo>
                  <a:pt x="263" y="2211"/>
                </a:lnTo>
                <a:lnTo>
                  <a:pt x="295" y="2216"/>
                </a:lnTo>
                <a:close/>
                <a:moveTo>
                  <a:pt x="239" y="2237"/>
                </a:moveTo>
                <a:lnTo>
                  <a:pt x="227" y="2225"/>
                </a:lnTo>
                <a:lnTo>
                  <a:pt x="239" y="2227"/>
                </a:lnTo>
                <a:lnTo>
                  <a:pt x="239" y="2237"/>
                </a:lnTo>
                <a:close/>
                <a:moveTo>
                  <a:pt x="210" y="2224"/>
                </a:moveTo>
                <a:lnTo>
                  <a:pt x="219" y="2214"/>
                </a:lnTo>
                <a:lnTo>
                  <a:pt x="222" y="2222"/>
                </a:lnTo>
                <a:lnTo>
                  <a:pt x="210" y="2224"/>
                </a:lnTo>
                <a:close/>
                <a:moveTo>
                  <a:pt x="345" y="2217"/>
                </a:moveTo>
                <a:lnTo>
                  <a:pt x="336" y="2212"/>
                </a:lnTo>
                <a:lnTo>
                  <a:pt x="357" y="2208"/>
                </a:lnTo>
                <a:lnTo>
                  <a:pt x="386" y="2214"/>
                </a:lnTo>
                <a:lnTo>
                  <a:pt x="393" y="2233"/>
                </a:lnTo>
                <a:lnTo>
                  <a:pt x="383" y="2242"/>
                </a:lnTo>
                <a:lnTo>
                  <a:pt x="371" y="2234"/>
                </a:lnTo>
                <a:lnTo>
                  <a:pt x="363" y="2237"/>
                </a:lnTo>
                <a:lnTo>
                  <a:pt x="348" y="2233"/>
                </a:lnTo>
                <a:lnTo>
                  <a:pt x="345" y="2217"/>
                </a:lnTo>
                <a:close/>
                <a:moveTo>
                  <a:pt x="322" y="2207"/>
                </a:moveTo>
                <a:lnTo>
                  <a:pt x="302" y="2216"/>
                </a:lnTo>
                <a:lnTo>
                  <a:pt x="277" y="2203"/>
                </a:lnTo>
                <a:lnTo>
                  <a:pt x="215" y="2202"/>
                </a:lnTo>
                <a:lnTo>
                  <a:pt x="212" y="2197"/>
                </a:lnTo>
                <a:lnTo>
                  <a:pt x="219" y="2190"/>
                </a:lnTo>
                <a:lnTo>
                  <a:pt x="195" y="2190"/>
                </a:lnTo>
                <a:lnTo>
                  <a:pt x="193" y="2177"/>
                </a:lnTo>
                <a:lnTo>
                  <a:pt x="224" y="2165"/>
                </a:lnTo>
                <a:lnTo>
                  <a:pt x="212" y="2144"/>
                </a:lnTo>
                <a:lnTo>
                  <a:pt x="247" y="2173"/>
                </a:lnTo>
                <a:lnTo>
                  <a:pt x="255" y="2168"/>
                </a:lnTo>
                <a:lnTo>
                  <a:pt x="246" y="2161"/>
                </a:lnTo>
                <a:lnTo>
                  <a:pt x="251" y="2157"/>
                </a:lnTo>
                <a:lnTo>
                  <a:pt x="261" y="2168"/>
                </a:lnTo>
                <a:lnTo>
                  <a:pt x="263" y="2160"/>
                </a:lnTo>
                <a:lnTo>
                  <a:pt x="277" y="2169"/>
                </a:lnTo>
                <a:lnTo>
                  <a:pt x="286" y="2165"/>
                </a:lnTo>
                <a:lnTo>
                  <a:pt x="256" y="2149"/>
                </a:lnTo>
                <a:lnTo>
                  <a:pt x="249" y="2119"/>
                </a:lnTo>
                <a:lnTo>
                  <a:pt x="285" y="2103"/>
                </a:lnTo>
                <a:lnTo>
                  <a:pt x="286" y="2092"/>
                </a:lnTo>
                <a:lnTo>
                  <a:pt x="277" y="2086"/>
                </a:lnTo>
                <a:lnTo>
                  <a:pt x="249" y="2094"/>
                </a:lnTo>
                <a:lnTo>
                  <a:pt x="238" y="2086"/>
                </a:lnTo>
                <a:lnTo>
                  <a:pt x="236" y="2060"/>
                </a:lnTo>
                <a:lnTo>
                  <a:pt x="249" y="2061"/>
                </a:lnTo>
                <a:lnTo>
                  <a:pt x="251" y="2055"/>
                </a:lnTo>
                <a:lnTo>
                  <a:pt x="246" y="2046"/>
                </a:lnTo>
                <a:lnTo>
                  <a:pt x="238" y="2041"/>
                </a:lnTo>
                <a:lnTo>
                  <a:pt x="268" y="2039"/>
                </a:lnTo>
                <a:lnTo>
                  <a:pt x="273" y="2022"/>
                </a:lnTo>
                <a:lnTo>
                  <a:pt x="283" y="2019"/>
                </a:lnTo>
                <a:lnTo>
                  <a:pt x="290" y="2031"/>
                </a:lnTo>
                <a:lnTo>
                  <a:pt x="314" y="2026"/>
                </a:lnTo>
                <a:lnTo>
                  <a:pt x="319" y="2033"/>
                </a:lnTo>
                <a:lnTo>
                  <a:pt x="322" y="2207"/>
                </a:lnTo>
                <a:close/>
              </a:path>
            </a:pathLst>
          </a:custGeom>
          <a:solidFill>
            <a:schemeClr val="bg1">
              <a:lumMod val="95000"/>
            </a:schemeClr>
          </a:solidFill>
          <a:ln w="6350" cap="flat" cmpd="sng">
            <a:solidFill>
              <a:schemeClr val="bg1"/>
            </a:solid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
        <p:nvSpPr>
          <p:cNvPr id="80" name="Freeform 184">
            <a:extLst>
              <a:ext uri="{FF2B5EF4-FFF2-40B4-BE49-F238E27FC236}">
                <a16:creationId xmlns:a16="http://schemas.microsoft.com/office/drawing/2014/main" id="{0CDA1E93-498C-9049-948E-2741467CD605}"/>
              </a:ext>
            </a:extLst>
          </p:cNvPr>
          <p:cNvSpPr>
            <a:spLocks noChangeAspect="1" noEditPoints="1"/>
          </p:cNvSpPr>
          <p:nvPr/>
        </p:nvSpPr>
        <p:spPr bwMode="gray">
          <a:xfrm>
            <a:off x="7530751" y="1370588"/>
            <a:ext cx="1153212" cy="870237"/>
          </a:xfrm>
          <a:custGeom>
            <a:avLst/>
            <a:gdLst>
              <a:gd name="T0" fmla="*/ 238 w 1450"/>
              <a:gd name="T1" fmla="*/ 82 h 908"/>
              <a:gd name="T2" fmla="*/ 280 w 1450"/>
              <a:gd name="T3" fmla="*/ 184 h 908"/>
              <a:gd name="T4" fmla="*/ 361 w 1450"/>
              <a:gd name="T5" fmla="*/ 285 h 908"/>
              <a:gd name="T6" fmla="*/ 412 w 1450"/>
              <a:gd name="T7" fmla="*/ 356 h 908"/>
              <a:gd name="T8" fmla="*/ 463 w 1450"/>
              <a:gd name="T9" fmla="*/ 390 h 908"/>
              <a:gd name="T10" fmla="*/ 537 w 1450"/>
              <a:gd name="T11" fmla="*/ 477 h 908"/>
              <a:gd name="T12" fmla="*/ 607 w 1450"/>
              <a:gd name="T13" fmla="*/ 590 h 908"/>
              <a:gd name="T14" fmla="*/ 597 w 1450"/>
              <a:gd name="T15" fmla="*/ 661 h 908"/>
              <a:gd name="T16" fmla="*/ 739 w 1450"/>
              <a:gd name="T17" fmla="*/ 749 h 908"/>
              <a:gd name="T18" fmla="*/ 930 w 1450"/>
              <a:gd name="T19" fmla="*/ 837 h 908"/>
              <a:gd name="T20" fmla="*/ 1071 w 1450"/>
              <a:gd name="T21" fmla="*/ 832 h 908"/>
              <a:gd name="T22" fmla="*/ 1203 w 1450"/>
              <a:gd name="T23" fmla="*/ 883 h 908"/>
              <a:gd name="T24" fmla="*/ 1230 w 1450"/>
              <a:gd name="T25" fmla="*/ 775 h 908"/>
              <a:gd name="T26" fmla="*/ 1354 w 1450"/>
              <a:gd name="T27" fmla="*/ 749 h 908"/>
              <a:gd name="T28" fmla="*/ 1389 w 1450"/>
              <a:gd name="T29" fmla="*/ 721 h 908"/>
              <a:gd name="T30" fmla="*/ 1408 w 1450"/>
              <a:gd name="T31" fmla="*/ 676 h 908"/>
              <a:gd name="T32" fmla="*/ 1443 w 1450"/>
              <a:gd name="T33" fmla="*/ 607 h 908"/>
              <a:gd name="T34" fmla="*/ 1403 w 1450"/>
              <a:gd name="T35" fmla="*/ 569 h 908"/>
              <a:gd name="T36" fmla="*/ 1276 w 1450"/>
              <a:gd name="T37" fmla="*/ 644 h 908"/>
              <a:gd name="T38" fmla="*/ 1215 w 1450"/>
              <a:gd name="T39" fmla="*/ 721 h 908"/>
              <a:gd name="T40" fmla="*/ 1125 w 1450"/>
              <a:gd name="T41" fmla="*/ 726 h 908"/>
              <a:gd name="T42" fmla="*/ 1037 w 1450"/>
              <a:gd name="T43" fmla="*/ 704 h 908"/>
              <a:gd name="T44" fmla="*/ 966 w 1450"/>
              <a:gd name="T45" fmla="*/ 594 h 908"/>
              <a:gd name="T46" fmla="*/ 950 w 1450"/>
              <a:gd name="T47" fmla="*/ 481 h 908"/>
              <a:gd name="T48" fmla="*/ 975 w 1450"/>
              <a:gd name="T49" fmla="*/ 376 h 908"/>
              <a:gd name="T50" fmla="*/ 961 w 1450"/>
              <a:gd name="T51" fmla="*/ 356 h 908"/>
              <a:gd name="T52" fmla="*/ 869 w 1450"/>
              <a:gd name="T53" fmla="*/ 308 h 908"/>
              <a:gd name="T54" fmla="*/ 805 w 1450"/>
              <a:gd name="T55" fmla="*/ 189 h 908"/>
              <a:gd name="T56" fmla="*/ 692 w 1450"/>
              <a:gd name="T57" fmla="*/ 198 h 908"/>
              <a:gd name="T58" fmla="*/ 586 w 1450"/>
              <a:gd name="T59" fmla="*/ 93 h 908"/>
              <a:gd name="T60" fmla="*/ 498 w 1450"/>
              <a:gd name="T61" fmla="*/ 45 h 908"/>
              <a:gd name="T62" fmla="*/ 268 w 1450"/>
              <a:gd name="T63" fmla="*/ 45 h 908"/>
              <a:gd name="T64" fmla="*/ 92 w 1450"/>
              <a:gd name="T65" fmla="*/ 6 h 908"/>
              <a:gd name="T66" fmla="*/ 109 w 1450"/>
              <a:gd name="T67" fmla="*/ 124 h 908"/>
              <a:gd name="T68" fmla="*/ 197 w 1450"/>
              <a:gd name="T69" fmla="*/ 224 h 908"/>
              <a:gd name="T70" fmla="*/ 173 w 1450"/>
              <a:gd name="T71" fmla="*/ 261 h 908"/>
              <a:gd name="T72" fmla="*/ 181 w 1450"/>
              <a:gd name="T73" fmla="*/ 289 h 908"/>
              <a:gd name="T74" fmla="*/ 244 w 1450"/>
              <a:gd name="T75" fmla="*/ 319 h 908"/>
              <a:gd name="T76" fmla="*/ 282 w 1450"/>
              <a:gd name="T77" fmla="*/ 416 h 908"/>
              <a:gd name="T78" fmla="*/ 311 w 1450"/>
              <a:gd name="T79" fmla="*/ 427 h 908"/>
              <a:gd name="T80" fmla="*/ 405 w 1450"/>
              <a:gd name="T81" fmla="*/ 495 h 908"/>
              <a:gd name="T82" fmla="*/ 367 w 1450"/>
              <a:gd name="T83" fmla="*/ 446 h 908"/>
              <a:gd name="T84" fmla="*/ 341 w 1450"/>
              <a:gd name="T85" fmla="*/ 379 h 908"/>
              <a:gd name="T86" fmla="*/ 305 w 1450"/>
              <a:gd name="T87" fmla="*/ 325 h 908"/>
              <a:gd name="T88" fmla="*/ 261 w 1450"/>
              <a:gd name="T89" fmla="*/ 258 h 908"/>
              <a:gd name="T90" fmla="*/ 217 w 1450"/>
              <a:gd name="T91" fmla="*/ 182 h 908"/>
              <a:gd name="T92" fmla="*/ 163 w 1450"/>
              <a:gd name="T93" fmla="*/ 84 h 908"/>
              <a:gd name="T94" fmla="*/ 1450 w 1450"/>
              <a:gd name="T95" fmla="*/ 619 h 908"/>
              <a:gd name="T96" fmla="*/ 269 w 1450"/>
              <a:gd name="T97" fmla="*/ 207 h 908"/>
              <a:gd name="T98" fmla="*/ 241 w 1450"/>
              <a:gd name="T99" fmla="*/ 198 h 908"/>
              <a:gd name="T100" fmla="*/ 144 w 1450"/>
              <a:gd name="T101" fmla="*/ 248 h 908"/>
              <a:gd name="T102" fmla="*/ 967 w 1450"/>
              <a:gd name="T103" fmla="*/ 39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50" h="908">
                <a:moveTo>
                  <a:pt x="159" y="45"/>
                </a:moveTo>
                <a:lnTo>
                  <a:pt x="190" y="63"/>
                </a:lnTo>
                <a:lnTo>
                  <a:pt x="207" y="63"/>
                </a:lnTo>
                <a:lnTo>
                  <a:pt x="214" y="74"/>
                </a:lnTo>
                <a:lnTo>
                  <a:pt x="238" y="82"/>
                </a:lnTo>
                <a:lnTo>
                  <a:pt x="243" y="110"/>
                </a:lnTo>
                <a:lnTo>
                  <a:pt x="258" y="148"/>
                </a:lnTo>
                <a:lnTo>
                  <a:pt x="268" y="156"/>
                </a:lnTo>
                <a:lnTo>
                  <a:pt x="274" y="177"/>
                </a:lnTo>
                <a:lnTo>
                  <a:pt x="280" y="184"/>
                </a:lnTo>
                <a:lnTo>
                  <a:pt x="297" y="214"/>
                </a:lnTo>
                <a:lnTo>
                  <a:pt x="334" y="249"/>
                </a:lnTo>
                <a:lnTo>
                  <a:pt x="356" y="257"/>
                </a:lnTo>
                <a:lnTo>
                  <a:pt x="354" y="272"/>
                </a:lnTo>
                <a:lnTo>
                  <a:pt x="361" y="285"/>
                </a:lnTo>
                <a:lnTo>
                  <a:pt x="382" y="299"/>
                </a:lnTo>
                <a:lnTo>
                  <a:pt x="395" y="317"/>
                </a:lnTo>
                <a:lnTo>
                  <a:pt x="407" y="317"/>
                </a:lnTo>
                <a:lnTo>
                  <a:pt x="422" y="333"/>
                </a:lnTo>
                <a:lnTo>
                  <a:pt x="412" y="356"/>
                </a:lnTo>
                <a:lnTo>
                  <a:pt x="418" y="373"/>
                </a:lnTo>
                <a:lnTo>
                  <a:pt x="433" y="368"/>
                </a:lnTo>
                <a:lnTo>
                  <a:pt x="433" y="382"/>
                </a:lnTo>
                <a:lnTo>
                  <a:pt x="455" y="392"/>
                </a:lnTo>
                <a:lnTo>
                  <a:pt x="463" y="390"/>
                </a:lnTo>
                <a:lnTo>
                  <a:pt x="480" y="405"/>
                </a:lnTo>
                <a:lnTo>
                  <a:pt x="481" y="426"/>
                </a:lnTo>
                <a:lnTo>
                  <a:pt x="526" y="460"/>
                </a:lnTo>
                <a:lnTo>
                  <a:pt x="531" y="473"/>
                </a:lnTo>
                <a:lnTo>
                  <a:pt x="537" y="477"/>
                </a:lnTo>
                <a:lnTo>
                  <a:pt x="551" y="498"/>
                </a:lnTo>
                <a:lnTo>
                  <a:pt x="583" y="526"/>
                </a:lnTo>
                <a:lnTo>
                  <a:pt x="590" y="558"/>
                </a:lnTo>
                <a:lnTo>
                  <a:pt x="597" y="565"/>
                </a:lnTo>
                <a:lnTo>
                  <a:pt x="607" y="590"/>
                </a:lnTo>
                <a:lnTo>
                  <a:pt x="605" y="602"/>
                </a:lnTo>
                <a:lnTo>
                  <a:pt x="597" y="612"/>
                </a:lnTo>
                <a:lnTo>
                  <a:pt x="603" y="624"/>
                </a:lnTo>
                <a:lnTo>
                  <a:pt x="586" y="634"/>
                </a:lnTo>
                <a:lnTo>
                  <a:pt x="597" y="661"/>
                </a:lnTo>
                <a:lnTo>
                  <a:pt x="627" y="688"/>
                </a:lnTo>
                <a:lnTo>
                  <a:pt x="647" y="693"/>
                </a:lnTo>
                <a:lnTo>
                  <a:pt x="668" y="709"/>
                </a:lnTo>
                <a:lnTo>
                  <a:pt x="688" y="734"/>
                </a:lnTo>
                <a:lnTo>
                  <a:pt x="739" y="749"/>
                </a:lnTo>
                <a:lnTo>
                  <a:pt x="756" y="751"/>
                </a:lnTo>
                <a:lnTo>
                  <a:pt x="803" y="786"/>
                </a:lnTo>
                <a:lnTo>
                  <a:pt x="894" y="819"/>
                </a:lnTo>
                <a:lnTo>
                  <a:pt x="902" y="817"/>
                </a:lnTo>
                <a:lnTo>
                  <a:pt x="930" y="837"/>
                </a:lnTo>
                <a:lnTo>
                  <a:pt x="958" y="848"/>
                </a:lnTo>
                <a:lnTo>
                  <a:pt x="981" y="849"/>
                </a:lnTo>
                <a:lnTo>
                  <a:pt x="1004" y="859"/>
                </a:lnTo>
                <a:lnTo>
                  <a:pt x="1021" y="859"/>
                </a:lnTo>
                <a:lnTo>
                  <a:pt x="1071" y="832"/>
                </a:lnTo>
                <a:lnTo>
                  <a:pt x="1100" y="835"/>
                </a:lnTo>
                <a:lnTo>
                  <a:pt x="1139" y="852"/>
                </a:lnTo>
                <a:lnTo>
                  <a:pt x="1199" y="908"/>
                </a:lnTo>
                <a:lnTo>
                  <a:pt x="1205" y="890"/>
                </a:lnTo>
                <a:lnTo>
                  <a:pt x="1203" y="883"/>
                </a:lnTo>
                <a:lnTo>
                  <a:pt x="1232" y="835"/>
                </a:lnTo>
                <a:lnTo>
                  <a:pt x="1278" y="834"/>
                </a:lnTo>
                <a:lnTo>
                  <a:pt x="1279" y="822"/>
                </a:lnTo>
                <a:lnTo>
                  <a:pt x="1265" y="803"/>
                </a:lnTo>
                <a:lnTo>
                  <a:pt x="1230" y="775"/>
                </a:lnTo>
                <a:lnTo>
                  <a:pt x="1259" y="775"/>
                </a:lnTo>
                <a:lnTo>
                  <a:pt x="1259" y="751"/>
                </a:lnTo>
                <a:lnTo>
                  <a:pt x="1303" y="751"/>
                </a:lnTo>
                <a:lnTo>
                  <a:pt x="1338" y="751"/>
                </a:lnTo>
                <a:lnTo>
                  <a:pt x="1354" y="749"/>
                </a:lnTo>
                <a:lnTo>
                  <a:pt x="1367" y="726"/>
                </a:lnTo>
                <a:lnTo>
                  <a:pt x="1375" y="724"/>
                </a:lnTo>
                <a:lnTo>
                  <a:pt x="1386" y="705"/>
                </a:lnTo>
                <a:lnTo>
                  <a:pt x="1391" y="707"/>
                </a:lnTo>
                <a:lnTo>
                  <a:pt x="1389" y="721"/>
                </a:lnTo>
                <a:lnTo>
                  <a:pt x="1396" y="724"/>
                </a:lnTo>
                <a:lnTo>
                  <a:pt x="1396" y="744"/>
                </a:lnTo>
                <a:lnTo>
                  <a:pt x="1400" y="741"/>
                </a:lnTo>
                <a:lnTo>
                  <a:pt x="1414" y="684"/>
                </a:lnTo>
                <a:lnTo>
                  <a:pt x="1408" y="676"/>
                </a:lnTo>
                <a:lnTo>
                  <a:pt x="1414" y="671"/>
                </a:lnTo>
                <a:lnTo>
                  <a:pt x="1414" y="667"/>
                </a:lnTo>
                <a:lnTo>
                  <a:pt x="1408" y="662"/>
                </a:lnTo>
                <a:lnTo>
                  <a:pt x="1426" y="624"/>
                </a:lnTo>
                <a:lnTo>
                  <a:pt x="1443" y="607"/>
                </a:lnTo>
                <a:lnTo>
                  <a:pt x="1447" y="590"/>
                </a:lnTo>
                <a:lnTo>
                  <a:pt x="1440" y="573"/>
                </a:lnTo>
                <a:lnTo>
                  <a:pt x="1414" y="569"/>
                </a:lnTo>
                <a:lnTo>
                  <a:pt x="1403" y="580"/>
                </a:lnTo>
                <a:lnTo>
                  <a:pt x="1403" y="569"/>
                </a:lnTo>
                <a:lnTo>
                  <a:pt x="1389" y="566"/>
                </a:lnTo>
                <a:lnTo>
                  <a:pt x="1352" y="578"/>
                </a:lnTo>
                <a:lnTo>
                  <a:pt x="1312" y="582"/>
                </a:lnTo>
                <a:lnTo>
                  <a:pt x="1284" y="594"/>
                </a:lnTo>
                <a:lnTo>
                  <a:pt x="1276" y="644"/>
                </a:lnTo>
                <a:lnTo>
                  <a:pt x="1262" y="681"/>
                </a:lnTo>
                <a:lnTo>
                  <a:pt x="1241" y="696"/>
                </a:lnTo>
                <a:lnTo>
                  <a:pt x="1242" y="712"/>
                </a:lnTo>
                <a:lnTo>
                  <a:pt x="1227" y="721"/>
                </a:lnTo>
                <a:lnTo>
                  <a:pt x="1215" y="721"/>
                </a:lnTo>
                <a:lnTo>
                  <a:pt x="1211" y="712"/>
                </a:lnTo>
                <a:lnTo>
                  <a:pt x="1190" y="710"/>
                </a:lnTo>
                <a:lnTo>
                  <a:pt x="1186" y="712"/>
                </a:lnTo>
                <a:lnTo>
                  <a:pt x="1165" y="721"/>
                </a:lnTo>
                <a:lnTo>
                  <a:pt x="1125" y="726"/>
                </a:lnTo>
                <a:lnTo>
                  <a:pt x="1106" y="735"/>
                </a:lnTo>
                <a:lnTo>
                  <a:pt x="1094" y="735"/>
                </a:lnTo>
                <a:lnTo>
                  <a:pt x="1071" y="713"/>
                </a:lnTo>
                <a:lnTo>
                  <a:pt x="1057" y="713"/>
                </a:lnTo>
                <a:lnTo>
                  <a:pt x="1037" y="704"/>
                </a:lnTo>
                <a:lnTo>
                  <a:pt x="1018" y="687"/>
                </a:lnTo>
                <a:lnTo>
                  <a:pt x="1004" y="650"/>
                </a:lnTo>
                <a:lnTo>
                  <a:pt x="981" y="622"/>
                </a:lnTo>
                <a:lnTo>
                  <a:pt x="969" y="602"/>
                </a:lnTo>
                <a:lnTo>
                  <a:pt x="966" y="594"/>
                </a:lnTo>
                <a:lnTo>
                  <a:pt x="971" y="583"/>
                </a:lnTo>
                <a:lnTo>
                  <a:pt x="969" y="574"/>
                </a:lnTo>
                <a:lnTo>
                  <a:pt x="954" y="558"/>
                </a:lnTo>
                <a:lnTo>
                  <a:pt x="947" y="541"/>
                </a:lnTo>
                <a:lnTo>
                  <a:pt x="950" y="481"/>
                </a:lnTo>
                <a:lnTo>
                  <a:pt x="942" y="418"/>
                </a:lnTo>
                <a:lnTo>
                  <a:pt x="953" y="402"/>
                </a:lnTo>
                <a:lnTo>
                  <a:pt x="954" y="385"/>
                </a:lnTo>
                <a:lnTo>
                  <a:pt x="969" y="384"/>
                </a:lnTo>
                <a:lnTo>
                  <a:pt x="975" y="376"/>
                </a:lnTo>
                <a:lnTo>
                  <a:pt x="978" y="363"/>
                </a:lnTo>
                <a:lnTo>
                  <a:pt x="969" y="371"/>
                </a:lnTo>
                <a:lnTo>
                  <a:pt x="975" y="356"/>
                </a:lnTo>
                <a:lnTo>
                  <a:pt x="976" y="354"/>
                </a:lnTo>
                <a:lnTo>
                  <a:pt x="961" y="356"/>
                </a:lnTo>
                <a:lnTo>
                  <a:pt x="945" y="348"/>
                </a:lnTo>
                <a:lnTo>
                  <a:pt x="922" y="346"/>
                </a:lnTo>
                <a:lnTo>
                  <a:pt x="899" y="337"/>
                </a:lnTo>
                <a:lnTo>
                  <a:pt x="885" y="329"/>
                </a:lnTo>
                <a:lnTo>
                  <a:pt x="869" y="308"/>
                </a:lnTo>
                <a:lnTo>
                  <a:pt x="857" y="266"/>
                </a:lnTo>
                <a:lnTo>
                  <a:pt x="842" y="257"/>
                </a:lnTo>
                <a:lnTo>
                  <a:pt x="835" y="241"/>
                </a:lnTo>
                <a:lnTo>
                  <a:pt x="822" y="228"/>
                </a:lnTo>
                <a:lnTo>
                  <a:pt x="805" y="189"/>
                </a:lnTo>
                <a:lnTo>
                  <a:pt x="778" y="160"/>
                </a:lnTo>
                <a:lnTo>
                  <a:pt x="769" y="152"/>
                </a:lnTo>
                <a:lnTo>
                  <a:pt x="724" y="150"/>
                </a:lnTo>
                <a:lnTo>
                  <a:pt x="713" y="155"/>
                </a:lnTo>
                <a:lnTo>
                  <a:pt x="692" y="198"/>
                </a:lnTo>
                <a:lnTo>
                  <a:pt x="673" y="192"/>
                </a:lnTo>
                <a:lnTo>
                  <a:pt x="636" y="167"/>
                </a:lnTo>
                <a:lnTo>
                  <a:pt x="624" y="150"/>
                </a:lnTo>
                <a:lnTo>
                  <a:pt x="611" y="108"/>
                </a:lnTo>
                <a:lnTo>
                  <a:pt x="586" y="93"/>
                </a:lnTo>
                <a:lnTo>
                  <a:pt x="563" y="67"/>
                </a:lnTo>
                <a:lnTo>
                  <a:pt x="552" y="62"/>
                </a:lnTo>
                <a:lnTo>
                  <a:pt x="548" y="51"/>
                </a:lnTo>
                <a:lnTo>
                  <a:pt x="534" y="45"/>
                </a:lnTo>
                <a:lnTo>
                  <a:pt x="498" y="45"/>
                </a:lnTo>
                <a:lnTo>
                  <a:pt x="459" y="45"/>
                </a:lnTo>
                <a:lnTo>
                  <a:pt x="458" y="70"/>
                </a:lnTo>
                <a:lnTo>
                  <a:pt x="382" y="70"/>
                </a:lnTo>
                <a:lnTo>
                  <a:pt x="334" y="70"/>
                </a:lnTo>
                <a:lnTo>
                  <a:pt x="268" y="45"/>
                </a:lnTo>
                <a:lnTo>
                  <a:pt x="202" y="21"/>
                </a:lnTo>
                <a:lnTo>
                  <a:pt x="158" y="4"/>
                </a:lnTo>
                <a:lnTo>
                  <a:pt x="158" y="0"/>
                </a:lnTo>
                <a:lnTo>
                  <a:pt x="126" y="3"/>
                </a:lnTo>
                <a:lnTo>
                  <a:pt x="92" y="6"/>
                </a:lnTo>
                <a:lnTo>
                  <a:pt x="53" y="8"/>
                </a:lnTo>
                <a:lnTo>
                  <a:pt x="79" y="46"/>
                </a:lnTo>
                <a:lnTo>
                  <a:pt x="79" y="60"/>
                </a:lnTo>
                <a:lnTo>
                  <a:pt x="102" y="99"/>
                </a:lnTo>
                <a:lnTo>
                  <a:pt x="109" y="124"/>
                </a:lnTo>
                <a:lnTo>
                  <a:pt x="114" y="122"/>
                </a:lnTo>
                <a:lnTo>
                  <a:pt x="122" y="156"/>
                </a:lnTo>
                <a:lnTo>
                  <a:pt x="148" y="175"/>
                </a:lnTo>
                <a:lnTo>
                  <a:pt x="155" y="175"/>
                </a:lnTo>
                <a:lnTo>
                  <a:pt x="197" y="224"/>
                </a:lnTo>
                <a:lnTo>
                  <a:pt x="198" y="248"/>
                </a:lnTo>
                <a:lnTo>
                  <a:pt x="192" y="252"/>
                </a:lnTo>
                <a:lnTo>
                  <a:pt x="193" y="260"/>
                </a:lnTo>
                <a:lnTo>
                  <a:pt x="187" y="257"/>
                </a:lnTo>
                <a:lnTo>
                  <a:pt x="173" y="261"/>
                </a:lnTo>
                <a:lnTo>
                  <a:pt x="155" y="260"/>
                </a:lnTo>
                <a:lnTo>
                  <a:pt x="155" y="265"/>
                </a:lnTo>
                <a:lnTo>
                  <a:pt x="159" y="265"/>
                </a:lnTo>
                <a:lnTo>
                  <a:pt x="176" y="275"/>
                </a:lnTo>
                <a:lnTo>
                  <a:pt x="181" y="289"/>
                </a:lnTo>
                <a:lnTo>
                  <a:pt x="197" y="294"/>
                </a:lnTo>
                <a:lnTo>
                  <a:pt x="221" y="312"/>
                </a:lnTo>
                <a:lnTo>
                  <a:pt x="231" y="314"/>
                </a:lnTo>
                <a:lnTo>
                  <a:pt x="241" y="303"/>
                </a:lnTo>
                <a:lnTo>
                  <a:pt x="244" y="319"/>
                </a:lnTo>
                <a:lnTo>
                  <a:pt x="254" y="333"/>
                </a:lnTo>
                <a:lnTo>
                  <a:pt x="275" y="342"/>
                </a:lnTo>
                <a:lnTo>
                  <a:pt x="286" y="365"/>
                </a:lnTo>
                <a:lnTo>
                  <a:pt x="288" y="390"/>
                </a:lnTo>
                <a:lnTo>
                  <a:pt x="282" y="416"/>
                </a:lnTo>
                <a:lnTo>
                  <a:pt x="286" y="410"/>
                </a:lnTo>
                <a:lnTo>
                  <a:pt x="288" y="416"/>
                </a:lnTo>
                <a:lnTo>
                  <a:pt x="299" y="418"/>
                </a:lnTo>
                <a:lnTo>
                  <a:pt x="302" y="426"/>
                </a:lnTo>
                <a:lnTo>
                  <a:pt x="311" y="427"/>
                </a:lnTo>
                <a:lnTo>
                  <a:pt x="319" y="439"/>
                </a:lnTo>
                <a:lnTo>
                  <a:pt x="363" y="472"/>
                </a:lnTo>
                <a:lnTo>
                  <a:pt x="373" y="481"/>
                </a:lnTo>
                <a:lnTo>
                  <a:pt x="385" y="509"/>
                </a:lnTo>
                <a:lnTo>
                  <a:pt x="405" y="495"/>
                </a:lnTo>
                <a:lnTo>
                  <a:pt x="410" y="483"/>
                </a:lnTo>
                <a:lnTo>
                  <a:pt x="407" y="477"/>
                </a:lnTo>
                <a:lnTo>
                  <a:pt x="393" y="455"/>
                </a:lnTo>
                <a:lnTo>
                  <a:pt x="375" y="439"/>
                </a:lnTo>
                <a:lnTo>
                  <a:pt x="367" y="446"/>
                </a:lnTo>
                <a:lnTo>
                  <a:pt x="358" y="439"/>
                </a:lnTo>
                <a:lnTo>
                  <a:pt x="351" y="424"/>
                </a:lnTo>
                <a:lnTo>
                  <a:pt x="351" y="410"/>
                </a:lnTo>
                <a:lnTo>
                  <a:pt x="341" y="393"/>
                </a:lnTo>
                <a:lnTo>
                  <a:pt x="341" y="379"/>
                </a:lnTo>
                <a:lnTo>
                  <a:pt x="325" y="363"/>
                </a:lnTo>
                <a:lnTo>
                  <a:pt x="322" y="339"/>
                </a:lnTo>
                <a:lnTo>
                  <a:pt x="312" y="317"/>
                </a:lnTo>
                <a:lnTo>
                  <a:pt x="300" y="311"/>
                </a:lnTo>
                <a:lnTo>
                  <a:pt x="305" y="325"/>
                </a:lnTo>
                <a:lnTo>
                  <a:pt x="299" y="319"/>
                </a:lnTo>
                <a:lnTo>
                  <a:pt x="294" y="300"/>
                </a:lnTo>
                <a:lnTo>
                  <a:pt x="283" y="292"/>
                </a:lnTo>
                <a:lnTo>
                  <a:pt x="278" y="275"/>
                </a:lnTo>
                <a:lnTo>
                  <a:pt x="261" y="258"/>
                </a:lnTo>
                <a:lnTo>
                  <a:pt x="254" y="229"/>
                </a:lnTo>
                <a:lnTo>
                  <a:pt x="246" y="224"/>
                </a:lnTo>
                <a:lnTo>
                  <a:pt x="238" y="206"/>
                </a:lnTo>
                <a:lnTo>
                  <a:pt x="226" y="203"/>
                </a:lnTo>
                <a:lnTo>
                  <a:pt x="217" y="182"/>
                </a:lnTo>
                <a:lnTo>
                  <a:pt x="192" y="158"/>
                </a:lnTo>
                <a:lnTo>
                  <a:pt x="185" y="158"/>
                </a:lnTo>
                <a:lnTo>
                  <a:pt x="173" y="136"/>
                </a:lnTo>
                <a:lnTo>
                  <a:pt x="168" y="96"/>
                </a:lnTo>
                <a:lnTo>
                  <a:pt x="163" y="84"/>
                </a:lnTo>
                <a:lnTo>
                  <a:pt x="159" y="45"/>
                </a:lnTo>
                <a:close/>
                <a:moveTo>
                  <a:pt x="1450" y="619"/>
                </a:moveTo>
                <a:lnTo>
                  <a:pt x="1443" y="620"/>
                </a:lnTo>
                <a:lnTo>
                  <a:pt x="1439" y="633"/>
                </a:lnTo>
                <a:lnTo>
                  <a:pt x="1450" y="619"/>
                </a:lnTo>
                <a:close/>
                <a:moveTo>
                  <a:pt x="269" y="195"/>
                </a:moveTo>
                <a:lnTo>
                  <a:pt x="271" y="187"/>
                </a:lnTo>
                <a:lnTo>
                  <a:pt x="277" y="189"/>
                </a:lnTo>
                <a:lnTo>
                  <a:pt x="280" y="209"/>
                </a:lnTo>
                <a:lnTo>
                  <a:pt x="269" y="207"/>
                </a:lnTo>
                <a:lnTo>
                  <a:pt x="269" y="195"/>
                </a:lnTo>
                <a:close/>
                <a:moveTo>
                  <a:pt x="241" y="198"/>
                </a:moveTo>
                <a:lnTo>
                  <a:pt x="238" y="198"/>
                </a:lnTo>
                <a:lnTo>
                  <a:pt x="221" y="170"/>
                </a:lnTo>
                <a:lnTo>
                  <a:pt x="241" y="198"/>
                </a:lnTo>
                <a:close/>
                <a:moveTo>
                  <a:pt x="0" y="198"/>
                </a:moveTo>
                <a:lnTo>
                  <a:pt x="2" y="190"/>
                </a:lnTo>
                <a:lnTo>
                  <a:pt x="3" y="206"/>
                </a:lnTo>
                <a:lnTo>
                  <a:pt x="0" y="198"/>
                </a:lnTo>
                <a:close/>
                <a:moveTo>
                  <a:pt x="144" y="248"/>
                </a:moveTo>
                <a:lnTo>
                  <a:pt x="139" y="243"/>
                </a:lnTo>
                <a:lnTo>
                  <a:pt x="146" y="231"/>
                </a:lnTo>
                <a:lnTo>
                  <a:pt x="144" y="248"/>
                </a:lnTo>
                <a:close/>
                <a:moveTo>
                  <a:pt x="964" y="387"/>
                </a:moveTo>
                <a:lnTo>
                  <a:pt x="967" y="396"/>
                </a:lnTo>
                <a:lnTo>
                  <a:pt x="962" y="401"/>
                </a:lnTo>
                <a:lnTo>
                  <a:pt x="961" y="393"/>
                </a:lnTo>
                <a:lnTo>
                  <a:pt x="964" y="387"/>
                </a:lnTo>
                <a:close/>
              </a:path>
            </a:pathLst>
          </a:custGeom>
          <a:solidFill>
            <a:schemeClr val="bg1">
              <a:lumMod val="95000"/>
            </a:schemeClr>
          </a:solidFill>
          <a:ln w="6350" cap="flat" cmpd="sng">
            <a:noFill/>
            <a:prstDash val="solid"/>
            <a:round/>
            <a:headEnd type="none" w="med" len="med"/>
            <a:tailEnd type="none" w="med" len="med"/>
          </a:ln>
          <a:effectLst/>
        </p:spPr>
        <p:txBody>
          <a:bodyPr/>
          <a:lstStyle/>
          <a:p>
            <a:pPr marL="0" marR="0" lvl="0" indent="0" algn="l" defTabSz="702027" rtl="0" eaLnBrk="1" fontAlgn="auto" latinLnBrk="0" hangingPunct="1">
              <a:lnSpc>
                <a:spcPct val="100000"/>
              </a:lnSpc>
              <a:spcBef>
                <a:spcPts val="0"/>
              </a:spcBef>
              <a:spcAft>
                <a:spcPts val="0"/>
              </a:spcAft>
              <a:buClrTx/>
              <a:buSzTx/>
              <a:buFontTx/>
              <a:buNone/>
              <a:tabLst/>
              <a:defRPr/>
            </a:pPr>
            <a:endParaRPr kumimoji="0" lang="en-GB" sz="1400" u="none" strike="noStrike" kern="0" cap="none" spc="0" normalizeH="0" baseline="0" noProof="0" dirty="0">
              <a:ln>
                <a:noFill/>
              </a:ln>
              <a:solidFill>
                <a:sysClr val="windowText" lastClr="000000"/>
              </a:solidFill>
              <a:effectLst/>
              <a:uLnTx/>
              <a:uFillTx/>
              <a:latin typeface="Roboto Light" panose="02000000000000000000" pitchFamily="2" charset="0"/>
              <a:ea typeface="Roboto Light" panose="02000000000000000000" pitchFamily="2" charset="0"/>
              <a:cs typeface="Roboto Light" panose="02000000000000000000" pitchFamily="2" charset="0"/>
            </a:endParaRPr>
          </a:p>
        </p:txBody>
      </p:sp>
    </p:spTree>
    <p:extLst>
      <p:ext uri="{BB962C8B-B14F-4D97-AF65-F5344CB8AC3E}">
        <p14:creationId xmlns:p14="http://schemas.microsoft.com/office/powerpoint/2010/main" val="32399083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think-cell data - do not delete" hidden="1">
            <a:extLst>
              <a:ext uri="{FF2B5EF4-FFF2-40B4-BE49-F238E27FC236}">
                <a16:creationId xmlns:a16="http://schemas.microsoft.com/office/drawing/2014/main" id="{045DE559-9D65-B389-5FE2-CCA2333558F2}"/>
              </a:ext>
            </a:extLst>
          </p:cNvPr>
          <p:cNvGraphicFramePr>
            <a:graphicFrameLocks noChangeAspect="1"/>
          </p:cNvGraphicFramePr>
          <p:nvPr>
            <p:custDataLst>
              <p:tags r:id="rId1"/>
            </p:custDataLst>
            <p:extLst>
              <p:ext uri="{D42A27DB-BD31-4B8C-83A1-F6EECF244321}">
                <p14:modId xmlns:p14="http://schemas.microsoft.com/office/powerpoint/2010/main" val="2189780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5" imgW="425" imgH="424" progId="TCLayout.ActiveDocument.1">
                  <p:embed/>
                </p:oleObj>
              </mc:Choice>
              <mc:Fallback>
                <p:oleObj name="think-cell Slide" r:id="rId75" imgW="425" imgH="424" progId="TCLayout.ActiveDocument.1">
                  <p:embed/>
                  <p:pic>
                    <p:nvPicPr>
                      <p:cNvPr id="74" name="think-cell data - do not delete" hidden="1">
                        <a:extLst>
                          <a:ext uri="{FF2B5EF4-FFF2-40B4-BE49-F238E27FC236}">
                            <a16:creationId xmlns:a16="http://schemas.microsoft.com/office/drawing/2014/main" id="{045DE559-9D65-B389-5FE2-CCA2333558F2}"/>
                          </a:ext>
                        </a:extLst>
                      </p:cNvPr>
                      <p:cNvPicPr/>
                      <p:nvPr/>
                    </p:nvPicPr>
                    <p:blipFill>
                      <a:blip r:embed="rId7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465BC217-414A-194A-A8B2-2CD80B7F4C60}"/>
              </a:ext>
            </a:extLst>
          </p:cNvPr>
          <p:cNvSpPr>
            <a:spLocks noGrp="1"/>
          </p:cNvSpPr>
          <p:nvPr>
            <p:ph type="body" sz="quarter" idx="10"/>
          </p:nvPr>
        </p:nvSpPr>
        <p:spPr/>
        <p:txBody>
          <a:bodyPr/>
          <a:lstStyle/>
          <a:p>
            <a:r>
              <a:rPr lang="en-US" dirty="0"/>
              <a:t>This is our preferred icon style</a:t>
            </a:r>
          </a:p>
        </p:txBody>
      </p:sp>
      <p:sp>
        <p:nvSpPr>
          <p:cNvPr id="3" name="Title 2">
            <a:extLst>
              <a:ext uri="{FF2B5EF4-FFF2-40B4-BE49-F238E27FC236}">
                <a16:creationId xmlns:a16="http://schemas.microsoft.com/office/drawing/2014/main" id="{FB27D475-087D-3345-AB76-051E78367223}"/>
              </a:ext>
            </a:extLst>
          </p:cNvPr>
          <p:cNvSpPr>
            <a:spLocks noGrp="1"/>
          </p:cNvSpPr>
          <p:nvPr>
            <p:ph type="title"/>
          </p:nvPr>
        </p:nvSpPr>
        <p:spPr/>
        <p:txBody>
          <a:bodyPr vert="horz"/>
          <a:lstStyle/>
          <a:p>
            <a:r>
              <a:rPr lang="en-US" dirty="0"/>
              <a:t>Icons</a:t>
            </a:r>
          </a:p>
        </p:txBody>
      </p:sp>
      <p:sp>
        <p:nvSpPr>
          <p:cNvPr id="64" name="Text Placeholder 63">
            <a:extLst>
              <a:ext uri="{FF2B5EF4-FFF2-40B4-BE49-F238E27FC236}">
                <a16:creationId xmlns:a16="http://schemas.microsoft.com/office/drawing/2014/main" id="{70BF4017-A3DD-3DDC-9DFD-ABD8DF069AE4}"/>
              </a:ext>
            </a:extLst>
          </p:cNvPr>
          <p:cNvSpPr>
            <a:spLocks noGrp="1"/>
          </p:cNvSpPr>
          <p:nvPr>
            <p:ph type="body" sz="quarter" idx="27"/>
          </p:nvPr>
        </p:nvSpPr>
        <p:spPr/>
        <p:txBody>
          <a:bodyPr/>
          <a:lstStyle/>
          <a:p>
            <a:endParaRPr lang="nl-NL"/>
          </a:p>
        </p:txBody>
      </p:sp>
      <p:pic>
        <p:nvPicPr>
          <p:cNvPr id="5" name="Clarity successful media brands">
            <a:extLst>
              <a:ext uri="{FF2B5EF4-FFF2-40B4-BE49-F238E27FC236}">
                <a16:creationId xmlns:a16="http://schemas.microsoft.com/office/drawing/2014/main" id="{2A46254E-D4F7-494E-8751-33052F9D68A3}"/>
              </a:ext>
            </a:extLst>
          </p:cNvPr>
          <p:cNvPicPr>
            <a:picLocks noChangeAspect="1"/>
          </p:cNvPicPr>
          <p:nvPr>
            <p:custDataLst>
              <p:tags r:id="rId2"/>
            </p:custDataLst>
          </p:nvPr>
        </p:nvPicPr>
        <p:blipFill>
          <a:blip r:embed="rId77" cstate="print">
            <a:extLst>
              <a:ext uri="{28A0092B-C50C-407E-A947-70E740481C1C}">
                <a14:useLocalDpi xmlns:a14="http://schemas.microsoft.com/office/drawing/2010/main" val="0"/>
              </a:ext>
              <a:ext uri="{96DAC541-7B7A-43D3-8B79-37D633B846F1}">
                <asvg:svgBlip xmlns:asvg="http://schemas.microsoft.com/office/drawing/2016/SVG/main" r:embed="rId78"/>
              </a:ext>
            </a:extLst>
          </a:blip>
          <a:stretch>
            <a:fillRect/>
          </a:stretch>
        </p:blipFill>
        <p:spPr>
          <a:xfrm>
            <a:off x="2115311" y="1772940"/>
            <a:ext cx="540000" cy="540000"/>
          </a:xfrm>
          <a:prstGeom prst="rect">
            <a:avLst/>
          </a:prstGeom>
        </p:spPr>
      </p:pic>
      <p:pic>
        <p:nvPicPr>
          <p:cNvPr id="6" name="Clarity star">
            <a:extLst>
              <a:ext uri="{FF2B5EF4-FFF2-40B4-BE49-F238E27FC236}">
                <a16:creationId xmlns:a16="http://schemas.microsoft.com/office/drawing/2014/main" id="{F7718082-F312-184A-808F-54C63658150E}"/>
              </a:ext>
            </a:extLst>
          </p:cNvPr>
          <p:cNvPicPr>
            <a:picLocks noChangeAspect="1"/>
          </p:cNvPicPr>
          <p:nvPr>
            <p:custDataLst>
              <p:tags r:id="rId3"/>
            </p:custDataLst>
          </p:nvPr>
        </p:nvPicPr>
        <p:blipFill>
          <a:blip r:embed="rId79" cstate="print">
            <a:extLst>
              <a:ext uri="{28A0092B-C50C-407E-A947-70E740481C1C}">
                <a14:useLocalDpi xmlns:a14="http://schemas.microsoft.com/office/drawing/2010/main" val="0"/>
              </a:ext>
              <a:ext uri="{96DAC541-7B7A-43D3-8B79-37D633B846F1}">
                <asvg:svgBlip xmlns:asvg="http://schemas.microsoft.com/office/drawing/2016/SVG/main" r:embed="rId80"/>
              </a:ext>
            </a:extLst>
          </a:blip>
          <a:stretch>
            <a:fillRect/>
          </a:stretch>
        </p:blipFill>
        <p:spPr>
          <a:xfrm>
            <a:off x="2873882" y="1772940"/>
            <a:ext cx="540000" cy="540000"/>
          </a:xfrm>
          <a:prstGeom prst="rect">
            <a:avLst/>
          </a:prstGeom>
        </p:spPr>
      </p:pic>
      <p:pic>
        <p:nvPicPr>
          <p:cNvPr id="7" name="Clarity staff customer client">
            <a:extLst>
              <a:ext uri="{FF2B5EF4-FFF2-40B4-BE49-F238E27FC236}">
                <a16:creationId xmlns:a16="http://schemas.microsoft.com/office/drawing/2014/main" id="{BD5A5ADA-DAF8-E446-9133-E92A082CCF3D}"/>
              </a:ext>
            </a:extLst>
          </p:cNvPr>
          <p:cNvPicPr>
            <a:picLocks noChangeAspect="1"/>
          </p:cNvPicPr>
          <p:nvPr>
            <p:custDataLst>
              <p:tags r:id="rId4"/>
            </p:custDataLst>
          </p:nvPr>
        </p:nvPicPr>
        <p:blipFill>
          <a:blip r:embed="rId81" cstate="print">
            <a:extLst>
              <a:ext uri="{28A0092B-C50C-407E-A947-70E740481C1C}">
                <a14:useLocalDpi xmlns:a14="http://schemas.microsoft.com/office/drawing/2010/main" val="0"/>
              </a:ext>
              <a:ext uri="{96DAC541-7B7A-43D3-8B79-37D633B846F1}">
                <asvg:svgBlip xmlns:asvg="http://schemas.microsoft.com/office/drawing/2016/SVG/main" r:embed="rId82"/>
              </a:ext>
            </a:extLst>
          </a:blip>
          <a:stretch>
            <a:fillRect/>
          </a:stretch>
        </p:blipFill>
        <p:spPr>
          <a:xfrm>
            <a:off x="3600527" y="1772940"/>
            <a:ext cx="540000" cy="540000"/>
          </a:xfrm>
          <a:prstGeom prst="rect">
            <a:avLst/>
          </a:prstGeom>
        </p:spPr>
      </p:pic>
      <p:pic>
        <p:nvPicPr>
          <p:cNvPr id="8" name="Clarity sport entertainment">
            <a:extLst>
              <a:ext uri="{FF2B5EF4-FFF2-40B4-BE49-F238E27FC236}">
                <a16:creationId xmlns:a16="http://schemas.microsoft.com/office/drawing/2014/main" id="{DAFBD8B8-EC1E-E64D-B345-E2D72354D08A}"/>
              </a:ext>
            </a:extLst>
          </p:cNvPr>
          <p:cNvPicPr>
            <a:picLocks noChangeAspect="1"/>
          </p:cNvPicPr>
          <p:nvPr>
            <p:custDataLst>
              <p:tags r:id="rId5"/>
            </p:custDataLst>
          </p:nvPr>
        </p:nvPicPr>
        <p:blipFill>
          <a:blip r:embed="rId83" cstate="print">
            <a:extLst>
              <a:ext uri="{28A0092B-C50C-407E-A947-70E740481C1C}">
                <a14:useLocalDpi xmlns:a14="http://schemas.microsoft.com/office/drawing/2010/main" val="0"/>
              </a:ext>
              <a:ext uri="{96DAC541-7B7A-43D3-8B79-37D633B846F1}">
                <asvg:svgBlip xmlns:asvg="http://schemas.microsoft.com/office/drawing/2016/SVG/main" r:embed="rId84"/>
              </a:ext>
            </a:extLst>
          </a:blip>
          <a:stretch>
            <a:fillRect/>
          </a:stretch>
        </p:blipFill>
        <p:spPr>
          <a:xfrm>
            <a:off x="4337975" y="1772940"/>
            <a:ext cx="540000" cy="540000"/>
          </a:xfrm>
          <a:prstGeom prst="rect">
            <a:avLst/>
          </a:prstGeom>
        </p:spPr>
      </p:pic>
      <p:pic>
        <p:nvPicPr>
          <p:cNvPr id="9" name="Clarity solutions">
            <a:extLst>
              <a:ext uri="{FF2B5EF4-FFF2-40B4-BE49-F238E27FC236}">
                <a16:creationId xmlns:a16="http://schemas.microsoft.com/office/drawing/2014/main" id="{14142CC5-D625-E341-B77B-363561BD74E6}"/>
              </a:ext>
            </a:extLst>
          </p:cNvPr>
          <p:cNvPicPr>
            <a:picLocks noChangeAspect="1"/>
          </p:cNvPicPr>
          <p:nvPr>
            <p:custDataLst>
              <p:tags r:id="rId6"/>
            </p:custDataLst>
          </p:nvPr>
        </p:nvPicPr>
        <p:blipFill>
          <a:blip r:embed="rId85" cstate="print">
            <a:extLst>
              <a:ext uri="{28A0092B-C50C-407E-A947-70E740481C1C}">
                <a14:useLocalDpi xmlns:a14="http://schemas.microsoft.com/office/drawing/2010/main" val="0"/>
              </a:ext>
              <a:ext uri="{96DAC541-7B7A-43D3-8B79-37D633B846F1}">
                <asvg:svgBlip xmlns:asvg="http://schemas.microsoft.com/office/drawing/2016/SVG/main" r:embed="rId86"/>
              </a:ext>
            </a:extLst>
          </a:blip>
          <a:stretch>
            <a:fillRect/>
          </a:stretch>
        </p:blipFill>
        <p:spPr>
          <a:xfrm>
            <a:off x="5120400" y="1772940"/>
            <a:ext cx="540000" cy="540000"/>
          </a:xfrm>
          <a:prstGeom prst="rect">
            <a:avLst/>
          </a:prstGeom>
        </p:spPr>
      </p:pic>
      <p:pic>
        <p:nvPicPr>
          <p:cNvPr id="10" name="Clarity social media">
            <a:extLst>
              <a:ext uri="{FF2B5EF4-FFF2-40B4-BE49-F238E27FC236}">
                <a16:creationId xmlns:a16="http://schemas.microsoft.com/office/drawing/2014/main" id="{BA0C2A0E-0302-BE4C-9192-ED843FBEC4D9}"/>
              </a:ext>
            </a:extLst>
          </p:cNvPr>
          <p:cNvPicPr>
            <a:picLocks noChangeAspect="1"/>
          </p:cNvPicPr>
          <p:nvPr>
            <p:custDataLst>
              <p:tags r:id="rId7"/>
            </p:custDataLst>
          </p:nvPr>
        </p:nvPicPr>
        <p:blipFill>
          <a:blip r:embed="rId87" cstate="print">
            <a:extLst>
              <a:ext uri="{28A0092B-C50C-407E-A947-70E740481C1C}">
                <a14:useLocalDpi xmlns:a14="http://schemas.microsoft.com/office/drawing/2010/main" val="0"/>
              </a:ext>
              <a:ext uri="{96DAC541-7B7A-43D3-8B79-37D633B846F1}">
                <asvg:svgBlip xmlns:asvg="http://schemas.microsoft.com/office/drawing/2016/SVG/main" r:embed="rId88"/>
              </a:ext>
            </a:extLst>
          </a:blip>
          <a:stretch>
            <a:fillRect/>
          </a:stretch>
        </p:blipFill>
        <p:spPr>
          <a:xfrm>
            <a:off x="5875728" y="1772940"/>
            <a:ext cx="540000" cy="540000"/>
          </a:xfrm>
          <a:prstGeom prst="rect">
            <a:avLst/>
          </a:prstGeom>
        </p:spPr>
      </p:pic>
      <p:pic>
        <p:nvPicPr>
          <p:cNvPr id="11" name="Clarity value do the right thing">
            <a:extLst>
              <a:ext uri="{FF2B5EF4-FFF2-40B4-BE49-F238E27FC236}">
                <a16:creationId xmlns:a16="http://schemas.microsoft.com/office/drawing/2014/main" id="{7BBC07A9-9BCF-8F46-A95A-0CEFCD5E3C90}"/>
              </a:ext>
            </a:extLst>
          </p:cNvPr>
          <p:cNvPicPr>
            <a:picLocks noChangeAspect="1"/>
          </p:cNvPicPr>
          <p:nvPr>
            <p:custDataLst>
              <p:tags r:id="rId8"/>
            </p:custDataLst>
          </p:nvPr>
        </p:nvPicPr>
        <p:blipFill>
          <a:blip r:embed="rId89" cstate="print">
            <a:extLst>
              <a:ext uri="{28A0092B-C50C-407E-A947-70E740481C1C}">
                <a14:useLocalDpi xmlns:a14="http://schemas.microsoft.com/office/drawing/2010/main" val="0"/>
              </a:ext>
              <a:ext uri="{96DAC541-7B7A-43D3-8B79-37D633B846F1}">
                <asvg:svgBlip xmlns:asvg="http://schemas.microsoft.com/office/drawing/2016/SVG/main" r:embed="rId90"/>
              </a:ext>
            </a:extLst>
          </a:blip>
          <a:stretch>
            <a:fillRect/>
          </a:stretch>
        </p:blipFill>
        <p:spPr>
          <a:xfrm>
            <a:off x="597323" y="2457669"/>
            <a:ext cx="540000" cy="540000"/>
          </a:xfrm>
          <a:prstGeom prst="rect">
            <a:avLst/>
          </a:prstGeom>
        </p:spPr>
      </p:pic>
      <p:pic>
        <p:nvPicPr>
          <p:cNvPr id="12" name="Clarity value demand excellence">
            <a:extLst>
              <a:ext uri="{FF2B5EF4-FFF2-40B4-BE49-F238E27FC236}">
                <a16:creationId xmlns:a16="http://schemas.microsoft.com/office/drawing/2014/main" id="{C6BC5518-E6DF-AD4C-9F03-D330075E3AAC}"/>
              </a:ext>
            </a:extLst>
          </p:cNvPr>
          <p:cNvPicPr>
            <a:picLocks noChangeAspect="1"/>
          </p:cNvPicPr>
          <p:nvPr>
            <p:custDataLst>
              <p:tags r:id="rId9"/>
            </p:custDataLst>
          </p:nvPr>
        </p:nvPicPr>
        <p:blipFill>
          <a:blip r:embed="rId91" cstate="print">
            <a:extLst>
              <a:ext uri="{28A0092B-C50C-407E-A947-70E740481C1C}">
                <a14:useLocalDpi xmlns:a14="http://schemas.microsoft.com/office/drawing/2010/main" val="0"/>
              </a:ext>
              <a:ext uri="{96DAC541-7B7A-43D3-8B79-37D633B846F1}">
                <asvg:svgBlip xmlns:asvg="http://schemas.microsoft.com/office/drawing/2016/SVG/main" r:embed="rId92"/>
              </a:ext>
            </a:extLst>
          </a:blip>
          <a:stretch>
            <a:fillRect/>
          </a:stretch>
        </p:blipFill>
        <p:spPr>
          <a:xfrm>
            <a:off x="1330716" y="2457669"/>
            <a:ext cx="540000" cy="540000"/>
          </a:xfrm>
          <a:prstGeom prst="rect">
            <a:avLst/>
          </a:prstGeom>
        </p:spPr>
      </p:pic>
      <p:pic>
        <p:nvPicPr>
          <p:cNvPr id="13" name="Clarity value always growing">
            <a:extLst>
              <a:ext uri="{FF2B5EF4-FFF2-40B4-BE49-F238E27FC236}">
                <a16:creationId xmlns:a16="http://schemas.microsoft.com/office/drawing/2014/main" id="{82AE0ABA-CB3B-6344-8EF6-B2A2B665BDDF}"/>
              </a:ext>
            </a:extLst>
          </p:cNvPr>
          <p:cNvPicPr>
            <a:picLocks noChangeAspect="1"/>
          </p:cNvPicPr>
          <p:nvPr>
            <p:custDataLst>
              <p:tags r:id="rId10"/>
            </p:custDataLst>
          </p:nvPr>
        </p:nvPicPr>
        <p:blipFill>
          <a:blip r:embed="rId93" cstate="print">
            <a:extLst>
              <a:ext uri="{28A0092B-C50C-407E-A947-70E740481C1C}">
                <a14:useLocalDpi xmlns:a14="http://schemas.microsoft.com/office/drawing/2010/main" val="0"/>
              </a:ext>
              <a:ext uri="{96DAC541-7B7A-43D3-8B79-37D633B846F1}">
                <asvg:svgBlip xmlns:asvg="http://schemas.microsoft.com/office/drawing/2016/SVG/main" r:embed="rId94"/>
              </a:ext>
            </a:extLst>
          </a:blip>
          <a:stretch>
            <a:fillRect/>
          </a:stretch>
        </p:blipFill>
        <p:spPr>
          <a:xfrm>
            <a:off x="2873882" y="2457669"/>
            <a:ext cx="540000" cy="540000"/>
          </a:xfrm>
          <a:prstGeom prst="rect">
            <a:avLst/>
          </a:prstGeom>
        </p:spPr>
      </p:pic>
      <p:pic>
        <p:nvPicPr>
          <p:cNvPr id="14" name="Clarity v2x vehicle to everything">
            <a:extLst>
              <a:ext uri="{FF2B5EF4-FFF2-40B4-BE49-F238E27FC236}">
                <a16:creationId xmlns:a16="http://schemas.microsoft.com/office/drawing/2014/main" id="{9FDB7255-5114-1443-8743-FAEBFC2A77EA}"/>
              </a:ext>
            </a:extLst>
          </p:cNvPr>
          <p:cNvPicPr>
            <a:picLocks noChangeAspect="1"/>
          </p:cNvPicPr>
          <p:nvPr>
            <p:custDataLst>
              <p:tags r:id="rId11"/>
            </p:custDataLst>
          </p:nvPr>
        </p:nvPicPr>
        <p:blipFill>
          <a:blip r:embed="rId95" cstate="print">
            <a:extLst>
              <a:ext uri="{28A0092B-C50C-407E-A947-70E740481C1C}">
                <a14:useLocalDpi xmlns:a14="http://schemas.microsoft.com/office/drawing/2010/main" val="0"/>
              </a:ext>
              <a:ext uri="{96DAC541-7B7A-43D3-8B79-37D633B846F1}">
                <asvg:svgBlip xmlns:asvg="http://schemas.microsoft.com/office/drawing/2016/SVG/main" r:embed="rId96"/>
              </a:ext>
            </a:extLst>
          </a:blip>
          <a:stretch>
            <a:fillRect/>
          </a:stretch>
        </p:blipFill>
        <p:spPr>
          <a:xfrm>
            <a:off x="3600527" y="2457669"/>
            <a:ext cx="540000" cy="540000"/>
          </a:xfrm>
          <a:prstGeom prst="rect">
            <a:avLst/>
          </a:prstGeom>
        </p:spPr>
      </p:pic>
      <p:pic>
        <p:nvPicPr>
          <p:cNvPr id="15" name="Clarity use cases">
            <a:extLst>
              <a:ext uri="{FF2B5EF4-FFF2-40B4-BE49-F238E27FC236}">
                <a16:creationId xmlns:a16="http://schemas.microsoft.com/office/drawing/2014/main" id="{6F4DEF36-0104-234F-9495-C3DC72EC6EAC}"/>
              </a:ext>
            </a:extLst>
          </p:cNvPr>
          <p:cNvPicPr>
            <a:picLocks noChangeAspect="1"/>
          </p:cNvPicPr>
          <p:nvPr>
            <p:custDataLst>
              <p:tags r:id="rId12"/>
            </p:custDataLst>
          </p:nvPr>
        </p:nvPicPr>
        <p:blipFill>
          <a:blip r:embed="rId97" cstate="print">
            <a:extLst>
              <a:ext uri="{28A0092B-C50C-407E-A947-70E740481C1C}">
                <a14:useLocalDpi xmlns:a14="http://schemas.microsoft.com/office/drawing/2010/main" val="0"/>
              </a:ext>
              <a:ext uri="{96DAC541-7B7A-43D3-8B79-37D633B846F1}">
                <asvg:svgBlip xmlns:asvg="http://schemas.microsoft.com/office/drawing/2016/SVG/main" r:embed="rId98"/>
              </a:ext>
            </a:extLst>
          </a:blip>
          <a:stretch>
            <a:fillRect/>
          </a:stretch>
        </p:blipFill>
        <p:spPr>
          <a:xfrm>
            <a:off x="4337975" y="2457669"/>
            <a:ext cx="540000" cy="540000"/>
          </a:xfrm>
          <a:prstGeom prst="rect">
            <a:avLst/>
          </a:prstGeom>
        </p:spPr>
      </p:pic>
      <p:pic>
        <p:nvPicPr>
          <p:cNvPr id="16" name="Clarity umbrella 20 of the top 25 PC insurance  carriers">
            <a:extLst>
              <a:ext uri="{FF2B5EF4-FFF2-40B4-BE49-F238E27FC236}">
                <a16:creationId xmlns:a16="http://schemas.microsoft.com/office/drawing/2014/main" id="{45225613-42E7-524E-AA68-BE942CF2A83D}"/>
              </a:ext>
            </a:extLst>
          </p:cNvPr>
          <p:cNvPicPr>
            <a:picLocks noChangeAspect="1"/>
          </p:cNvPicPr>
          <p:nvPr>
            <p:custDataLst>
              <p:tags r:id="rId13"/>
            </p:custDataLst>
          </p:nvPr>
        </p:nvPicPr>
        <p:blipFill>
          <a:blip r:embed="rId99" cstate="print">
            <a:extLst>
              <a:ext uri="{28A0092B-C50C-407E-A947-70E740481C1C}">
                <a14:useLocalDpi xmlns:a14="http://schemas.microsoft.com/office/drawing/2010/main" val="0"/>
              </a:ext>
              <a:ext uri="{96DAC541-7B7A-43D3-8B79-37D633B846F1}">
                <asvg:svgBlip xmlns:asvg="http://schemas.microsoft.com/office/drawing/2016/SVG/main" r:embed="rId100"/>
              </a:ext>
            </a:extLst>
          </a:blip>
          <a:stretch>
            <a:fillRect/>
          </a:stretch>
        </p:blipFill>
        <p:spPr>
          <a:xfrm>
            <a:off x="5120400" y="2457669"/>
            <a:ext cx="540000" cy="540000"/>
          </a:xfrm>
          <a:prstGeom prst="rect">
            <a:avLst/>
          </a:prstGeom>
        </p:spPr>
      </p:pic>
      <p:pic>
        <p:nvPicPr>
          <p:cNvPr id="17" name="Clarity two circular arrows">
            <a:extLst>
              <a:ext uri="{FF2B5EF4-FFF2-40B4-BE49-F238E27FC236}">
                <a16:creationId xmlns:a16="http://schemas.microsoft.com/office/drawing/2014/main" id="{C6A36AF2-ED5A-4B40-878B-306F61C105F5}"/>
              </a:ext>
            </a:extLst>
          </p:cNvPr>
          <p:cNvPicPr>
            <a:picLocks noChangeAspect="1"/>
          </p:cNvPicPr>
          <p:nvPr>
            <p:custDataLst>
              <p:tags r:id="rId14"/>
            </p:custDataLst>
          </p:nvPr>
        </p:nvPicPr>
        <p:blipFill>
          <a:blip r:embed="rId101" cstate="print">
            <a:extLst>
              <a:ext uri="{28A0092B-C50C-407E-A947-70E740481C1C}">
                <a14:useLocalDpi xmlns:a14="http://schemas.microsoft.com/office/drawing/2010/main" val="0"/>
              </a:ext>
              <a:ext uri="{96DAC541-7B7A-43D3-8B79-37D633B846F1}">
                <asvg:svgBlip xmlns:asvg="http://schemas.microsoft.com/office/drawing/2016/SVG/main" r:embed="rId102"/>
              </a:ext>
            </a:extLst>
          </a:blip>
          <a:stretch>
            <a:fillRect/>
          </a:stretch>
        </p:blipFill>
        <p:spPr>
          <a:xfrm>
            <a:off x="5875728" y="2457669"/>
            <a:ext cx="540000" cy="540000"/>
          </a:xfrm>
          <a:prstGeom prst="rect">
            <a:avLst/>
          </a:prstGeom>
        </p:spPr>
      </p:pic>
      <p:pic>
        <p:nvPicPr>
          <p:cNvPr id="18" name="Clarity tesla">
            <a:extLst>
              <a:ext uri="{FF2B5EF4-FFF2-40B4-BE49-F238E27FC236}">
                <a16:creationId xmlns:a16="http://schemas.microsoft.com/office/drawing/2014/main" id="{729F3037-F48C-D54D-9871-7A3F53246266}"/>
              </a:ext>
            </a:extLst>
          </p:cNvPr>
          <p:cNvPicPr>
            <a:picLocks noChangeAspect="1"/>
          </p:cNvPicPr>
          <p:nvPr>
            <p:custDataLst>
              <p:tags r:id="rId15"/>
            </p:custDataLst>
          </p:nvPr>
        </p:nvPicPr>
        <p:blipFill>
          <a:blip r:embed="rId103" cstate="print">
            <a:extLst>
              <a:ext uri="{28A0092B-C50C-407E-A947-70E740481C1C}">
                <a14:useLocalDpi xmlns:a14="http://schemas.microsoft.com/office/drawing/2010/main" val="0"/>
              </a:ext>
              <a:ext uri="{96DAC541-7B7A-43D3-8B79-37D633B846F1}">
                <asvg:svgBlip xmlns:asvg="http://schemas.microsoft.com/office/drawing/2016/SVG/main" r:embed="rId104"/>
              </a:ext>
            </a:extLst>
          </a:blip>
          <a:stretch>
            <a:fillRect/>
          </a:stretch>
        </p:blipFill>
        <p:spPr>
          <a:xfrm>
            <a:off x="6603409" y="1772940"/>
            <a:ext cx="540000" cy="540000"/>
          </a:xfrm>
          <a:prstGeom prst="rect">
            <a:avLst/>
          </a:prstGeom>
        </p:spPr>
      </p:pic>
      <p:pic>
        <p:nvPicPr>
          <p:cNvPr id="19" name="Clarity teamwork">
            <a:extLst>
              <a:ext uri="{FF2B5EF4-FFF2-40B4-BE49-F238E27FC236}">
                <a16:creationId xmlns:a16="http://schemas.microsoft.com/office/drawing/2014/main" id="{CFDA8A7A-05E9-B74D-811B-AFFC9F641BE9}"/>
              </a:ext>
            </a:extLst>
          </p:cNvPr>
          <p:cNvPicPr>
            <a:picLocks noChangeAspect="1"/>
          </p:cNvPicPr>
          <p:nvPr>
            <p:custDataLst>
              <p:tags r:id="rId16"/>
            </p:custDataLst>
          </p:nvPr>
        </p:nvPicPr>
        <p:blipFill>
          <a:blip r:embed="rId105" cstate="print">
            <a:extLst>
              <a:ext uri="{28A0092B-C50C-407E-A947-70E740481C1C}">
                <a14:useLocalDpi xmlns:a14="http://schemas.microsoft.com/office/drawing/2010/main" val="0"/>
              </a:ext>
              <a:ext uri="{96DAC541-7B7A-43D3-8B79-37D633B846F1}">
                <asvg:svgBlip xmlns:asvg="http://schemas.microsoft.com/office/drawing/2016/SVG/main" r:embed="rId106"/>
              </a:ext>
            </a:extLst>
          </a:blip>
          <a:stretch>
            <a:fillRect/>
          </a:stretch>
        </p:blipFill>
        <p:spPr>
          <a:xfrm>
            <a:off x="2115311" y="2457669"/>
            <a:ext cx="540000" cy="540000"/>
          </a:xfrm>
          <a:prstGeom prst="rect">
            <a:avLst/>
          </a:prstGeom>
        </p:spPr>
      </p:pic>
      <p:pic>
        <p:nvPicPr>
          <p:cNvPr id="20" name="Clarity visualization mobile">
            <a:extLst>
              <a:ext uri="{FF2B5EF4-FFF2-40B4-BE49-F238E27FC236}">
                <a16:creationId xmlns:a16="http://schemas.microsoft.com/office/drawing/2014/main" id="{F62AD0D7-E4EB-1143-A1C4-BBAF26CB68A9}"/>
              </a:ext>
            </a:extLst>
          </p:cNvPr>
          <p:cNvPicPr>
            <a:picLocks noChangeAspect="1"/>
          </p:cNvPicPr>
          <p:nvPr>
            <p:custDataLst>
              <p:tags r:id="rId17"/>
            </p:custDataLst>
          </p:nvPr>
        </p:nvPicPr>
        <p:blipFill>
          <a:blip r:embed="rId107" cstate="print">
            <a:extLst>
              <a:ext uri="{28A0092B-C50C-407E-A947-70E740481C1C}">
                <a14:useLocalDpi xmlns:a14="http://schemas.microsoft.com/office/drawing/2010/main" val="0"/>
              </a:ext>
              <a:ext uri="{96DAC541-7B7A-43D3-8B79-37D633B846F1}">
                <asvg:svgBlip xmlns:asvg="http://schemas.microsoft.com/office/drawing/2016/SVG/main" r:embed="rId108"/>
              </a:ext>
            </a:extLst>
          </a:blip>
          <a:stretch>
            <a:fillRect/>
          </a:stretch>
        </p:blipFill>
        <p:spPr>
          <a:xfrm>
            <a:off x="597323" y="3179738"/>
            <a:ext cx="540000" cy="540000"/>
          </a:xfrm>
          <a:prstGeom prst="rect">
            <a:avLst/>
          </a:prstGeom>
        </p:spPr>
      </p:pic>
      <p:pic>
        <p:nvPicPr>
          <p:cNvPr id="21" name="Clarity value embrace the impossible rocket">
            <a:extLst>
              <a:ext uri="{FF2B5EF4-FFF2-40B4-BE49-F238E27FC236}">
                <a16:creationId xmlns:a16="http://schemas.microsoft.com/office/drawing/2014/main" id="{57F4D06D-D2FA-0542-AFE7-684A3853843A}"/>
              </a:ext>
            </a:extLst>
          </p:cNvPr>
          <p:cNvPicPr>
            <a:picLocks noChangeAspect="1"/>
          </p:cNvPicPr>
          <p:nvPr>
            <p:custDataLst>
              <p:tags r:id="rId18"/>
            </p:custDataLst>
          </p:nvPr>
        </p:nvPicPr>
        <p:blipFill>
          <a:blip r:embed="rId109" cstate="print">
            <a:extLst>
              <a:ext uri="{28A0092B-C50C-407E-A947-70E740481C1C}">
                <a14:useLocalDpi xmlns:a14="http://schemas.microsoft.com/office/drawing/2010/main" val="0"/>
              </a:ext>
              <a:ext uri="{96DAC541-7B7A-43D3-8B79-37D633B846F1}">
                <asvg:svgBlip xmlns:asvg="http://schemas.microsoft.com/office/drawing/2016/SVG/main" r:embed="rId110"/>
              </a:ext>
            </a:extLst>
          </a:blip>
          <a:stretch>
            <a:fillRect/>
          </a:stretch>
        </p:blipFill>
        <p:spPr>
          <a:xfrm>
            <a:off x="2115311" y="3179738"/>
            <a:ext cx="540000" cy="540000"/>
          </a:xfrm>
          <a:prstGeom prst="rect">
            <a:avLst/>
          </a:prstGeom>
        </p:spPr>
      </p:pic>
      <p:pic>
        <p:nvPicPr>
          <p:cNvPr id="22" name="Clarity value embrace the impossible mountain">
            <a:extLst>
              <a:ext uri="{FF2B5EF4-FFF2-40B4-BE49-F238E27FC236}">
                <a16:creationId xmlns:a16="http://schemas.microsoft.com/office/drawing/2014/main" id="{E5773889-A4D1-FA46-B72D-2F361350DB7B}"/>
              </a:ext>
            </a:extLst>
          </p:cNvPr>
          <p:cNvPicPr>
            <a:picLocks noChangeAspect="1"/>
          </p:cNvPicPr>
          <p:nvPr>
            <p:custDataLst>
              <p:tags r:id="rId19"/>
            </p:custDataLst>
          </p:nvPr>
        </p:nvPicPr>
        <p:blipFill>
          <a:blip r:embed="rId111" cstate="print">
            <a:extLst>
              <a:ext uri="{28A0092B-C50C-407E-A947-70E740481C1C}">
                <a14:useLocalDpi xmlns:a14="http://schemas.microsoft.com/office/drawing/2010/main" val="0"/>
              </a:ext>
              <a:ext uri="{96DAC541-7B7A-43D3-8B79-37D633B846F1}">
                <asvg:svgBlip xmlns:asvg="http://schemas.microsoft.com/office/drawing/2016/SVG/main" r:embed="rId112"/>
              </a:ext>
            </a:extLst>
          </a:blip>
          <a:stretch>
            <a:fillRect/>
          </a:stretch>
        </p:blipFill>
        <p:spPr>
          <a:xfrm>
            <a:off x="1330716" y="3179738"/>
            <a:ext cx="540000" cy="540000"/>
          </a:xfrm>
          <a:prstGeom prst="rect">
            <a:avLst/>
          </a:prstGeom>
        </p:spPr>
      </p:pic>
      <p:pic>
        <p:nvPicPr>
          <p:cNvPr id="23" name="Clarity industrial Some of the most recognizable industrial brands">
            <a:extLst>
              <a:ext uri="{FF2B5EF4-FFF2-40B4-BE49-F238E27FC236}">
                <a16:creationId xmlns:a16="http://schemas.microsoft.com/office/drawing/2014/main" id="{69EE2536-73BC-BA4E-A91E-2D358F61B503}"/>
              </a:ext>
            </a:extLst>
          </p:cNvPr>
          <p:cNvPicPr>
            <a:picLocks noChangeAspect="1"/>
          </p:cNvPicPr>
          <p:nvPr>
            <p:custDataLst>
              <p:tags r:id="rId20"/>
            </p:custDataLst>
          </p:nvPr>
        </p:nvPicPr>
        <p:blipFill>
          <a:blip r:embed="rId113" cstate="print">
            <a:extLst>
              <a:ext uri="{28A0092B-C50C-407E-A947-70E740481C1C}">
                <a14:useLocalDpi xmlns:a14="http://schemas.microsoft.com/office/drawing/2010/main" val="0"/>
              </a:ext>
              <a:ext uri="{96DAC541-7B7A-43D3-8B79-37D633B846F1}">
                <asvg:svgBlip xmlns:asvg="http://schemas.microsoft.com/office/drawing/2016/SVG/main" r:embed="rId114"/>
              </a:ext>
            </a:extLst>
          </a:blip>
          <a:stretch>
            <a:fillRect/>
          </a:stretch>
        </p:blipFill>
        <p:spPr>
          <a:xfrm>
            <a:off x="1330716" y="3879534"/>
            <a:ext cx="540000" cy="540000"/>
          </a:xfrm>
          <a:prstGeom prst="rect">
            <a:avLst/>
          </a:prstGeom>
        </p:spPr>
      </p:pic>
      <p:pic>
        <p:nvPicPr>
          <p:cNvPr id="24" name="Clarity industrial North American steel producer">
            <a:extLst>
              <a:ext uri="{FF2B5EF4-FFF2-40B4-BE49-F238E27FC236}">
                <a16:creationId xmlns:a16="http://schemas.microsoft.com/office/drawing/2014/main" id="{5CAC45BF-16D4-F447-84FC-6F2F29B76614}"/>
              </a:ext>
            </a:extLst>
          </p:cNvPr>
          <p:cNvPicPr>
            <a:picLocks noChangeAspect="1"/>
          </p:cNvPicPr>
          <p:nvPr>
            <p:custDataLst>
              <p:tags r:id="rId21"/>
            </p:custDataLst>
          </p:nvPr>
        </p:nvPicPr>
        <p:blipFill>
          <a:blip r:embed="rId115" cstate="print">
            <a:extLst>
              <a:ext uri="{28A0092B-C50C-407E-A947-70E740481C1C}">
                <a14:useLocalDpi xmlns:a14="http://schemas.microsoft.com/office/drawing/2010/main" val="0"/>
              </a:ext>
              <a:ext uri="{96DAC541-7B7A-43D3-8B79-37D633B846F1}">
                <asvg:svgBlip xmlns:asvg="http://schemas.microsoft.com/office/drawing/2016/SVG/main" r:embed="rId116"/>
              </a:ext>
            </a:extLst>
          </a:blip>
          <a:stretch>
            <a:fillRect/>
          </a:stretch>
        </p:blipFill>
        <p:spPr>
          <a:xfrm>
            <a:off x="597323" y="3879534"/>
            <a:ext cx="540000" cy="540000"/>
          </a:xfrm>
          <a:prstGeom prst="rect">
            <a:avLst/>
          </a:prstGeom>
        </p:spPr>
      </p:pic>
      <p:pic>
        <p:nvPicPr>
          <p:cNvPr id="25" name="Clarity industrial iot devices">
            <a:extLst>
              <a:ext uri="{FF2B5EF4-FFF2-40B4-BE49-F238E27FC236}">
                <a16:creationId xmlns:a16="http://schemas.microsoft.com/office/drawing/2014/main" id="{8DE526CA-E2AA-1242-A1B0-CCDFC2DA51E4}"/>
              </a:ext>
            </a:extLst>
          </p:cNvPr>
          <p:cNvPicPr>
            <a:picLocks noChangeAspect="1"/>
          </p:cNvPicPr>
          <p:nvPr>
            <p:custDataLst>
              <p:tags r:id="rId22"/>
            </p:custDataLst>
          </p:nvPr>
        </p:nvPicPr>
        <p:blipFill>
          <a:blip r:embed="rId117" cstate="print">
            <a:extLst>
              <a:ext uri="{28A0092B-C50C-407E-A947-70E740481C1C}">
                <a14:useLocalDpi xmlns:a14="http://schemas.microsoft.com/office/drawing/2010/main" val="0"/>
              </a:ext>
              <a:ext uri="{96DAC541-7B7A-43D3-8B79-37D633B846F1}">
                <asvg:svgBlip xmlns:asvg="http://schemas.microsoft.com/office/drawing/2016/SVG/main" r:embed="rId118"/>
              </a:ext>
            </a:extLst>
          </a:blip>
          <a:stretch>
            <a:fillRect/>
          </a:stretch>
        </p:blipFill>
        <p:spPr>
          <a:xfrm>
            <a:off x="2115311" y="3879534"/>
            <a:ext cx="540000" cy="540000"/>
          </a:xfrm>
          <a:prstGeom prst="rect">
            <a:avLst/>
          </a:prstGeom>
        </p:spPr>
      </p:pic>
      <p:pic>
        <p:nvPicPr>
          <p:cNvPr id="26" name="Clarity industrial Global drilling company for oil gas exploration">
            <a:extLst>
              <a:ext uri="{FF2B5EF4-FFF2-40B4-BE49-F238E27FC236}">
                <a16:creationId xmlns:a16="http://schemas.microsoft.com/office/drawing/2014/main" id="{5E679E6D-6F8F-2942-9463-2CD2AD951658}"/>
              </a:ext>
            </a:extLst>
          </p:cNvPr>
          <p:cNvPicPr>
            <a:picLocks noChangeAspect="1"/>
          </p:cNvPicPr>
          <p:nvPr>
            <p:custDataLst>
              <p:tags r:id="rId23"/>
            </p:custDataLst>
          </p:nvPr>
        </p:nvPicPr>
        <p:blipFill>
          <a:blip r:embed="rId119" cstate="print">
            <a:extLst>
              <a:ext uri="{28A0092B-C50C-407E-A947-70E740481C1C}">
                <a14:useLocalDpi xmlns:a14="http://schemas.microsoft.com/office/drawing/2010/main" val="0"/>
              </a:ext>
              <a:ext uri="{96DAC541-7B7A-43D3-8B79-37D633B846F1}">
                <asvg:svgBlip xmlns:asvg="http://schemas.microsoft.com/office/drawing/2016/SVG/main" r:embed="rId120"/>
              </a:ext>
            </a:extLst>
          </a:blip>
          <a:stretch>
            <a:fillRect/>
          </a:stretch>
        </p:blipFill>
        <p:spPr>
          <a:xfrm>
            <a:off x="2873882" y="3879534"/>
            <a:ext cx="540000" cy="540000"/>
          </a:xfrm>
          <a:prstGeom prst="rect">
            <a:avLst/>
          </a:prstGeom>
        </p:spPr>
      </p:pic>
      <p:pic>
        <p:nvPicPr>
          <p:cNvPr id="27" name="Clarity income call">
            <a:extLst>
              <a:ext uri="{FF2B5EF4-FFF2-40B4-BE49-F238E27FC236}">
                <a16:creationId xmlns:a16="http://schemas.microsoft.com/office/drawing/2014/main" id="{B5902E52-3768-BA4D-A2BB-2C48EB2F78D2}"/>
              </a:ext>
            </a:extLst>
          </p:cNvPr>
          <p:cNvPicPr>
            <a:picLocks noChangeAspect="1"/>
          </p:cNvPicPr>
          <p:nvPr>
            <p:custDataLst>
              <p:tags r:id="rId24"/>
            </p:custDataLst>
          </p:nvPr>
        </p:nvPicPr>
        <p:blipFill>
          <a:blip r:embed="rId121" cstate="print">
            <a:extLst>
              <a:ext uri="{28A0092B-C50C-407E-A947-70E740481C1C}">
                <a14:useLocalDpi xmlns:a14="http://schemas.microsoft.com/office/drawing/2010/main" val="0"/>
              </a:ext>
              <a:ext uri="{96DAC541-7B7A-43D3-8B79-37D633B846F1}">
                <asvg:svgBlip xmlns:asvg="http://schemas.microsoft.com/office/drawing/2016/SVG/main" r:embed="rId122"/>
              </a:ext>
            </a:extLst>
          </a:blip>
          <a:stretch>
            <a:fillRect/>
          </a:stretch>
        </p:blipFill>
        <p:spPr>
          <a:xfrm>
            <a:off x="3600527" y="3179738"/>
            <a:ext cx="540000" cy="540000"/>
          </a:xfrm>
          <a:prstGeom prst="rect">
            <a:avLst/>
          </a:prstGeom>
        </p:spPr>
      </p:pic>
      <p:pic>
        <p:nvPicPr>
          <p:cNvPr id="28" name="Clarity higher education">
            <a:extLst>
              <a:ext uri="{FF2B5EF4-FFF2-40B4-BE49-F238E27FC236}">
                <a16:creationId xmlns:a16="http://schemas.microsoft.com/office/drawing/2014/main" id="{96BF6301-DBD7-6140-B737-854B1ADA5872}"/>
              </a:ext>
            </a:extLst>
          </p:cNvPr>
          <p:cNvPicPr>
            <a:picLocks noChangeAspect="1"/>
          </p:cNvPicPr>
          <p:nvPr>
            <p:custDataLst>
              <p:tags r:id="rId25"/>
            </p:custDataLst>
          </p:nvPr>
        </p:nvPicPr>
        <p:blipFill>
          <a:blip r:embed="rId123" cstate="print">
            <a:extLst>
              <a:ext uri="{28A0092B-C50C-407E-A947-70E740481C1C}">
                <a14:useLocalDpi xmlns:a14="http://schemas.microsoft.com/office/drawing/2010/main" val="0"/>
              </a:ext>
              <a:ext uri="{96DAC541-7B7A-43D3-8B79-37D633B846F1}">
                <asvg:svgBlip xmlns:asvg="http://schemas.microsoft.com/office/drawing/2016/SVG/main" r:embed="rId124"/>
              </a:ext>
            </a:extLst>
          </a:blip>
          <a:stretch>
            <a:fillRect/>
          </a:stretch>
        </p:blipFill>
        <p:spPr>
          <a:xfrm>
            <a:off x="4337975" y="3179738"/>
            <a:ext cx="540000" cy="540000"/>
          </a:xfrm>
          <a:prstGeom prst="rect">
            <a:avLst/>
          </a:prstGeom>
        </p:spPr>
      </p:pic>
      <p:pic>
        <p:nvPicPr>
          <p:cNvPr id="29" name="Clarity healthcare Respected providers within the blues payer network">
            <a:extLst>
              <a:ext uri="{FF2B5EF4-FFF2-40B4-BE49-F238E27FC236}">
                <a16:creationId xmlns:a16="http://schemas.microsoft.com/office/drawing/2014/main" id="{F00E4A60-0D7B-BA4E-9C9E-52A7272D3B0C}"/>
              </a:ext>
            </a:extLst>
          </p:cNvPr>
          <p:cNvPicPr>
            <a:picLocks noChangeAspect="1"/>
          </p:cNvPicPr>
          <p:nvPr>
            <p:custDataLst>
              <p:tags r:id="rId26"/>
            </p:custDataLst>
          </p:nvPr>
        </p:nvPicPr>
        <p:blipFill>
          <a:blip r:embed="rId125" cstate="print">
            <a:extLst>
              <a:ext uri="{28A0092B-C50C-407E-A947-70E740481C1C}">
                <a14:useLocalDpi xmlns:a14="http://schemas.microsoft.com/office/drawing/2010/main" val="0"/>
              </a:ext>
              <a:ext uri="{96DAC541-7B7A-43D3-8B79-37D633B846F1}">
                <asvg:svgBlip xmlns:asvg="http://schemas.microsoft.com/office/drawing/2016/SVG/main" r:embed="rId126"/>
              </a:ext>
            </a:extLst>
          </a:blip>
          <a:stretch>
            <a:fillRect/>
          </a:stretch>
        </p:blipFill>
        <p:spPr>
          <a:xfrm>
            <a:off x="5120400" y="3179738"/>
            <a:ext cx="540000" cy="540000"/>
          </a:xfrm>
          <a:prstGeom prst="rect">
            <a:avLst/>
          </a:prstGeom>
        </p:spPr>
      </p:pic>
      <p:pic>
        <p:nvPicPr>
          <p:cNvPr id="30" name="Clarity healthcare innovations">
            <a:extLst>
              <a:ext uri="{FF2B5EF4-FFF2-40B4-BE49-F238E27FC236}">
                <a16:creationId xmlns:a16="http://schemas.microsoft.com/office/drawing/2014/main" id="{A0B157AE-E2CD-F642-8102-1C3F475D028E}"/>
              </a:ext>
            </a:extLst>
          </p:cNvPr>
          <p:cNvPicPr>
            <a:picLocks noChangeAspect="1"/>
          </p:cNvPicPr>
          <p:nvPr>
            <p:custDataLst>
              <p:tags r:id="rId27"/>
            </p:custDataLst>
          </p:nvPr>
        </p:nvPicPr>
        <p:blipFill>
          <a:blip r:embed="rId127" cstate="print">
            <a:extLst>
              <a:ext uri="{28A0092B-C50C-407E-A947-70E740481C1C}">
                <a14:useLocalDpi xmlns:a14="http://schemas.microsoft.com/office/drawing/2010/main" val="0"/>
              </a:ext>
              <a:ext uri="{96DAC541-7B7A-43D3-8B79-37D633B846F1}">
                <asvg:svgBlip xmlns:asvg="http://schemas.microsoft.com/office/drawing/2016/SVG/main" r:embed="rId128"/>
              </a:ext>
            </a:extLst>
          </a:blip>
          <a:stretch>
            <a:fillRect/>
          </a:stretch>
        </p:blipFill>
        <p:spPr>
          <a:xfrm>
            <a:off x="6603409" y="3179738"/>
            <a:ext cx="540000" cy="540000"/>
          </a:xfrm>
          <a:prstGeom prst="rect">
            <a:avLst/>
          </a:prstGeom>
        </p:spPr>
      </p:pic>
      <p:pic>
        <p:nvPicPr>
          <p:cNvPr id="31" name="Clarity health life science">
            <a:extLst>
              <a:ext uri="{FF2B5EF4-FFF2-40B4-BE49-F238E27FC236}">
                <a16:creationId xmlns:a16="http://schemas.microsoft.com/office/drawing/2014/main" id="{CC5DD374-A726-3047-94AB-A0EA995AA2E3}"/>
              </a:ext>
            </a:extLst>
          </p:cNvPr>
          <p:cNvPicPr>
            <a:picLocks noChangeAspect="1"/>
          </p:cNvPicPr>
          <p:nvPr>
            <p:custDataLst>
              <p:tags r:id="rId28"/>
            </p:custDataLst>
          </p:nvPr>
        </p:nvPicPr>
        <p:blipFill>
          <a:blip r:embed="rId129" cstate="print">
            <a:extLst>
              <a:ext uri="{28A0092B-C50C-407E-A947-70E740481C1C}">
                <a14:useLocalDpi xmlns:a14="http://schemas.microsoft.com/office/drawing/2010/main" val="0"/>
              </a:ext>
              <a:ext uri="{96DAC541-7B7A-43D3-8B79-37D633B846F1}">
                <asvg:svgBlip xmlns:asvg="http://schemas.microsoft.com/office/drawing/2016/SVG/main" r:embed="rId130"/>
              </a:ext>
            </a:extLst>
          </a:blip>
          <a:stretch>
            <a:fillRect/>
          </a:stretch>
        </p:blipFill>
        <p:spPr>
          <a:xfrm>
            <a:off x="7291458" y="1772940"/>
            <a:ext cx="540000" cy="540000"/>
          </a:xfrm>
          <a:prstGeom prst="rect">
            <a:avLst/>
          </a:prstGeom>
        </p:spPr>
      </p:pic>
      <p:pic>
        <p:nvPicPr>
          <p:cNvPr id="32" name="Clarity handshake">
            <a:extLst>
              <a:ext uri="{FF2B5EF4-FFF2-40B4-BE49-F238E27FC236}">
                <a16:creationId xmlns:a16="http://schemas.microsoft.com/office/drawing/2014/main" id="{63F1C3E1-C3C2-0841-B6A6-B174579DFE4A}"/>
              </a:ext>
            </a:extLst>
          </p:cNvPr>
          <p:cNvPicPr>
            <a:picLocks noChangeAspect="1"/>
          </p:cNvPicPr>
          <p:nvPr>
            <p:custDataLst>
              <p:tags r:id="rId29"/>
            </p:custDataLst>
          </p:nvPr>
        </p:nvPicPr>
        <p:blipFill>
          <a:blip r:embed="rId131" cstate="print">
            <a:extLst>
              <a:ext uri="{28A0092B-C50C-407E-A947-70E740481C1C}">
                <a14:useLocalDpi xmlns:a14="http://schemas.microsoft.com/office/drawing/2010/main" val="0"/>
              </a:ext>
              <a:ext uri="{96DAC541-7B7A-43D3-8B79-37D633B846F1}">
                <asvg:svgBlip xmlns:asvg="http://schemas.microsoft.com/office/drawing/2016/SVG/main" r:embed="rId132"/>
              </a:ext>
            </a:extLst>
          </a:blip>
          <a:stretch>
            <a:fillRect/>
          </a:stretch>
        </p:blipFill>
        <p:spPr>
          <a:xfrm>
            <a:off x="8029089" y="1772940"/>
            <a:ext cx="540000" cy="540000"/>
          </a:xfrm>
          <a:prstGeom prst="rect">
            <a:avLst/>
          </a:prstGeom>
        </p:spPr>
      </p:pic>
      <p:pic>
        <p:nvPicPr>
          <p:cNvPr id="33" name="Clarity Innovation">
            <a:extLst>
              <a:ext uri="{FF2B5EF4-FFF2-40B4-BE49-F238E27FC236}">
                <a16:creationId xmlns:a16="http://schemas.microsoft.com/office/drawing/2014/main" id="{0D8048C9-05CE-8F44-9B85-FA0237B4B4D8}"/>
              </a:ext>
            </a:extLst>
          </p:cNvPr>
          <p:cNvPicPr>
            <a:picLocks noChangeAspect="1"/>
          </p:cNvPicPr>
          <p:nvPr>
            <p:custDataLst>
              <p:tags r:id="rId30"/>
            </p:custDataLst>
          </p:nvPr>
        </p:nvPicPr>
        <p:blipFill>
          <a:blip r:embed="rId133" cstate="print">
            <a:extLst>
              <a:ext uri="{28A0092B-C50C-407E-A947-70E740481C1C}">
                <a14:useLocalDpi xmlns:a14="http://schemas.microsoft.com/office/drawing/2010/main" val="0"/>
              </a:ext>
              <a:ext uri="{96DAC541-7B7A-43D3-8B79-37D633B846F1}">
                <asvg:svgBlip xmlns:asvg="http://schemas.microsoft.com/office/drawing/2016/SVG/main" r:embed="rId134"/>
              </a:ext>
            </a:extLst>
          </a:blip>
          <a:stretch>
            <a:fillRect/>
          </a:stretch>
        </p:blipFill>
        <p:spPr>
          <a:xfrm>
            <a:off x="5875728" y="3179738"/>
            <a:ext cx="540000" cy="540000"/>
          </a:xfrm>
          <a:prstGeom prst="rect">
            <a:avLst/>
          </a:prstGeom>
        </p:spPr>
      </p:pic>
      <p:pic>
        <p:nvPicPr>
          <p:cNvPr id="34" name="Clarity Industries Retail">
            <a:extLst>
              <a:ext uri="{FF2B5EF4-FFF2-40B4-BE49-F238E27FC236}">
                <a16:creationId xmlns:a16="http://schemas.microsoft.com/office/drawing/2014/main" id="{3D39BB72-D576-BE4A-85B7-1714927452ED}"/>
              </a:ext>
            </a:extLst>
          </p:cNvPr>
          <p:cNvPicPr>
            <a:picLocks noChangeAspect="1"/>
          </p:cNvPicPr>
          <p:nvPr>
            <p:custDataLst>
              <p:tags r:id="rId31"/>
            </p:custDataLst>
          </p:nvPr>
        </p:nvPicPr>
        <p:blipFill>
          <a:blip r:embed="rId135" cstate="print">
            <a:extLst>
              <a:ext uri="{28A0092B-C50C-407E-A947-70E740481C1C}">
                <a14:useLocalDpi xmlns:a14="http://schemas.microsoft.com/office/drawing/2010/main" val="0"/>
              </a:ext>
              <a:ext uri="{96DAC541-7B7A-43D3-8B79-37D633B846F1}">
                <asvg:svgBlip xmlns:asvg="http://schemas.microsoft.com/office/drawing/2016/SVG/main" r:embed="rId136"/>
              </a:ext>
            </a:extLst>
          </a:blip>
          <a:stretch>
            <a:fillRect/>
          </a:stretch>
        </p:blipFill>
        <p:spPr>
          <a:xfrm>
            <a:off x="3600527" y="3879534"/>
            <a:ext cx="540000" cy="540000"/>
          </a:xfrm>
          <a:prstGeom prst="rect">
            <a:avLst/>
          </a:prstGeom>
        </p:spPr>
      </p:pic>
      <p:pic>
        <p:nvPicPr>
          <p:cNvPr id="35" name="Clarity Industries hightech">
            <a:extLst>
              <a:ext uri="{FF2B5EF4-FFF2-40B4-BE49-F238E27FC236}">
                <a16:creationId xmlns:a16="http://schemas.microsoft.com/office/drawing/2014/main" id="{9DAF892E-2D9D-EA45-8F0F-994B3A1564C3}"/>
              </a:ext>
            </a:extLst>
          </p:cNvPr>
          <p:cNvPicPr>
            <a:picLocks noChangeAspect="1"/>
          </p:cNvPicPr>
          <p:nvPr>
            <p:custDataLst>
              <p:tags r:id="rId32"/>
            </p:custDataLst>
          </p:nvPr>
        </p:nvPicPr>
        <p:blipFill>
          <a:blip r:embed="rId137" cstate="print">
            <a:extLst>
              <a:ext uri="{28A0092B-C50C-407E-A947-70E740481C1C}">
                <a14:useLocalDpi xmlns:a14="http://schemas.microsoft.com/office/drawing/2010/main" val="0"/>
              </a:ext>
              <a:ext uri="{96DAC541-7B7A-43D3-8B79-37D633B846F1}">
                <asvg:svgBlip xmlns:asvg="http://schemas.microsoft.com/office/drawing/2016/SVG/main" r:embed="rId138"/>
              </a:ext>
            </a:extLst>
          </a:blip>
          <a:stretch>
            <a:fillRect/>
          </a:stretch>
        </p:blipFill>
        <p:spPr>
          <a:xfrm>
            <a:off x="6603409" y="2457669"/>
            <a:ext cx="540000" cy="540000"/>
          </a:xfrm>
          <a:prstGeom prst="rect">
            <a:avLst/>
          </a:prstGeom>
        </p:spPr>
      </p:pic>
      <p:pic>
        <p:nvPicPr>
          <p:cNvPr id="36" name="Clarity Industries financial services">
            <a:extLst>
              <a:ext uri="{FF2B5EF4-FFF2-40B4-BE49-F238E27FC236}">
                <a16:creationId xmlns:a16="http://schemas.microsoft.com/office/drawing/2014/main" id="{B9B62E4C-D8AC-4F43-BA71-D2BB68F015E0}"/>
              </a:ext>
            </a:extLst>
          </p:cNvPr>
          <p:cNvPicPr>
            <a:picLocks noChangeAspect="1"/>
          </p:cNvPicPr>
          <p:nvPr>
            <p:custDataLst>
              <p:tags r:id="rId33"/>
            </p:custDataLst>
          </p:nvPr>
        </p:nvPicPr>
        <p:blipFill>
          <a:blip r:embed="rId139" cstate="print">
            <a:extLst>
              <a:ext uri="{28A0092B-C50C-407E-A947-70E740481C1C}">
                <a14:useLocalDpi xmlns:a14="http://schemas.microsoft.com/office/drawing/2010/main" val="0"/>
              </a:ext>
              <a:ext uri="{96DAC541-7B7A-43D3-8B79-37D633B846F1}">
                <asvg:svgBlip xmlns:asvg="http://schemas.microsoft.com/office/drawing/2016/SVG/main" r:embed="rId140"/>
              </a:ext>
            </a:extLst>
          </a:blip>
          <a:stretch>
            <a:fillRect/>
          </a:stretch>
        </p:blipFill>
        <p:spPr>
          <a:xfrm>
            <a:off x="7291458" y="2457669"/>
            <a:ext cx="540000" cy="540000"/>
          </a:xfrm>
          <a:prstGeom prst="rect">
            <a:avLst/>
          </a:prstGeom>
        </p:spPr>
      </p:pic>
      <p:pic>
        <p:nvPicPr>
          <p:cNvPr id="37" name="Clarity Industrialization">
            <a:extLst>
              <a:ext uri="{FF2B5EF4-FFF2-40B4-BE49-F238E27FC236}">
                <a16:creationId xmlns:a16="http://schemas.microsoft.com/office/drawing/2014/main" id="{8FCD0DD1-297F-3B40-BB72-621F902426C9}"/>
              </a:ext>
            </a:extLst>
          </p:cNvPr>
          <p:cNvPicPr>
            <a:picLocks noChangeAspect="1"/>
          </p:cNvPicPr>
          <p:nvPr>
            <p:custDataLst>
              <p:tags r:id="rId34"/>
            </p:custDataLst>
          </p:nvPr>
        </p:nvPicPr>
        <p:blipFill>
          <a:blip r:embed="rId141" cstate="print">
            <a:extLst>
              <a:ext uri="{28A0092B-C50C-407E-A947-70E740481C1C}">
                <a14:useLocalDpi xmlns:a14="http://schemas.microsoft.com/office/drawing/2010/main" val="0"/>
              </a:ext>
              <a:ext uri="{96DAC541-7B7A-43D3-8B79-37D633B846F1}">
                <asvg:svgBlip xmlns:asvg="http://schemas.microsoft.com/office/drawing/2016/SVG/main" r:embed="rId142"/>
              </a:ext>
            </a:extLst>
          </a:blip>
          <a:stretch>
            <a:fillRect/>
          </a:stretch>
        </p:blipFill>
        <p:spPr>
          <a:xfrm>
            <a:off x="8776351" y="1772940"/>
            <a:ext cx="540000" cy="540000"/>
          </a:xfrm>
          <a:prstGeom prst="rect">
            <a:avLst/>
          </a:prstGeom>
        </p:spPr>
      </p:pic>
      <p:pic>
        <p:nvPicPr>
          <p:cNvPr id="38" name="Clarity industrial World leader in  heavy equipment manufacturing">
            <a:extLst>
              <a:ext uri="{FF2B5EF4-FFF2-40B4-BE49-F238E27FC236}">
                <a16:creationId xmlns:a16="http://schemas.microsoft.com/office/drawing/2014/main" id="{FB31380F-7D3F-BD47-8E23-E3C5BAFCE667}"/>
              </a:ext>
            </a:extLst>
          </p:cNvPr>
          <p:cNvPicPr>
            <a:picLocks noChangeAspect="1"/>
          </p:cNvPicPr>
          <p:nvPr>
            <p:custDataLst>
              <p:tags r:id="rId35"/>
            </p:custDataLst>
          </p:nvPr>
        </p:nvPicPr>
        <p:blipFill>
          <a:blip r:embed="rId143" cstate="print">
            <a:extLst>
              <a:ext uri="{28A0092B-C50C-407E-A947-70E740481C1C}">
                <a14:useLocalDpi xmlns:a14="http://schemas.microsoft.com/office/drawing/2010/main" val="0"/>
              </a:ext>
              <a:ext uri="{96DAC541-7B7A-43D3-8B79-37D633B846F1}">
                <asvg:svgBlip xmlns:asvg="http://schemas.microsoft.com/office/drawing/2016/SVG/main" r:embed="rId144"/>
              </a:ext>
            </a:extLst>
          </a:blip>
          <a:stretch>
            <a:fillRect/>
          </a:stretch>
        </p:blipFill>
        <p:spPr>
          <a:xfrm>
            <a:off x="8776351" y="2457669"/>
            <a:ext cx="540000" cy="540000"/>
          </a:xfrm>
          <a:prstGeom prst="rect">
            <a:avLst/>
          </a:prstGeom>
        </p:spPr>
      </p:pic>
      <p:pic>
        <p:nvPicPr>
          <p:cNvPr id="39" name="Clarity mail">
            <a:extLst>
              <a:ext uri="{FF2B5EF4-FFF2-40B4-BE49-F238E27FC236}">
                <a16:creationId xmlns:a16="http://schemas.microsoft.com/office/drawing/2014/main" id="{252A4CBA-6573-3C41-9CE0-A2740F6425BE}"/>
              </a:ext>
            </a:extLst>
          </p:cNvPr>
          <p:cNvPicPr>
            <a:picLocks noChangeAspect="1"/>
          </p:cNvPicPr>
          <p:nvPr>
            <p:custDataLst>
              <p:tags r:id="rId36"/>
            </p:custDataLst>
          </p:nvPr>
        </p:nvPicPr>
        <p:blipFill>
          <a:blip r:embed="rId145" cstate="print">
            <a:extLst>
              <a:ext uri="{28A0092B-C50C-407E-A947-70E740481C1C}">
                <a14:useLocalDpi xmlns:a14="http://schemas.microsoft.com/office/drawing/2010/main" val="0"/>
              </a:ext>
              <a:ext uri="{96DAC541-7B7A-43D3-8B79-37D633B846F1}">
                <asvg:svgBlip xmlns:asvg="http://schemas.microsoft.com/office/drawing/2016/SVG/main" r:embed="rId146"/>
              </a:ext>
            </a:extLst>
          </a:blip>
          <a:stretch>
            <a:fillRect/>
          </a:stretch>
        </p:blipFill>
        <p:spPr>
          <a:xfrm>
            <a:off x="597323" y="1772940"/>
            <a:ext cx="540000" cy="540000"/>
          </a:xfrm>
          <a:prstGeom prst="rect">
            <a:avLst/>
          </a:prstGeom>
        </p:spPr>
      </p:pic>
      <p:pic>
        <p:nvPicPr>
          <p:cNvPr id="40" name="Clarity location">
            <a:extLst>
              <a:ext uri="{FF2B5EF4-FFF2-40B4-BE49-F238E27FC236}">
                <a16:creationId xmlns:a16="http://schemas.microsoft.com/office/drawing/2014/main" id="{23AD244B-8F4C-4842-A874-1AC693FE64B5}"/>
              </a:ext>
            </a:extLst>
          </p:cNvPr>
          <p:cNvPicPr>
            <a:picLocks noChangeAspect="1"/>
          </p:cNvPicPr>
          <p:nvPr>
            <p:custDataLst>
              <p:tags r:id="rId37"/>
            </p:custDataLst>
          </p:nvPr>
        </p:nvPicPr>
        <p:blipFill>
          <a:blip r:embed="rId147" cstate="print">
            <a:extLst>
              <a:ext uri="{28A0092B-C50C-407E-A947-70E740481C1C}">
                <a14:useLocalDpi xmlns:a14="http://schemas.microsoft.com/office/drawing/2010/main" val="0"/>
              </a:ext>
              <a:ext uri="{96DAC541-7B7A-43D3-8B79-37D633B846F1}">
                <asvg:svgBlip xmlns:asvg="http://schemas.microsoft.com/office/drawing/2016/SVG/main" r:embed="rId148"/>
              </a:ext>
            </a:extLst>
          </a:blip>
          <a:stretch>
            <a:fillRect/>
          </a:stretch>
        </p:blipFill>
        <p:spPr>
          <a:xfrm>
            <a:off x="1330716" y="1772940"/>
            <a:ext cx="540000" cy="540000"/>
          </a:xfrm>
          <a:prstGeom prst="rect">
            <a:avLst/>
          </a:prstGeom>
        </p:spPr>
      </p:pic>
      <p:pic>
        <p:nvPicPr>
          <p:cNvPr id="41" name="Clarity legal">
            <a:extLst>
              <a:ext uri="{FF2B5EF4-FFF2-40B4-BE49-F238E27FC236}">
                <a16:creationId xmlns:a16="http://schemas.microsoft.com/office/drawing/2014/main" id="{07E57DE7-40ED-A744-BE45-FBCAEACD1E53}"/>
              </a:ext>
            </a:extLst>
          </p:cNvPr>
          <p:cNvPicPr>
            <a:picLocks noChangeAspect="1"/>
          </p:cNvPicPr>
          <p:nvPr>
            <p:custDataLst>
              <p:tags r:id="rId38"/>
            </p:custDataLst>
          </p:nvPr>
        </p:nvPicPr>
        <p:blipFill>
          <a:blip r:embed="rId149" cstate="print">
            <a:extLst>
              <a:ext uri="{28A0092B-C50C-407E-A947-70E740481C1C}">
                <a14:useLocalDpi xmlns:a14="http://schemas.microsoft.com/office/drawing/2010/main" val="0"/>
              </a:ext>
              <a:ext uri="{96DAC541-7B7A-43D3-8B79-37D633B846F1}">
                <asvg:svgBlip xmlns:asvg="http://schemas.microsoft.com/office/drawing/2016/SVG/main" r:embed="rId150"/>
              </a:ext>
            </a:extLst>
          </a:blip>
          <a:stretch>
            <a:fillRect/>
          </a:stretch>
        </p:blipFill>
        <p:spPr>
          <a:xfrm>
            <a:off x="7291458" y="3179738"/>
            <a:ext cx="540000" cy="540000"/>
          </a:xfrm>
          <a:prstGeom prst="rect">
            <a:avLst/>
          </a:prstGeom>
        </p:spPr>
      </p:pic>
      <p:pic>
        <p:nvPicPr>
          <p:cNvPr id="42" name="Clarity leading global battery manufacturer duracell">
            <a:extLst>
              <a:ext uri="{FF2B5EF4-FFF2-40B4-BE49-F238E27FC236}">
                <a16:creationId xmlns:a16="http://schemas.microsoft.com/office/drawing/2014/main" id="{BAEE6DD8-E40C-4443-96F1-EE10105B36B9}"/>
              </a:ext>
            </a:extLst>
          </p:cNvPr>
          <p:cNvPicPr>
            <a:picLocks noChangeAspect="1"/>
          </p:cNvPicPr>
          <p:nvPr>
            <p:custDataLst>
              <p:tags r:id="rId39"/>
            </p:custDataLst>
          </p:nvPr>
        </p:nvPicPr>
        <p:blipFill>
          <a:blip r:embed="rId151" cstate="print">
            <a:extLst>
              <a:ext uri="{28A0092B-C50C-407E-A947-70E740481C1C}">
                <a14:useLocalDpi xmlns:a14="http://schemas.microsoft.com/office/drawing/2010/main" val="0"/>
              </a:ext>
              <a:ext uri="{96DAC541-7B7A-43D3-8B79-37D633B846F1}">
                <asvg:svgBlip xmlns:asvg="http://schemas.microsoft.com/office/drawing/2016/SVG/main" r:embed="rId152"/>
              </a:ext>
            </a:extLst>
          </a:blip>
          <a:stretch>
            <a:fillRect/>
          </a:stretch>
        </p:blipFill>
        <p:spPr>
          <a:xfrm>
            <a:off x="8029089" y="3179738"/>
            <a:ext cx="540000" cy="540000"/>
          </a:xfrm>
          <a:prstGeom prst="rect">
            <a:avLst/>
          </a:prstGeom>
        </p:spPr>
      </p:pic>
      <p:pic>
        <p:nvPicPr>
          <p:cNvPr id="43" name="Clarity largest multi system operators">
            <a:extLst>
              <a:ext uri="{FF2B5EF4-FFF2-40B4-BE49-F238E27FC236}">
                <a16:creationId xmlns:a16="http://schemas.microsoft.com/office/drawing/2014/main" id="{F1825592-23C5-9B42-94CE-8627ACFDCD25}"/>
              </a:ext>
            </a:extLst>
          </p:cNvPr>
          <p:cNvPicPr>
            <a:picLocks noChangeAspect="1"/>
          </p:cNvPicPr>
          <p:nvPr>
            <p:custDataLst>
              <p:tags r:id="rId40"/>
            </p:custDataLst>
          </p:nvPr>
        </p:nvPicPr>
        <p:blipFill>
          <a:blip r:embed="rId153" cstate="print">
            <a:extLst>
              <a:ext uri="{28A0092B-C50C-407E-A947-70E740481C1C}">
                <a14:useLocalDpi xmlns:a14="http://schemas.microsoft.com/office/drawing/2010/main" val="0"/>
              </a:ext>
              <a:ext uri="{96DAC541-7B7A-43D3-8B79-37D633B846F1}">
                <asvg:svgBlip xmlns:asvg="http://schemas.microsoft.com/office/drawing/2016/SVG/main" r:embed="rId154"/>
              </a:ext>
            </a:extLst>
          </a:blip>
          <a:stretch>
            <a:fillRect/>
          </a:stretch>
        </p:blipFill>
        <p:spPr>
          <a:xfrm>
            <a:off x="8776351" y="3179738"/>
            <a:ext cx="540000" cy="540000"/>
          </a:xfrm>
          <a:prstGeom prst="rect">
            <a:avLst/>
          </a:prstGeom>
        </p:spPr>
      </p:pic>
      <p:pic>
        <p:nvPicPr>
          <p:cNvPr id="44" name="Clarity investment management">
            <a:extLst>
              <a:ext uri="{FF2B5EF4-FFF2-40B4-BE49-F238E27FC236}">
                <a16:creationId xmlns:a16="http://schemas.microsoft.com/office/drawing/2014/main" id="{B6B28961-9468-604D-9F3E-ECA6CA2C12FA}"/>
              </a:ext>
            </a:extLst>
          </p:cNvPr>
          <p:cNvPicPr>
            <a:picLocks noChangeAspect="1"/>
          </p:cNvPicPr>
          <p:nvPr>
            <p:custDataLst>
              <p:tags r:id="rId41"/>
            </p:custDataLst>
          </p:nvPr>
        </p:nvPicPr>
        <p:blipFill>
          <a:blip r:embed="rId155" cstate="print">
            <a:extLst>
              <a:ext uri="{28A0092B-C50C-407E-A947-70E740481C1C}">
                <a14:useLocalDpi xmlns:a14="http://schemas.microsoft.com/office/drawing/2010/main" val="0"/>
              </a:ext>
              <a:ext uri="{96DAC541-7B7A-43D3-8B79-37D633B846F1}">
                <asvg:svgBlip xmlns:asvg="http://schemas.microsoft.com/office/drawing/2016/SVG/main" r:embed="rId156"/>
              </a:ext>
            </a:extLst>
          </a:blip>
          <a:stretch>
            <a:fillRect/>
          </a:stretch>
        </p:blipFill>
        <p:spPr>
          <a:xfrm>
            <a:off x="8029089" y="2457669"/>
            <a:ext cx="540000" cy="540000"/>
          </a:xfrm>
          <a:prstGeom prst="rect">
            <a:avLst/>
          </a:prstGeom>
        </p:spPr>
      </p:pic>
      <p:pic>
        <p:nvPicPr>
          <p:cNvPr id="45" name="Clarity Integrating companies">
            <a:extLst>
              <a:ext uri="{FF2B5EF4-FFF2-40B4-BE49-F238E27FC236}">
                <a16:creationId xmlns:a16="http://schemas.microsoft.com/office/drawing/2014/main" id="{DB0E35DC-275A-6948-8A97-4552C285BA39}"/>
              </a:ext>
            </a:extLst>
          </p:cNvPr>
          <p:cNvPicPr>
            <a:picLocks noChangeAspect="1"/>
          </p:cNvPicPr>
          <p:nvPr>
            <p:custDataLst>
              <p:tags r:id="rId42"/>
            </p:custDataLst>
          </p:nvPr>
        </p:nvPicPr>
        <p:blipFill>
          <a:blip r:embed="rId157" cstate="print">
            <a:extLst>
              <a:ext uri="{28A0092B-C50C-407E-A947-70E740481C1C}">
                <a14:useLocalDpi xmlns:a14="http://schemas.microsoft.com/office/drawing/2010/main" val="0"/>
              </a:ext>
              <a:ext uri="{96DAC541-7B7A-43D3-8B79-37D633B846F1}">
                <asvg:svgBlip xmlns:asvg="http://schemas.microsoft.com/office/drawing/2016/SVG/main" r:embed="rId158"/>
              </a:ext>
            </a:extLst>
          </a:blip>
          <a:stretch>
            <a:fillRect/>
          </a:stretch>
        </p:blipFill>
        <p:spPr>
          <a:xfrm>
            <a:off x="4337975" y="3879534"/>
            <a:ext cx="540000" cy="540000"/>
          </a:xfrm>
          <a:prstGeom prst="rect">
            <a:avLst/>
          </a:prstGeom>
        </p:spPr>
      </p:pic>
      <p:pic>
        <p:nvPicPr>
          <p:cNvPr id="46" name="Clarity insurance fraud protection">
            <a:extLst>
              <a:ext uri="{FF2B5EF4-FFF2-40B4-BE49-F238E27FC236}">
                <a16:creationId xmlns:a16="http://schemas.microsoft.com/office/drawing/2014/main" id="{950FB5F8-2D85-4C4D-9145-CBFDA5AB2D7A}"/>
              </a:ext>
            </a:extLst>
          </p:cNvPr>
          <p:cNvPicPr>
            <a:picLocks noChangeAspect="1"/>
          </p:cNvPicPr>
          <p:nvPr>
            <p:custDataLst>
              <p:tags r:id="rId43"/>
            </p:custDataLst>
          </p:nvPr>
        </p:nvPicPr>
        <p:blipFill>
          <a:blip r:embed="rId159" cstate="print">
            <a:extLst>
              <a:ext uri="{28A0092B-C50C-407E-A947-70E740481C1C}">
                <a14:useLocalDpi xmlns:a14="http://schemas.microsoft.com/office/drawing/2010/main" val="0"/>
              </a:ext>
              <a:ext uri="{96DAC541-7B7A-43D3-8B79-37D633B846F1}">
                <asvg:svgBlip xmlns:asvg="http://schemas.microsoft.com/office/drawing/2016/SVG/main" r:embed="rId160"/>
              </a:ext>
            </a:extLst>
          </a:blip>
          <a:stretch>
            <a:fillRect/>
          </a:stretch>
        </p:blipFill>
        <p:spPr>
          <a:xfrm>
            <a:off x="2873882" y="3179738"/>
            <a:ext cx="540000" cy="540000"/>
          </a:xfrm>
          <a:prstGeom prst="rect">
            <a:avLst/>
          </a:prstGeom>
        </p:spPr>
      </p:pic>
      <p:pic>
        <p:nvPicPr>
          <p:cNvPr id="47" name="Clarity methods">
            <a:extLst>
              <a:ext uri="{FF2B5EF4-FFF2-40B4-BE49-F238E27FC236}">
                <a16:creationId xmlns:a16="http://schemas.microsoft.com/office/drawing/2014/main" id="{7844E048-CF19-394E-830C-07C6EF018B97}"/>
              </a:ext>
            </a:extLst>
          </p:cNvPr>
          <p:cNvPicPr>
            <a:picLocks noChangeAspect="1"/>
          </p:cNvPicPr>
          <p:nvPr>
            <p:custDataLst>
              <p:tags r:id="rId44"/>
            </p:custDataLst>
          </p:nvPr>
        </p:nvPicPr>
        <p:blipFill>
          <a:blip r:embed="rId161" cstate="print">
            <a:extLst>
              <a:ext uri="{28A0092B-C50C-407E-A947-70E740481C1C}">
                <a14:useLocalDpi xmlns:a14="http://schemas.microsoft.com/office/drawing/2010/main" val="0"/>
              </a:ext>
              <a:ext uri="{96DAC541-7B7A-43D3-8B79-37D633B846F1}">
                <asvg:svgBlip xmlns:asvg="http://schemas.microsoft.com/office/drawing/2016/SVG/main" r:embed="rId162"/>
              </a:ext>
            </a:extLst>
          </a:blip>
          <a:stretch>
            <a:fillRect/>
          </a:stretch>
        </p:blipFill>
        <p:spPr>
          <a:xfrm>
            <a:off x="5109600" y="3868734"/>
            <a:ext cx="561600" cy="561600"/>
          </a:xfrm>
          <a:prstGeom prst="rect">
            <a:avLst/>
          </a:prstGeom>
        </p:spPr>
      </p:pic>
      <p:pic>
        <p:nvPicPr>
          <p:cNvPr id="48" name="Clarity megaphone">
            <a:extLst>
              <a:ext uri="{FF2B5EF4-FFF2-40B4-BE49-F238E27FC236}">
                <a16:creationId xmlns:a16="http://schemas.microsoft.com/office/drawing/2014/main" id="{D76DD2F9-F44A-3144-85F3-7E9EFF107D25}"/>
              </a:ext>
            </a:extLst>
          </p:cNvPr>
          <p:cNvPicPr>
            <a:picLocks noChangeAspect="1"/>
          </p:cNvPicPr>
          <p:nvPr>
            <p:custDataLst>
              <p:tags r:id="rId45"/>
            </p:custDataLst>
          </p:nvPr>
        </p:nvPicPr>
        <p:blipFill>
          <a:blip r:embed="rId163" cstate="print">
            <a:extLst>
              <a:ext uri="{28A0092B-C50C-407E-A947-70E740481C1C}">
                <a14:useLocalDpi xmlns:a14="http://schemas.microsoft.com/office/drawing/2010/main" val="0"/>
              </a:ext>
              <a:ext uri="{96DAC541-7B7A-43D3-8B79-37D633B846F1}">
                <asvg:svgBlip xmlns:asvg="http://schemas.microsoft.com/office/drawing/2016/SVG/main" r:embed="rId164"/>
              </a:ext>
            </a:extLst>
          </a:blip>
          <a:stretch>
            <a:fillRect/>
          </a:stretch>
        </p:blipFill>
        <p:spPr>
          <a:xfrm>
            <a:off x="5864928" y="3868734"/>
            <a:ext cx="561600" cy="561600"/>
          </a:xfrm>
          <a:prstGeom prst="rect">
            <a:avLst/>
          </a:prstGeom>
        </p:spPr>
      </p:pic>
      <p:pic>
        <p:nvPicPr>
          <p:cNvPr id="49" name="Clarity marketing effectiveness">
            <a:extLst>
              <a:ext uri="{FF2B5EF4-FFF2-40B4-BE49-F238E27FC236}">
                <a16:creationId xmlns:a16="http://schemas.microsoft.com/office/drawing/2014/main" id="{9F7C939D-EB94-E847-B122-801358FF1F33}"/>
              </a:ext>
            </a:extLst>
          </p:cNvPr>
          <p:cNvPicPr>
            <a:picLocks noChangeAspect="1"/>
          </p:cNvPicPr>
          <p:nvPr>
            <p:custDataLst>
              <p:tags r:id="rId46"/>
            </p:custDataLst>
          </p:nvPr>
        </p:nvPicPr>
        <p:blipFill>
          <a:blip r:embed="rId165" cstate="print">
            <a:extLst>
              <a:ext uri="{28A0092B-C50C-407E-A947-70E740481C1C}">
                <a14:useLocalDpi xmlns:a14="http://schemas.microsoft.com/office/drawing/2010/main" val="0"/>
              </a:ext>
              <a:ext uri="{96DAC541-7B7A-43D3-8B79-37D633B846F1}">
                <asvg:svgBlip xmlns:asvg="http://schemas.microsoft.com/office/drawing/2016/SVG/main" r:embed="rId166"/>
              </a:ext>
            </a:extLst>
          </a:blip>
          <a:stretch>
            <a:fillRect/>
          </a:stretch>
        </p:blipFill>
        <p:spPr>
          <a:xfrm>
            <a:off x="586523" y="4575736"/>
            <a:ext cx="561600" cy="561600"/>
          </a:xfrm>
          <a:prstGeom prst="rect">
            <a:avLst/>
          </a:prstGeom>
        </p:spPr>
      </p:pic>
      <p:pic>
        <p:nvPicPr>
          <p:cNvPr id="50" name="Clarity performance measurement">
            <a:extLst>
              <a:ext uri="{FF2B5EF4-FFF2-40B4-BE49-F238E27FC236}">
                <a16:creationId xmlns:a16="http://schemas.microsoft.com/office/drawing/2014/main" id="{46384312-2147-4145-9CF2-BF8F141C2617}"/>
              </a:ext>
            </a:extLst>
          </p:cNvPr>
          <p:cNvPicPr>
            <a:picLocks noChangeAspect="1"/>
          </p:cNvPicPr>
          <p:nvPr>
            <p:custDataLst>
              <p:tags r:id="rId47"/>
            </p:custDataLst>
          </p:nvPr>
        </p:nvPicPr>
        <p:blipFill>
          <a:blip r:embed="rId167" cstate="print">
            <a:extLst>
              <a:ext uri="{28A0092B-C50C-407E-A947-70E740481C1C}">
                <a14:useLocalDpi xmlns:a14="http://schemas.microsoft.com/office/drawing/2010/main" val="0"/>
              </a:ext>
              <a:ext uri="{96DAC541-7B7A-43D3-8B79-37D633B846F1}">
                <asvg:svgBlip xmlns:asvg="http://schemas.microsoft.com/office/drawing/2016/SVG/main" r:embed="rId168"/>
              </a:ext>
            </a:extLst>
          </a:blip>
          <a:stretch>
            <a:fillRect/>
          </a:stretch>
        </p:blipFill>
        <p:spPr>
          <a:xfrm>
            <a:off x="1330716" y="4586536"/>
            <a:ext cx="540000" cy="540000"/>
          </a:xfrm>
          <a:prstGeom prst="rect">
            <a:avLst/>
          </a:prstGeom>
        </p:spPr>
      </p:pic>
      <p:pic>
        <p:nvPicPr>
          <p:cNvPr id="51" name="Clarity performance management">
            <a:extLst>
              <a:ext uri="{FF2B5EF4-FFF2-40B4-BE49-F238E27FC236}">
                <a16:creationId xmlns:a16="http://schemas.microsoft.com/office/drawing/2014/main" id="{D258AD8C-FADF-D741-AE70-33BA30DB7B3F}"/>
              </a:ext>
            </a:extLst>
          </p:cNvPr>
          <p:cNvPicPr>
            <a:picLocks noChangeAspect="1"/>
          </p:cNvPicPr>
          <p:nvPr>
            <p:custDataLst>
              <p:tags r:id="rId48"/>
            </p:custDataLst>
          </p:nvPr>
        </p:nvPicPr>
        <p:blipFill>
          <a:blip r:embed="rId169" cstate="print">
            <a:extLst>
              <a:ext uri="{28A0092B-C50C-407E-A947-70E740481C1C}">
                <a14:useLocalDpi xmlns:a14="http://schemas.microsoft.com/office/drawing/2010/main" val="0"/>
              </a:ext>
              <a:ext uri="{96DAC541-7B7A-43D3-8B79-37D633B846F1}">
                <asvg:svgBlip xmlns:asvg="http://schemas.microsoft.com/office/drawing/2016/SVG/main" r:embed="rId170"/>
              </a:ext>
            </a:extLst>
          </a:blip>
          <a:stretch>
            <a:fillRect/>
          </a:stretch>
        </p:blipFill>
        <p:spPr>
          <a:xfrm>
            <a:off x="2115311" y="4586536"/>
            <a:ext cx="540000" cy="540000"/>
          </a:xfrm>
          <a:prstGeom prst="rect">
            <a:avLst/>
          </a:prstGeom>
        </p:spPr>
      </p:pic>
      <p:pic>
        <p:nvPicPr>
          <p:cNvPr id="52" name="Clarity participation rate">
            <a:extLst>
              <a:ext uri="{FF2B5EF4-FFF2-40B4-BE49-F238E27FC236}">
                <a16:creationId xmlns:a16="http://schemas.microsoft.com/office/drawing/2014/main" id="{04487F02-2C39-254D-B892-D04AD7286773}"/>
              </a:ext>
            </a:extLst>
          </p:cNvPr>
          <p:cNvPicPr>
            <a:picLocks noChangeAspect="1"/>
          </p:cNvPicPr>
          <p:nvPr>
            <p:custDataLst>
              <p:tags r:id="rId49"/>
            </p:custDataLst>
          </p:nvPr>
        </p:nvPicPr>
        <p:blipFill>
          <a:blip r:embed="rId171" cstate="print">
            <a:extLst>
              <a:ext uri="{28A0092B-C50C-407E-A947-70E740481C1C}">
                <a14:useLocalDpi xmlns:a14="http://schemas.microsoft.com/office/drawing/2010/main" val="0"/>
              </a:ext>
              <a:ext uri="{96DAC541-7B7A-43D3-8B79-37D633B846F1}">
                <asvg:svgBlip xmlns:asvg="http://schemas.microsoft.com/office/drawing/2016/SVG/main" r:embed="rId172"/>
              </a:ext>
            </a:extLst>
          </a:blip>
          <a:stretch>
            <a:fillRect/>
          </a:stretch>
        </p:blipFill>
        <p:spPr>
          <a:xfrm>
            <a:off x="6603409" y="3879534"/>
            <a:ext cx="540000" cy="540000"/>
          </a:xfrm>
          <a:prstGeom prst="rect">
            <a:avLst/>
          </a:prstGeom>
        </p:spPr>
      </p:pic>
      <p:pic>
        <p:nvPicPr>
          <p:cNvPr id="53" name="Clarity org dev process improv">
            <a:extLst>
              <a:ext uri="{FF2B5EF4-FFF2-40B4-BE49-F238E27FC236}">
                <a16:creationId xmlns:a16="http://schemas.microsoft.com/office/drawing/2014/main" id="{CD8A4F83-4A5B-F744-A5CB-2D8DA830EE74}"/>
              </a:ext>
            </a:extLst>
          </p:cNvPr>
          <p:cNvPicPr>
            <a:picLocks noChangeAspect="1"/>
          </p:cNvPicPr>
          <p:nvPr>
            <p:custDataLst>
              <p:tags r:id="rId50"/>
            </p:custDataLst>
          </p:nvPr>
        </p:nvPicPr>
        <p:blipFill>
          <a:blip r:embed="rId173" cstate="print">
            <a:extLst>
              <a:ext uri="{28A0092B-C50C-407E-A947-70E740481C1C}">
                <a14:useLocalDpi xmlns:a14="http://schemas.microsoft.com/office/drawing/2010/main" val="0"/>
              </a:ext>
              <a:ext uri="{96DAC541-7B7A-43D3-8B79-37D633B846F1}">
                <asvg:svgBlip xmlns:asvg="http://schemas.microsoft.com/office/drawing/2016/SVG/main" r:embed="rId174"/>
              </a:ext>
            </a:extLst>
          </a:blip>
          <a:stretch>
            <a:fillRect/>
          </a:stretch>
        </p:blipFill>
        <p:spPr>
          <a:xfrm>
            <a:off x="7291458" y="3879534"/>
            <a:ext cx="540000" cy="540000"/>
          </a:xfrm>
          <a:prstGeom prst="rect">
            <a:avLst/>
          </a:prstGeom>
        </p:spPr>
      </p:pic>
      <p:pic>
        <p:nvPicPr>
          <p:cNvPr id="54" name="Clarity omnichannel marketing">
            <a:extLst>
              <a:ext uri="{FF2B5EF4-FFF2-40B4-BE49-F238E27FC236}">
                <a16:creationId xmlns:a16="http://schemas.microsoft.com/office/drawing/2014/main" id="{9D5D9337-A326-4046-AC6F-E4E712F2B9EB}"/>
              </a:ext>
            </a:extLst>
          </p:cNvPr>
          <p:cNvPicPr>
            <a:picLocks noChangeAspect="1"/>
          </p:cNvPicPr>
          <p:nvPr>
            <p:custDataLst>
              <p:tags r:id="rId51"/>
            </p:custDataLst>
          </p:nvPr>
        </p:nvPicPr>
        <p:blipFill>
          <a:blip r:embed="rId175" cstate="print">
            <a:extLst>
              <a:ext uri="{28A0092B-C50C-407E-A947-70E740481C1C}">
                <a14:useLocalDpi xmlns:a14="http://schemas.microsoft.com/office/drawing/2010/main" val="0"/>
              </a:ext>
              <a:ext uri="{96DAC541-7B7A-43D3-8B79-37D633B846F1}">
                <asvg:svgBlip xmlns:asvg="http://schemas.microsoft.com/office/drawing/2016/SVG/main" r:embed="rId176"/>
              </a:ext>
            </a:extLst>
          </a:blip>
          <a:stretch>
            <a:fillRect/>
          </a:stretch>
        </p:blipFill>
        <p:spPr>
          <a:xfrm>
            <a:off x="8029089" y="3879534"/>
            <a:ext cx="540000" cy="540000"/>
          </a:xfrm>
          <a:prstGeom prst="rect">
            <a:avLst/>
          </a:prstGeom>
        </p:spPr>
      </p:pic>
      <p:pic>
        <p:nvPicPr>
          <p:cNvPr id="55" name="Clarity models analytics">
            <a:extLst>
              <a:ext uri="{FF2B5EF4-FFF2-40B4-BE49-F238E27FC236}">
                <a16:creationId xmlns:a16="http://schemas.microsoft.com/office/drawing/2014/main" id="{1583EDCA-6AAD-CF47-BDEA-7B39C8DA4B21}"/>
              </a:ext>
            </a:extLst>
          </p:cNvPr>
          <p:cNvPicPr>
            <a:picLocks noChangeAspect="1"/>
          </p:cNvPicPr>
          <p:nvPr>
            <p:custDataLst>
              <p:tags r:id="rId52"/>
            </p:custDataLst>
          </p:nvPr>
        </p:nvPicPr>
        <p:blipFill>
          <a:blip r:embed="rId177" cstate="print">
            <a:extLst>
              <a:ext uri="{28A0092B-C50C-407E-A947-70E740481C1C}">
                <a14:useLocalDpi xmlns:a14="http://schemas.microsoft.com/office/drawing/2010/main" val="0"/>
              </a:ext>
              <a:ext uri="{96DAC541-7B7A-43D3-8B79-37D633B846F1}">
                <asvg:svgBlip xmlns:asvg="http://schemas.microsoft.com/office/drawing/2016/SVG/main" r:embed="rId178"/>
              </a:ext>
            </a:extLst>
          </a:blip>
          <a:stretch>
            <a:fillRect/>
          </a:stretch>
        </p:blipFill>
        <p:spPr>
          <a:xfrm>
            <a:off x="597323" y="5268442"/>
            <a:ext cx="540000" cy="540000"/>
          </a:xfrm>
          <a:prstGeom prst="rect">
            <a:avLst/>
          </a:prstGeom>
        </p:spPr>
      </p:pic>
      <p:pic>
        <p:nvPicPr>
          <p:cNvPr id="56" name="Clarity mobile ringing">
            <a:extLst>
              <a:ext uri="{FF2B5EF4-FFF2-40B4-BE49-F238E27FC236}">
                <a16:creationId xmlns:a16="http://schemas.microsoft.com/office/drawing/2014/main" id="{94B0E4DA-7838-9E48-A857-C4EB176254E9}"/>
              </a:ext>
            </a:extLst>
          </p:cNvPr>
          <p:cNvPicPr>
            <a:picLocks noChangeAspect="1"/>
          </p:cNvPicPr>
          <p:nvPr>
            <p:custDataLst>
              <p:tags r:id="rId53"/>
            </p:custDataLst>
          </p:nvPr>
        </p:nvPicPr>
        <p:blipFill>
          <a:blip r:embed="rId179" cstate="print">
            <a:extLst>
              <a:ext uri="{28A0092B-C50C-407E-A947-70E740481C1C}">
                <a14:useLocalDpi xmlns:a14="http://schemas.microsoft.com/office/drawing/2010/main" val="0"/>
              </a:ext>
              <a:ext uri="{96DAC541-7B7A-43D3-8B79-37D633B846F1}">
                <asvg:svgBlip xmlns:asvg="http://schemas.microsoft.com/office/drawing/2016/SVG/main" r:embed="rId180"/>
              </a:ext>
            </a:extLst>
          </a:blip>
          <a:stretch>
            <a:fillRect/>
          </a:stretch>
        </p:blipFill>
        <p:spPr>
          <a:xfrm>
            <a:off x="1330716" y="5268442"/>
            <a:ext cx="540000" cy="540000"/>
          </a:xfrm>
          <a:prstGeom prst="rect">
            <a:avLst/>
          </a:prstGeom>
        </p:spPr>
      </p:pic>
      <p:pic>
        <p:nvPicPr>
          <p:cNvPr id="57" name="Clarity mobile incoming">
            <a:extLst>
              <a:ext uri="{FF2B5EF4-FFF2-40B4-BE49-F238E27FC236}">
                <a16:creationId xmlns:a16="http://schemas.microsoft.com/office/drawing/2014/main" id="{E3AC81D7-EA21-7342-AF9D-BCEBE3C9AAD7}"/>
              </a:ext>
            </a:extLst>
          </p:cNvPr>
          <p:cNvPicPr>
            <a:picLocks noChangeAspect="1"/>
          </p:cNvPicPr>
          <p:nvPr>
            <p:custDataLst>
              <p:tags r:id="rId54"/>
            </p:custDataLst>
          </p:nvPr>
        </p:nvPicPr>
        <p:blipFill>
          <a:blip r:embed="rId181" cstate="print">
            <a:extLst>
              <a:ext uri="{28A0092B-C50C-407E-A947-70E740481C1C}">
                <a14:useLocalDpi xmlns:a14="http://schemas.microsoft.com/office/drawing/2010/main" val="0"/>
              </a:ext>
              <a:ext uri="{96DAC541-7B7A-43D3-8B79-37D633B846F1}">
                <asvg:svgBlip xmlns:asvg="http://schemas.microsoft.com/office/drawing/2016/SVG/main" r:embed="rId182"/>
              </a:ext>
            </a:extLst>
          </a:blip>
          <a:stretch>
            <a:fillRect/>
          </a:stretch>
        </p:blipFill>
        <p:spPr>
          <a:xfrm>
            <a:off x="2115311" y="5268442"/>
            <a:ext cx="540000" cy="540000"/>
          </a:xfrm>
          <a:prstGeom prst="rect">
            <a:avLst/>
          </a:prstGeom>
        </p:spPr>
      </p:pic>
      <p:pic>
        <p:nvPicPr>
          <p:cNvPr id="58" name="Clarity retail International leader in the Food Industry">
            <a:extLst>
              <a:ext uri="{FF2B5EF4-FFF2-40B4-BE49-F238E27FC236}">
                <a16:creationId xmlns:a16="http://schemas.microsoft.com/office/drawing/2014/main" id="{7C4C7E2F-6ECE-654D-B06D-A21744296C2F}"/>
              </a:ext>
            </a:extLst>
          </p:cNvPr>
          <p:cNvPicPr>
            <a:picLocks noChangeAspect="1"/>
          </p:cNvPicPr>
          <p:nvPr>
            <p:custDataLst>
              <p:tags r:id="rId55"/>
            </p:custDataLst>
          </p:nvPr>
        </p:nvPicPr>
        <p:blipFill>
          <a:blip r:embed="rId183" cstate="print">
            <a:extLst>
              <a:ext uri="{28A0092B-C50C-407E-A947-70E740481C1C}">
                <a14:useLocalDpi xmlns:a14="http://schemas.microsoft.com/office/drawing/2010/main" val="0"/>
              </a:ext>
              <a:ext uri="{96DAC541-7B7A-43D3-8B79-37D633B846F1}">
                <asvg:svgBlip xmlns:asvg="http://schemas.microsoft.com/office/drawing/2016/SVG/main" r:embed="rId184"/>
              </a:ext>
            </a:extLst>
          </a:blip>
          <a:stretch>
            <a:fillRect/>
          </a:stretch>
        </p:blipFill>
        <p:spPr>
          <a:xfrm>
            <a:off x="2873882" y="4586536"/>
            <a:ext cx="540000" cy="540000"/>
          </a:xfrm>
          <a:prstGeom prst="rect">
            <a:avLst/>
          </a:prstGeom>
        </p:spPr>
      </p:pic>
      <p:pic>
        <p:nvPicPr>
          <p:cNvPr id="59" name="Clarity retail Admired successful household brands">
            <a:extLst>
              <a:ext uri="{FF2B5EF4-FFF2-40B4-BE49-F238E27FC236}">
                <a16:creationId xmlns:a16="http://schemas.microsoft.com/office/drawing/2014/main" id="{06453271-548F-9E41-9D85-496F14B5770F}"/>
              </a:ext>
            </a:extLst>
          </p:cNvPr>
          <p:cNvPicPr>
            <a:picLocks noChangeAspect="1"/>
          </p:cNvPicPr>
          <p:nvPr>
            <p:custDataLst>
              <p:tags r:id="rId56"/>
            </p:custDataLst>
          </p:nvPr>
        </p:nvPicPr>
        <p:blipFill>
          <a:blip r:embed="rId185" cstate="print">
            <a:extLst>
              <a:ext uri="{28A0092B-C50C-407E-A947-70E740481C1C}">
                <a14:useLocalDpi xmlns:a14="http://schemas.microsoft.com/office/drawing/2010/main" val="0"/>
              </a:ext>
              <a:ext uri="{96DAC541-7B7A-43D3-8B79-37D633B846F1}">
                <asvg:svgBlip xmlns:asvg="http://schemas.microsoft.com/office/drawing/2016/SVG/main" r:embed="rId186"/>
              </a:ext>
            </a:extLst>
          </a:blip>
          <a:stretch>
            <a:fillRect/>
          </a:stretch>
        </p:blipFill>
        <p:spPr>
          <a:xfrm>
            <a:off x="3600527" y="4586536"/>
            <a:ext cx="540000" cy="540000"/>
          </a:xfrm>
          <a:prstGeom prst="rect">
            <a:avLst/>
          </a:prstGeom>
        </p:spPr>
      </p:pic>
      <p:pic>
        <p:nvPicPr>
          <p:cNvPr id="60" name="Clarity regulatory compliance">
            <a:extLst>
              <a:ext uri="{FF2B5EF4-FFF2-40B4-BE49-F238E27FC236}">
                <a16:creationId xmlns:a16="http://schemas.microsoft.com/office/drawing/2014/main" id="{49592E7A-8728-B24F-9391-AC77DFDD2A9E}"/>
              </a:ext>
            </a:extLst>
          </p:cNvPr>
          <p:cNvPicPr>
            <a:picLocks noChangeAspect="1"/>
          </p:cNvPicPr>
          <p:nvPr>
            <p:custDataLst>
              <p:tags r:id="rId57"/>
            </p:custDataLst>
          </p:nvPr>
        </p:nvPicPr>
        <p:blipFill>
          <a:blip r:embed="rId187" cstate="print">
            <a:extLst>
              <a:ext uri="{28A0092B-C50C-407E-A947-70E740481C1C}">
                <a14:useLocalDpi xmlns:a14="http://schemas.microsoft.com/office/drawing/2010/main" val="0"/>
              </a:ext>
              <a:ext uri="{96DAC541-7B7A-43D3-8B79-37D633B846F1}">
                <asvg:svgBlip xmlns:asvg="http://schemas.microsoft.com/office/drawing/2016/SVG/main" r:embed="rId188"/>
              </a:ext>
            </a:extLst>
          </a:blip>
          <a:stretch>
            <a:fillRect/>
          </a:stretch>
        </p:blipFill>
        <p:spPr>
          <a:xfrm>
            <a:off x="4337975" y="4577205"/>
            <a:ext cx="540000" cy="540000"/>
          </a:xfrm>
          <a:prstGeom prst="rect">
            <a:avLst/>
          </a:prstGeom>
        </p:spPr>
      </p:pic>
      <p:pic>
        <p:nvPicPr>
          <p:cNvPr id="61" name="Clarity Regions west coast region">
            <a:extLst>
              <a:ext uri="{FF2B5EF4-FFF2-40B4-BE49-F238E27FC236}">
                <a16:creationId xmlns:a16="http://schemas.microsoft.com/office/drawing/2014/main" id="{4DE9816C-BBD5-B849-A235-CA488469BBDA}"/>
              </a:ext>
            </a:extLst>
          </p:cNvPr>
          <p:cNvPicPr>
            <a:picLocks noChangeAspect="1"/>
          </p:cNvPicPr>
          <p:nvPr>
            <p:custDataLst>
              <p:tags r:id="rId58"/>
            </p:custDataLst>
          </p:nvPr>
        </p:nvPicPr>
        <p:blipFill>
          <a:blip r:embed="rId189" cstate="print">
            <a:extLst>
              <a:ext uri="{28A0092B-C50C-407E-A947-70E740481C1C}">
                <a14:useLocalDpi xmlns:a14="http://schemas.microsoft.com/office/drawing/2010/main" val="0"/>
              </a:ext>
              <a:ext uri="{96DAC541-7B7A-43D3-8B79-37D633B846F1}">
                <asvg:svgBlip xmlns:asvg="http://schemas.microsoft.com/office/drawing/2016/SVG/main" r:embed="rId190"/>
              </a:ext>
            </a:extLst>
          </a:blip>
          <a:stretch>
            <a:fillRect/>
          </a:stretch>
        </p:blipFill>
        <p:spPr>
          <a:xfrm>
            <a:off x="5120400" y="4586536"/>
            <a:ext cx="540000" cy="540000"/>
          </a:xfrm>
          <a:prstGeom prst="rect">
            <a:avLst/>
          </a:prstGeom>
        </p:spPr>
      </p:pic>
      <p:pic>
        <p:nvPicPr>
          <p:cNvPr id="62" name="Clarity Regions south east region">
            <a:extLst>
              <a:ext uri="{FF2B5EF4-FFF2-40B4-BE49-F238E27FC236}">
                <a16:creationId xmlns:a16="http://schemas.microsoft.com/office/drawing/2014/main" id="{952ED9FE-0535-5247-82D1-5B6BAC316F7F}"/>
              </a:ext>
            </a:extLst>
          </p:cNvPr>
          <p:cNvPicPr>
            <a:picLocks noChangeAspect="1"/>
          </p:cNvPicPr>
          <p:nvPr>
            <p:custDataLst>
              <p:tags r:id="rId59"/>
            </p:custDataLst>
          </p:nvPr>
        </p:nvPicPr>
        <p:blipFill>
          <a:blip r:embed="rId191" cstate="print">
            <a:extLst>
              <a:ext uri="{28A0092B-C50C-407E-A947-70E740481C1C}">
                <a14:useLocalDpi xmlns:a14="http://schemas.microsoft.com/office/drawing/2010/main" val="0"/>
              </a:ext>
              <a:ext uri="{96DAC541-7B7A-43D3-8B79-37D633B846F1}">
                <asvg:svgBlip xmlns:asvg="http://schemas.microsoft.com/office/drawing/2016/SVG/main" r:embed="rId192"/>
              </a:ext>
            </a:extLst>
          </a:blip>
          <a:stretch>
            <a:fillRect/>
          </a:stretch>
        </p:blipFill>
        <p:spPr>
          <a:xfrm>
            <a:off x="5875728" y="4586536"/>
            <a:ext cx="540000" cy="540000"/>
          </a:xfrm>
          <a:prstGeom prst="rect">
            <a:avLst/>
          </a:prstGeom>
        </p:spPr>
      </p:pic>
      <p:pic>
        <p:nvPicPr>
          <p:cNvPr id="63" name="Clarity Regions north east region">
            <a:extLst>
              <a:ext uri="{FF2B5EF4-FFF2-40B4-BE49-F238E27FC236}">
                <a16:creationId xmlns:a16="http://schemas.microsoft.com/office/drawing/2014/main" id="{D27560A6-07D8-8D47-8E1F-FA681508B027}"/>
              </a:ext>
            </a:extLst>
          </p:cNvPr>
          <p:cNvPicPr>
            <a:picLocks noChangeAspect="1"/>
          </p:cNvPicPr>
          <p:nvPr>
            <p:custDataLst>
              <p:tags r:id="rId60"/>
            </p:custDataLst>
          </p:nvPr>
        </p:nvPicPr>
        <p:blipFill>
          <a:blip r:embed="rId193" cstate="print">
            <a:extLst>
              <a:ext uri="{28A0092B-C50C-407E-A947-70E740481C1C}">
                <a14:useLocalDpi xmlns:a14="http://schemas.microsoft.com/office/drawing/2010/main" val="0"/>
              </a:ext>
              <a:ext uri="{96DAC541-7B7A-43D3-8B79-37D633B846F1}">
                <asvg:svgBlip xmlns:asvg="http://schemas.microsoft.com/office/drawing/2016/SVG/main" r:embed="rId194"/>
              </a:ext>
            </a:extLst>
          </a:blip>
          <a:stretch>
            <a:fillRect/>
          </a:stretch>
        </p:blipFill>
        <p:spPr>
          <a:xfrm>
            <a:off x="6603409" y="4586536"/>
            <a:ext cx="540000" cy="540000"/>
          </a:xfrm>
          <a:prstGeom prst="rect">
            <a:avLst/>
          </a:prstGeom>
        </p:spPr>
      </p:pic>
      <p:pic>
        <p:nvPicPr>
          <p:cNvPr id="65" name="Clarity Services cloud engineering">
            <a:extLst>
              <a:ext uri="{FF2B5EF4-FFF2-40B4-BE49-F238E27FC236}">
                <a16:creationId xmlns:a16="http://schemas.microsoft.com/office/drawing/2014/main" id="{36DBDD3C-F14B-374C-8B7C-BBF99E81724A}"/>
              </a:ext>
            </a:extLst>
          </p:cNvPr>
          <p:cNvPicPr>
            <a:picLocks noChangeAspect="1"/>
          </p:cNvPicPr>
          <p:nvPr>
            <p:custDataLst>
              <p:tags r:id="rId61"/>
            </p:custDataLst>
          </p:nvPr>
        </p:nvPicPr>
        <p:blipFill>
          <a:blip r:embed="rId195" cstate="print">
            <a:extLst>
              <a:ext uri="{28A0092B-C50C-407E-A947-70E740481C1C}">
                <a14:useLocalDpi xmlns:a14="http://schemas.microsoft.com/office/drawing/2010/main" val="0"/>
              </a:ext>
              <a:ext uri="{96DAC541-7B7A-43D3-8B79-37D633B846F1}">
                <asvg:svgBlip xmlns:asvg="http://schemas.microsoft.com/office/drawing/2016/SVG/main" r:embed="rId196"/>
              </a:ext>
            </a:extLst>
          </a:blip>
          <a:stretch>
            <a:fillRect/>
          </a:stretch>
        </p:blipFill>
        <p:spPr>
          <a:xfrm>
            <a:off x="3600527" y="5268442"/>
            <a:ext cx="540000" cy="540000"/>
          </a:xfrm>
          <a:prstGeom prst="rect">
            <a:avLst/>
          </a:prstGeom>
        </p:spPr>
      </p:pic>
      <p:pic>
        <p:nvPicPr>
          <p:cNvPr id="66" name="Clarity segmentation">
            <a:extLst>
              <a:ext uri="{FF2B5EF4-FFF2-40B4-BE49-F238E27FC236}">
                <a16:creationId xmlns:a16="http://schemas.microsoft.com/office/drawing/2014/main" id="{114A1F89-C869-F949-9586-2FE5131DDCAE}"/>
              </a:ext>
            </a:extLst>
          </p:cNvPr>
          <p:cNvPicPr>
            <a:picLocks noChangeAspect="1"/>
          </p:cNvPicPr>
          <p:nvPr>
            <p:custDataLst>
              <p:tags r:id="rId62"/>
            </p:custDataLst>
          </p:nvPr>
        </p:nvPicPr>
        <p:blipFill>
          <a:blip r:embed="rId197" cstate="print">
            <a:extLst>
              <a:ext uri="{28A0092B-C50C-407E-A947-70E740481C1C}">
                <a14:useLocalDpi xmlns:a14="http://schemas.microsoft.com/office/drawing/2010/main" val="0"/>
              </a:ext>
              <a:ext uri="{96DAC541-7B7A-43D3-8B79-37D633B846F1}">
                <asvg:svgBlip xmlns:asvg="http://schemas.microsoft.com/office/drawing/2016/SVG/main" r:embed="rId198"/>
              </a:ext>
            </a:extLst>
          </a:blip>
          <a:stretch>
            <a:fillRect/>
          </a:stretch>
        </p:blipFill>
        <p:spPr>
          <a:xfrm>
            <a:off x="4337975" y="5268442"/>
            <a:ext cx="540000" cy="540000"/>
          </a:xfrm>
          <a:prstGeom prst="rect">
            <a:avLst/>
          </a:prstGeom>
        </p:spPr>
      </p:pic>
      <p:pic>
        <p:nvPicPr>
          <p:cNvPr id="67" name="Clarity security">
            <a:extLst>
              <a:ext uri="{FF2B5EF4-FFF2-40B4-BE49-F238E27FC236}">
                <a16:creationId xmlns:a16="http://schemas.microsoft.com/office/drawing/2014/main" id="{B89CDC86-0EAF-1F45-B4A3-CBEEA8F4BEC7}"/>
              </a:ext>
            </a:extLst>
          </p:cNvPr>
          <p:cNvPicPr>
            <a:picLocks noChangeAspect="1"/>
          </p:cNvPicPr>
          <p:nvPr>
            <p:custDataLst>
              <p:tags r:id="rId63"/>
            </p:custDataLst>
          </p:nvPr>
        </p:nvPicPr>
        <p:blipFill>
          <a:blip r:embed="rId199" cstate="print">
            <a:extLst>
              <a:ext uri="{28A0092B-C50C-407E-A947-70E740481C1C}">
                <a14:useLocalDpi xmlns:a14="http://schemas.microsoft.com/office/drawing/2010/main" val="0"/>
              </a:ext>
              <a:ext uri="{96DAC541-7B7A-43D3-8B79-37D633B846F1}">
                <asvg:svgBlip xmlns:asvg="http://schemas.microsoft.com/office/drawing/2016/SVG/main" r:embed="rId200"/>
              </a:ext>
            </a:extLst>
          </a:blip>
          <a:stretch>
            <a:fillRect/>
          </a:stretch>
        </p:blipFill>
        <p:spPr>
          <a:xfrm>
            <a:off x="5120400" y="5268442"/>
            <a:ext cx="540000" cy="540000"/>
          </a:xfrm>
          <a:prstGeom prst="rect">
            <a:avLst/>
          </a:prstGeom>
        </p:spPr>
      </p:pic>
      <p:pic>
        <p:nvPicPr>
          <p:cNvPr id="68" name="Clarity securities trading brokerage">
            <a:extLst>
              <a:ext uri="{FF2B5EF4-FFF2-40B4-BE49-F238E27FC236}">
                <a16:creationId xmlns:a16="http://schemas.microsoft.com/office/drawing/2014/main" id="{AF1A5FCB-C82E-CD48-971E-6E022E3C64E0}"/>
              </a:ext>
            </a:extLst>
          </p:cNvPr>
          <p:cNvPicPr>
            <a:picLocks noChangeAspect="1"/>
          </p:cNvPicPr>
          <p:nvPr>
            <p:custDataLst>
              <p:tags r:id="rId64"/>
            </p:custDataLst>
          </p:nvPr>
        </p:nvPicPr>
        <p:blipFill>
          <a:blip r:embed="rId201" cstate="print">
            <a:extLst>
              <a:ext uri="{28A0092B-C50C-407E-A947-70E740481C1C}">
                <a14:useLocalDpi xmlns:a14="http://schemas.microsoft.com/office/drawing/2010/main" val="0"/>
              </a:ext>
              <a:ext uri="{96DAC541-7B7A-43D3-8B79-37D633B846F1}">
                <asvg:svgBlip xmlns:asvg="http://schemas.microsoft.com/office/drawing/2016/SVG/main" r:embed="rId202"/>
              </a:ext>
            </a:extLst>
          </a:blip>
          <a:stretch>
            <a:fillRect/>
          </a:stretch>
        </p:blipFill>
        <p:spPr>
          <a:xfrm>
            <a:off x="5875728" y="5268442"/>
            <a:ext cx="540000" cy="540000"/>
          </a:xfrm>
          <a:prstGeom prst="rect">
            <a:avLst/>
          </a:prstGeom>
        </p:spPr>
      </p:pic>
      <p:pic>
        <p:nvPicPr>
          <p:cNvPr id="69" name="Clarity scales">
            <a:extLst>
              <a:ext uri="{FF2B5EF4-FFF2-40B4-BE49-F238E27FC236}">
                <a16:creationId xmlns:a16="http://schemas.microsoft.com/office/drawing/2014/main" id="{6A21F796-357F-6E42-BE38-D96E84E0AA1F}"/>
              </a:ext>
            </a:extLst>
          </p:cNvPr>
          <p:cNvPicPr>
            <a:picLocks noChangeAspect="1"/>
          </p:cNvPicPr>
          <p:nvPr>
            <p:custDataLst>
              <p:tags r:id="rId65"/>
            </p:custDataLst>
          </p:nvPr>
        </p:nvPicPr>
        <p:blipFill>
          <a:blip r:embed="rId203" cstate="print">
            <a:extLst>
              <a:ext uri="{28A0092B-C50C-407E-A947-70E740481C1C}">
                <a14:useLocalDpi xmlns:a14="http://schemas.microsoft.com/office/drawing/2010/main" val="0"/>
              </a:ext>
              <a:ext uri="{96DAC541-7B7A-43D3-8B79-37D633B846F1}">
                <asvg:svgBlip xmlns:asvg="http://schemas.microsoft.com/office/drawing/2016/SVG/main" r:embed="rId204"/>
              </a:ext>
            </a:extLst>
          </a:blip>
          <a:stretch>
            <a:fillRect/>
          </a:stretch>
        </p:blipFill>
        <p:spPr>
          <a:xfrm>
            <a:off x="6603409" y="5268442"/>
            <a:ext cx="540000" cy="540000"/>
          </a:xfrm>
          <a:prstGeom prst="rect">
            <a:avLst/>
          </a:prstGeom>
        </p:spPr>
      </p:pic>
      <p:pic>
        <p:nvPicPr>
          <p:cNvPr id="70" name="Clarity sandbox analytics">
            <a:extLst>
              <a:ext uri="{FF2B5EF4-FFF2-40B4-BE49-F238E27FC236}">
                <a16:creationId xmlns:a16="http://schemas.microsoft.com/office/drawing/2014/main" id="{B1F9D218-2A1A-C248-93D8-C4631C17D073}"/>
              </a:ext>
            </a:extLst>
          </p:cNvPr>
          <p:cNvPicPr>
            <a:picLocks noChangeAspect="1"/>
          </p:cNvPicPr>
          <p:nvPr>
            <p:custDataLst>
              <p:tags r:id="rId66"/>
            </p:custDataLst>
          </p:nvPr>
        </p:nvPicPr>
        <p:blipFill>
          <a:blip r:embed="rId205" cstate="print">
            <a:extLst>
              <a:ext uri="{28A0092B-C50C-407E-A947-70E740481C1C}">
                <a14:useLocalDpi xmlns:a14="http://schemas.microsoft.com/office/drawing/2010/main" val="0"/>
              </a:ext>
              <a:ext uri="{96DAC541-7B7A-43D3-8B79-37D633B846F1}">
                <asvg:svgBlip xmlns:asvg="http://schemas.microsoft.com/office/drawing/2016/SVG/main" r:embed="rId206"/>
              </a:ext>
            </a:extLst>
          </a:blip>
          <a:stretch>
            <a:fillRect/>
          </a:stretch>
        </p:blipFill>
        <p:spPr>
          <a:xfrm>
            <a:off x="7291458" y="5268442"/>
            <a:ext cx="540000" cy="540000"/>
          </a:xfrm>
          <a:prstGeom prst="rect">
            <a:avLst/>
          </a:prstGeom>
        </p:spPr>
      </p:pic>
      <p:pic>
        <p:nvPicPr>
          <p:cNvPr id="71" name="Clarity sales operations">
            <a:extLst>
              <a:ext uri="{FF2B5EF4-FFF2-40B4-BE49-F238E27FC236}">
                <a16:creationId xmlns:a16="http://schemas.microsoft.com/office/drawing/2014/main" id="{F60AD971-B1F7-B440-81A9-922A8A9A3363}"/>
              </a:ext>
            </a:extLst>
          </p:cNvPr>
          <p:cNvPicPr>
            <a:picLocks noChangeAspect="1"/>
          </p:cNvPicPr>
          <p:nvPr>
            <p:custDataLst>
              <p:tags r:id="rId67"/>
            </p:custDataLst>
          </p:nvPr>
        </p:nvPicPr>
        <p:blipFill>
          <a:blip r:embed="rId207" cstate="print">
            <a:extLst>
              <a:ext uri="{28A0092B-C50C-407E-A947-70E740481C1C}">
                <a14:useLocalDpi xmlns:a14="http://schemas.microsoft.com/office/drawing/2010/main" val="0"/>
              </a:ext>
              <a:ext uri="{96DAC541-7B7A-43D3-8B79-37D633B846F1}">
                <asvg:svgBlip xmlns:asvg="http://schemas.microsoft.com/office/drawing/2016/SVG/main" r:embed="rId208"/>
              </a:ext>
            </a:extLst>
          </a:blip>
          <a:stretch>
            <a:fillRect/>
          </a:stretch>
        </p:blipFill>
        <p:spPr>
          <a:xfrm>
            <a:off x="7291458" y="4586536"/>
            <a:ext cx="540000" cy="540000"/>
          </a:xfrm>
          <a:prstGeom prst="rect">
            <a:avLst/>
          </a:prstGeom>
        </p:spPr>
      </p:pic>
      <p:pic>
        <p:nvPicPr>
          <p:cNvPr id="72" name="Clarity roadmap">
            <a:extLst>
              <a:ext uri="{FF2B5EF4-FFF2-40B4-BE49-F238E27FC236}">
                <a16:creationId xmlns:a16="http://schemas.microsoft.com/office/drawing/2014/main" id="{B155288C-FAFB-7043-9DC9-8F5AF6C6ABB4}"/>
              </a:ext>
            </a:extLst>
          </p:cNvPr>
          <p:cNvPicPr>
            <a:picLocks noChangeAspect="1"/>
          </p:cNvPicPr>
          <p:nvPr>
            <p:custDataLst>
              <p:tags r:id="rId68"/>
            </p:custDataLst>
          </p:nvPr>
        </p:nvPicPr>
        <p:blipFill>
          <a:blip r:embed="rId209" cstate="print">
            <a:extLst>
              <a:ext uri="{28A0092B-C50C-407E-A947-70E740481C1C}">
                <a14:useLocalDpi xmlns:a14="http://schemas.microsoft.com/office/drawing/2010/main" val="0"/>
              </a:ext>
              <a:ext uri="{96DAC541-7B7A-43D3-8B79-37D633B846F1}">
                <asvg:svgBlip xmlns:asvg="http://schemas.microsoft.com/office/drawing/2016/SVG/main" r:embed="rId210"/>
              </a:ext>
            </a:extLst>
          </a:blip>
          <a:stretch>
            <a:fillRect/>
          </a:stretch>
        </p:blipFill>
        <p:spPr>
          <a:xfrm>
            <a:off x="8029089" y="4586536"/>
            <a:ext cx="540000" cy="540000"/>
          </a:xfrm>
          <a:prstGeom prst="rect">
            <a:avLst/>
          </a:prstGeom>
        </p:spPr>
      </p:pic>
      <p:pic>
        <p:nvPicPr>
          <p:cNvPr id="73" name="Clarity risk assessment">
            <a:extLst>
              <a:ext uri="{FF2B5EF4-FFF2-40B4-BE49-F238E27FC236}">
                <a16:creationId xmlns:a16="http://schemas.microsoft.com/office/drawing/2014/main" id="{014B8239-2C39-DF4A-AC33-AA707C5B3E06}"/>
              </a:ext>
            </a:extLst>
          </p:cNvPr>
          <p:cNvPicPr>
            <a:picLocks noChangeAspect="1"/>
          </p:cNvPicPr>
          <p:nvPr>
            <p:custDataLst>
              <p:tags r:id="rId69"/>
            </p:custDataLst>
          </p:nvPr>
        </p:nvPicPr>
        <p:blipFill>
          <a:blip r:embed="rId211" cstate="print">
            <a:extLst>
              <a:ext uri="{28A0092B-C50C-407E-A947-70E740481C1C}">
                <a14:useLocalDpi xmlns:a14="http://schemas.microsoft.com/office/drawing/2010/main" val="0"/>
              </a:ext>
              <a:ext uri="{96DAC541-7B7A-43D3-8B79-37D633B846F1}">
                <asvg:svgBlip xmlns:asvg="http://schemas.microsoft.com/office/drawing/2016/SVG/main" r:embed="rId212"/>
              </a:ext>
            </a:extLst>
          </a:blip>
          <a:stretch>
            <a:fillRect/>
          </a:stretch>
        </p:blipFill>
        <p:spPr>
          <a:xfrm>
            <a:off x="8776351" y="4586536"/>
            <a:ext cx="540000" cy="540000"/>
          </a:xfrm>
          <a:prstGeom prst="rect">
            <a:avLst/>
          </a:prstGeom>
        </p:spPr>
      </p:pic>
      <p:pic>
        <p:nvPicPr>
          <p:cNvPr id="75" name="Clarity revert circular arrow">
            <a:extLst>
              <a:ext uri="{FF2B5EF4-FFF2-40B4-BE49-F238E27FC236}">
                <a16:creationId xmlns:a16="http://schemas.microsoft.com/office/drawing/2014/main" id="{0149BC4C-FC1E-ED4F-8784-AEBA51299146}"/>
              </a:ext>
            </a:extLst>
          </p:cNvPr>
          <p:cNvPicPr>
            <a:picLocks noChangeAspect="1"/>
          </p:cNvPicPr>
          <p:nvPr>
            <p:custDataLst>
              <p:tags r:id="rId70"/>
            </p:custDataLst>
          </p:nvPr>
        </p:nvPicPr>
        <p:blipFill>
          <a:blip r:embed="rId213" cstate="print">
            <a:extLst>
              <a:ext uri="{28A0092B-C50C-407E-A947-70E740481C1C}">
                <a14:useLocalDpi xmlns:a14="http://schemas.microsoft.com/office/drawing/2010/main" val="0"/>
              </a:ext>
              <a:ext uri="{96DAC541-7B7A-43D3-8B79-37D633B846F1}">
                <asvg:svgBlip xmlns:asvg="http://schemas.microsoft.com/office/drawing/2016/SVG/main" r:embed="rId214"/>
              </a:ext>
            </a:extLst>
          </a:blip>
          <a:stretch>
            <a:fillRect/>
          </a:stretch>
        </p:blipFill>
        <p:spPr>
          <a:xfrm>
            <a:off x="2873882" y="5260616"/>
            <a:ext cx="540000" cy="555652"/>
          </a:xfrm>
          <a:prstGeom prst="rect">
            <a:avLst/>
          </a:prstGeom>
        </p:spPr>
      </p:pic>
      <p:pic>
        <p:nvPicPr>
          <p:cNvPr id="77" name="Clarity retail store One of the largest specialty stores in north america">
            <a:extLst>
              <a:ext uri="{FF2B5EF4-FFF2-40B4-BE49-F238E27FC236}">
                <a16:creationId xmlns:a16="http://schemas.microsoft.com/office/drawing/2014/main" id="{9E5261D5-F831-A64D-BF24-5DA546C322AC}"/>
              </a:ext>
            </a:extLst>
          </p:cNvPr>
          <p:cNvPicPr>
            <a:picLocks noChangeAspect="1"/>
          </p:cNvPicPr>
          <p:nvPr>
            <p:custDataLst>
              <p:tags r:id="rId71"/>
            </p:custDataLst>
          </p:nvPr>
        </p:nvPicPr>
        <p:blipFill>
          <a:blip r:embed="rId215" cstate="print">
            <a:extLst>
              <a:ext uri="{28A0092B-C50C-407E-A947-70E740481C1C}">
                <a14:useLocalDpi xmlns:a14="http://schemas.microsoft.com/office/drawing/2010/main" val="0"/>
              </a:ext>
              <a:ext uri="{96DAC541-7B7A-43D3-8B79-37D633B846F1}">
                <asvg:svgBlip xmlns:asvg="http://schemas.microsoft.com/office/drawing/2016/SVG/main" r:embed="rId216"/>
              </a:ext>
            </a:extLst>
          </a:blip>
          <a:stretch>
            <a:fillRect/>
          </a:stretch>
        </p:blipFill>
        <p:spPr>
          <a:xfrm>
            <a:off x="8029089" y="5268442"/>
            <a:ext cx="540000" cy="540000"/>
          </a:xfrm>
          <a:prstGeom prst="rect">
            <a:avLst/>
          </a:prstGeom>
        </p:spPr>
      </p:pic>
      <p:pic>
        <p:nvPicPr>
          <p:cNvPr id="78" name="Clarity retail National kitchenwares home furnishing  company">
            <a:extLst>
              <a:ext uri="{FF2B5EF4-FFF2-40B4-BE49-F238E27FC236}">
                <a16:creationId xmlns:a16="http://schemas.microsoft.com/office/drawing/2014/main" id="{D5924C1B-FC60-174D-AB5A-A3957BB39413}"/>
              </a:ext>
            </a:extLst>
          </p:cNvPr>
          <p:cNvPicPr>
            <a:picLocks noChangeAspect="1"/>
          </p:cNvPicPr>
          <p:nvPr>
            <p:custDataLst>
              <p:tags r:id="rId72"/>
            </p:custDataLst>
          </p:nvPr>
        </p:nvPicPr>
        <p:blipFill>
          <a:blip r:embed="rId217" cstate="print">
            <a:extLst>
              <a:ext uri="{28A0092B-C50C-407E-A947-70E740481C1C}">
                <a14:useLocalDpi xmlns:a14="http://schemas.microsoft.com/office/drawing/2010/main" val="0"/>
              </a:ext>
              <a:ext uri="{96DAC541-7B7A-43D3-8B79-37D633B846F1}">
                <asvg:svgBlip xmlns:asvg="http://schemas.microsoft.com/office/drawing/2016/SVG/main" r:embed="rId218"/>
              </a:ext>
            </a:extLst>
          </a:blip>
          <a:stretch>
            <a:fillRect/>
          </a:stretch>
        </p:blipFill>
        <p:spPr>
          <a:xfrm>
            <a:off x="8776351" y="3879534"/>
            <a:ext cx="540000" cy="540000"/>
          </a:xfrm>
          <a:prstGeom prst="rect">
            <a:avLst/>
          </a:prstGeom>
        </p:spPr>
      </p:pic>
      <p:pic>
        <p:nvPicPr>
          <p:cNvPr id="79" name="Clarity retail Market leaders  integrating SAP HANA Hadoop">
            <a:extLst>
              <a:ext uri="{FF2B5EF4-FFF2-40B4-BE49-F238E27FC236}">
                <a16:creationId xmlns:a16="http://schemas.microsoft.com/office/drawing/2014/main" id="{B9AA003D-E068-3345-BE39-8187AA1E816E}"/>
              </a:ext>
            </a:extLst>
          </p:cNvPr>
          <p:cNvPicPr>
            <a:picLocks noChangeAspect="1"/>
          </p:cNvPicPr>
          <p:nvPr>
            <p:custDataLst>
              <p:tags r:id="rId73"/>
            </p:custDataLst>
          </p:nvPr>
        </p:nvPicPr>
        <p:blipFill>
          <a:blip r:embed="rId219" cstate="print">
            <a:extLst>
              <a:ext uri="{28A0092B-C50C-407E-A947-70E740481C1C}">
                <a14:useLocalDpi xmlns:a14="http://schemas.microsoft.com/office/drawing/2010/main" val="0"/>
              </a:ext>
              <a:ext uri="{96DAC541-7B7A-43D3-8B79-37D633B846F1}">
                <asvg:svgBlip xmlns:asvg="http://schemas.microsoft.com/office/drawing/2016/SVG/main" r:embed="rId220"/>
              </a:ext>
            </a:extLst>
          </a:blip>
          <a:stretch>
            <a:fillRect/>
          </a:stretch>
        </p:blipFill>
        <p:spPr>
          <a:xfrm>
            <a:off x="8776351" y="5268442"/>
            <a:ext cx="540000" cy="540000"/>
          </a:xfrm>
          <a:prstGeom prst="rect">
            <a:avLst/>
          </a:prstGeom>
        </p:spPr>
      </p:pic>
    </p:spTree>
    <p:extLst>
      <p:ext uri="{BB962C8B-B14F-4D97-AF65-F5344CB8AC3E}">
        <p14:creationId xmlns:p14="http://schemas.microsoft.com/office/powerpoint/2010/main" val="4354036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809088C0-162B-A291-80BD-C10579E2E872}"/>
              </a:ext>
            </a:extLst>
          </p:cNvPr>
          <p:cNvGraphicFramePr>
            <a:graphicFrameLocks noChangeAspect="1"/>
          </p:cNvGraphicFramePr>
          <p:nvPr>
            <p:custDataLst>
              <p:tags r:id="rId1"/>
            </p:custDataLst>
            <p:extLst>
              <p:ext uri="{D42A27DB-BD31-4B8C-83A1-F6EECF244321}">
                <p14:modId xmlns:p14="http://schemas.microsoft.com/office/powerpoint/2010/main" val="131902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5" name="think-cell data - do not delete" hidden="1">
                        <a:extLst>
                          <a:ext uri="{FF2B5EF4-FFF2-40B4-BE49-F238E27FC236}">
                            <a16:creationId xmlns:a16="http://schemas.microsoft.com/office/drawing/2014/main" id="{809088C0-162B-A291-80BD-C10579E2E8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D1CF8BCD-1C80-0747-97DB-500B890C2361}"/>
              </a:ext>
            </a:extLst>
          </p:cNvPr>
          <p:cNvSpPr>
            <a:spLocks noGrp="1"/>
          </p:cNvSpPr>
          <p:nvPr>
            <p:ph type="body" sz="quarter" idx="10"/>
          </p:nvPr>
        </p:nvSpPr>
        <p:spPr/>
        <p:txBody>
          <a:bodyPr/>
          <a:lstStyle/>
          <a:p>
            <a:r>
              <a:rPr lang="en-US" dirty="0"/>
              <a:t>More icons will be added as/when needed or per your request</a:t>
            </a:r>
          </a:p>
        </p:txBody>
      </p:sp>
      <p:sp>
        <p:nvSpPr>
          <p:cNvPr id="3" name="Title 2">
            <a:extLst>
              <a:ext uri="{FF2B5EF4-FFF2-40B4-BE49-F238E27FC236}">
                <a16:creationId xmlns:a16="http://schemas.microsoft.com/office/drawing/2014/main" id="{CAAFCD89-3917-3744-BF5F-677B8287E7F5}"/>
              </a:ext>
            </a:extLst>
          </p:cNvPr>
          <p:cNvSpPr>
            <a:spLocks noGrp="1"/>
          </p:cNvSpPr>
          <p:nvPr>
            <p:ph type="title"/>
          </p:nvPr>
        </p:nvSpPr>
        <p:spPr/>
        <p:txBody>
          <a:bodyPr vert="horz"/>
          <a:lstStyle/>
          <a:p>
            <a:r>
              <a:rPr lang="en-US" dirty="0"/>
              <a:t>Icons</a:t>
            </a:r>
          </a:p>
        </p:txBody>
      </p:sp>
      <p:sp>
        <p:nvSpPr>
          <p:cNvPr id="5" name="Text Placeholder 4">
            <a:extLst>
              <a:ext uri="{FF2B5EF4-FFF2-40B4-BE49-F238E27FC236}">
                <a16:creationId xmlns:a16="http://schemas.microsoft.com/office/drawing/2014/main" id="{1D4082BA-D94A-9B07-2F5C-2D001176C4BF}"/>
              </a:ext>
            </a:extLst>
          </p:cNvPr>
          <p:cNvSpPr>
            <a:spLocks noGrp="1"/>
          </p:cNvSpPr>
          <p:nvPr>
            <p:ph type="body" sz="quarter" idx="27"/>
          </p:nvPr>
        </p:nvSpPr>
        <p:spPr/>
        <p:txBody>
          <a:bodyPr/>
          <a:lstStyle/>
          <a:p>
            <a:endParaRPr lang="nl-NL"/>
          </a:p>
        </p:txBody>
      </p:sp>
      <p:pic>
        <p:nvPicPr>
          <p:cNvPr id="6" name="Graphic 5">
            <a:extLst>
              <a:ext uri="{FF2B5EF4-FFF2-40B4-BE49-F238E27FC236}">
                <a16:creationId xmlns:a16="http://schemas.microsoft.com/office/drawing/2014/main" id="{0B77E94E-0971-C244-AB65-DA2200451C1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2399" y="1783178"/>
            <a:ext cx="644295" cy="666511"/>
          </a:xfrm>
          <a:prstGeom prst="rect">
            <a:avLst/>
          </a:prstGeom>
        </p:spPr>
      </p:pic>
      <p:pic>
        <p:nvPicPr>
          <p:cNvPr id="7" name="Graphic 6">
            <a:extLst>
              <a:ext uri="{FF2B5EF4-FFF2-40B4-BE49-F238E27FC236}">
                <a16:creationId xmlns:a16="http://schemas.microsoft.com/office/drawing/2014/main" id="{D69FECF8-2EAF-004E-BC6A-C5CF1D6E481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3478" y="3548867"/>
            <a:ext cx="693216" cy="609190"/>
          </a:xfrm>
          <a:prstGeom prst="rect">
            <a:avLst/>
          </a:prstGeom>
        </p:spPr>
      </p:pic>
      <p:grpSp>
        <p:nvGrpSpPr>
          <p:cNvPr id="8" name="Group 7">
            <a:extLst>
              <a:ext uri="{FF2B5EF4-FFF2-40B4-BE49-F238E27FC236}">
                <a16:creationId xmlns:a16="http://schemas.microsoft.com/office/drawing/2014/main" id="{4C1849E8-4215-064D-B481-AB58B5CC517D}"/>
              </a:ext>
            </a:extLst>
          </p:cNvPr>
          <p:cNvGrpSpPr>
            <a:grpSpLocks noChangeAspect="1"/>
          </p:cNvGrpSpPr>
          <p:nvPr/>
        </p:nvGrpSpPr>
        <p:grpSpPr>
          <a:xfrm>
            <a:off x="343478" y="2573007"/>
            <a:ext cx="742136" cy="730178"/>
            <a:chOff x="2712993" y="2160441"/>
            <a:chExt cx="1195218" cy="1293556"/>
          </a:xfrm>
        </p:grpSpPr>
        <p:pic>
          <p:nvPicPr>
            <p:cNvPr id="9" name="Graphic 8">
              <a:extLst>
                <a:ext uri="{FF2B5EF4-FFF2-40B4-BE49-F238E27FC236}">
                  <a16:creationId xmlns:a16="http://schemas.microsoft.com/office/drawing/2014/main" id="{93CB89E0-9A9D-A04B-95FE-D00617826C8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712993" y="2675945"/>
              <a:ext cx="800100" cy="647700"/>
            </a:xfrm>
            <a:prstGeom prst="rect">
              <a:avLst/>
            </a:prstGeom>
          </p:spPr>
        </p:pic>
        <p:sp>
          <p:nvSpPr>
            <p:cNvPr id="10" name="Freeform 89">
              <a:extLst>
                <a:ext uri="{FF2B5EF4-FFF2-40B4-BE49-F238E27FC236}">
                  <a16:creationId xmlns:a16="http://schemas.microsoft.com/office/drawing/2014/main" id="{D9C5DD81-9FF2-D349-991B-30DE993BE297}"/>
                </a:ext>
              </a:extLst>
            </p:cNvPr>
            <p:cNvSpPr/>
            <p:nvPr/>
          </p:nvSpPr>
          <p:spPr>
            <a:xfrm>
              <a:off x="3124561" y="2930390"/>
              <a:ext cx="654381" cy="407363"/>
            </a:xfrm>
            <a:custGeom>
              <a:avLst/>
              <a:gdLst>
                <a:gd name="connsiteX0" fmla="*/ 0 w 654381"/>
                <a:gd name="connsiteY0" fmla="*/ 4333 h 407363"/>
                <a:gd name="connsiteX1" fmla="*/ 264353 w 654381"/>
                <a:gd name="connsiteY1" fmla="*/ 143010 h 407363"/>
                <a:gd name="connsiteX2" fmla="*/ 268686 w 654381"/>
                <a:gd name="connsiteY2" fmla="*/ 0 h 407363"/>
                <a:gd name="connsiteX3" fmla="*/ 463701 w 654381"/>
                <a:gd name="connsiteY3" fmla="*/ 108341 h 407363"/>
                <a:gd name="connsiteX4" fmla="*/ 654381 w 654381"/>
                <a:gd name="connsiteY4" fmla="*/ 134343 h 407363"/>
                <a:gd name="connsiteX5" fmla="*/ 654381 w 654381"/>
                <a:gd name="connsiteY5" fmla="*/ 407363 h 407363"/>
                <a:gd name="connsiteX6" fmla="*/ 0 w 654381"/>
                <a:gd name="connsiteY6" fmla="*/ 394362 h 407363"/>
                <a:gd name="connsiteX7" fmla="*/ 0 w 654381"/>
                <a:gd name="connsiteY7" fmla="*/ 4333 h 407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4381" h="407363">
                  <a:moveTo>
                    <a:pt x="0" y="4333"/>
                  </a:moveTo>
                  <a:lnTo>
                    <a:pt x="264353" y="143010"/>
                  </a:lnTo>
                  <a:lnTo>
                    <a:pt x="268686" y="0"/>
                  </a:lnTo>
                  <a:lnTo>
                    <a:pt x="463701" y="108341"/>
                  </a:lnTo>
                  <a:lnTo>
                    <a:pt x="654381" y="134343"/>
                  </a:lnTo>
                  <a:lnTo>
                    <a:pt x="654381" y="407363"/>
                  </a:lnTo>
                  <a:lnTo>
                    <a:pt x="0" y="394362"/>
                  </a:lnTo>
                  <a:lnTo>
                    <a:pt x="0" y="4333"/>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US" sz="1000" dirty="0" err="1">
                <a:solidFill>
                  <a:schemeClr val="bg1"/>
                </a:solidFill>
              </a:endParaRPr>
            </a:p>
          </p:txBody>
        </p:sp>
        <p:pic>
          <p:nvPicPr>
            <p:cNvPr id="11" name="Graphic 10" descr="Factory outline">
              <a:extLst>
                <a:ext uri="{FF2B5EF4-FFF2-40B4-BE49-F238E27FC236}">
                  <a16:creationId xmlns:a16="http://schemas.microsoft.com/office/drawing/2014/main" id="{A9E0819F-F39B-6948-B6CA-12FFFBD500E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2993811" y="2539597"/>
              <a:ext cx="914400" cy="914400"/>
            </a:xfrm>
            <a:prstGeom prst="rect">
              <a:avLst/>
            </a:prstGeom>
          </p:spPr>
        </p:pic>
        <p:sp>
          <p:nvSpPr>
            <p:cNvPr id="12" name="Freeform 93">
              <a:extLst>
                <a:ext uri="{FF2B5EF4-FFF2-40B4-BE49-F238E27FC236}">
                  <a16:creationId xmlns:a16="http://schemas.microsoft.com/office/drawing/2014/main" id="{5C88121C-F3E6-B34E-9EAB-849437BB919D}"/>
                </a:ext>
              </a:extLst>
            </p:cNvPr>
            <p:cNvSpPr/>
            <p:nvPr/>
          </p:nvSpPr>
          <p:spPr>
            <a:xfrm>
              <a:off x="3238119" y="2160441"/>
              <a:ext cx="515275" cy="481126"/>
            </a:xfrm>
            <a:custGeom>
              <a:avLst/>
              <a:gdLst>
                <a:gd name="connsiteX0" fmla="*/ 513399 w 515275"/>
                <a:gd name="connsiteY0" fmla="*/ 391125 h 481126"/>
                <a:gd name="connsiteX1" fmla="*/ 512294 w 515275"/>
                <a:gd name="connsiteY1" fmla="*/ 385067 h 481126"/>
                <a:gd name="connsiteX2" fmla="*/ 381001 w 515275"/>
                <a:gd name="connsiteY2" fmla="*/ 276263 h 481126"/>
                <a:gd name="connsiteX3" fmla="*/ 361951 w 515275"/>
                <a:gd name="connsiteY3" fmla="*/ 258061 h 481126"/>
                <a:gd name="connsiteX4" fmla="*/ 361951 w 515275"/>
                <a:gd name="connsiteY4" fmla="*/ 257213 h 481126"/>
                <a:gd name="connsiteX5" fmla="*/ 361951 w 515275"/>
                <a:gd name="connsiteY5" fmla="*/ 247688 h 481126"/>
                <a:gd name="connsiteX6" fmla="*/ 272883 w 515275"/>
                <a:gd name="connsiteY6" fmla="*/ 144228 h 481126"/>
                <a:gd name="connsiteX7" fmla="*/ 267882 w 515275"/>
                <a:gd name="connsiteY7" fmla="*/ 143456 h 481126"/>
                <a:gd name="connsiteX8" fmla="*/ 267882 w 515275"/>
                <a:gd name="connsiteY8" fmla="*/ 143456 h 481126"/>
                <a:gd name="connsiteX9" fmla="*/ 256757 w 515275"/>
                <a:gd name="connsiteY9" fmla="*/ 142875 h 481126"/>
                <a:gd name="connsiteX10" fmla="*/ 238140 w 515275"/>
                <a:gd name="connsiteY10" fmla="*/ 124288 h 481126"/>
                <a:gd name="connsiteX11" fmla="*/ 238145 w 515275"/>
                <a:gd name="connsiteY11" fmla="*/ 123825 h 481126"/>
                <a:gd name="connsiteX12" fmla="*/ 119083 w 515275"/>
                <a:gd name="connsiteY12" fmla="*/ 0 h 481126"/>
                <a:gd name="connsiteX13" fmla="*/ 20 w 515275"/>
                <a:gd name="connsiteY13" fmla="*/ 123825 h 481126"/>
                <a:gd name="connsiteX14" fmla="*/ 59713 w 515275"/>
                <a:gd name="connsiteY14" fmla="*/ 230724 h 481126"/>
                <a:gd name="connsiteX15" fmla="*/ 143652 w 515275"/>
                <a:gd name="connsiteY15" fmla="*/ 350930 h 481126"/>
                <a:gd name="connsiteX16" fmla="*/ 158116 w 515275"/>
                <a:gd name="connsiteY16" fmla="*/ 352463 h 481126"/>
                <a:gd name="connsiteX17" fmla="*/ 212895 w 515275"/>
                <a:gd name="connsiteY17" fmla="*/ 335813 h 481126"/>
                <a:gd name="connsiteX18" fmla="*/ 296229 w 515275"/>
                <a:gd name="connsiteY18" fmla="*/ 371513 h 481126"/>
                <a:gd name="connsiteX19" fmla="*/ 391479 w 515275"/>
                <a:gd name="connsiteY19" fmla="*/ 371513 h 481126"/>
                <a:gd name="connsiteX20" fmla="*/ 429579 w 515275"/>
                <a:gd name="connsiteY20" fmla="*/ 408789 h 481126"/>
                <a:gd name="connsiteX21" fmla="*/ 429579 w 515275"/>
                <a:gd name="connsiteY21" fmla="*/ 409613 h 481126"/>
                <a:gd name="connsiteX22" fmla="*/ 429579 w 515275"/>
                <a:gd name="connsiteY22" fmla="*/ 481051 h 481126"/>
                <a:gd name="connsiteX23" fmla="*/ 448629 w 515275"/>
                <a:gd name="connsiteY23" fmla="*/ 481051 h 481126"/>
                <a:gd name="connsiteX24" fmla="*/ 448629 w 515275"/>
                <a:gd name="connsiteY24" fmla="*/ 409613 h 481126"/>
                <a:gd name="connsiteX25" fmla="*/ 392686 w 515275"/>
                <a:gd name="connsiteY25" fmla="*/ 352463 h 481126"/>
                <a:gd name="connsiteX26" fmla="*/ 391479 w 515275"/>
                <a:gd name="connsiteY26" fmla="*/ 352463 h 481126"/>
                <a:gd name="connsiteX27" fmla="*/ 296229 w 515275"/>
                <a:gd name="connsiteY27" fmla="*/ 352463 h 481126"/>
                <a:gd name="connsiteX28" fmla="*/ 225829 w 515275"/>
                <a:gd name="connsiteY28" fmla="*/ 321526 h 481126"/>
                <a:gd name="connsiteX29" fmla="*/ 233840 w 515275"/>
                <a:gd name="connsiteY29" fmla="*/ 310258 h 481126"/>
                <a:gd name="connsiteX30" fmla="*/ 230549 w 515275"/>
                <a:gd name="connsiteY30" fmla="*/ 297194 h 481126"/>
                <a:gd name="connsiteX31" fmla="*/ 217486 w 515275"/>
                <a:gd name="connsiteY31" fmla="*/ 300485 h 481126"/>
                <a:gd name="connsiteX32" fmla="*/ 196550 w 515275"/>
                <a:gd name="connsiteY32" fmla="*/ 323498 h 481126"/>
                <a:gd name="connsiteX33" fmla="*/ 158116 w 515275"/>
                <a:gd name="connsiteY33" fmla="*/ 333413 h 481126"/>
                <a:gd name="connsiteX34" fmla="*/ 77115 w 515275"/>
                <a:gd name="connsiteY34" fmla="*/ 250331 h 481126"/>
                <a:gd name="connsiteX35" fmla="*/ 77154 w 515275"/>
                <a:gd name="connsiteY35" fmla="*/ 248641 h 481126"/>
                <a:gd name="connsiteX36" fmla="*/ 79725 w 515275"/>
                <a:gd name="connsiteY36" fmla="*/ 228095 h 481126"/>
                <a:gd name="connsiteX37" fmla="*/ 81630 w 515275"/>
                <a:gd name="connsiteY37" fmla="*/ 220685 h 481126"/>
                <a:gd name="connsiteX38" fmla="*/ 74801 w 515275"/>
                <a:gd name="connsiteY38" fmla="*/ 217265 h 481126"/>
                <a:gd name="connsiteX39" fmla="*/ 19051 w 515275"/>
                <a:gd name="connsiteY39" fmla="*/ 123863 h 481126"/>
                <a:gd name="connsiteX40" fmla="*/ 119064 w 515275"/>
                <a:gd name="connsiteY40" fmla="*/ 19088 h 481126"/>
                <a:gd name="connsiteX41" fmla="*/ 219076 w 515275"/>
                <a:gd name="connsiteY41" fmla="*/ 123863 h 481126"/>
                <a:gd name="connsiteX42" fmla="*/ 227344 w 515275"/>
                <a:gd name="connsiteY42" fmla="*/ 147552 h 481126"/>
                <a:gd name="connsiteX43" fmla="*/ 215533 w 515275"/>
                <a:gd name="connsiteY43" fmla="*/ 152181 h 481126"/>
                <a:gd name="connsiteX44" fmla="*/ 211018 w 515275"/>
                <a:gd name="connsiteY44" fmla="*/ 164878 h 481126"/>
                <a:gd name="connsiteX45" fmla="*/ 223715 w 515275"/>
                <a:gd name="connsiteY45" fmla="*/ 169393 h 481126"/>
                <a:gd name="connsiteX46" fmla="*/ 257853 w 515275"/>
                <a:gd name="connsiteY46" fmla="*/ 162001 h 481126"/>
                <a:gd name="connsiteX47" fmla="*/ 262729 w 515275"/>
                <a:gd name="connsiteY47" fmla="*/ 162249 h 481126"/>
                <a:gd name="connsiteX48" fmla="*/ 272416 w 515275"/>
                <a:gd name="connsiteY48" fmla="*/ 163478 h 481126"/>
                <a:gd name="connsiteX49" fmla="*/ 272645 w 515275"/>
                <a:gd name="connsiteY49" fmla="*/ 163478 h 481126"/>
                <a:gd name="connsiteX50" fmla="*/ 342901 w 515275"/>
                <a:gd name="connsiteY50" fmla="*/ 247688 h 481126"/>
                <a:gd name="connsiteX51" fmla="*/ 342901 w 515275"/>
                <a:gd name="connsiteY51" fmla="*/ 257213 h 481126"/>
                <a:gd name="connsiteX52" fmla="*/ 380177 w 515275"/>
                <a:gd name="connsiteY52" fmla="*/ 295313 h 481126"/>
                <a:gd name="connsiteX53" fmla="*/ 381001 w 515275"/>
                <a:gd name="connsiteY53" fmla="*/ 295313 h 481126"/>
                <a:gd name="connsiteX54" fmla="*/ 493396 w 515275"/>
                <a:gd name="connsiteY54" fmla="*/ 387772 h 481126"/>
                <a:gd name="connsiteX55" fmla="*/ 494577 w 515275"/>
                <a:gd name="connsiteY55" fmla="*/ 395392 h 481126"/>
                <a:gd name="connsiteX56" fmla="*/ 495273 w 515275"/>
                <a:gd name="connsiteY56" fmla="*/ 409565 h 481126"/>
                <a:gd name="connsiteX57" fmla="*/ 496225 w 515275"/>
                <a:gd name="connsiteY57" fmla="*/ 481127 h 481126"/>
                <a:gd name="connsiteX58" fmla="*/ 515275 w 515275"/>
                <a:gd name="connsiteY58" fmla="*/ 480879 h 481126"/>
                <a:gd name="connsiteX59" fmla="*/ 514351 w 515275"/>
                <a:gd name="connsiteY59" fmla="*/ 409223 h 481126"/>
                <a:gd name="connsiteX60" fmla="*/ 513399 w 515275"/>
                <a:gd name="connsiteY60" fmla="*/ 391125 h 48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15275" h="481126">
                  <a:moveTo>
                    <a:pt x="513399" y="391125"/>
                  </a:moveTo>
                  <a:cubicBezTo>
                    <a:pt x="513136" y="389088"/>
                    <a:pt x="512766" y="387066"/>
                    <a:pt x="512294" y="385067"/>
                  </a:cubicBezTo>
                  <a:cubicBezTo>
                    <a:pt x="500546" y="321854"/>
                    <a:pt x="445298" y="276069"/>
                    <a:pt x="381001" y="276263"/>
                  </a:cubicBezTo>
                  <a:cubicBezTo>
                    <a:pt x="370714" y="276497"/>
                    <a:pt x="362186" y="268348"/>
                    <a:pt x="361951" y="258061"/>
                  </a:cubicBezTo>
                  <a:cubicBezTo>
                    <a:pt x="361945" y="257778"/>
                    <a:pt x="361945" y="257496"/>
                    <a:pt x="361951" y="257213"/>
                  </a:cubicBezTo>
                  <a:lnTo>
                    <a:pt x="361951" y="247688"/>
                  </a:lnTo>
                  <a:cubicBezTo>
                    <a:pt x="361859" y="195948"/>
                    <a:pt x="324034" y="152011"/>
                    <a:pt x="272883" y="144228"/>
                  </a:cubicBezTo>
                  <a:cubicBezTo>
                    <a:pt x="271216" y="143942"/>
                    <a:pt x="269549" y="143647"/>
                    <a:pt x="267882" y="143456"/>
                  </a:cubicBezTo>
                  <a:lnTo>
                    <a:pt x="267882" y="143456"/>
                  </a:lnTo>
                  <a:cubicBezTo>
                    <a:pt x="264189" y="143045"/>
                    <a:pt x="260474" y="142850"/>
                    <a:pt x="256757" y="142875"/>
                  </a:cubicBezTo>
                  <a:cubicBezTo>
                    <a:pt x="246483" y="142884"/>
                    <a:pt x="238148" y="134562"/>
                    <a:pt x="238140" y="124288"/>
                  </a:cubicBezTo>
                  <a:cubicBezTo>
                    <a:pt x="238140" y="124134"/>
                    <a:pt x="238141" y="123979"/>
                    <a:pt x="238145" y="123825"/>
                  </a:cubicBezTo>
                  <a:cubicBezTo>
                    <a:pt x="239357" y="56794"/>
                    <a:pt x="186110" y="1416"/>
                    <a:pt x="119083" y="0"/>
                  </a:cubicBezTo>
                  <a:cubicBezTo>
                    <a:pt x="52055" y="1416"/>
                    <a:pt x="-1191" y="56794"/>
                    <a:pt x="20" y="123825"/>
                  </a:cubicBezTo>
                  <a:cubicBezTo>
                    <a:pt x="-271" y="167477"/>
                    <a:pt x="22396" y="208073"/>
                    <a:pt x="59713" y="230724"/>
                  </a:cubicBezTo>
                  <a:cubicBezTo>
                    <a:pt x="49699" y="287097"/>
                    <a:pt x="87279" y="340915"/>
                    <a:pt x="143652" y="350930"/>
                  </a:cubicBezTo>
                  <a:cubicBezTo>
                    <a:pt x="148431" y="351779"/>
                    <a:pt x="153265" y="352292"/>
                    <a:pt x="158116" y="352463"/>
                  </a:cubicBezTo>
                  <a:cubicBezTo>
                    <a:pt x="177618" y="352433"/>
                    <a:pt x="196674" y="346640"/>
                    <a:pt x="212895" y="335813"/>
                  </a:cubicBezTo>
                  <a:cubicBezTo>
                    <a:pt x="234531" y="358739"/>
                    <a:pt x="264706" y="371666"/>
                    <a:pt x="296229" y="371513"/>
                  </a:cubicBezTo>
                  <a:lnTo>
                    <a:pt x="391479" y="371513"/>
                  </a:lnTo>
                  <a:cubicBezTo>
                    <a:pt x="412294" y="371285"/>
                    <a:pt x="429351" y="387975"/>
                    <a:pt x="429579" y="408789"/>
                  </a:cubicBezTo>
                  <a:cubicBezTo>
                    <a:pt x="429582" y="409064"/>
                    <a:pt x="429582" y="409339"/>
                    <a:pt x="429579" y="409613"/>
                  </a:cubicBezTo>
                  <a:lnTo>
                    <a:pt x="429579" y="481051"/>
                  </a:lnTo>
                  <a:lnTo>
                    <a:pt x="448629" y="481051"/>
                  </a:lnTo>
                  <a:lnTo>
                    <a:pt x="448629" y="409613"/>
                  </a:lnTo>
                  <a:cubicBezTo>
                    <a:pt x="448962" y="378383"/>
                    <a:pt x="423915" y="352796"/>
                    <a:pt x="392686" y="352463"/>
                  </a:cubicBezTo>
                  <a:cubicBezTo>
                    <a:pt x="392284" y="352459"/>
                    <a:pt x="391881" y="352459"/>
                    <a:pt x="391479" y="352463"/>
                  </a:cubicBezTo>
                  <a:lnTo>
                    <a:pt x="296229" y="352463"/>
                  </a:lnTo>
                  <a:cubicBezTo>
                    <a:pt x="269444" y="352568"/>
                    <a:pt x="243867" y="341327"/>
                    <a:pt x="225829" y="321526"/>
                  </a:cubicBezTo>
                  <a:cubicBezTo>
                    <a:pt x="228759" y="317962"/>
                    <a:pt x="231437" y="314196"/>
                    <a:pt x="233840" y="310258"/>
                  </a:cubicBezTo>
                  <a:cubicBezTo>
                    <a:pt x="236538" y="305742"/>
                    <a:pt x="235065" y="299893"/>
                    <a:pt x="230549" y="297194"/>
                  </a:cubicBezTo>
                  <a:cubicBezTo>
                    <a:pt x="226033" y="294496"/>
                    <a:pt x="220184" y="295969"/>
                    <a:pt x="217486" y="300485"/>
                  </a:cubicBezTo>
                  <a:cubicBezTo>
                    <a:pt x="212133" y="309491"/>
                    <a:pt x="205011" y="317320"/>
                    <a:pt x="196550" y="323498"/>
                  </a:cubicBezTo>
                  <a:cubicBezTo>
                    <a:pt x="184781" y="329993"/>
                    <a:pt x="171559" y="333404"/>
                    <a:pt x="158116" y="333413"/>
                  </a:cubicBezTo>
                  <a:cubicBezTo>
                    <a:pt x="112806" y="332839"/>
                    <a:pt x="76540" y="295642"/>
                    <a:pt x="77115" y="250331"/>
                  </a:cubicBezTo>
                  <a:cubicBezTo>
                    <a:pt x="77122" y="249767"/>
                    <a:pt x="77135" y="249204"/>
                    <a:pt x="77154" y="248641"/>
                  </a:cubicBezTo>
                  <a:cubicBezTo>
                    <a:pt x="77167" y="241713"/>
                    <a:pt x="78030" y="234812"/>
                    <a:pt x="79725" y="228095"/>
                  </a:cubicBezTo>
                  <a:lnTo>
                    <a:pt x="81630" y="220685"/>
                  </a:lnTo>
                  <a:lnTo>
                    <a:pt x="74801" y="217265"/>
                  </a:lnTo>
                  <a:cubicBezTo>
                    <a:pt x="40161" y="199062"/>
                    <a:pt x="18632" y="162993"/>
                    <a:pt x="19051" y="123863"/>
                  </a:cubicBezTo>
                  <a:cubicBezTo>
                    <a:pt x="17832" y="67349"/>
                    <a:pt x="62555" y="20497"/>
                    <a:pt x="119064" y="19088"/>
                  </a:cubicBezTo>
                  <a:cubicBezTo>
                    <a:pt x="175573" y="20497"/>
                    <a:pt x="220295" y="67349"/>
                    <a:pt x="219076" y="123863"/>
                  </a:cubicBezTo>
                  <a:cubicBezTo>
                    <a:pt x="219067" y="132468"/>
                    <a:pt x="221981" y="140821"/>
                    <a:pt x="227344" y="147552"/>
                  </a:cubicBezTo>
                  <a:cubicBezTo>
                    <a:pt x="223312" y="148841"/>
                    <a:pt x="219368" y="150388"/>
                    <a:pt x="215533" y="152181"/>
                  </a:cubicBezTo>
                  <a:cubicBezTo>
                    <a:pt x="210780" y="154440"/>
                    <a:pt x="208759" y="160125"/>
                    <a:pt x="211018" y="164878"/>
                  </a:cubicBezTo>
                  <a:cubicBezTo>
                    <a:pt x="213277" y="169631"/>
                    <a:pt x="218962" y="171652"/>
                    <a:pt x="223715" y="169393"/>
                  </a:cubicBezTo>
                  <a:cubicBezTo>
                    <a:pt x="234374" y="164336"/>
                    <a:pt x="246057" y="161807"/>
                    <a:pt x="257853" y="162001"/>
                  </a:cubicBezTo>
                  <a:cubicBezTo>
                    <a:pt x="259491" y="162001"/>
                    <a:pt x="261101" y="162144"/>
                    <a:pt x="262729" y="162249"/>
                  </a:cubicBezTo>
                  <a:cubicBezTo>
                    <a:pt x="265980" y="162457"/>
                    <a:pt x="269216" y="162868"/>
                    <a:pt x="272416" y="163478"/>
                  </a:cubicBezTo>
                  <a:cubicBezTo>
                    <a:pt x="272492" y="163482"/>
                    <a:pt x="272569" y="163482"/>
                    <a:pt x="272645" y="163478"/>
                  </a:cubicBezTo>
                  <a:cubicBezTo>
                    <a:pt x="313284" y="170972"/>
                    <a:pt x="342812" y="206364"/>
                    <a:pt x="342901" y="247688"/>
                  </a:cubicBezTo>
                  <a:lnTo>
                    <a:pt x="342901" y="257213"/>
                  </a:lnTo>
                  <a:cubicBezTo>
                    <a:pt x="342674" y="278028"/>
                    <a:pt x="359363" y="295085"/>
                    <a:pt x="380177" y="295313"/>
                  </a:cubicBezTo>
                  <a:cubicBezTo>
                    <a:pt x="380453" y="295316"/>
                    <a:pt x="380727" y="295316"/>
                    <a:pt x="381001" y="295313"/>
                  </a:cubicBezTo>
                  <a:cubicBezTo>
                    <a:pt x="435812" y="295133"/>
                    <a:pt x="483004" y="333955"/>
                    <a:pt x="493396" y="387772"/>
                  </a:cubicBezTo>
                  <a:cubicBezTo>
                    <a:pt x="493932" y="390288"/>
                    <a:pt x="494326" y="392832"/>
                    <a:pt x="494577" y="395392"/>
                  </a:cubicBezTo>
                  <a:cubicBezTo>
                    <a:pt x="494882" y="398478"/>
                    <a:pt x="495273" y="405270"/>
                    <a:pt x="495273" y="409565"/>
                  </a:cubicBezTo>
                  <a:lnTo>
                    <a:pt x="496225" y="481127"/>
                  </a:lnTo>
                  <a:lnTo>
                    <a:pt x="515275" y="480879"/>
                  </a:lnTo>
                  <a:lnTo>
                    <a:pt x="514351" y="409223"/>
                  </a:lnTo>
                  <a:cubicBezTo>
                    <a:pt x="514351" y="404574"/>
                    <a:pt x="513923" y="395440"/>
                    <a:pt x="513399" y="391125"/>
                  </a:cubicBezTo>
                  <a:close/>
                </a:path>
              </a:pathLst>
            </a:custGeom>
            <a:solidFill>
              <a:schemeClr val="accent1"/>
            </a:solidFill>
            <a:ln w="9525" cap="flat">
              <a:noFill/>
              <a:prstDash val="solid"/>
              <a:miter/>
            </a:ln>
          </p:spPr>
          <p:txBody>
            <a:bodyPr rtlCol="0" anchor="ctr"/>
            <a:lstStyle/>
            <a:p>
              <a:endParaRPr lang="en-US"/>
            </a:p>
          </p:txBody>
        </p:sp>
      </p:grpSp>
      <p:grpSp>
        <p:nvGrpSpPr>
          <p:cNvPr id="13" name="Group 12">
            <a:extLst>
              <a:ext uri="{FF2B5EF4-FFF2-40B4-BE49-F238E27FC236}">
                <a16:creationId xmlns:a16="http://schemas.microsoft.com/office/drawing/2014/main" id="{2FA976BC-0A81-5F4A-8528-7FA2A90EBE24}"/>
              </a:ext>
            </a:extLst>
          </p:cNvPr>
          <p:cNvGrpSpPr/>
          <p:nvPr/>
        </p:nvGrpSpPr>
        <p:grpSpPr>
          <a:xfrm>
            <a:off x="1117879" y="1888363"/>
            <a:ext cx="1672089" cy="1454576"/>
            <a:chOff x="7422255" y="2261180"/>
            <a:chExt cx="1672089" cy="1454576"/>
          </a:xfrm>
          <a:solidFill>
            <a:schemeClr val="accent1"/>
          </a:solidFill>
        </p:grpSpPr>
        <p:grpSp>
          <p:nvGrpSpPr>
            <p:cNvPr id="14" name="Group 13">
              <a:extLst>
                <a:ext uri="{FF2B5EF4-FFF2-40B4-BE49-F238E27FC236}">
                  <a16:creationId xmlns:a16="http://schemas.microsoft.com/office/drawing/2014/main" id="{CD6A7CE9-85CE-C84F-8A50-72CCFFDF263C}"/>
                </a:ext>
              </a:extLst>
            </p:cNvPr>
            <p:cNvGrpSpPr/>
            <p:nvPr/>
          </p:nvGrpSpPr>
          <p:grpSpPr>
            <a:xfrm>
              <a:off x="7422255" y="2912770"/>
              <a:ext cx="1672089" cy="802986"/>
              <a:chOff x="7414367" y="2538894"/>
              <a:chExt cx="1672089" cy="802986"/>
            </a:xfrm>
            <a:grpFill/>
          </p:grpSpPr>
          <p:grpSp>
            <p:nvGrpSpPr>
              <p:cNvPr id="17" name="Group 16">
                <a:extLst>
                  <a:ext uri="{FF2B5EF4-FFF2-40B4-BE49-F238E27FC236}">
                    <a16:creationId xmlns:a16="http://schemas.microsoft.com/office/drawing/2014/main" id="{9DE85BE3-506F-7545-B6C3-9CBFA5A66BA9}"/>
                  </a:ext>
                </a:extLst>
              </p:cNvPr>
              <p:cNvGrpSpPr/>
              <p:nvPr/>
            </p:nvGrpSpPr>
            <p:grpSpPr>
              <a:xfrm>
                <a:off x="8209825" y="2594920"/>
                <a:ext cx="876631" cy="746960"/>
                <a:chOff x="7506917" y="2486721"/>
                <a:chExt cx="1118643" cy="953172"/>
              </a:xfrm>
              <a:grpFill/>
            </p:grpSpPr>
            <p:pic>
              <p:nvPicPr>
                <p:cNvPr id="19" name="Graphic 18" descr="Car outline">
                  <a:extLst>
                    <a:ext uri="{FF2B5EF4-FFF2-40B4-BE49-F238E27FC236}">
                      <a16:creationId xmlns:a16="http://schemas.microsoft.com/office/drawing/2014/main" id="{1A18055D-AE91-DD45-87AA-C9AE85C15A9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711160" y="2525493"/>
                  <a:ext cx="914400" cy="914400"/>
                </a:xfrm>
                <a:prstGeom prst="rect">
                  <a:avLst/>
                </a:prstGeom>
              </p:spPr>
            </p:pic>
            <p:pic>
              <p:nvPicPr>
                <p:cNvPr id="20" name="Graphic 19" descr="Water outline">
                  <a:extLst>
                    <a:ext uri="{FF2B5EF4-FFF2-40B4-BE49-F238E27FC236}">
                      <a16:creationId xmlns:a16="http://schemas.microsoft.com/office/drawing/2014/main" id="{0E35B2B0-B3A5-7A45-87FA-8D9803AD9405}"/>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506917" y="2486721"/>
                  <a:ext cx="349934" cy="349934"/>
                </a:xfrm>
                <a:prstGeom prst="rect">
                  <a:avLst/>
                </a:prstGeom>
              </p:spPr>
            </p:pic>
          </p:grpSp>
          <p:pic>
            <p:nvPicPr>
              <p:cNvPr id="18" name="Graphic 17" descr="Fuel outline">
                <a:extLst>
                  <a:ext uri="{FF2B5EF4-FFF2-40B4-BE49-F238E27FC236}">
                    <a16:creationId xmlns:a16="http://schemas.microsoft.com/office/drawing/2014/main" id="{B0A9DC6C-9D74-A048-817A-6BB0F3B9A3D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414367" y="2538894"/>
                <a:ext cx="761238" cy="761238"/>
              </a:xfrm>
              <a:prstGeom prst="rect">
                <a:avLst/>
              </a:prstGeom>
            </p:spPr>
          </p:pic>
        </p:grpSp>
        <p:pic>
          <p:nvPicPr>
            <p:cNvPr id="16" name="Graphic 15" descr="Oil Barrel outline">
              <a:extLst>
                <a:ext uri="{FF2B5EF4-FFF2-40B4-BE49-F238E27FC236}">
                  <a16:creationId xmlns:a16="http://schemas.microsoft.com/office/drawing/2014/main" id="{273FDE43-4417-034D-BD43-AB730648344A}"/>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471236" y="2261180"/>
              <a:ext cx="570579" cy="570579"/>
            </a:xfrm>
            <a:prstGeom prst="rect">
              <a:avLst/>
            </a:prstGeom>
          </p:spPr>
        </p:pic>
      </p:grpSp>
      <p:grpSp>
        <p:nvGrpSpPr>
          <p:cNvPr id="21" name="Group 20">
            <a:extLst>
              <a:ext uri="{FF2B5EF4-FFF2-40B4-BE49-F238E27FC236}">
                <a16:creationId xmlns:a16="http://schemas.microsoft.com/office/drawing/2014/main" id="{87FEED1B-C257-5D48-AFDD-3331F34115C9}"/>
              </a:ext>
            </a:extLst>
          </p:cNvPr>
          <p:cNvGrpSpPr/>
          <p:nvPr/>
        </p:nvGrpSpPr>
        <p:grpSpPr>
          <a:xfrm>
            <a:off x="1272169" y="3574780"/>
            <a:ext cx="1652951" cy="543084"/>
            <a:chOff x="7441394" y="5212769"/>
            <a:chExt cx="1652950" cy="543084"/>
          </a:xfrm>
          <a:solidFill>
            <a:schemeClr val="accent1"/>
          </a:solidFill>
        </p:grpSpPr>
        <p:grpSp>
          <p:nvGrpSpPr>
            <p:cNvPr id="22" name="Group 21">
              <a:extLst>
                <a:ext uri="{FF2B5EF4-FFF2-40B4-BE49-F238E27FC236}">
                  <a16:creationId xmlns:a16="http://schemas.microsoft.com/office/drawing/2014/main" id="{A3BE23F1-19F4-A841-ADF6-71465D708905}"/>
                </a:ext>
              </a:extLst>
            </p:cNvPr>
            <p:cNvGrpSpPr/>
            <p:nvPr/>
          </p:nvGrpSpPr>
          <p:grpSpPr>
            <a:xfrm>
              <a:off x="7441394" y="5212769"/>
              <a:ext cx="648200" cy="539210"/>
              <a:chOff x="7220979" y="5161847"/>
              <a:chExt cx="648200" cy="539210"/>
            </a:xfrm>
            <a:grpFill/>
          </p:grpSpPr>
          <p:sp>
            <p:nvSpPr>
              <p:cNvPr id="29" name="Freeform: Shape 51">
                <a:extLst>
                  <a:ext uri="{FF2B5EF4-FFF2-40B4-BE49-F238E27FC236}">
                    <a16:creationId xmlns:a16="http://schemas.microsoft.com/office/drawing/2014/main" id="{8BFFCF3D-C27B-6247-BB7A-AC12567DDFB2}"/>
                  </a:ext>
                </a:extLst>
              </p:cNvPr>
              <p:cNvSpPr/>
              <p:nvPr/>
            </p:nvSpPr>
            <p:spPr>
              <a:xfrm>
                <a:off x="7300274" y="5209425"/>
                <a:ext cx="206168" cy="158591"/>
              </a:xfrm>
              <a:custGeom>
                <a:avLst/>
                <a:gdLst>
                  <a:gd name="connsiteX0" fmla="*/ 0 w 206168"/>
                  <a:gd name="connsiteY0" fmla="*/ 158591 h 158591"/>
                  <a:gd name="connsiteX1" fmla="*/ 206169 w 206168"/>
                  <a:gd name="connsiteY1" fmla="*/ 158591 h 158591"/>
                  <a:gd name="connsiteX2" fmla="*/ 206169 w 206168"/>
                  <a:gd name="connsiteY2" fmla="*/ 0 h 158591"/>
                  <a:gd name="connsiteX3" fmla="*/ 0 w 206168"/>
                  <a:gd name="connsiteY3" fmla="*/ 0 h 158591"/>
                  <a:gd name="connsiteX4" fmla="*/ 15859 w 206168"/>
                  <a:gd name="connsiteY4" fmla="*/ 15859 h 158591"/>
                  <a:gd name="connsiteX5" fmla="*/ 190310 w 206168"/>
                  <a:gd name="connsiteY5" fmla="*/ 15859 h 158591"/>
                  <a:gd name="connsiteX6" fmla="*/ 190310 w 206168"/>
                  <a:gd name="connsiteY6" fmla="*/ 142732 h 158591"/>
                  <a:gd name="connsiteX7" fmla="*/ 15859 w 206168"/>
                  <a:gd name="connsiteY7" fmla="*/ 142732 h 158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168" h="158591">
                    <a:moveTo>
                      <a:pt x="0" y="158591"/>
                    </a:moveTo>
                    <a:lnTo>
                      <a:pt x="206169" y="158591"/>
                    </a:lnTo>
                    <a:lnTo>
                      <a:pt x="206169" y="0"/>
                    </a:lnTo>
                    <a:lnTo>
                      <a:pt x="0" y="0"/>
                    </a:lnTo>
                    <a:close/>
                    <a:moveTo>
                      <a:pt x="15859" y="15859"/>
                    </a:moveTo>
                    <a:lnTo>
                      <a:pt x="190310" y="15859"/>
                    </a:lnTo>
                    <a:lnTo>
                      <a:pt x="190310" y="142732"/>
                    </a:lnTo>
                    <a:lnTo>
                      <a:pt x="15859" y="142732"/>
                    </a:lnTo>
                    <a:close/>
                  </a:path>
                </a:pathLst>
              </a:custGeom>
              <a:grpFill/>
              <a:ln w="7838" cap="flat">
                <a:noFill/>
                <a:prstDash val="solid"/>
                <a:miter/>
              </a:ln>
            </p:spPr>
            <p:txBody>
              <a:bodyPr rtlCol="0" anchor="ctr"/>
              <a:lstStyle/>
              <a:p>
                <a:endParaRPr lang="en-GB"/>
              </a:p>
            </p:txBody>
          </p:sp>
          <p:sp>
            <p:nvSpPr>
              <p:cNvPr id="30" name="Freeform: Shape 52">
                <a:extLst>
                  <a:ext uri="{FF2B5EF4-FFF2-40B4-BE49-F238E27FC236}">
                    <a16:creationId xmlns:a16="http://schemas.microsoft.com/office/drawing/2014/main" id="{8DEC46C9-96C2-E04A-BB37-178D656EBAFF}"/>
                  </a:ext>
                </a:extLst>
              </p:cNvPr>
              <p:cNvSpPr/>
              <p:nvPr/>
            </p:nvSpPr>
            <p:spPr>
              <a:xfrm>
                <a:off x="7220979" y="5161847"/>
                <a:ext cx="364760" cy="539210"/>
              </a:xfrm>
              <a:custGeom>
                <a:avLst/>
                <a:gdLst>
                  <a:gd name="connsiteX0" fmla="*/ 464561 w 464692"/>
                  <a:gd name="connsiteY0" fmla="*/ 454714 h 539210"/>
                  <a:gd name="connsiteX1" fmla="*/ 445713 w 464692"/>
                  <a:gd name="connsiteY1" fmla="*/ 198979 h 539210"/>
                  <a:gd name="connsiteX2" fmla="*/ 463324 w 464692"/>
                  <a:gd name="connsiteY2" fmla="*/ 182471 h 539210"/>
                  <a:gd name="connsiteX3" fmla="*/ 366413 w 464692"/>
                  <a:gd name="connsiteY3" fmla="*/ 74016 h 539210"/>
                  <a:gd name="connsiteX4" fmla="*/ 357488 w 464692"/>
                  <a:gd name="connsiteY4" fmla="*/ 78702 h 539210"/>
                  <a:gd name="connsiteX5" fmla="*/ 357167 w 464692"/>
                  <a:gd name="connsiteY5" fmla="*/ 80774 h 539210"/>
                  <a:gd name="connsiteX6" fmla="*/ 357167 w 464692"/>
                  <a:gd name="connsiteY6" fmla="*/ 89945 h 539210"/>
                  <a:gd name="connsiteX7" fmla="*/ 362871 w 464692"/>
                  <a:gd name="connsiteY7" fmla="*/ 96875 h 539210"/>
                  <a:gd name="connsiteX8" fmla="*/ 429211 w 464692"/>
                  <a:gd name="connsiteY8" fmla="*/ 191506 h 539210"/>
                  <a:gd name="connsiteX9" fmla="*/ 430267 w 464692"/>
                  <a:gd name="connsiteY9" fmla="*/ 205129 h 539210"/>
                  <a:gd name="connsiteX10" fmla="*/ 448747 w 464692"/>
                  <a:gd name="connsiteY10" fmla="*/ 455880 h 539210"/>
                  <a:gd name="connsiteX11" fmla="*/ 417966 w 464692"/>
                  <a:gd name="connsiteY11" fmla="*/ 491543 h 539210"/>
                  <a:gd name="connsiteX12" fmla="*/ 415531 w 464692"/>
                  <a:gd name="connsiteY12" fmla="*/ 491633 h 539210"/>
                  <a:gd name="connsiteX13" fmla="*/ 413923 w 464692"/>
                  <a:gd name="connsiteY13" fmla="*/ 491633 h 539210"/>
                  <a:gd name="connsiteX14" fmla="*/ 380619 w 464692"/>
                  <a:gd name="connsiteY14" fmla="*/ 458329 h 539210"/>
                  <a:gd name="connsiteX15" fmla="*/ 380619 w 464692"/>
                  <a:gd name="connsiteY15" fmla="*/ 301323 h 539210"/>
                  <a:gd name="connsiteX16" fmla="*/ 333042 w 464692"/>
                  <a:gd name="connsiteY16" fmla="*/ 253746 h 539210"/>
                  <a:gd name="connsiteX17" fmla="*/ 333042 w 464692"/>
                  <a:gd name="connsiteY17" fmla="*/ 55507 h 539210"/>
                  <a:gd name="connsiteX18" fmla="*/ 277535 w 464692"/>
                  <a:gd name="connsiteY18" fmla="*/ 0 h 539210"/>
                  <a:gd name="connsiteX19" fmla="*/ 87225 w 464692"/>
                  <a:gd name="connsiteY19" fmla="*/ 0 h 539210"/>
                  <a:gd name="connsiteX20" fmla="*/ 31718 w 464692"/>
                  <a:gd name="connsiteY20" fmla="*/ 55507 h 539210"/>
                  <a:gd name="connsiteX21" fmla="*/ 31718 w 464692"/>
                  <a:gd name="connsiteY21" fmla="*/ 523351 h 539210"/>
                  <a:gd name="connsiteX22" fmla="*/ 0 w 464692"/>
                  <a:gd name="connsiteY22" fmla="*/ 523351 h 539210"/>
                  <a:gd name="connsiteX23" fmla="*/ 0 w 464692"/>
                  <a:gd name="connsiteY23" fmla="*/ 539210 h 539210"/>
                  <a:gd name="connsiteX24" fmla="*/ 364760 w 464692"/>
                  <a:gd name="connsiteY24" fmla="*/ 539210 h 539210"/>
                  <a:gd name="connsiteX25" fmla="*/ 364760 w 464692"/>
                  <a:gd name="connsiteY25" fmla="*/ 523351 h 539210"/>
                  <a:gd name="connsiteX26" fmla="*/ 333042 w 464692"/>
                  <a:gd name="connsiteY26" fmla="*/ 523351 h 539210"/>
                  <a:gd name="connsiteX27" fmla="*/ 333042 w 464692"/>
                  <a:gd name="connsiteY27" fmla="*/ 269605 h 539210"/>
                  <a:gd name="connsiteX28" fmla="*/ 364760 w 464692"/>
                  <a:gd name="connsiteY28" fmla="*/ 301323 h 539210"/>
                  <a:gd name="connsiteX29" fmla="*/ 364760 w 464692"/>
                  <a:gd name="connsiteY29" fmla="*/ 458329 h 539210"/>
                  <a:gd name="connsiteX30" fmla="*/ 413923 w 464692"/>
                  <a:gd name="connsiteY30" fmla="*/ 507492 h 539210"/>
                  <a:gd name="connsiteX31" fmla="*/ 415530 w 464692"/>
                  <a:gd name="connsiteY31" fmla="*/ 507492 h 539210"/>
                  <a:gd name="connsiteX32" fmla="*/ 464692 w 464692"/>
                  <a:gd name="connsiteY32" fmla="*/ 458337 h 539210"/>
                  <a:gd name="connsiteX33" fmla="*/ 464559 w 464692"/>
                  <a:gd name="connsiteY33" fmla="*/ 454714 h 539210"/>
                  <a:gd name="connsiteX34" fmla="*/ 47577 w 464692"/>
                  <a:gd name="connsiteY34" fmla="*/ 523351 h 539210"/>
                  <a:gd name="connsiteX35" fmla="*/ 47577 w 464692"/>
                  <a:gd name="connsiteY35" fmla="*/ 55507 h 539210"/>
                  <a:gd name="connsiteX36" fmla="*/ 87225 w 464692"/>
                  <a:gd name="connsiteY36" fmla="*/ 15859 h 539210"/>
                  <a:gd name="connsiteX37" fmla="*/ 277535 w 464692"/>
                  <a:gd name="connsiteY37" fmla="*/ 15859 h 539210"/>
                  <a:gd name="connsiteX38" fmla="*/ 317183 w 464692"/>
                  <a:gd name="connsiteY38" fmla="*/ 55507 h 539210"/>
                  <a:gd name="connsiteX39" fmla="*/ 317183 w 464692"/>
                  <a:gd name="connsiteY39" fmla="*/ 523351 h 539210"/>
                  <a:gd name="connsiteX0" fmla="*/ 464561 w 464692"/>
                  <a:gd name="connsiteY0" fmla="*/ 454714 h 539210"/>
                  <a:gd name="connsiteX1" fmla="*/ 445713 w 464692"/>
                  <a:gd name="connsiteY1" fmla="*/ 198979 h 539210"/>
                  <a:gd name="connsiteX2" fmla="*/ 463324 w 464692"/>
                  <a:gd name="connsiteY2" fmla="*/ 182471 h 539210"/>
                  <a:gd name="connsiteX3" fmla="*/ 366413 w 464692"/>
                  <a:gd name="connsiteY3" fmla="*/ 74016 h 539210"/>
                  <a:gd name="connsiteX4" fmla="*/ 357488 w 464692"/>
                  <a:gd name="connsiteY4" fmla="*/ 78702 h 539210"/>
                  <a:gd name="connsiteX5" fmla="*/ 357167 w 464692"/>
                  <a:gd name="connsiteY5" fmla="*/ 80774 h 539210"/>
                  <a:gd name="connsiteX6" fmla="*/ 362871 w 464692"/>
                  <a:gd name="connsiteY6" fmla="*/ 96875 h 539210"/>
                  <a:gd name="connsiteX7" fmla="*/ 429211 w 464692"/>
                  <a:gd name="connsiteY7" fmla="*/ 191506 h 539210"/>
                  <a:gd name="connsiteX8" fmla="*/ 430267 w 464692"/>
                  <a:gd name="connsiteY8" fmla="*/ 205129 h 539210"/>
                  <a:gd name="connsiteX9" fmla="*/ 448747 w 464692"/>
                  <a:gd name="connsiteY9" fmla="*/ 455880 h 539210"/>
                  <a:gd name="connsiteX10" fmla="*/ 417966 w 464692"/>
                  <a:gd name="connsiteY10" fmla="*/ 491543 h 539210"/>
                  <a:gd name="connsiteX11" fmla="*/ 415531 w 464692"/>
                  <a:gd name="connsiteY11" fmla="*/ 491633 h 539210"/>
                  <a:gd name="connsiteX12" fmla="*/ 413923 w 464692"/>
                  <a:gd name="connsiteY12" fmla="*/ 491633 h 539210"/>
                  <a:gd name="connsiteX13" fmla="*/ 380619 w 464692"/>
                  <a:gd name="connsiteY13" fmla="*/ 458329 h 539210"/>
                  <a:gd name="connsiteX14" fmla="*/ 380619 w 464692"/>
                  <a:gd name="connsiteY14" fmla="*/ 301323 h 539210"/>
                  <a:gd name="connsiteX15" fmla="*/ 333042 w 464692"/>
                  <a:gd name="connsiteY15" fmla="*/ 253746 h 539210"/>
                  <a:gd name="connsiteX16" fmla="*/ 333042 w 464692"/>
                  <a:gd name="connsiteY16" fmla="*/ 55507 h 539210"/>
                  <a:gd name="connsiteX17" fmla="*/ 277535 w 464692"/>
                  <a:gd name="connsiteY17" fmla="*/ 0 h 539210"/>
                  <a:gd name="connsiteX18" fmla="*/ 87225 w 464692"/>
                  <a:gd name="connsiteY18" fmla="*/ 0 h 539210"/>
                  <a:gd name="connsiteX19" fmla="*/ 31718 w 464692"/>
                  <a:gd name="connsiteY19" fmla="*/ 55507 h 539210"/>
                  <a:gd name="connsiteX20" fmla="*/ 31718 w 464692"/>
                  <a:gd name="connsiteY20" fmla="*/ 523351 h 539210"/>
                  <a:gd name="connsiteX21" fmla="*/ 0 w 464692"/>
                  <a:gd name="connsiteY21" fmla="*/ 523351 h 539210"/>
                  <a:gd name="connsiteX22" fmla="*/ 0 w 464692"/>
                  <a:gd name="connsiteY22" fmla="*/ 539210 h 539210"/>
                  <a:gd name="connsiteX23" fmla="*/ 364760 w 464692"/>
                  <a:gd name="connsiteY23" fmla="*/ 539210 h 539210"/>
                  <a:gd name="connsiteX24" fmla="*/ 364760 w 464692"/>
                  <a:gd name="connsiteY24" fmla="*/ 523351 h 539210"/>
                  <a:gd name="connsiteX25" fmla="*/ 333042 w 464692"/>
                  <a:gd name="connsiteY25" fmla="*/ 523351 h 539210"/>
                  <a:gd name="connsiteX26" fmla="*/ 333042 w 464692"/>
                  <a:gd name="connsiteY26" fmla="*/ 269605 h 539210"/>
                  <a:gd name="connsiteX27" fmla="*/ 364760 w 464692"/>
                  <a:gd name="connsiteY27" fmla="*/ 301323 h 539210"/>
                  <a:gd name="connsiteX28" fmla="*/ 364760 w 464692"/>
                  <a:gd name="connsiteY28" fmla="*/ 458329 h 539210"/>
                  <a:gd name="connsiteX29" fmla="*/ 413923 w 464692"/>
                  <a:gd name="connsiteY29" fmla="*/ 507492 h 539210"/>
                  <a:gd name="connsiteX30" fmla="*/ 415530 w 464692"/>
                  <a:gd name="connsiteY30" fmla="*/ 507492 h 539210"/>
                  <a:gd name="connsiteX31" fmla="*/ 464692 w 464692"/>
                  <a:gd name="connsiteY31" fmla="*/ 458337 h 539210"/>
                  <a:gd name="connsiteX32" fmla="*/ 464559 w 464692"/>
                  <a:gd name="connsiteY32" fmla="*/ 454714 h 539210"/>
                  <a:gd name="connsiteX33" fmla="*/ 464561 w 464692"/>
                  <a:gd name="connsiteY33" fmla="*/ 454714 h 539210"/>
                  <a:gd name="connsiteX34" fmla="*/ 47577 w 464692"/>
                  <a:gd name="connsiteY34" fmla="*/ 523351 h 539210"/>
                  <a:gd name="connsiteX35" fmla="*/ 47577 w 464692"/>
                  <a:gd name="connsiteY35" fmla="*/ 55507 h 539210"/>
                  <a:gd name="connsiteX36" fmla="*/ 87225 w 464692"/>
                  <a:gd name="connsiteY36" fmla="*/ 15859 h 539210"/>
                  <a:gd name="connsiteX37" fmla="*/ 277535 w 464692"/>
                  <a:gd name="connsiteY37" fmla="*/ 15859 h 539210"/>
                  <a:gd name="connsiteX38" fmla="*/ 317183 w 464692"/>
                  <a:gd name="connsiteY38" fmla="*/ 55507 h 539210"/>
                  <a:gd name="connsiteX39" fmla="*/ 317183 w 464692"/>
                  <a:gd name="connsiteY39" fmla="*/ 523351 h 539210"/>
                  <a:gd name="connsiteX40" fmla="*/ 47577 w 464692"/>
                  <a:gd name="connsiteY40" fmla="*/ 523351 h 539210"/>
                  <a:gd name="connsiteX0" fmla="*/ 464561 w 464692"/>
                  <a:gd name="connsiteY0" fmla="*/ 454714 h 539210"/>
                  <a:gd name="connsiteX1" fmla="*/ 445713 w 464692"/>
                  <a:gd name="connsiteY1" fmla="*/ 198979 h 539210"/>
                  <a:gd name="connsiteX2" fmla="*/ 463324 w 464692"/>
                  <a:gd name="connsiteY2" fmla="*/ 182471 h 539210"/>
                  <a:gd name="connsiteX3" fmla="*/ 366413 w 464692"/>
                  <a:gd name="connsiteY3" fmla="*/ 74016 h 539210"/>
                  <a:gd name="connsiteX4" fmla="*/ 357488 w 464692"/>
                  <a:gd name="connsiteY4" fmla="*/ 78702 h 539210"/>
                  <a:gd name="connsiteX5" fmla="*/ 362871 w 464692"/>
                  <a:gd name="connsiteY5" fmla="*/ 96875 h 539210"/>
                  <a:gd name="connsiteX6" fmla="*/ 429211 w 464692"/>
                  <a:gd name="connsiteY6" fmla="*/ 191506 h 539210"/>
                  <a:gd name="connsiteX7" fmla="*/ 430267 w 464692"/>
                  <a:gd name="connsiteY7" fmla="*/ 205129 h 539210"/>
                  <a:gd name="connsiteX8" fmla="*/ 448747 w 464692"/>
                  <a:gd name="connsiteY8" fmla="*/ 455880 h 539210"/>
                  <a:gd name="connsiteX9" fmla="*/ 417966 w 464692"/>
                  <a:gd name="connsiteY9" fmla="*/ 491543 h 539210"/>
                  <a:gd name="connsiteX10" fmla="*/ 415531 w 464692"/>
                  <a:gd name="connsiteY10" fmla="*/ 491633 h 539210"/>
                  <a:gd name="connsiteX11" fmla="*/ 413923 w 464692"/>
                  <a:gd name="connsiteY11" fmla="*/ 491633 h 539210"/>
                  <a:gd name="connsiteX12" fmla="*/ 380619 w 464692"/>
                  <a:gd name="connsiteY12" fmla="*/ 458329 h 539210"/>
                  <a:gd name="connsiteX13" fmla="*/ 380619 w 464692"/>
                  <a:gd name="connsiteY13" fmla="*/ 301323 h 539210"/>
                  <a:gd name="connsiteX14" fmla="*/ 333042 w 464692"/>
                  <a:gd name="connsiteY14" fmla="*/ 253746 h 539210"/>
                  <a:gd name="connsiteX15" fmla="*/ 333042 w 464692"/>
                  <a:gd name="connsiteY15" fmla="*/ 55507 h 539210"/>
                  <a:gd name="connsiteX16" fmla="*/ 277535 w 464692"/>
                  <a:gd name="connsiteY16" fmla="*/ 0 h 539210"/>
                  <a:gd name="connsiteX17" fmla="*/ 87225 w 464692"/>
                  <a:gd name="connsiteY17" fmla="*/ 0 h 539210"/>
                  <a:gd name="connsiteX18" fmla="*/ 31718 w 464692"/>
                  <a:gd name="connsiteY18" fmla="*/ 55507 h 539210"/>
                  <a:gd name="connsiteX19" fmla="*/ 31718 w 464692"/>
                  <a:gd name="connsiteY19" fmla="*/ 523351 h 539210"/>
                  <a:gd name="connsiteX20" fmla="*/ 0 w 464692"/>
                  <a:gd name="connsiteY20" fmla="*/ 523351 h 539210"/>
                  <a:gd name="connsiteX21" fmla="*/ 0 w 464692"/>
                  <a:gd name="connsiteY21" fmla="*/ 539210 h 539210"/>
                  <a:gd name="connsiteX22" fmla="*/ 364760 w 464692"/>
                  <a:gd name="connsiteY22" fmla="*/ 539210 h 539210"/>
                  <a:gd name="connsiteX23" fmla="*/ 364760 w 464692"/>
                  <a:gd name="connsiteY23" fmla="*/ 523351 h 539210"/>
                  <a:gd name="connsiteX24" fmla="*/ 333042 w 464692"/>
                  <a:gd name="connsiteY24" fmla="*/ 523351 h 539210"/>
                  <a:gd name="connsiteX25" fmla="*/ 333042 w 464692"/>
                  <a:gd name="connsiteY25" fmla="*/ 269605 h 539210"/>
                  <a:gd name="connsiteX26" fmla="*/ 364760 w 464692"/>
                  <a:gd name="connsiteY26" fmla="*/ 301323 h 539210"/>
                  <a:gd name="connsiteX27" fmla="*/ 364760 w 464692"/>
                  <a:gd name="connsiteY27" fmla="*/ 458329 h 539210"/>
                  <a:gd name="connsiteX28" fmla="*/ 413923 w 464692"/>
                  <a:gd name="connsiteY28" fmla="*/ 507492 h 539210"/>
                  <a:gd name="connsiteX29" fmla="*/ 415530 w 464692"/>
                  <a:gd name="connsiteY29" fmla="*/ 507492 h 539210"/>
                  <a:gd name="connsiteX30" fmla="*/ 464692 w 464692"/>
                  <a:gd name="connsiteY30" fmla="*/ 458337 h 539210"/>
                  <a:gd name="connsiteX31" fmla="*/ 464559 w 464692"/>
                  <a:gd name="connsiteY31" fmla="*/ 454714 h 539210"/>
                  <a:gd name="connsiteX32" fmla="*/ 464561 w 464692"/>
                  <a:gd name="connsiteY32" fmla="*/ 454714 h 539210"/>
                  <a:gd name="connsiteX33" fmla="*/ 47577 w 464692"/>
                  <a:gd name="connsiteY33" fmla="*/ 523351 h 539210"/>
                  <a:gd name="connsiteX34" fmla="*/ 47577 w 464692"/>
                  <a:gd name="connsiteY34" fmla="*/ 55507 h 539210"/>
                  <a:gd name="connsiteX35" fmla="*/ 87225 w 464692"/>
                  <a:gd name="connsiteY35" fmla="*/ 15859 h 539210"/>
                  <a:gd name="connsiteX36" fmla="*/ 277535 w 464692"/>
                  <a:gd name="connsiteY36" fmla="*/ 15859 h 539210"/>
                  <a:gd name="connsiteX37" fmla="*/ 317183 w 464692"/>
                  <a:gd name="connsiteY37" fmla="*/ 55507 h 539210"/>
                  <a:gd name="connsiteX38" fmla="*/ 317183 w 464692"/>
                  <a:gd name="connsiteY38" fmla="*/ 523351 h 539210"/>
                  <a:gd name="connsiteX39" fmla="*/ 47577 w 464692"/>
                  <a:gd name="connsiteY39" fmla="*/ 523351 h 539210"/>
                  <a:gd name="connsiteX0" fmla="*/ 464561 w 464692"/>
                  <a:gd name="connsiteY0" fmla="*/ 454714 h 539210"/>
                  <a:gd name="connsiteX1" fmla="*/ 445713 w 464692"/>
                  <a:gd name="connsiteY1" fmla="*/ 198979 h 539210"/>
                  <a:gd name="connsiteX2" fmla="*/ 463324 w 464692"/>
                  <a:gd name="connsiteY2" fmla="*/ 182471 h 539210"/>
                  <a:gd name="connsiteX3" fmla="*/ 366413 w 464692"/>
                  <a:gd name="connsiteY3" fmla="*/ 74016 h 539210"/>
                  <a:gd name="connsiteX4" fmla="*/ 362871 w 464692"/>
                  <a:gd name="connsiteY4" fmla="*/ 96875 h 539210"/>
                  <a:gd name="connsiteX5" fmla="*/ 429211 w 464692"/>
                  <a:gd name="connsiteY5" fmla="*/ 191506 h 539210"/>
                  <a:gd name="connsiteX6" fmla="*/ 430267 w 464692"/>
                  <a:gd name="connsiteY6" fmla="*/ 205129 h 539210"/>
                  <a:gd name="connsiteX7" fmla="*/ 448747 w 464692"/>
                  <a:gd name="connsiteY7" fmla="*/ 455880 h 539210"/>
                  <a:gd name="connsiteX8" fmla="*/ 417966 w 464692"/>
                  <a:gd name="connsiteY8" fmla="*/ 491543 h 539210"/>
                  <a:gd name="connsiteX9" fmla="*/ 415531 w 464692"/>
                  <a:gd name="connsiteY9" fmla="*/ 491633 h 539210"/>
                  <a:gd name="connsiteX10" fmla="*/ 413923 w 464692"/>
                  <a:gd name="connsiteY10" fmla="*/ 491633 h 539210"/>
                  <a:gd name="connsiteX11" fmla="*/ 380619 w 464692"/>
                  <a:gd name="connsiteY11" fmla="*/ 458329 h 539210"/>
                  <a:gd name="connsiteX12" fmla="*/ 380619 w 464692"/>
                  <a:gd name="connsiteY12" fmla="*/ 301323 h 539210"/>
                  <a:gd name="connsiteX13" fmla="*/ 333042 w 464692"/>
                  <a:gd name="connsiteY13" fmla="*/ 253746 h 539210"/>
                  <a:gd name="connsiteX14" fmla="*/ 333042 w 464692"/>
                  <a:gd name="connsiteY14" fmla="*/ 55507 h 539210"/>
                  <a:gd name="connsiteX15" fmla="*/ 277535 w 464692"/>
                  <a:gd name="connsiteY15" fmla="*/ 0 h 539210"/>
                  <a:gd name="connsiteX16" fmla="*/ 87225 w 464692"/>
                  <a:gd name="connsiteY16" fmla="*/ 0 h 539210"/>
                  <a:gd name="connsiteX17" fmla="*/ 31718 w 464692"/>
                  <a:gd name="connsiteY17" fmla="*/ 55507 h 539210"/>
                  <a:gd name="connsiteX18" fmla="*/ 31718 w 464692"/>
                  <a:gd name="connsiteY18" fmla="*/ 523351 h 539210"/>
                  <a:gd name="connsiteX19" fmla="*/ 0 w 464692"/>
                  <a:gd name="connsiteY19" fmla="*/ 523351 h 539210"/>
                  <a:gd name="connsiteX20" fmla="*/ 0 w 464692"/>
                  <a:gd name="connsiteY20" fmla="*/ 539210 h 539210"/>
                  <a:gd name="connsiteX21" fmla="*/ 364760 w 464692"/>
                  <a:gd name="connsiteY21" fmla="*/ 539210 h 539210"/>
                  <a:gd name="connsiteX22" fmla="*/ 364760 w 464692"/>
                  <a:gd name="connsiteY22" fmla="*/ 523351 h 539210"/>
                  <a:gd name="connsiteX23" fmla="*/ 333042 w 464692"/>
                  <a:gd name="connsiteY23" fmla="*/ 523351 h 539210"/>
                  <a:gd name="connsiteX24" fmla="*/ 333042 w 464692"/>
                  <a:gd name="connsiteY24" fmla="*/ 269605 h 539210"/>
                  <a:gd name="connsiteX25" fmla="*/ 364760 w 464692"/>
                  <a:gd name="connsiteY25" fmla="*/ 301323 h 539210"/>
                  <a:gd name="connsiteX26" fmla="*/ 364760 w 464692"/>
                  <a:gd name="connsiteY26" fmla="*/ 458329 h 539210"/>
                  <a:gd name="connsiteX27" fmla="*/ 413923 w 464692"/>
                  <a:gd name="connsiteY27" fmla="*/ 507492 h 539210"/>
                  <a:gd name="connsiteX28" fmla="*/ 415530 w 464692"/>
                  <a:gd name="connsiteY28" fmla="*/ 507492 h 539210"/>
                  <a:gd name="connsiteX29" fmla="*/ 464692 w 464692"/>
                  <a:gd name="connsiteY29" fmla="*/ 458337 h 539210"/>
                  <a:gd name="connsiteX30" fmla="*/ 464559 w 464692"/>
                  <a:gd name="connsiteY30" fmla="*/ 454714 h 539210"/>
                  <a:gd name="connsiteX31" fmla="*/ 464561 w 464692"/>
                  <a:gd name="connsiteY31" fmla="*/ 454714 h 539210"/>
                  <a:gd name="connsiteX32" fmla="*/ 47577 w 464692"/>
                  <a:gd name="connsiteY32" fmla="*/ 523351 h 539210"/>
                  <a:gd name="connsiteX33" fmla="*/ 47577 w 464692"/>
                  <a:gd name="connsiteY33" fmla="*/ 55507 h 539210"/>
                  <a:gd name="connsiteX34" fmla="*/ 87225 w 464692"/>
                  <a:gd name="connsiteY34" fmla="*/ 15859 h 539210"/>
                  <a:gd name="connsiteX35" fmla="*/ 277535 w 464692"/>
                  <a:gd name="connsiteY35" fmla="*/ 15859 h 539210"/>
                  <a:gd name="connsiteX36" fmla="*/ 317183 w 464692"/>
                  <a:gd name="connsiteY36" fmla="*/ 55507 h 539210"/>
                  <a:gd name="connsiteX37" fmla="*/ 317183 w 464692"/>
                  <a:gd name="connsiteY37" fmla="*/ 523351 h 539210"/>
                  <a:gd name="connsiteX38" fmla="*/ 47577 w 464692"/>
                  <a:gd name="connsiteY38" fmla="*/ 523351 h 539210"/>
                  <a:gd name="connsiteX0" fmla="*/ 464561 w 464692"/>
                  <a:gd name="connsiteY0" fmla="*/ 454714 h 539210"/>
                  <a:gd name="connsiteX1" fmla="*/ 445713 w 464692"/>
                  <a:gd name="connsiteY1" fmla="*/ 198979 h 539210"/>
                  <a:gd name="connsiteX2" fmla="*/ 463324 w 464692"/>
                  <a:gd name="connsiteY2" fmla="*/ 182471 h 539210"/>
                  <a:gd name="connsiteX3" fmla="*/ 362871 w 464692"/>
                  <a:gd name="connsiteY3" fmla="*/ 96875 h 539210"/>
                  <a:gd name="connsiteX4" fmla="*/ 429211 w 464692"/>
                  <a:gd name="connsiteY4" fmla="*/ 191506 h 539210"/>
                  <a:gd name="connsiteX5" fmla="*/ 430267 w 464692"/>
                  <a:gd name="connsiteY5" fmla="*/ 205129 h 539210"/>
                  <a:gd name="connsiteX6" fmla="*/ 448747 w 464692"/>
                  <a:gd name="connsiteY6" fmla="*/ 455880 h 539210"/>
                  <a:gd name="connsiteX7" fmla="*/ 417966 w 464692"/>
                  <a:gd name="connsiteY7" fmla="*/ 491543 h 539210"/>
                  <a:gd name="connsiteX8" fmla="*/ 415531 w 464692"/>
                  <a:gd name="connsiteY8" fmla="*/ 491633 h 539210"/>
                  <a:gd name="connsiteX9" fmla="*/ 413923 w 464692"/>
                  <a:gd name="connsiteY9" fmla="*/ 491633 h 539210"/>
                  <a:gd name="connsiteX10" fmla="*/ 380619 w 464692"/>
                  <a:gd name="connsiteY10" fmla="*/ 458329 h 539210"/>
                  <a:gd name="connsiteX11" fmla="*/ 380619 w 464692"/>
                  <a:gd name="connsiteY11" fmla="*/ 301323 h 539210"/>
                  <a:gd name="connsiteX12" fmla="*/ 333042 w 464692"/>
                  <a:gd name="connsiteY12" fmla="*/ 253746 h 539210"/>
                  <a:gd name="connsiteX13" fmla="*/ 333042 w 464692"/>
                  <a:gd name="connsiteY13" fmla="*/ 55507 h 539210"/>
                  <a:gd name="connsiteX14" fmla="*/ 277535 w 464692"/>
                  <a:gd name="connsiteY14" fmla="*/ 0 h 539210"/>
                  <a:gd name="connsiteX15" fmla="*/ 87225 w 464692"/>
                  <a:gd name="connsiteY15" fmla="*/ 0 h 539210"/>
                  <a:gd name="connsiteX16" fmla="*/ 31718 w 464692"/>
                  <a:gd name="connsiteY16" fmla="*/ 55507 h 539210"/>
                  <a:gd name="connsiteX17" fmla="*/ 31718 w 464692"/>
                  <a:gd name="connsiteY17" fmla="*/ 523351 h 539210"/>
                  <a:gd name="connsiteX18" fmla="*/ 0 w 464692"/>
                  <a:gd name="connsiteY18" fmla="*/ 523351 h 539210"/>
                  <a:gd name="connsiteX19" fmla="*/ 0 w 464692"/>
                  <a:gd name="connsiteY19" fmla="*/ 539210 h 539210"/>
                  <a:gd name="connsiteX20" fmla="*/ 364760 w 464692"/>
                  <a:gd name="connsiteY20" fmla="*/ 539210 h 539210"/>
                  <a:gd name="connsiteX21" fmla="*/ 364760 w 464692"/>
                  <a:gd name="connsiteY21" fmla="*/ 523351 h 539210"/>
                  <a:gd name="connsiteX22" fmla="*/ 333042 w 464692"/>
                  <a:gd name="connsiteY22" fmla="*/ 523351 h 539210"/>
                  <a:gd name="connsiteX23" fmla="*/ 333042 w 464692"/>
                  <a:gd name="connsiteY23" fmla="*/ 269605 h 539210"/>
                  <a:gd name="connsiteX24" fmla="*/ 364760 w 464692"/>
                  <a:gd name="connsiteY24" fmla="*/ 301323 h 539210"/>
                  <a:gd name="connsiteX25" fmla="*/ 364760 w 464692"/>
                  <a:gd name="connsiteY25" fmla="*/ 458329 h 539210"/>
                  <a:gd name="connsiteX26" fmla="*/ 413923 w 464692"/>
                  <a:gd name="connsiteY26" fmla="*/ 507492 h 539210"/>
                  <a:gd name="connsiteX27" fmla="*/ 415530 w 464692"/>
                  <a:gd name="connsiteY27" fmla="*/ 507492 h 539210"/>
                  <a:gd name="connsiteX28" fmla="*/ 464692 w 464692"/>
                  <a:gd name="connsiteY28" fmla="*/ 458337 h 539210"/>
                  <a:gd name="connsiteX29" fmla="*/ 464559 w 464692"/>
                  <a:gd name="connsiteY29" fmla="*/ 454714 h 539210"/>
                  <a:gd name="connsiteX30" fmla="*/ 464561 w 464692"/>
                  <a:gd name="connsiteY30" fmla="*/ 454714 h 539210"/>
                  <a:gd name="connsiteX31" fmla="*/ 47577 w 464692"/>
                  <a:gd name="connsiteY31" fmla="*/ 523351 h 539210"/>
                  <a:gd name="connsiteX32" fmla="*/ 47577 w 464692"/>
                  <a:gd name="connsiteY32" fmla="*/ 55507 h 539210"/>
                  <a:gd name="connsiteX33" fmla="*/ 87225 w 464692"/>
                  <a:gd name="connsiteY33" fmla="*/ 15859 h 539210"/>
                  <a:gd name="connsiteX34" fmla="*/ 277535 w 464692"/>
                  <a:gd name="connsiteY34" fmla="*/ 15859 h 539210"/>
                  <a:gd name="connsiteX35" fmla="*/ 317183 w 464692"/>
                  <a:gd name="connsiteY35" fmla="*/ 55507 h 539210"/>
                  <a:gd name="connsiteX36" fmla="*/ 317183 w 464692"/>
                  <a:gd name="connsiteY36" fmla="*/ 523351 h 539210"/>
                  <a:gd name="connsiteX37" fmla="*/ 47577 w 464692"/>
                  <a:gd name="connsiteY37" fmla="*/ 523351 h 539210"/>
                  <a:gd name="connsiteX0" fmla="*/ 464561 w 464692"/>
                  <a:gd name="connsiteY0" fmla="*/ 454714 h 539210"/>
                  <a:gd name="connsiteX1" fmla="*/ 445713 w 464692"/>
                  <a:gd name="connsiteY1" fmla="*/ 198979 h 539210"/>
                  <a:gd name="connsiteX2" fmla="*/ 463324 w 464692"/>
                  <a:gd name="connsiteY2" fmla="*/ 182471 h 539210"/>
                  <a:gd name="connsiteX3" fmla="*/ 429211 w 464692"/>
                  <a:gd name="connsiteY3" fmla="*/ 191506 h 539210"/>
                  <a:gd name="connsiteX4" fmla="*/ 430267 w 464692"/>
                  <a:gd name="connsiteY4" fmla="*/ 205129 h 539210"/>
                  <a:gd name="connsiteX5" fmla="*/ 448747 w 464692"/>
                  <a:gd name="connsiteY5" fmla="*/ 455880 h 539210"/>
                  <a:gd name="connsiteX6" fmla="*/ 417966 w 464692"/>
                  <a:gd name="connsiteY6" fmla="*/ 491543 h 539210"/>
                  <a:gd name="connsiteX7" fmla="*/ 415531 w 464692"/>
                  <a:gd name="connsiteY7" fmla="*/ 491633 h 539210"/>
                  <a:gd name="connsiteX8" fmla="*/ 413923 w 464692"/>
                  <a:gd name="connsiteY8" fmla="*/ 491633 h 539210"/>
                  <a:gd name="connsiteX9" fmla="*/ 380619 w 464692"/>
                  <a:gd name="connsiteY9" fmla="*/ 458329 h 539210"/>
                  <a:gd name="connsiteX10" fmla="*/ 380619 w 464692"/>
                  <a:gd name="connsiteY10" fmla="*/ 301323 h 539210"/>
                  <a:gd name="connsiteX11" fmla="*/ 333042 w 464692"/>
                  <a:gd name="connsiteY11" fmla="*/ 253746 h 539210"/>
                  <a:gd name="connsiteX12" fmla="*/ 333042 w 464692"/>
                  <a:gd name="connsiteY12" fmla="*/ 55507 h 539210"/>
                  <a:gd name="connsiteX13" fmla="*/ 277535 w 464692"/>
                  <a:gd name="connsiteY13" fmla="*/ 0 h 539210"/>
                  <a:gd name="connsiteX14" fmla="*/ 87225 w 464692"/>
                  <a:gd name="connsiteY14" fmla="*/ 0 h 539210"/>
                  <a:gd name="connsiteX15" fmla="*/ 31718 w 464692"/>
                  <a:gd name="connsiteY15" fmla="*/ 55507 h 539210"/>
                  <a:gd name="connsiteX16" fmla="*/ 31718 w 464692"/>
                  <a:gd name="connsiteY16" fmla="*/ 523351 h 539210"/>
                  <a:gd name="connsiteX17" fmla="*/ 0 w 464692"/>
                  <a:gd name="connsiteY17" fmla="*/ 523351 h 539210"/>
                  <a:gd name="connsiteX18" fmla="*/ 0 w 464692"/>
                  <a:gd name="connsiteY18" fmla="*/ 539210 h 539210"/>
                  <a:gd name="connsiteX19" fmla="*/ 364760 w 464692"/>
                  <a:gd name="connsiteY19" fmla="*/ 539210 h 539210"/>
                  <a:gd name="connsiteX20" fmla="*/ 364760 w 464692"/>
                  <a:gd name="connsiteY20" fmla="*/ 523351 h 539210"/>
                  <a:gd name="connsiteX21" fmla="*/ 333042 w 464692"/>
                  <a:gd name="connsiteY21" fmla="*/ 523351 h 539210"/>
                  <a:gd name="connsiteX22" fmla="*/ 333042 w 464692"/>
                  <a:gd name="connsiteY22" fmla="*/ 269605 h 539210"/>
                  <a:gd name="connsiteX23" fmla="*/ 364760 w 464692"/>
                  <a:gd name="connsiteY23" fmla="*/ 301323 h 539210"/>
                  <a:gd name="connsiteX24" fmla="*/ 364760 w 464692"/>
                  <a:gd name="connsiteY24" fmla="*/ 458329 h 539210"/>
                  <a:gd name="connsiteX25" fmla="*/ 413923 w 464692"/>
                  <a:gd name="connsiteY25" fmla="*/ 507492 h 539210"/>
                  <a:gd name="connsiteX26" fmla="*/ 415530 w 464692"/>
                  <a:gd name="connsiteY26" fmla="*/ 507492 h 539210"/>
                  <a:gd name="connsiteX27" fmla="*/ 464692 w 464692"/>
                  <a:gd name="connsiteY27" fmla="*/ 458337 h 539210"/>
                  <a:gd name="connsiteX28" fmla="*/ 464559 w 464692"/>
                  <a:gd name="connsiteY28" fmla="*/ 454714 h 539210"/>
                  <a:gd name="connsiteX29" fmla="*/ 464561 w 464692"/>
                  <a:gd name="connsiteY29" fmla="*/ 454714 h 539210"/>
                  <a:gd name="connsiteX30" fmla="*/ 47577 w 464692"/>
                  <a:gd name="connsiteY30" fmla="*/ 523351 h 539210"/>
                  <a:gd name="connsiteX31" fmla="*/ 47577 w 464692"/>
                  <a:gd name="connsiteY31" fmla="*/ 55507 h 539210"/>
                  <a:gd name="connsiteX32" fmla="*/ 87225 w 464692"/>
                  <a:gd name="connsiteY32" fmla="*/ 15859 h 539210"/>
                  <a:gd name="connsiteX33" fmla="*/ 277535 w 464692"/>
                  <a:gd name="connsiteY33" fmla="*/ 15859 h 539210"/>
                  <a:gd name="connsiteX34" fmla="*/ 317183 w 464692"/>
                  <a:gd name="connsiteY34" fmla="*/ 55507 h 539210"/>
                  <a:gd name="connsiteX35" fmla="*/ 317183 w 464692"/>
                  <a:gd name="connsiteY35" fmla="*/ 523351 h 539210"/>
                  <a:gd name="connsiteX36" fmla="*/ 47577 w 464692"/>
                  <a:gd name="connsiteY36" fmla="*/ 523351 h 539210"/>
                  <a:gd name="connsiteX0" fmla="*/ 464561 w 464692"/>
                  <a:gd name="connsiteY0" fmla="*/ 454714 h 539210"/>
                  <a:gd name="connsiteX1" fmla="*/ 445713 w 464692"/>
                  <a:gd name="connsiteY1" fmla="*/ 198979 h 539210"/>
                  <a:gd name="connsiteX2" fmla="*/ 429211 w 464692"/>
                  <a:gd name="connsiteY2" fmla="*/ 191506 h 539210"/>
                  <a:gd name="connsiteX3" fmla="*/ 430267 w 464692"/>
                  <a:gd name="connsiteY3" fmla="*/ 205129 h 539210"/>
                  <a:gd name="connsiteX4" fmla="*/ 448747 w 464692"/>
                  <a:gd name="connsiteY4" fmla="*/ 455880 h 539210"/>
                  <a:gd name="connsiteX5" fmla="*/ 417966 w 464692"/>
                  <a:gd name="connsiteY5" fmla="*/ 491543 h 539210"/>
                  <a:gd name="connsiteX6" fmla="*/ 415531 w 464692"/>
                  <a:gd name="connsiteY6" fmla="*/ 491633 h 539210"/>
                  <a:gd name="connsiteX7" fmla="*/ 413923 w 464692"/>
                  <a:gd name="connsiteY7" fmla="*/ 491633 h 539210"/>
                  <a:gd name="connsiteX8" fmla="*/ 380619 w 464692"/>
                  <a:gd name="connsiteY8" fmla="*/ 458329 h 539210"/>
                  <a:gd name="connsiteX9" fmla="*/ 380619 w 464692"/>
                  <a:gd name="connsiteY9" fmla="*/ 301323 h 539210"/>
                  <a:gd name="connsiteX10" fmla="*/ 333042 w 464692"/>
                  <a:gd name="connsiteY10" fmla="*/ 253746 h 539210"/>
                  <a:gd name="connsiteX11" fmla="*/ 333042 w 464692"/>
                  <a:gd name="connsiteY11" fmla="*/ 55507 h 539210"/>
                  <a:gd name="connsiteX12" fmla="*/ 277535 w 464692"/>
                  <a:gd name="connsiteY12" fmla="*/ 0 h 539210"/>
                  <a:gd name="connsiteX13" fmla="*/ 87225 w 464692"/>
                  <a:gd name="connsiteY13" fmla="*/ 0 h 539210"/>
                  <a:gd name="connsiteX14" fmla="*/ 31718 w 464692"/>
                  <a:gd name="connsiteY14" fmla="*/ 55507 h 539210"/>
                  <a:gd name="connsiteX15" fmla="*/ 31718 w 464692"/>
                  <a:gd name="connsiteY15" fmla="*/ 523351 h 539210"/>
                  <a:gd name="connsiteX16" fmla="*/ 0 w 464692"/>
                  <a:gd name="connsiteY16" fmla="*/ 523351 h 539210"/>
                  <a:gd name="connsiteX17" fmla="*/ 0 w 464692"/>
                  <a:gd name="connsiteY17" fmla="*/ 539210 h 539210"/>
                  <a:gd name="connsiteX18" fmla="*/ 364760 w 464692"/>
                  <a:gd name="connsiteY18" fmla="*/ 539210 h 539210"/>
                  <a:gd name="connsiteX19" fmla="*/ 364760 w 464692"/>
                  <a:gd name="connsiteY19" fmla="*/ 523351 h 539210"/>
                  <a:gd name="connsiteX20" fmla="*/ 333042 w 464692"/>
                  <a:gd name="connsiteY20" fmla="*/ 523351 h 539210"/>
                  <a:gd name="connsiteX21" fmla="*/ 333042 w 464692"/>
                  <a:gd name="connsiteY21" fmla="*/ 269605 h 539210"/>
                  <a:gd name="connsiteX22" fmla="*/ 364760 w 464692"/>
                  <a:gd name="connsiteY22" fmla="*/ 301323 h 539210"/>
                  <a:gd name="connsiteX23" fmla="*/ 364760 w 464692"/>
                  <a:gd name="connsiteY23" fmla="*/ 458329 h 539210"/>
                  <a:gd name="connsiteX24" fmla="*/ 413923 w 464692"/>
                  <a:gd name="connsiteY24" fmla="*/ 507492 h 539210"/>
                  <a:gd name="connsiteX25" fmla="*/ 415530 w 464692"/>
                  <a:gd name="connsiteY25" fmla="*/ 507492 h 539210"/>
                  <a:gd name="connsiteX26" fmla="*/ 464692 w 464692"/>
                  <a:gd name="connsiteY26" fmla="*/ 458337 h 539210"/>
                  <a:gd name="connsiteX27" fmla="*/ 464559 w 464692"/>
                  <a:gd name="connsiteY27" fmla="*/ 454714 h 539210"/>
                  <a:gd name="connsiteX28" fmla="*/ 464561 w 464692"/>
                  <a:gd name="connsiteY28" fmla="*/ 454714 h 539210"/>
                  <a:gd name="connsiteX29" fmla="*/ 47577 w 464692"/>
                  <a:gd name="connsiteY29" fmla="*/ 523351 h 539210"/>
                  <a:gd name="connsiteX30" fmla="*/ 47577 w 464692"/>
                  <a:gd name="connsiteY30" fmla="*/ 55507 h 539210"/>
                  <a:gd name="connsiteX31" fmla="*/ 87225 w 464692"/>
                  <a:gd name="connsiteY31" fmla="*/ 15859 h 539210"/>
                  <a:gd name="connsiteX32" fmla="*/ 277535 w 464692"/>
                  <a:gd name="connsiteY32" fmla="*/ 15859 h 539210"/>
                  <a:gd name="connsiteX33" fmla="*/ 317183 w 464692"/>
                  <a:gd name="connsiteY33" fmla="*/ 55507 h 539210"/>
                  <a:gd name="connsiteX34" fmla="*/ 317183 w 464692"/>
                  <a:gd name="connsiteY34" fmla="*/ 523351 h 539210"/>
                  <a:gd name="connsiteX35" fmla="*/ 47577 w 464692"/>
                  <a:gd name="connsiteY35" fmla="*/ 523351 h 539210"/>
                  <a:gd name="connsiteX0" fmla="*/ 464561 w 464692"/>
                  <a:gd name="connsiteY0" fmla="*/ 454714 h 539210"/>
                  <a:gd name="connsiteX1" fmla="*/ 445713 w 464692"/>
                  <a:gd name="connsiteY1" fmla="*/ 198979 h 539210"/>
                  <a:gd name="connsiteX2" fmla="*/ 430267 w 464692"/>
                  <a:gd name="connsiteY2" fmla="*/ 205129 h 539210"/>
                  <a:gd name="connsiteX3" fmla="*/ 448747 w 464692"/>
                  <a:gd name="connsiteY3" fmla="*/ 455880 h 539210"/>
                  <a:gd name="connsiteX4" fmla="*/ 417966 w 464692"/>
                  <a:gd name="connsiteY4" fmla="*/ 491543 h 539210"/>
                  <a:gd name="connsiteX5" fmla="*/ 415531 w 464692"/>
                  <a:gd name="connsiteY5" fmla="*/ 491633 h 539210"/>
                  <a:gd name="connsiteX6" fmla="*/ 413923 w 464692"/>
                  <a:gd name="connsiteY6" fmla="*/ 491633 h 539210"/>
                  <a:gd name="connsiteX7" fmla="*/ 380619 w 464692"/>
                  <a:gd name="connsiteY7" fmla="*/ 458329 h 539210"/>
                  <a:gd name="connsiteX8" fmla="*/ 380619 w 464692"/>
                  <a:gd name="connsiteY8" fmla="*/ 301323 h 539210"/>
                  <a:gd name="connsiteX9" fmla="*/ 333042 w 464692"/>
                  <a:gd name="connsiteY9" fmla="*/ 253746 h 539210"/>
                  <a:gd name="connsiteX10" fmla="*/ 333042 w 464692"/>
                  <a:gd name="connsiteY10" fmla="*/ 55507 h 539210"/>
                  <a:gd name="connsiteX11" fmla="*/ 277535 w 464692"/>
                  <a:gd name="connsiteY11" fmla="*/ 0 h 539210"/>
                  <a:gd name="connsiteX12" fmla="*/ 87225 w 464692"/>
                  <a:gd name="connsiteY12" fmla="*/ 0 h 539210"/>
                  <a:gd name="connsiteX13" fmla="*/ 31718 w 464692"/>
                  <a:gd name="connsiteY13" fmla="*/ 55507 h 539210"/>
                  <a:gd name="connsiteX14" fmla="*/ 31718 w 464692"/>
                  <a:gd name="connsiteY14" fmla="*/ 523351 h 539210"/>
                  <a:gd name="connsiteX15" fmla="*/ 0 w 464692"/>
                  <a:gd name="connsiteY15" fmla="*/ 523351 h 539210"/>
                  <a:gd name="connsiteX16" fmla="*/ 0 w 464692"/>
                  <a:gd name="connsiteY16" fmla="*/ 539210 h 539210"/>
                  <a:gd name="connsiteX17" fmla="*/ 364760 w 464692"/>
                  <a:gd name="connsiteY17" fmla="*/ 539210 h 539210"/>
                  <a:gd name="connsiteX18" fmla="*/ 364760 w 464692"/>
                  <a:gd name="connsiteY18" fmla="*/ 523351 h 539210"/>
                  <a:gd name="connsiteX19" fmla="*/ 333042 w 464692"/>
                  <a:gd name="connsiteY19" fmla="*/ 523351 h 539210"/>
                  <a:gd name="connsiteX20" fmla="*/ 333042 w 464692"/>
                  <a:gd name="connsiteY20" fmla="*/ 269605 h 539210"/>
                  <a:gd name="connsiteX21" fmla="*/ 364760 w 464692"/>
                  <a:gd name="connsiteY21" fmla="*/ 301323 h 539210"/>
                  <a:gd name="connsiteX22" fmla="*/ 364760 w 464692"/>
                  <a:gd name="connsiteY22" fmla="*/ 458329 h 539210"/>
                  <a:gd name="connsiteX23" fmla="*/ 413923 w 464692"/>
                  <a:gd name="connsiteY23" fmla="*/ 507492 h 539210"/>
                  <a:gd name="connsiteX24" fmla="*/ 415530 w 464692"/>
                  <a:gd name="connsiteY24" fmla="*/ 507492 h 539210"/>
                  <a:gd name="connsiteX25" fmla="*/ 464692 w 464692"/>
                  <a:gd name="connsiteY25" fmla="*/ 458337 h 539210"/>
                  <a:gd name="connsiteX26" fmla="*/ 464559 w 464692"/>
                  <a:gd name="connsiteY26" fmla="*/ 454714 h 539210"/>
                  <a:gd name="connsiteX27" fmla="*/ 464561 w 464692"/>
                  <a:gd name="connsiteY27" fmla="*/ 454714 h 539210"/>
                  <a:gd name="connsiteX28" fmla="*/ 47577 w 464692"/>
                  <a:gd name="connsiteY28" fmla="*/ 523351 h 539210"/>
                  <a:gd name="connsiteX29" fmla="*/ 47577 w 464692"/>
                  <a:gd name="connsiteY29" fmla="*/ 55507 h 539210"/>
                  <a:gd name="connsiteX30" fmla="*/ 87225 w 464692"/>
                  <a:gd name="connsiteY30" fmla="*/ 15859 h 539210"/>
                  <a:gd name="connsiteX31" fmla="*/ 277535 w 464692"/>
                  <a:gd name="connsiteY31" fmla="*/ 15859 h 539210"/>
                  <a:gd name="connsiteX32" fmla="*/ 317183 w 464692"/>
                  <a:gd name="connsiteY32" fmla="*/ 55507 h 539210"/>
                  <a:gd name="connsiteX33" fmla="*/ 317183 w 464692"/>
                  <a:gd name="connsiteY33" fmla="*/ 523351 h 539210"/>
                  <a:gd name="connsiteX34" fmla="*/ 47577 w 464692"/>
                  <a:gd name="connsiteY34" fmla="*/ 523351 h 539210"/>
                  <a:gd name="connsiteX0" fmla="*/ 464561 w 464692"/>
                  <a:gd name="connsiteY0" fmla="*/ 454714 h 539210"/>
                  <a:gd name="connsiteX1" fmla="*/ 445713 w 464692"/>
                  <a:gd name="connsiteY1" fmla="*/ 198979 h 539210"/>
                  <a:gd name="connsiteX2" fmla="*/ 448747 w 464692"/>
                  <a:gd name="connsiteY2" fmla="*/ 455880 h 539210"/>
                  <a:gd name="connsiteX3" fmla="*/ 417966 w 464692"/>
                  <a:gd name="connsiteY3" fmla="*/ 491543 h 539210"/>
                  <a:gd name="connsiteX4" fmla="*/ 415531 w 464692"/>
                  <a:gd name="connsiteY4" fmla="*/ 491633 h 539210"/>
                  <a:gd name="connsiteX5" fmla="*/ 413923 w 464692"/>
                  <a:gd name="connsiteY5" fmla="*/ 491633 h 539210"/>
                  <a:gd name="connsiteX6" fmla="*/ 380619 w 464692"/>
                  <a:gd name="connsiteY6" fmla="*/ 458329 h 539210"/>
                  <a:gd name="connsiteX7" fmla="*/ 380619 w 464692"/>
                  <a:gd name="connsiteY7" fmla="*/ 301323 h 539210"/>
                  <a:gd name="connsiteX8" fmla="*/ 333042 w 464692"/>
                  <a:gd name="connsiteY8" fmla="*/ 253746 h 539210"/>
                  <a:gd name="connsiteX9" fmla="*/ 333042 w 464692"/>
                  <a:gd name="connsiteY9" fmla="*/ 55507 h 539210"/>
                  <a:gd name="connsiteX10" fmla="*/ 277535 w 464692"/>
                  <a:gd name="connsiteY10" fmla="*/ 0 h 539210"/>
                  <a:gd name="connsiteX11" fmla="*/ 87225 w 464692"/>
                  <a:gd name="connsiteY11" fmla="*/ 0 h 539210"/>
                  <a:gd name="connsiteX12" fmla="*/ 31718 w 464692"/>
                  <a:gd name="connsiteY12" fmla="*/ 55507 h 539210"/>
                  <a:gd name="connsiteX13" fmla="*/ 31718 w 464692"/>
                  <a:gd name="connsiteY13" fmla="*/ 523351 h 539210"/>
                  <a:gd name="connsiteX14" fmla="*/ 0 w 464692"/>
                  <a:gd name="connsiteY14" fmla="*/ 523351 h 539210"/>
                  <a:gd name="connsiteX15" fmla="*/ 0 w 464692"/>
                  <a:gd name="connsiteY15" fmla="*/ 539210 h 539210"/>
                  <a:gd name="connsiteX16" fmla="*/ 364760 w 464692"/>
                  <a:gd name="connsiteY16" fmla="*/ 539210 h 539210"/>
                  <a:gd name="connsiteX17" fmla="*/ 364760 w 464692"/>
                  <a:gd name="connsiteY17" fmla="*/ 523351 h 539210"/>
                  <a:gd name="connsiteX18" fmla="*/ 333042 w 464692"/>
                  <a:gd name="connsiteY18" fmla="*/ 523351 h 539210"/>
                  <a:gd name="connsiteX19" fmla="*/ 333042 w 464692"/>
                  <a:gd name="connsiteY19" fmla="*/ 269605 h 539210"/>
                  <a:gd name="connsiteX20" fmla="*/ 364760 w 464692"/>
                  <a:gd name="connsiteY20" fmla="*/ 301323 h 539210"/>
                  <a:gd name="connsiteX21" fmla="*/ 364760 w 464692"/>
                  <a:gd name="connsiteY21" fmla="*/ 458329 h 539210"/>
                  <a:gd name="connsiteX22" fmla="*/ 413923 w 464692"/>
                  <a:gd name="connsiteY22" fmla="*/ 507492 h 539210"/>
                  <a:gd name="connsiteX23" fmla="*/ 415530 w 464692"/>
                  <a:gd name="connsiteY23" fmla="*/ 507492 h 539210"/>
                  <a:gd name="connsiteX24" fmla="*/ 464692 w 464692"/>
                  <a:gd name="connsiteY24" fmla="*/ 458337 h 539210"/>
                  <a:gd name="connsiteX25" fmla="*/ 464559 w 464692"/>
                  <a:gd name="connsiteY25" fmla="*/ 454714 h 539210"/>
                  <a:gd name="connsiteX26" fmla="*/ 464561 w 464692"/>
                  <a:gd name="connsiteY26" fmla="*/ 454714 h 539210"/>
                  <a:gd name="connsiteX27" fmla="*/ 47577 w 464692"/>
                  <a:gd name="connsiteY27" fmla="*/ 523351 h 539210"/>
                  <a:gd name="connsiteX28" fmla="*/ 47577 w 464692"/>
                  <a:gd name="connsiteY28" fmla="*/ 55507 h 539210"/>
                  <a:gd name="connsiteX29" fmla="*/ 87225 w 464692"/>
                  <a:gd name="connsiteY29" fmla="*/ 15859 h 539210"/>
                  <a:gd name="connsiteX30" fmla="*/ 277535 w 464692"/>
                  <a:gd name="connsiteY30" fmla="*/ 15859 h 539210"/>
                  <a:gd name="connsiteX31" fmla="*/ 317183 w 464692"/>
                  <a:gd name="connsiteY31" fmla="*/ 55507 h 539210"/>
                  <a:gd name="connsiteX32" fmla="*/ 317183 w 464692"/>
                  <a:gd name="connsiteY32" fmla="*/ 523351 h 539210"/>
                  <a:gd name="connsiteX33" fmla="*/ 47577 w 464692"/>
                  <a:gd name="connsiteY33" fmla="*/ 523351 h 539210"/>
                  <a:gd name="connsiteX0" fmla="*/ 464561 w 464692"/>
                  <a:gd name="connsiteY0" fmla="*/ 454714 h 539210"/>
                  <a:gd name="connsiteX1" fmla="*/ 448747 w 464692"/>
                  <a:gd name="connsiteY1" fmla="*/ 455880 h 539210"/>
                  <a:gd name="connsiteX2" fmla="*/ 417966 w 464692"/>
                  <a:gd name="connsiteY2" fmla="*/ 491543 h 539210"/>
                  <a:gd name="connsiteX3" fmla="*/ 415531 w 464692"/>
                  <a:gd name="connsiteY3" fmla="*/ 491633 h 539210"/>
                  <a:gd name="connsiteX4" fmla="*/ 413923 w 464692"/>
                  <a:gd name="connsiteY4" fmla="*/ 491633 h 539210"/>
                  <a:gd name="connsiteX5" fmla="*/ 380619 w 464692"/>
                  <a:gd name="connsiteY5" fmla="*/ 458329 h 539210"/>
                  <a:gd name="connsiteX6" fmla="*/ 380619 w 464692"/>
                  <a:gd name="connsiteY6" fmla="*/ 301323 h 539210"/>
                  <a:gd name="connsiteX7" fmla="*/ 333042 w 464692"/>
                  <a:gd name="connsiteY7" fmla="*/ 253746 h 539210"/>
                  <a:gd name="connsiteX8" fmla="*/ 333042 w 464692"/>
                  <a:gd name="connsiteY8" fmla="*/ 55507 h 539210"/>
                  <a:gd name="connsiteX9" fmla="*/ 277535 w 464692"/>
                  <a:gd name="connsiteY9" fmla="*/ 0 h 539210"/>
                  <a:gd name="connsiteX10" fmla="*/ 87225 w 464692"/>
                  <a:gd name="connsiteY10" fmla="*/ 0 h 539210"/>
                  <a:gd name="connsiteX11" fmla="*/ 31718 w 464692"/>
                  <a:gd name="connsiteY11" fmla="*/ 55507 h 539210"/>
                  <a:gd name="connsiteX12" fmla="*/ 31718 w 464692"/>
                  <a:gd name="connsiteY12" fmla="*/ 523351 h 539210"/>
                  <a:gd name="connsiteX13" fmla="*/ 0 w 464692"/>
                  <a:gd name="connsiteY13" fmla="*/ 523351 h 539210"/>
                  <a:gd name="connsiteX14" fmla="*/ 0 w 464692"/>
                  <a:gd name="connsiteY14" fmla="*/ 539210 h 539210"/>
                  <a:gd name="connsiteX15" fmla="*/ 364760 w 464692"/>
                  <a:gd name="connsiteY15" fmla="*/ 539210 h 539210"/>
                  <a:gd name="connsiteX16" fmla="*/ 364760 w 464692"/>
                  <a:gd name="connsiteY16" fmla="*/ 523351 h 539210"/>
                  <a:gd name="connsiteX17" fmla="*/ 333042 w 464692"/>
                  <a:gd name="connsiteY17" fmla="*/ 523351 h 539210"/>
                  <a:gd name="connsiteX18" fmla="*/ 333042 w 464692"/>
                  <a:gd name="connsiteY18" fmla="*/ 269605 h 539210"/>
                  <a:gd name="connsiteX19" fmla="*/ 364760 w 464692"/>
                  <a:gd name="connsiteY19" fmla="*/ 301323 h 539210"/>
                  <a:gd name="connsiteX20" fmla="*/ 364760 w 464692"/>
                  <a:gd name="connsiteY20" fmla="*/ 458329 h 539210"/>
                  <a:gd name="connsiteX21" fmla="*/ 413923 w 464692"/>
                  <a:gd name="connsiteY21" fmla="*/ 507492 h 539210"/>
                  <a:gd name="connsiteX22" fmla="*/ 415530 w 464692"/>
                  <a:gd name="connsiteY22" fmla="*/ 507492 h 539210"/>
                  <a:gd name="connsiteX23" fmla="*/ 464692 w 464692"/>
                  <a:gd name="connsiteY23" fmla="*/ 458337 h 539210"/>
                  <a:gd name="connsiteX24" fmla="*/ 464559 w 464692"/>
                  <a:gd name="connsiteY24" fmla="*/ 454714 h 539210"/>
                  <a:gd name="connsiteX25" fmla="*/ 464561 w 464692"/>
                  <a:gd name="connsiteY25" fmla="*/ 454714 h 539210"/>
                  <a:gd name="connsiteX26" fmla="*/ 47577 w 464692"/>
                  <a:gd name="connsiteY26" fmla="*/ 523351 h 539210"/>
                  <a:gd name="connsiteX27" fmla="*/ 47577 w 464692"/>
                  <a:gd name="connsiteY27" fmla="*/ 55507 h 539210"/>
                  <a:gd name="connsiteX28" fmla="*/ 87225 w 464692"/>
                  <a:gd name="connsiteY28" fmla="*/ 15859 h 539210"/>
                  <a:gd name="connsiteX29" fmla="*/ 277535 w 464692"/>
                  <a:gd name="connsiteY29" fmla="*/ 15859 h 539210"/>
                  <a:gd name="connsiteX30" fmla="*/ 317183 w 464692"/>
                  <a:gd name="connsiteY30" fmla="*/ 55507 h 539210"/>
                  <a:gd name="connsiteX31" fmla="*/ 317183 w 464692"/>
                  <a:gd name="connsiteY31" fmla="*/ 523351 h 539210"/>
                  <a:gd name="connsiteX32" fmla="*/ 47577 w 464692"/>
                  <a:gd name="connsiteY32" fmla="*/ 523351 h 539210"/>
                  <a:gd name="connsiteX0" fmla="*/ 464559 w 464692"/>
                  <a:gd name="connsiteY0" fmla="*/ 454714 h 539210"/>
                  <a:gd name="connsiteX1" fmla="*/ 448747 w 464692"/>
                  <a:gd name="connsiteY1" fmla="*/ 455880 h 539210"/>
                  <a:gd name="connsiteX2" fmla="*/ 417966 w 464692"/>
                  <a:gd name="connsiteY2" fmla="*/ 491543 h 539210"/>
                  <a:gd name="connsiteX3" fmla="*/ 415531 w 464692"/>
                  <a:gd name="connsiteY3" fmla="*/ 491633 h 539210"/>
                  <a:gd name="connsiteX4" fmla="*/ 413923 w 464692"/>
                  <a:gd name="connsiteY4" fmla="*/ 491633 h 539210"/>
                  <a:gd name="connsiteX5" fmla="*/ 380619 w 464692"/>
                  <a:gd name="connsiteY5" fmla="*/ 458329 h 539210"/>
                  <a:gd name="connsiteX6" fmla="*/ 380619 w 464692"/>
                  <a:gd name="connsiteY6" fmla="*/ 301323 h 539210"/>
                  <a:gd name="connsiteX7" fmla="*/ 333042 w 464692"/>
                  <a:gd name="connsiteY7" fmla="*/ 253746 h 539210"/>
                  <a:gd name="connsiteX8" fmla="*/ 333042 w 464692"/>
                  <a:gd name="connsiteY8" fmla="*/ 55507 h 539210"/>
                  <a:gd name="connsiteX9" fmla="*/ 277535 w 464692"/>
                  <a:gd name="connsiteY9" fmla="*/ 0 h 539210"/>
                  <a:gd name="connsiteX10" fmla="*/ 87225 w 464692"/>
                  <a:gd name="connsiteY10" fmla="*/ 0 h 539210"/>
                  <a:gd name="connsiteX11" fmla="*/ 31718 w 464692"/>
                  <a:gd name="connsiteY11" fmla="*/ 55507 h 539210"/>
                  <a:gd name="connsiteX12" fmla="*/ 31718 w 464692"/>
                  <a:gd name="connsiteY12" fmla="*/ 523351 h 539210"/>
                  <a:gd name="connsiteX13" fmla="*/ 0 w 464692"/>
                  <a:gd name="connsiteY13" fmla="*/ 523351 h 539210"/>
                  <a:gd name="connsiteX14" fmla="*/ 0 w 464692"/>
                  <a:gd name="connsiteY14" fmla="*/ 539210 h 539210"/>
                  <a:gd name="connsiteX15" fmla="*/ 364760 w 464692"/>
                  <a:gd name="connsiteY15" fmla="*/ 539210 h 539210"/>
                  <a:gd name="connsiteX16" fmla="*/ 364760 w 464692"/>
                  <a:gd name="connsiteY16" fmla="*/ 523351 h 539210"/>
                  <a:gd name="connsiteX17" fmla="*/ 333042 w 464692"/>
                  <a:gd name="connsiteY17" fmla="*/ 523351 h 539210"/>
                  <a:gd name="connsiteX18" fmla="*/ 333042 w 464692"/>
                  <a:gd name="connsiteY18" fmla="*/ 269605 h 539210"/>
                  <a:gd name="connsiteX19" fmla="*/ 364760 w 464692"/>
                  <a:gd name="connsiteY19" fmla="*/ 301323 h 539210"/>
                  <a:gd name="connsiteX20" fmla="*/ 364760 w 464692"/>
                  <a:gd name="connsiteY20" fmla="*/ 458329 h 539210"/>
                  <a:gd name="connsiteX21" fmla="*/ 413923 w 464692"/>
                  <a:gd name="connsiteY21" fmla="*/ 507492 h 539210"/>
                  <a:gd name="connsiteX22" fmla="*/ 415530 w 464692"/>
                  <a:gd name="connsiteY22" fmla="*/ 507492 h 539210"/>
                  <a:gd name="connsiteX23" fmla="*/ 464692 w 464692"/>
                  <a:gd name="connsiteY23" fmla="*/ 458337 h 539210"/>
                  <a:gd name="connsiteX24" fmla="*/ 464559 w 464692"/>
                  <a:gd name="connsiteY24" fmla="*/ 454714 h 539210"/>
                  <a:gd name="connsiteX25" fmla="*/ 47577 w 464692"/>
                  <a:gd name="connsiteY25" fmla="*/ 523351 h 539210"/>
                  <a:gd name="connsiteX26" fmla="*/ 47577 w 464692"/>
                  <a:gd name="connsiteY26" fmla="*/ 55507 h 539210"/>
                  <a:gd name="connsiteX27" fmla="*/ 87225 w 464692"/>
                  <a:gd name="connsiteY27" fmla="*/ 15859 h 539210"/>
                  <a:gd name="connsiteX28" fmla="*/ 277535 w 464692"/>
                  <a:gd name="connsiteY28" fmla="*/ 15859 h 539210"/>
                  <a:gd name="connsiteX29" fmla="*/ 317183 w 464692"/>
                  <a:gd name="connsiteY29" fmla="*/ 55507 h 539210"/>
                  <a:gd name="connsiteX30" fmla="*/ 317183 w 464692"/>
                  <a:gd name="connsiteY30" fmla="*/ 523351 h 539210"/>
                  <a:gd name="connsiteX31" fmla="*/ 47577 w 464692"/>
                  <a:gd name="connsiteY31" fmla="*/ 523351 h 539210"/>
                  <a:gd name="connsiteX0" fmla="*/ 464559 w 464692"/>
                  <a:gd name="connsiteY0" fmla="*/ 454714 h 539210"/>
                  <a:gd name="connsiteX1" fmla="*/ 417966 w 464692"/>
                  <a:gd name="connsiteY1" fmla="*/ 491543 h 539210"/>
                  <a:gd name="connsiteX2" fmla="*/ 415531 w 464692"/>
                  <a:gd name="connsiteY2" fmla="*/ 491633 h 539210"/>
                  <a:gd name="connsiteX3" fmla="*/ 413923 w 464692"/>
                  <a:gd name="connsiteY3" fmla="*/ 491633 h 539210"/>
                  <a:gd name="connsiteX4" fmla="*/ 380619 w 464692"/>
                  <a:gd name="connsiteY4" fmla="*/ 458329 h 539210"/>
                  <a:gd name="connsiteX5" fmla="*/ 380619 w 464692"/>
                  <a:gd name="connsiteY5" fmla="*/ 301323 h 539210"/>
                  <a:gd name="connsiteX6" fmla="*/ 333042 w 464692"/>
                  <a:gd name="connsiteY6" fmla="*/ 253746 h 539210"/>
                  <a:gd name="connsiteX7" fmla="*/ 333042 w 464692"/>
                  <a:gd name="connsiteY7" fmla="*/ 55507 h 539210"/>
                  <a:gd name="connsiteX8" fmla="*/ 277535 w 464692"/>
                  <a:gd name="connsiteY8" fmla="*/ 0 h 539210"/>
                  <a:gd name="connsiteX9" fmla="*/ 87225 w 464692"/>
                  <a:gd name="connsiteY9" fmla="*/ 0 h 539210"/>
                  <a:gd name="connsiteX10" fmla="*/ 31718 w 464692"/>
                  <a:gd name="connsiteY10" fmla="*/ 55507 h 539210"/>
                  <a:gd name="connsiteX11" fmla="*/ 31718 w 464692"/>
                  <a:gd name="connsiteY11" fmla="*/ 523351 h 539210"/>
                  <a:gd name="connsiteX12" fmla="*/ 0 w 464692"/>
                  <a:gd name="connsiteY12" fmla="*/ 523351 h 539210"/>
                  <a:gd name="connsiteX13" fmla="*/ 0 w 464692"/>
                  <a:gd name="connsiteY13" fmla="*/ 539210 h 539210"/>
                  <a:gd name="connsiteX14" fmla="*/ 364760 w 464692"/>
                  <a:gd name="connsiteY14" fmla="*/ 539210 h 539210"/>
                  <a:gd name="connsiteX15" fmla="*/ 364760 w 464692"/>
                  <a:gd name="connsiteY15" fmla="*/ 523351 h 539210"/>
                  <a:gd name="connsiteX16" fmla="*/ 333042 w 464692"/>
                  <a:gd name="connsiteY16" fmla="*/ 523351 h 539210"/>
                  <a:gd name="connsiteX17" fmla="*/ 333042 w 464692"/>
                  <a:gd name="connsiteY17" fmla="*/ 269605 h 539210"/>
                  <a:gd name="connsiteX18" fmla="*/ 364760 w 464692"/>
                  <a:gd name="connsiteY18" fmla="*/ 301323 h 539210"/>
                  <a:gd name="connsiteX19" fmla="*/ 364760 w 464692"/>
                  <a:gd name="connsiteY19" fmla="*/ 458329 h 539210"/>
                  <a:gd name="connsiteX20" fmla="*/ 413923 w 464692"/>
                  <a:gd name="connsiteY20" fmla="*/ 507492 h 539210"/>
                  <a:gd name="connsiteX21" fmla="*/ 415530 w 464692"/>
                  <a:gd name="connsiteY21" fmla="*/ 507492 h 539210"/>
                  <a:gd name="connsiteX22" fmla="*/ 464692 w 464692"/>
                  <a:gd name="connsiteY22" fmla="*/ 458337 h 539210"/>
                  <a:gd name="connsiteX23" fmla="*/ 464559 w 464692"/>
                  <a:gd name="connsiteY23" fmla="*/ 454714 h 539210"/>
                  <a:gd name="connsiteX24" fmla="*/ 47577 w 464692"/>
                  <a:gd name="connsiteY24" fmla="*/ 523351 h 539210"/>
                  <a:gd name="connsiteX25" fmla="*/ 47577 w 464692"/>
                  <a:gd name="connsiteY25" fmla="*/ 55507 h 539210"/>
                  <a:gd name="connsiteX26" fmla="*/ 87225 w 464692"/>
                  <a:gd name="connsiteY26" fmla="*/ 15859 h 539210"/>
                  <a:gd name="connsiteX27" fmla="*/ 277535 w 464692"/>
                  <a:gd name="connsiteY27" fmla="*/ 15859 h 539210"/>
                  <a:gd name="connsiteX28" fmla="*/ 317183 w 464692"/>
                  <a:gd name="connsiteY28" fmla="*/ 55507 h 539210"/>
                  <a:gd name="connsiteX29" fmla="*/ 317183 w 464692"/>
                  <a:gd name="connsiteY29" fmla="*/ 523351 h 539210"/>
                  <a:gd name="connsiteX30" fmla="*/ 47577 w 464692"/>
                  <a:gd name="connsiteY30" fmla="*/ 523351 h 539210"/>
                  <a:gd name="connsiteX0" fmla="*/ 464692 w 464695"/>
                  <a:gd name="connsiteY0" fmla="*/ 458337 h 539210"/>
                  <a:gd name="connsiteX1" fmla="*/ 417966 w 464695"/>
                  <a:gd name="connsiteY1" fmla="*/ 491543 h 539210"/>
                  <a:gd name="connsiteX2" fmla="*/ 415531 w 464695"/>
                  <a:gd name="connsiteY2" fmla="*/ 491633 h 539210"/>
                  <a:gd name="connsiteX3" fmla="*/ 413923 w 464695"/>
                  <a:gd name="connsiteY3" fmla="*/ 491633 h 539210"/>
                  <a:gd name="connsiteX4" fmla="*/ 380619 w 464695"/>
                  <a:gd name="connsiteY4" fmla="*/ 458329 h 539210"/>
                  <a:gd name="connsiteX5" fmla="*/ 380619 w 464695"/>
                  <a:gd name="connsiteY5" fmla="*/ 301323 h 539210"/>
                  <a:gd name="connsiteX6" fmla="*/ 333042 w 464695"/>
                  <a:gd name="connsiteY6" fmla="*/ 253746 h 539210"/>
                  <a:gd name="connsiteX7" fmla="*/ 333042 w 464695"/>
                  <a:gd name="connsiteY7" fmla="*/ 55507 h 539210"/>
                  <a:gd name="connsiteX8" fmla="*/ 277535 w 464695"/>
                  <a:gd name="connsiteY8" fmla="*/ 0 h 539210"/>
                  <a:gd name="connsiteX9" fmla="*/ 87225 w 464695"/>
                  <a:gd name="connsiteY9" fmla="*/ 0 h 539210"/>
                  <a:gd name="connsiteX10" fmla="*/ 31718 w 464695"/>
                  <a:gd name="connsiteY10" fmla="*/ 55507 h 539210"/>
                  <a:gd name="connsiteX11" fmla="*/ 31718 w 464695"/>
                  <a:gd name="connsiteY11" fmla="*/ 523351 h 539210"/>
                  <a:gd name="connsiteX12" fmla="*/ 0 w 464695"/>
                  <a:gd name="connsiteY12" fmla="*/ 523351 h 539210"/>
                  <a:gd name="connsiteX13" fmla="*/ 0 w 464695"/>
                  <a:gd name="connsiteY13" fmla="*/ 539210 h 539210"/>
                  <a:gd name="connsiteX14" fmla="*/ 364760 w 464695"/>
                  <a:gd name="connsiteY14" fmla="*/ 539210 h 539210"/>
                  <a:gd name="connsiteX15" fmla="*/ 364760 w 464695"/>
                  <a:gd name="connsiteY15" fmla="*/ 523351 h 539210"/>
                  <a:gd name="connsiteX16" fmla="*/ 333042 w 464695"/>
                  <a:gd name="connsiteY16" fmla="*/ 523351 h 539210"/>
                  <a:gd name="connsiteX17" fmla="*/ 333042 w 464695"/>
                  <a:gd name="connsiteY17" fmla="*/ 269605 h 539210"/>
                  <a:gd name="connsiteX18" fmla="*/ 364760 w 464695"/>
                  <a:gd name="connsiteY18" fmla="*/ 301323 h 539210"/>
                  <a:gd name="connsiteX19" fmla="*/ 364760 w 464695"/>
                  <a:gd name="connsiteY19" fmla="*/ 458329 h 539210"/>
                  <a:gd name="connsiteX20" fmla="*/ 413923 w 464695"/>
                  <a:gd name="connsiteY20" fmla="*/ 507492 h 539210"/>
                  <a:gd name="connsiteX21" fmla="*/ 415530 w 464695"/>
                  <a:gd name="connsiteY21" fmla="*/ 507492 h 539210"/>
                  <a:gd name="connsiteX22" fmla="*/ 464692 w 464695"/>
                  <a:gd name="connsiteY22" fmla="*/ 458337 h 539210"/>
                  <a:gd name="connsiteX23" fmla="*/ 47577 w 464695"/>
                  <a:gd name="connsiteY23" fmla="*/ 523351 h 539210"/>
                  <a:gd name="connsiteX24" fmla="*/ 47577 w 464695"/>
                  <a:gd name="connsiteY24" fmla="*/ 55507 h 539210"/>
                  <a:gd name="connsiteX25" fmla="*/ 87225 w 464695"/>
                  <a:gd name="connsiteY25" fmla="*/ 15859 h 539210"/>
                  <a:gd name="connsiteX26" fmla="*/ 277535 w 464695"/>
                  <a:gd name="connsiteY26" fmla="*/ 15859 h 539210"/>
                  <a:gd name="connsiteX27" fmla="*/ 317183 w 464695"/>
                  <a:gd name="connsiteY27" fmla="*/ 55507 h 539210"/>
                  <a:gd name="connsiteX28" fmla="*/ 317183 w 464695"/>
                  <a:gd name="connsiteY28" fmla="*/ 523351 h 539210"/>
                  <a:gd name="connsiteX29" fmla="*/ 47577 w 464695"/>
                  <a:gd name="connsiteY29" fmla="*/ 523351 h 539210"/>
                  <a:gd name="connsiteX0" fmla="*/ 415530 w 417966"/>
                  <a:gd name="connsiteY0" fmla="*/ 507492 h 539210"/>
                  <a:gd name="connsiteX1" fmla="*/ 417966 w 417966"/>
                  <a:gd name="connsiteY1" fmla="*/ 491543 h 539210"/>
                  <a:gd name="connsiteX2" fmla="*/ 415531 w 417966"/>
                  <a:gd name="connsiteY2" fmla="*/ 491633 h 539210"/>
                  <a:gd name="connsiteX3" fmla="*/ 413923 w 417966"/>
                  <a:gd name="connsiteY3" fmla="*/ 491633 h 539210"/>
                  <a:gd name="connsiteX4" fmla="*/ 380619 w 417966"/>
                  <a:gd name="connsiteY4" fmla="*/ 458329 h 539210"/>
                  <a:gd name="connsiteX5" fmla="*/ 380619 w 417966"/>
                  <a:gd name="connsiteY5" fmla="*/ 301323 h 539210"/>
                  <a:gd name="connsiteX6" fmla="*/ 333042 w 417966"/>
                  <a:gd name="connsiteY6" fmla="*/ 253746 h 539210"/>
                  <a:gd name="connsiteX7" fmla="*/ 333042 w 417966"/>
                  <a:gd name="connsiteY7" fmla="*/ 55507 h 539210"/>
                  <a:gd name="connsiteX8" fmla="*/ 277535 w 417966"/>
                  <a:gd name="connsiteY8" fmla="*/ 0 h 539210"/>
                  <a:gd name="connsiteX9" fmla="*/ 87225 w 417966"/>
                  <a:gd name="connsiteY9" fmla="*/ 0 h 539210"/>
                  <a:gd name="connsiteX10" fmla="*/ 31718 w 417966"/>
                  <a:gd name="connsiteY10" fmla="*/ 55507 h 539210"/>
                  <a:gd name="connsiteX11" fmla="*/ 31718 w 417966"/>
                  <a:gd name="connsiteY11" fmla="*/ 523351 h 539210"/>
                  <a:gd name="connsiteX12" fmla="*/ 0 w 417966"/>
                  <a:gd name="connsiteY12" fmla="*/ 523351 h 539210"/>
                  <a:gd name="connsiteX13" fmla="*/ 0 w 417966"/>
                  <a:gd name="connsiteY13" fmla="*/ 539210 h 539210"/>
                  <a:gd name="connsiteX14" fmla="*/ 364760 w 417966"/>
                  <a:gd name="connsiteY14" fmla="*/ 539210 h 539210"/>
                  <a:gd name="connsiteX15" fmla="*/ 364760 w 417966"/>
                  <a:gd name="connsiteY15" fmla="*/ 523351 h 539210"/>
                  <a:gd name="connsiteX16" fmla="*/ 333042 w 417966"/>
                  <a:gd name="connsiteY16" fmla="*/ 523351 h 539210"/>
                  <a:gd name="connsiteX17" fmla="*/ 333042 w 417966"/>
                  <a:gd name="connsiteY17" fmla="*/ 269605 h 539210"/>
                  <a:gd name="connsiteX18" fmla="*/ 364760 w 417966"/>
                  <a:gd name="connsiteY18" fmla="*/ 301323 h 539210"/>
                  <a:gd name="connsiteX19" fmla="*/ 364760 w 417966"/>
                  <a:gd name="connsiteY19" fmla="*/ 458329 h 539210"/>
                  <a:gd name="connsiteX20" fmla="*/ 413923 w 417966"/>
                  <a:gd name="connsiteY20" fmla="*/ 507492 h 539210"/>
                  <a:gd name="connsiteX21" fmla="*/ 415530 w 417966"/>
                  <a:gd name="connsiteY21" fmla="*/ 507492 h 539210"/>
                  <a:gd name="connsiteX22" fmla="*/ 47577 w 417966"/>
                  <a:gd name="connsiteY22" fmla="*/ 523351 h 539210"/>
                  <a:gd name="connsiteX23" fmla="*/ 47577 w 417966"/>
                  <a:gd name="connsiteY23" fmla="*/ 55507 h 539210"/>
                  <a:gd name="connsiteX24" fmla="*/ 87225 w 417966"/>
                  <a:gd name="connsiteY24" fmla="*/ 15859 h 539210"/>
                  <a:gd name="connsiteX25" fmla="*/ 277535 w 417966"/>
                  <a:gd name="connsiteY25" fmla="*/ 15859 h 539210"/>
                  <a:gd name="connsiteX26" fmla="*/ 317183 w 417966"/>
                  <a:gd name="connsiteY26" fmla="*/ 55507 h 539210"/>
                  <a:gd name="connsiteX27" fmla="*/ 317183 w 417966"/>
                  <a:gd name="connsiteY27" fmla="*/ 523351 h 539210"/>
                  <a:gd name="connsiteX28" fmla="*/ 47577 w 417966"/>
                  <a:gd name="connsiteY28" fmla="*/ 523351 h 539210"/>
                  <a:gd name="connsiteX0" fmla="*/ 415530 w 417966"/>
                  <a:gd name="connsiteY0" fmla="*/ 507492 h 539210"/>
                  <a:gd name="connsiteX1" fmla="*/ 417966 w 417966"/>
                  <a:gd name="connsiteY1" fmla="*/ 491543 h 539210"/>
                  <a:gd name="connsiteX2" fmla="*/ 415531 w 417966"/>
                  <a:gd name="connsiteY2" fmla="*/ 491633 h 539210"/>
                  <a:gd name="connsiteX3" fmla="*/ 380619 w 417966"/>
                  <a:gd name="connsiteY3" fmla="*/ 458329 h 539210"/>
                  <a:gd name="connsiteX4" fmla="*/ 380619 w 417966"/>
                  <a:gd name="connsiteY4" fmla="*/ 301323 h 539210"/>
                  <a:gd name="connsiteX5" fmla="*/ 333042 w 417966"/>
                  <a:gd name="connsiteY5" fmla="*/ 253746 h 539210"/>
                  <a:gd name="connsiteX6" fmla="*/ 333042 w 417966"/>
                  <a:gd name="connsiteY6" fmla="*/ 55507 h 539210"/>
                  <a:gd name="connsiteX7" fmla="*/ 277535 w 417966"/>
                  <a:gd name="connsiteY7" fmla="*/ 0 h 539210"/>
                  <a:gd name="connsiteX8" fmla="*/ 87225 w 417966"/>
                  <a:gd name="connsiteY8" fmla="*/ 0 h 539210"/>
                  <a:gd name="connsiteX9" fmla="*/ 31718 w 417966"/>
                  <a:gd name="connsiteY9" fmla="*/ 55507 h 539210"/>
                  <a:gd name="connsiteX10" fmla="*/ 31718 w 417966"/>
                  <a:gd name="connsiteY10" fmla="*/ 523351 h 539210"/>
                  <a:gd name="connsiteX11" fmla="*/ 0 w 417966"/>
                  <a:gd name="connsiteY11" fmla="*/ 523351 h 539210"/>
                  <a:gd name="connsiteX12" fmla="*/ 0 w 417966"/>
                  <a:gd name="connsiteY12" fmla="*/ 539210 h 539210"/>
                  <a:gd name="connsiteX13" fmla="*/ 364760 w 417966"/>
                  <a:gd name="connsiteY13" fmla="*/ 539210 h 539210"/>
                  <a:gd name="connsiteX14" fmla="*/ 364760 w 417966"/>
                  <a:gd name="connsiteY14" fmla="*/ 523351 h 539210"/>
                  <a:gd name="connsiteX15" fmla="*/ 333042 w 417966"/>
                  <a:gd name="connsiteY15" fmla="*/ 523351 h 539210"/>
                  <a:gd name="connsiteX16" fmla="*/ 333042 w 417966"/>
                  <a:gd name="connsiteY16" fmla="*/ 269605 h 539210"/>
                  <a:gd name="connsiteX17" fmla="*/ 364760 w 417966"/>
                  <a:gd name="connsiteY17" fmla="*/ 301323 h 539210"/>
                  <a:gd name="connsiteX18" fmla="*/ 364760 w 417966"/>
                  <a:gd name="connsiteY18" fmla="*/ 458329 h 539210"/>
                  <a:gd name="connsiteX19" fmla="*/ 413923 w 417966"/>
                  <a:gd name="connsiteY19" fmla="*/ 507492 h 539210"/>
                  <a:gd name="connsiteX20" fmla="*/ 415530 w 417966"/>
                  <a:gd name="connsiteY20" fmla="*/ 507492 h 539210"/>
                  <a:gd name="connsiteX21" fmla="*/ 47577 w 417966"/>
                  <a:gd name="connsiteY21" fmla="*/ 523351 h 539210"/>
                  <a:gd name="connsiteX22" fmla="*/ 47577 w 417966"/>
                  <a:gd name="connsiteY22" fmla="*/ 55507 h 539210"/>
                  <a:gd name="connsiteX23" fmla="*/ 87225 w 417966"/>
                  <a:gd name="connsiteY23" fmla="*/ 15859 h 539210"/>
                  <a:gd name="connsiteX24" fmla="*/ 277535 w 417966"/>
                  <a:gd name="connsiteY24" fmla="*/ 15859 h 539210"/>
                  <a:gd name="connsiteX25" fmla="*/ 317183 w 417966"/>
                  <a:gd name="connsiteY25" fmla="*/ 55507 h 539210"/>
                  <a:gd name="connsiteX26" fmla="*/ 317183 w 417966"/>
                  <a:gd name="connsiteY26" fmla="*/ 523351 h 539210"/>
                  <a:gd name="connsiteX27" fmla="*/ 47577 w 417966"/>
                  <a:gd name="connsiteY27" fmla="*/ 523351 h 539210"/>
                  <a:gd name="connsiteX0" fmla="*/ 413923 w 417966"/>
                  <a:gd name="connsiteY0" fmla="*/ 507492 h 539210"/>
                  <a:gd name="connsiteX1" fmla="*/ 417966 w 417966"/>
                  <a:gd name="connsiteY1" fmla="*/ 491543 h 539210"/>
                  <a:gd name="connsiteX2" fmla="*/ 415531 w 417966"/>
                  <a:gd name="connsiteY2" fmla="*/ 491633 h 539210"/>
                  <a:gd name="connsiteX3" fmla="*/ 380619 w 417966"/>
                  <a:gd name="connsiteY3" fmla="*/ 458329 h 539210"/>
                  <a:gd name="connsiteX4" fmla="*/ 380619 w 417966"/>
                  <a:gd name="connsiteY4" fmla="*/ 301323 h 539210"/>
                  <a:gd name="connsiteX5" fmla="*/ 333042 w 417966"/>
                  <a:gd name="connsiteY5" fmla="*/ 253746 h 539210"/>
                  <a:gd name="connsiteX6" fmla="*/ 333042 w 417966"/>
                  <a:gd name="connsiteY6" fmla="*/ 55507 h 539210"/>
                  <a:gd name="connsiteX7" fmla="*/ 277535 w 417966"/>
                  <a:gd name="connsiteY7" fmla="*/ 0 h 539210"/>
                  <a:gd name="connsiteX8" fmla="*/ 87225 w 417966"/>
                  <a:gd name="connsiteY8" fmla="*/ 0 h 539210"/>
                  <a:gd name="connsiteX9" fmla="*/ 31718 w 417966"/>
                  <a:gd name="connsiteY9" fmla="*/ 55507 h 539210"/>
                  <a:gd name="connsiteX10" fmla="*/ 31718 w 417966"/>
                  <a:gd name="connsiteY10" fmla="*/ 523351 h 539210"/>
                  <a:gd name="connsiteX11" fmla="*/ 0 w 417966"/>
                  <a:gd name="connsiteY11" fmla="*/ 523351 h 539210"/>
                  <a:gd name="connsiteX12" fmla="*/ 0 w 417966"/>
                  <a:gd name="connsiteY12" fmla="*/ 539210 h 539210"/>
                  <a:gd name="connsiteX13" fmla="*/ 364760 w 417966"/>
                  <a:gd name="connsiteY13" fmla="*/ 539210 h 539210"/>
                  <a:gd name="connsiteX14" fmla="*/ 364760 w 417966"/>
                  <a:gd name="connsiteY14" fmla="*/ 523351 h 539210"/>
                  <a:gd name="connsiteX15" fmla="*/ 333042 w 417966"/>
                  <a:gd name="connsiteY15" fmla="*/ 523351 h 539210"/>
                  <a:gd name="connsiteX16" fmla="*/ 333042 w 417966"/>
                  <a:gd name="connsiteY16" fmla="*/ 269605 h 539210"/>
                  <a:gd name="connsiteX17" fmla="*/ 364760 w 417966"/>
                  <a:gd name="connsiteY17" fmla="*/ 301323 h 539210"/>
                  <a:gd name="connsiteX18" fmla="*/ 364760 w 417966"/>
                  <a:gd name="connsiteY18" fmla="*/ 458329 h 539210"/>
                  <a:gd name="connsiteX19" fmla="*/ 413923 w 417966"/>
                  <a:gd name="connsiteY19" fmla="*/ 507492 h 539210"/>
                  <a:gd name="connsiteX20" fmla="*/ 47577 w 417966"/>
                  <a:gd name="connsiteY20" fmla="*/ 523351 h 539210"/>
                  <a:gd name="connsiteX21" fmla="*/ 47577 w 417966"/>
                  <a:gd name="connsiteY21" fmla="*/ 55507 h 539210"/>
                  <a:gd name="connsiteX22" fmla="*/ 87225 w 417966"/>
                  <a:gd name="connsiteY22" fmla="*/ 15859 h 539210"/>
                  <a:gd name="connsiteX23" fmla="*/ 277535 w 417966"/>
                  <a:gd name="connsiteY23" fmla="*/ 15859 h 539210"/>
                  <a:gd name="connsiteX24" fmla="*/ 317183 w 417966"/>
                  <a:gd name="connsiteY24" fmla="*/ 55507 h 539210"/>
                  <a:gd name="connsiteX25" fmla="*/ 317183 w 417966"/>
                  <a:gd name="connsiteY25" fmla="*/ 523351 h 539210"/>
                  <a:gd name="connsiteX26" fmla="*/ 47577 w 417966"/>
                  <a:gd name="connsiteY26" fmla="*/ 523351 h 539210"/>
                  <a:gd name="connsiteX0" fmla="*/ 364760 w 421327"/>
                  <a:gd name="connsiteY0" fmla="*/ 458329 h 539210"/>
                  <a:gd name="connsiteX1" fmla="*/ 417966 w 421327"/>
                  <a:gd name="connsiteY1" fmla="*/ 491543 h 539210"/>
                  <a:gd name="connsiteX2" fmla="*/ 415531 w 421327"/>
                  <a:gd name="connsiteY2" fmla="*/ 491633 h 539210"/>
                  <a:gd name="connsiteX3" fmla="*/ 380619 w 421327"/>
                  <a:gd name="connsiteY3" fmla="*/ 458329 h 539210"/>
                  <a:gd name="connsiteX4" fmla="*/ 380619 w 421327"/>
                  <a:gd name="connsiteY4" fmla="*/ 301323 h 539210"/>
                  <a:gd name="connsiteX5" fmla="*/ 333042 w 421327"/>
                  <a:gd name="connsiteY5" fmla="*/ 253746 h 539210"/>
                  <a:gd name="connsiteX6" fmla="*/ 333042 w 421327"/>
                  <a:gd name="connsiteY6" fmla="*/ 55507 h 539210"/>
                  <a:gd name="connsiteX7" fmla="*/ 277535 w 421327"/>
                  <a:gd name="connsiteY7" fmla="*/ 0 h 539210"/>
                  <a:gd name="connsiteX8" fmla="*/ 87225 w 421327"/>
                  <a:gd name="connsiteY8" fmla="*/ 0 h 539210"/>
                  <a:gd name="connsiteX9" fmla="*/ 31718 w 421327"/>
                  <a:gd name="connsiteY9" fmla="*/ 55507 h 539210"/>
                  <a:gd name="connsiteX10" fmla="*/ 31718 w 421327"/>
                  <a:gd name="connsiteY10" fmla="*/ 523351 h 539210"/>
                  <a:gd name="connsiteX11" fmla="*/ 0 w 421327"/>
                  <a:gd name="connsiteY11" fmla="*/ 523351 h 539210"/>
                  <a:gd name="connsiteX12" fmla="*/ 0 w 421327"/>
                  <a:gd name="connsiteY12" fmla="*/ 539210 h 539210"/>
                  <a:gd name="connsiteX13" fmla="*/ 364760 w 421327"/>
                  <a:gd name="connsiteY13" fmla="*/ 539210 h 539210"/>
                  <a:gd name="connsiteX14" fmla="*/ 364760 w 421327"/>
                  <a:gd name="connsiteY14" fmla="*/ 523351 h 539210"/>
                  <a:gd name="connsiteX15" fmla="*/ 333042 w 421327"/>
                  <a:gd name="connsiteY15" fmla="*/ 523351 h 539210"/>
                  <a:gd name="connsiteX16" fmla="*/ 333042 w 421327"/>
                  <a:gd name="connsiteY16" fmla="*/ 269605 h 539210"/>
                  <a:gd name="connsiteX17" fmla="*/ 364760 w 421327"/>
                  <a:gd name="connsiteY17" fmla="*/ 301323 h 539210"/>
                  <a:gd name="connsiteX18" fmla="*/ 364760 w 421327"/>
                  <a:gd name="connsiteY18" fmla="*/ 458329 h 539210"/>
                  <a:gd name="connsiteX19" fmla="*/ 47577 w 421327"/>
                  <a:gd name="connsiteY19" fmla="*/ 523351 h 539210"/>
                  <a:gd name="connsiteX20" fmla="*/ 47577 w 421327"/>
                  <a:gd name="connsiteY20" fmla="*/ 55507 h 539210"/>
                  <a:gd name="connsiteX21" fmla="*/ 87225 w 421327"/>
                  <a:gd name="connsiteY21" fmla="*/ 15859 h 539210"/>
                  <a:gd name="connsiteX22" fmla="*/ 277535 w 421327"/>
                  <a:gd name="connsiteY22" fmla="*/ 15859 h 539210"/>
                  <a:gd name="connsiteX23" fmla="*/ 317183 w 421327"/>
                  <a:gd name="connsiteY23" fmla="*/ 55507 h 539210"/>
                  <a:gd name="connsiteX24" fmla="*/ 317183 w 421327"/>
                  <a:gd name="connsiteY24" fmla="*/ 523351 h 539210"/>
                  <a:gd name="connsiteX25" fmla="*/ 47577 w 421327"/>
                  <a:gd name="connsiteY25" fmla="*/ 523351 h 539210"/>
                  <a:gd name="connsiteX0" fmla="*/ 364760 w 418113"/>
                  <a:gd name="connsiteY0" fmla="*/ 458329 h 539210"/>
                  <a:gd name="connsiteX1" fmla="*/ 417966 w 418113"/>
                  <a:gd name="connsiteY1" fmla="*/ 491543 h 539210"/>
                  <a:gd name="connsiteX2" fmla="*/ 380619 w 418113"/>
                  <a:gd name="connsiteY2" fmla="*/ 458329 h 539210"/>
                  <a:gd name="connsiteX3" fmla="*/ 380619 w 418113"/>
                  <a:gd name="connsiteY3" fmla="*/ 301323 h 539210"/>
                  <a:gd name="connsiteX4" fmla="*/ 333042 w 418113"/>
                  <a:gd name="connsiteY4" fmla="*/ 253746 h 539210"/>
                  <a:gd name="connsiteX5" fmla="*/ 333042 w 418113"/>
                  <a:gd name="connsiteY5" fmla="*/ 55507 h 539210"/>
                  <a:gd name="connsiteX6" fmla="*/ 277535 w 418113"/>
                  <a:gd name="connsiteY6" fmla="*/ 0 h 539210"/>
                  <a:gd name="connsiteX7" fmla="*/ 87225 w 418113"/>
                  <a:gd name="connsiteY7" fmla="*/ 0 h 539210"/>
                  <a:gd name="connsiteX8" fmla="*/ 31718 w 418113"/>
                  <a:gd name="connsiteY8" fmla="*/ 55507 h 539210"/>
                  <a:gd name="connsiteX9" fmla="*/ 31718 w 418113"/>
                  <a:gd name="connsiteY9" fmla="*/ 523351 h 539210"/>
                  <a:gd name="connsiteX10" fmla="*/ 0 w 418113"/>
                  <a:gd name="connsiteY10" fmla="*/ 523351 h 539210"/>
                  <a:gd name="connsiteX11" fmla="*/ 0 w 418113"/>
                  <a:gd name="connsiteY11" fmla="*/ 539210 h 539210"/>
                  <a:gd name="connsiteX12" fmla="*/ 364760 w 418113"/>
                  <a:gd name="connsiteY12" fmla="*/ 539210 h 539210"/>
                  <a:gd name="connsiteX13" fmla="*/ 364760 w 418113"/>
                  <a:gd name="connsiteY13" fmla="*/ 523351 h 539210"/>
                  <a:gd name="connsiteX14" fmla="*/ 333042 w 418113"/>
                  <a:gd name="connsiteY14" fmla="*/ 523351 h 539210"/>
                  <a:gd name="connsiteX15" fmla="*/ 333042 w 418113"/>
                  <a:gd name="connsiteY15" fmla="*/ 269605 h 539210"/>
                  <a:gd name="connsiteX16" fmla="*/ 364760 w 418113"/>
                  <a:gd name="connsiteY16" fmla="*/ 301323 h 539210"/>
                  <a:gd name="connsiteX17" fmla="*/ 364760 w 418113"/>
                  <a:gd name="connsiteY17" fmla="*/ 458329 h 539210"/>
                  <a:gd name="connsiteX18" fmla="*/ 47577 w 418113"/>
                  <a:gd name="connsiteY18" fmla="*/ 523351 h 539210"/>
                  <a:gd name="connsiteX19" fmla="*/ 47577 w 418113"/>
                  <a:gd name="connsiteY19" fmla="*/ 55507 h 539210"/>
                  <a:gd name="connsiteX20" fmla="*/ 87225 w 418113"/>
                  <a:gd name="connsiteY20" fmla="*/ 15859 h 539210"/>
                  <a:gd name="connsiteX21" fmla="*/ 277535 w 418113"/>
                  <a:gd name="connsiteY21" fmla="*/ 15859 h 539210"/>
                  <a:gd name="connsiteX22" fmla="*/ 317183 w 418113"/>
                  <a:gd name="connsiteY22" fmla="*/ 55507 h 539210"/>
                  <a:gd name="connsiteX23" fmla="*/ 317183 w 418113"/>
                  <a:gd name="connsiteY23" fmla="*/ 523351 h 539210"/>
                  <a:gd name="connsiteX24" fmla="*/ 47577 w 418113"/>
                  <a:gd name="connsiteY24" fmla="*/ 523351 h 539210"/>
                  <a:gd name="connsiteX0" fmla="*/ 364760 w 418113"/>
                  <a:gd name="connsiteY0" fmla="*/ 301323 h 539210"/>
                  <a:gd name="connsiteX1" fmla="*/ 417966 w 418113"/>
                  <a:gd name="connsiteY1" fmla="*/ 491543 h 539210"/>
                  <a:gd name="connsiteX2" fmla="*/ 380619 w 418113"/>
                  <a:gd name="connsiteY2" fmla="*/ 458329 h 539210"/>
                  <a:gd name="connsiteX3" fmla="*/ 380619 w 418113"/>
                  <a:gd name="connsiteY3" fmla="*/ 301323 h 539210"/>
                  <a:gd name="connsiteX4" fmla="*/ 333042 w 418113"/>
                  <a:gd name="connsiteY4" fmla="*/ 253746 h 539210"/>
                  <a:gd name="connsiteX5" fmla="*/ 333042 w 418113"/>
                  <a:gd name="connsiteY5" fmla="*/ 55507 h 539210"/>
                  <a:gd name="connsiteX6" fmla="*/ 277535 w 418113"/>
                  <a:gd name="connsiteY6" fmla="*/ 0 h 539210"/>
                  <a:gd name="connsiteX7" fmla="*/ 87225 w 418113"/>
                  <a:gd name="connsiteY7" fmla="*/ 0 h 539210"/>
                  <a:gd name="connsiteX8" fmla="*/ 31718 w 418113"/>
                  <a:gd name="connsiteY8" fmla="*/ 55507 h 539210"/>
                  <a:gd name="connsiteX9" fmla="*/ 31718 w 418113"/>
                  <a:gd name="connsiteY9" fmla="*/ 523351 h 539210"/>
                  <a:gd name="connsiteX10" fmla="*/ 0 w 418113"/>
                  <a:gd name="connsiteY10" fmla="*/ 523351 h 539210"/>
                  <a:gd name="connsiteX11" fmla="*/ 0 w 418113"/>
                  <a:gd name="connsiteY11" fmla="*/ 539210 h 539210"/>
                  <a:gd name="connsiteX12" fmla="*/ 364760 w 418113"/>
                  <a:gd name="connsiteY12" fmla="*/ 539210 h 539210"/>
                  <a:gd name="connsiteX13" fmla="*/ 364760 w 418113"/>
                  <a:gd name="connsiteY13" fmla="*/ 523351 h 539210"/>
                  <a:gd name="connsiteX14" fmla="*/ 333042 w 418113"/>
                  <a:gd name="connsiteY14" fmla="*/ 523351 h 539210"/>
                  <a:gd name="connsiteX15" fmla="*/ 333042 w 418113"/>
                  <a:gd name="connsiteY15" fmla="*/ 269605 h 539210"/>
                  <a:gd name="connsiteX16" fmla="*/ 364760 w 418113"/>
                  <a:gd name="connsiteY16" fmla="*/ 301323 h 539210"/>
                  <a:gd name="connsiteX17" fmla="*/ 47577 w 418113"/>
                  <a:gd name="connsiteY17" fmla="*/ 523351 h 539210"/>
                  <a:gd name="connsiteX18" fmla="*/ 47577 w 418113"/>
                  <a:gd name="connsiteY18" fmla="*/ 55507 h 539210"/>
                  <a:gd name="connsiteX19" fmla="*/ 87225 w 418113"/>
                  <a:gd name="connsiteY19" fmla="*/ 15859 h 539210"/>
                  <a:gd name="connsiteX20" fmla="*/ 277535 w 418113"/>
                  <a:gd name="connsiteY20" fmla="*/ 15859 h 539210"/>
                  <a:gd name="connsiteX21" fmla="*/ 317183 w 418113"/>
                  <a:gd name="connsiteY21" fmla="*/ 55507 h 539210"/>
                  <a:gd name="connsiteX22" fmla="*/ 317183 w 418113"/>
                  <a:gd name="connsiteY22" fmla="*/ 523351 h 539210"/>
                  <a:gd name="connsiteX23" fmla="*/ 47577 w 418113"/>
                  <a:gd name="connsiteY23" fmla="*/ 523351 h 539210"/>
                  <a:gd name="connsiteX0" fmla="*/ 364760 w 380619"/>
                  <a:gd name="connsiteY0" fmla="*/ 301323 h 539210"/>
                  <a:gd name="connsiteX1" fmla="*/ 380619 w 380619"/>
                  <a:gd name="connsiteY1" fmla="*/ 458329 h 539210"/>
                  <a:gd name="connsiteX2" fmla="*/ 380619 w 380619"/>
                  <a:gd name="connsiteY2" fmla="*/ 301323 h 539210"/>
                  <a:gd name="connsiteX3" fmla="*/ 333042 w 380619"/>
                  <a:gd name="connsiteY3" fmla="*/ 253746 h 539210"/>
                  <a:gd name="connsiteX4" fmla="*/ 333042 w 380619"/>
                  <a:gd name="connsiteY4" fmla="*/ 55507 h 539210"/>
                  <a:gd name="connsiteX5" fmla="*/ 277535 w 380619"/>
                  <a:gd name="connsiteY5" fmla="*/ 0 h 539210"/>
                  <a:gd name="connsiteX6" fmla="*/ 87225 w 380619"/>
                  <a:gd name="connsiteY6" fmla="*/ 0 h 539210"/>
                  <a:gd name="connsiteX7" fmla="*/ 31718 w 380619"/>
                  <a:gd name="connsiteY7" fmla="*/ 55507 h 539210"/>
                  <a:gd name="connsiteX8" fmla="*/ 31718 w 380619"/>
                  <a:gd name="connsiteY8" fmla="*/ 523351 h 539210"/>
                  <a:gd name="connsiteX9" fmla="*/ 0 w 380619"/>
                  <a:gd name="connsiteY9" fmla="*/ 523351 h 539210"/>
                  <a:gd name="connsiteX10" fmla="*/ 0 w 380619"/>
                  <a:gd name="connsiteY10" fmla="*/ 539210 h 539210"/>
                  <a:gd name="connsiteX11" fmla="*/ 364760 w 380619"/>
                  <a:gd name="connsiteY11" fmla="*/ 539210 h 539210"/>
                  <a:gd name="connsiteX12" fmla="*/ 364760 w 380619"/>
                  <a:gd name="connsiteY12" fmla="*/ 523351 h 539210"/>
                  <a:gd name="connsiteX13" fmla="*/ 333042 w 380619"/>
                  <a:gd name="connsiteY13" fmla="*/ 523351 h 539210"/>
                  <a:gd name="connsiteX14" fmla="*/ 333042 w 380619"/>
                  <a:gd name="connsiteY14" fmla="*/ 269605 h 539210"/>
                  <a:gd name="connsiteX15" fmla="*/ 364760 w 380619"/>
                  <a:gd name="connsiteY15" fmla="*/ 301323 h 539210"/>
                  <a:gd name="connsiteX16" fmla="*/ 47577 w 380619"/>
                  <a:gd name="connsiteY16" fmla="*/ 523351 h 539210"/>
                  <a:gd name="connsiteX17" fmla="*/ 47577 w 380619"/>
                  <a:gd name="connsiteY17" fmla="*/ 55507 h 539210"/>
                  <a:gd name="connsiteX18" fmla="*/ 87225 w 380619"/>
                  <a:gd name="connsiteY18" fmla="*/ 15859 h 539210"/>
                  <a:gd name="connsiteX19" fmla="*/ 277535 w 380619"/>
                  <a:gd name="connsiteY19" fmla="*/ 15859 h 539210"/>
                  <a:gd name="connsiteX20" fmla="*/ 317183 w 380619"/>
                  <a:gd name="connsiteY20" fmla="*/ 55507 h 539210"/>
                  <a:gd name="connsiteX21" fmla="*/ 317183 w 380619"/>
                  <a:gd name="connsiteY21" fmla="*/ 523351 h 539210"/>
                  <a:gd name="connsiteX22" fmla="*/ 47577 w 380619"/>
                  <a:gd name="connsiteY22" fmla="*/ 523351 h 539210"/>
                  <a:gd name="connsiteX0" fmla="*/ 364760 w 380619"/>
                  <a:gd name="connsiteY0" fmla="*/ 301323 h 539210"/>
                  <a:gd name="connsiteX1" fmla="*/ 380619 w 380619"/>
                  <a:gd name="connsiteY1" fmla="*/ 301323 h 539210"/>
                  <a:gd name="connsiteX2" fmla="*/ 333042 w 380619"/>
                  <a:gd name="connsiteY2" fmla="*/ 253746 h 539210"/>
                  <a:gd name="connsiteX3" fmla="*/ 333042 w 380619"/>
                  <a:gd name="connsiteY3" fmla="*/ 55507 h 539210"/>
                  <a:gd name="connsiteX4" fmla="*/ 277535 w 380619"/>
                  <a:gd name="connsiteY4" fmla="*/ 0 h 539210"/>
                  <a:gd name="connsiteX5" fmla="*/ 87225 w 380619"/>
                  <a:gd name="connsiteY5" fmla="*/ 0 h 539210"/>
                  <a:gd name="connsiteX6" fmla="*/ 31718 w 380619"/>
                  <a:gd name="connsiteY6" fmla="*/ 55507 h 539210"/>
                  <a:gd name="connsiteX7" fmla="*/ 31718 w 380619"/>
                  <a:gd name="connsiteY7" fmla="*/ 523351 h 539210"/>
                  <a:gd name="connsiteX8" fmla="*/ 0 w 380619"/>
                  <a:gd name="connsiteY8" fmla="*/ 523351 h 539210"/>
                  <a:gd name="connsiteX9" fmla="*/ 0 w 380619"/>
                  <a:gd name="connsiteY9" fmla="*/ 539210 h 539210"/>
                  <a:gd name="connsiteX10" fmla="*/ 364760 w 380619"/>
                  <a:gd name="connsiteY10" fmla="*/ 539210 h 539210"/>
                  <a:gd name="connsiteX11" fmla="*/ 364760 w 380619"/>
                  <a:gd name="connsiteY11" fmla="*/ 523351 h 539210"/>
                  <a:gd name="connsiteX12" fmla="*/ 333042 w 380619"/>
                  <a:gd name="connsiteY12" fmla="*/ 523351 h 539210"/>
                  <a:gd name="connsiteX13" fmla="*/ 333042 w 380619"/>
                  <a:gd name="connsiteY13" fmla="*/ 269605 h 539210"/>
                  <a:gd name="connsiteX14" fmla="*/ 364760 w 380619"/>
                  <a:gd name="connsiteY14" fmla="*/ 301323 h 539210"/>
                  <a:gd name="connsiteX15" fmla="*/ 47577 w 380619"/>
                  <a:gd name="connsiteY15" fmla="*/ 523351 h 539210"/>
                  <a:gd name="connsiteX16" fmla="*/ 47577 w 380619"/>
                  <a:gd name="connsiteY16" fmla="*/ 55507 h 539210"/>
                  <a:gd name="connsiteX17" fmla="*/ 87225 w 380619"/>
                  <a:gd name="connsiteY17" fmla="*/ 15859 h 539210"/>
                  <a:gd name="connsiteX18" fmla="*/ 277535 w 380619"/>
                  <a:gd name="connsiteY18" fmla="*/ 15859 h 539210"/>
                  <a:gd name="connsiteX19" fmla="*/ 317183 w 380619"/>
                  <a:gd name="connsiteY19" fmla="*/ 55507 h 539210"/>
                  <a:gd name="connsiteX20" fmla="*/ 317183 w 380619"/>
                  <a:gd name="connsiteY20" fmla="*/ 523351 h 539210"/>
                  <a:gd name="connsiteX21" fmla="*/ 47577 w 380619"/>
                  <a:gd name="connsiteY21" fmla="*/ 523351 h 539210"/>
                  <a:gd name="connsiteX0" fmla="*/ 333042 w 380619"/>
                  <a:gd name="connsiteY0" fmla="*/ 269605 h 539210"/>
                  <a:gd name="connsiteX1" fmla="*/ 380619 w 380619"/>
                  <a:gd name="connsiteY1" fmla="*/ 301323 h 539210"/>
                  <a:gd name="connsiteX2" fmla="*/ 333042 w 380619"/>
                  <a:gd name="connsiteY2" fmla="*/ 253746 h 539210"/>
                  <a:gd name="connsiteX3" fmla="*/ 333042 w 380619"/>
                  <a:gd name="connsiteY3" fmla="*/ 55507 h 539210"/>
                  <a:gd name="connsiteX4" fmla="*/ 277535 w 380619"/>
                  <a:gd name="connsiteY4" fmla="*/ 0 h 539210"/>
                  <a:gd name="connsiteX5" fmla="*/ 87225 w 380619"/>
                  <a:gd name="connsiteY5" fmla="*/ 0 h 539210"/>
                  <a:gd name="connsiteX6" fmla="*/ 31718 w 380619"/>
                  <a:gd name="connsiteY6" fmla="*/ 55507 h 539210"/>
                  <a:gd name="connsiteX7" fmla="*/ 31718 w 380619"/>
                  <a:gd name="connsiteY7" fmla="*/ 523351 h 539210"/>
                  <a:gd name="connsiteX8" fmla="*/ 0 w 380619"/>
                  <a:gd name="connsiteY8" fmla="*/ 523351 h 539210"/>
                  <a:gd name="connsiteX9" fmla="*/ 0 w 380619"/>
                  <a:gd name="connsiteY9" fmla="*/ 539210 h 539210"/>
                  <a:gd name="connsiteX10" fmla="*/ 364760 w 380619"/>
                  <a:gd name="connsiteY10" fmla="*/ 539210 h 539210"/>
                  <a:gd name="connsiteX11" fmla="*/ 364760 w 380619"/>
                  <a:gd name="connsiteY11" fmla="*/ 523351 h 539210"/>
                  <a:gd name="connsiteX12" fmla="*/ 333042 w 380619"/>
                  <a:gd name="connsiteY12" fmla="*/ 523351 h 539210"/>
                  <a:gd name="connsiteX13" fmla="*/ 333042 w 380619"/>
                  <a:gd name="connsiteY13" fmla="*/ 269605 h 539210"/>
                  <a:gd name="connsiteX14" fmla="*/ 47577 w 380619"/>
                  <a:gd name="connsiteY14" fmla="*/ 523351 h 539210"/>
                  <a:gd name="connsiteX15" fmla="*/ 47577 w 380619"/>
                  <a:gd name="connsiteY15" fmla="*/ 55507 h 539210"/>
                  <a:gd name="connsiteX16" fmla="*/ 87225 w 380619"/>
                  <a:gd name="connsiteY16" fmla="*/ 15859 h 539210"/>
                  <a:gd name="connsiteX17" fmla="*/ 277535 w 380619"/>
                  <a:gd name="connsiteY17" fmla="*/ 15859 h 539210"/>
                  <a:gd name="connsiteX18" fmla="*/ 317183 w 380619"/>
                  <a:gd name="connsiteY18" fmla="*/ 55507 h 539210"/>
                  <a:gd name="connsiteX19" fmla="*/ 317183 w 380619"/>
                  <a:gd name="connsiteY19" fmla="*/ 523351 h 539210"/>
                  <a:gd name="connsiteX20" fmla="*/ 47577 w 380619"/>
                  <a:gd name="connsiteY20" fmla="*/ 523351 h 539210"/>
                  <a:gd name="connsiteX0" fmla="*/ 333042 w 364760"/>
                  <a:gd name="connsiteY0" fmla="*/ 269605 h 539210"/>
                  <a:gd name="connsiteX1" fmla="*/ 333042 w 364760"/>
                  <a:gd name="connsiteY1" fmla="*/ 253746 h 539210"/>
                  <a:gd name="connsiteX2" fmla="*/ 333042 w 364760"/>
                  <a:gd name="connsiteY2" fmla="*/ 55507 h 539210"/>
                  <a:gd name="connsiteX3" fmla="*/ 277535 w 364760"/>
                  <a:gd name="connsiteY3" fmla="*/ 0 h 539210"/>
                  <a:gd name="connsiteX4" fmla="*/ 87225 w 364760"/>
                  <a:gd name="connsiteY4" fmla="*/ 0 h 539210"/>
                  <a:gd name="connsiteX5" fmla="*/ 31718 w 364760"/>
                  <a:gd name="connsiteY5" fmla="*/ 55507 h 539210"/>
                  <a:gd name="connsiteX6" fmla="*/ 31718 w 364760"/>
                  <a:gd name="connsiteY6" fmla="*/ 523351 h 539210"/>
                  <a:gd name="connsiteX7" fmla="*/ 0 w 364760"/>
                  <a:gd name="connsiteY7" fmla="*/ 523351 h 539210"/>
                  <a:gd name="connsiteX8" fmla="*/ 0 w 364760"/>
                  <a:gd name="connsiteY8" fmla="*/ 539210 h 539210"/>
                  <a:gd name="connsiteX9" fmla="*/ 364760 w 364760"/>
                  <a:gd name="connsiteY9" fmla="*/ 539210 h 539210"/>
                  <a:gd name="connsiteX10" fmla="*/ 364760 w 364760"/>
                  <a:gd name="connsiteY10" fmla="*/ 523351 h 539210"/>
                  <a:gd name="connsiteX11" fmla="*/ 333042 w 364760"/>
                  <a:gd name="connsiteY11" fmla="*/ 523351 h 539210"/>
                  <a:gd name="connsiteX12" fmla="*/ 333042 w 364760"/>
                  <a:gd name="connsiteY12" fmla="*/ 269605 h 539210"/>
                  <a:gd name="connsiteX13" fmla="*/ 47577 w 364760"/>
                  <a:gd name="connsiteY13" fmla="*/ 523351 h 539210"/>
                  <a:gd name="connsiteX14" fmla="*/ 47577 w 364760"/>
                  <a:gd name="connsiteY14" fmla="*/ 55507 h 539210"/>
                  <a:gd name="connsiteX15" fmla="*/ 87225 w 364760"/>
                  <a:gd name="connsiteY15" fmla="*/ 15859 h 539210"/>
                  <a:gd name="connsiteX16" fmla="*/ 277535 w 364760"/>
                  <a:gd name="connsiteY16" fmla="*/ 15859 h 539210"/>
                  <a:gd name="connsiteX17" fmla="*/ 317183 w 364760"/>
                  <a:gd name="connsiteY17" fmla="*/ 55507 h 539210"/>
                  <a:gd name="connsiteX18" fmla="*/ 317183 w 364760"/>
                  <a:gd name="connsiteY18" fmla="*/ 523351 h 539210"/>
                  <a:gd name="connsiteX19" fmla="*/ 47577 w 364760"/>
                  <a:gd name="connsiteY19" fmla="*/ 523351 h 53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4760" h="539210">
                    <a:moveTo>
                      <a:pt x="333042" y="269605"/>
                    </a:moveTo>
                    <a:lnTo>
                      <a:pt x="333042" y="253746"/>
                    </a:lnTo>
                    <a:lnTo>
                      <a:pt x="333042" y="55507"/>
                    </a:lnTo>
                    <a:cubicBezTo>
                      <a:pt x="333008" y="24866"/>
                      <a:pt x="308176" y="34"/>
                      <a:pt x="277535" y="0"/>
                    </a:cubicBezTo>
                    <a:lnTo>
                      <a:pt x="87225" y="0"/>
                    </a:lnTo>
                    <a:cubicBezTo>
                      <a:pt x="56584" y="34"/>
                      <a:pt x="31752" y="24866"/>
                      <a:pt x="31718" y="55507"/>
                    </a:cubicBezTo>
                    <a:lnTo>
                      <a:pt x="31718" y="523351"/>
                    </a:lnTo>
                    <a:lnTo>
                      <a:pt x="0" y="523351"/>
                    </a:lnTo>
                    <a:lnTo>
                      <a:pt x="0" y="539210"/>
                    </a:lnTo>
                    <a:lnTo>
                      <a:pt x="364760" y="539210"/>
                    </a:lnTo>
                    <a:lnTo>
                      <a:pt x="364760" y="523351"/>
                    </a:lnTo>
                    <a:lnTo>
                      <a:pt x="333042" y="523351"/>
                    </a:lnTo>
                    <a:lnTo>
                      <a:pt x="333042" y="269605"/>
                    </a:lnTo>
                    <a:close/>
                    <a:moveTo>
                      <a:pt x="47577" y="523351"/>
                    </a:moveTo>
                    <a:lnTo>
                      <a:pt x="47577" y="55507"/>
                    </a:lnTo>
                    <a:cubicBezTo>
                      <a:pt x="47604" y="33621"/>
                      <a:pt x="65339" y="15885"/>
                      <a:pt x="87225" y="15859"/>
                    </a:cubicBezTo>
                    <a:lnTo>
                      <a:pt x="277535" y="15859"/>
                    </a:lnTo>
                    <a:cubicBezTo>
                      <a:pt x="299421" y="15885"/>
                      <a:pt x="317156" y="33621"/>
                      <a:pt x="317183" y="55507"/>
                    </a:cubicBezTo>
                    <a:lnTo>
                      <a:pt x="317183" y="523351"/>
                    </a:lnTo>
                    <a:lnTo>
                      <a:pt x="47577" y="523351"/>
                    </a:lnTo>
                    <a:close/>
                  </a:path>
                </a:pathLst>
              </a:custGeom>
              <a:grpFill/>
              <a:ln w="7838" cap="flat">
                <a:noFill/>
                <a:prstDash val="solid"/>
                <a:miter/>
              </a:ln>
            </p:spPr>
            <p:txBody>
              <a:bodyPr rtlCol="0" anchor="ctr"/>
              <a:lstStyle/>
              <a:p>
                <a:endParaRPr lang="en-GB"/>
              </a:p>
            </p:txBody>
          </p:sp>
          <p:sp>
            <p:nvSpPr>
              <p:cNvPr id="31" name="Oval 30">
                <a:extLst>
                  <a:ext uri="{FF2B5EF4-FFF2-40B4-BE49-F238E27FC236}">
                    <a16:creationId xmlns:a16="http://schemas.microsoft.com/office/drawing/2014/main" id="{4D6CAFB6-141B-8444-B8B0-261895EE947F}"/>
                  </a:ext>
                </a:extLst>
              </p:cNvPr>
              <p:cNvSpPr/>
              <p:nvPr/>
            </p:nvSpPr>
            <p:spPr>
              <a:xfrm>
                <a:off x="7450752" y="5431452"/>
                <a:ext cx="52567" cy="5256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GB" sz="1000" dirty="0" err="1">
                  <a:solidFill>
                    <a:schemeClr val="bg1"/>
                  </a:solidFill>
                </a:endParaRPr>
              </a:p>
            </p:txBody>
          </p:sp>
          <p:sp>
            <p:nvSpPr>
              <p:cNvPr id="32" name="Freeform: Shape 54">
                <a:extLst>
                  <a:ext uri="{FF2B5EF4-FFF2-40B4-BE49-F238E27FC236}">
                    <a16:creationId xmlns:a16="http://schemas.microsoft.com/office/drawing/2014/main" id="{8B1FC26D-2EED-6F44-8F42-D0B16841BAFE}"/>
                  </a:ext>
                </a:extLst>
              </p:cNvPr>
              <p:cNvSpPr/>
              <p:nvPr/>
            </p:nvSpPr>
            <p:spPr>
              <a:xfrm rot="5400000">
                <a:off x="7631046" y="5281115"/>
                <a:ext cx="110406" cy="365860"/>
              </a:xfrm>
              <a:custGeom>
                <a:avLst/>
                <a:gdLst>
                  <a:gd name="connsiteX0" fmla="*/ 854308 w 949491"/>
                  <a:gd name="connsiteY0" fmla="*/ 284490 h 474745"/>
                  <a:gd name="connsiteX1" fmla="*/ 778556 w 949491"/>
                  <a:gd name="connsiteY1" fmla="*/ 284490 h 474745"/>
                  <a:gd name="connsiteX2" fmla="*/ 778114 w 949491"/>
                  <a:gd name="connsiteY2" fmla="*/ 284400 h 474745"/>
                  <a:gd name="connsiteX3" fmla="*/ 774575 w 949491"/>
                  <a:gd name="connsiteY3" fmla="*/ 284400 h 474745"/>
                  <a:gd name="connsiteX4" fmla="*/ 748942 w 949491"/>
                  <a:gd name="connsiteY4" fmla="*/ 273193 h 474745"/>
                  <a:gd name="connsiteX5" fmla="*/ 629174 w 949491"/>
                  <a:gd name="connsiteY5" fmla="*/ 154353 h 474745"/>
                  <a:gd name="connsiteX6" fmla="*/ 574996 w 949491"/>
                  <a:gd name="connsiteY6" fmla="*/ 132487 h 474745"/>
                  <a:gd name="connsiteX7" fmla="*/ 313484 w 949491"/>
                  <a:gd name="connsiteY7" fmla="*/ 132487 h 474745"/>
                  <a:gd name="connsiteX8" fmla="*/ 259305 w 949491"/>
                  <a:gd name="connsiteY8" fmla="*/ 154348 h 474745"/>
                  <a:gd name="connsiteX9" fmla="*/ 141443 w 949491"/>
                  <a:gd name="connsiteY9" fmla="*/ 273193 h 474745"/>
                  <a:gd name="connsiteX10" fmla="*/ 130037 w 949491"/>
                  <a:gd name="connsiteY10" fmla="*/ 300765 h 474745"/>
                  <a:gd name="connsiteX11" fmla="*/ 130037 w 949491"/>
                  <a:gd name="connsiteY11" fmla="*/ 375381 h 474745"/>
                  <a:gd name="connsiteX12" fmla="*/ 99365 w 949491"/>
                  <a:gd name="connsiteY12" fmla="*/ 375381 h 474745"/>
                  <a:gd name="connsiteX13" fmla="*/ 66244 w 949491"/>
                  <a:gd name="connsiteY13" fmla="*/ 342259 h 474745"/>
                  <a:gd name="connsiteX14" fmla="*/ 66244 w 949491"/>
                  <a:gd name="connsiteY14" fmla="*/ 153452 h 474745"/>
                  <a:gd name="connsiteX15" fmla="*/ 110406 w 949491"/>
                  <a:gd name="connsiteY15" fmla="*/ 99365 h 474745"/>
                  <a:gd name="connsiteX16" fmla="*/ 110406 w 949491"/>
                  <a:gd name="connsiteY16" fmla="*/ 55203 h 474745"/>
                  <a:gd name="connsiteX17" fmla="*/ 93845 w 949491"/>
                  <a:gd name="connsiteY17" fmla="*/ 55203 h 474745"/>
                  <a:gd name="connsiteX18" fmla="*/ 93845 w 949491"/>
                  <a:gd name="connsiteY18" fmla="*/ 11041 h 474745"/>
                  <a:gd name="connsiteX19" fmla="*/ 82805 w 949491"/>
                  <a:gd name="connsiteY19" fmla="*/ 0 h 474745"/>
                  <a:gd name="connsiteX20" fmla="*/ 71764 w 949491"/>
                  <a:gd name="connsiteY20" fmla="*/ 11041 h 474745"/>
                  <a:gd name="connsiteX21" fmla="*/ 71764 w 949491"/>
                  <a:gd name="connsiteY21" fmla="*/ 55203 h 474745"/>
                  <a:gd name="connsiteX22" fmla="*/ 38642 w 949491"/>
                  <a:gd name="connsiteY22" fmla="*/ 55203 h 474745"/>
                  <a:gd name="connsiteX23" fmla="*/ 38642 w 949491"/>
                  <a:gd name="connsiteY23" fmla="*/ 11041 h 474745"/>
                  <a:gd name="connsiteX24" fmla="*/ 27602 w 949491"/>
                  <a:gd name="connsiteY24" fmla="*/ 0 h 474745"/>
                  <a:gd name="connsiteX25" fmla="*/ 16561 w 949491"/>
                  <a:gd name="connsiteY25" fmla="*/ 11041 h 474745"/>
                  <a:gd name="connsiteX26" fmla="*/ 16561 w 949491"/>
                  <a:gd name="connsiteY26" fmla="*/ 55203 h 474745"/>
                  <a:gd name="connsiteX27" fmla="*/ 0 w 949491"/>
                  <a:gd name="connsiteY27" fmla="*/ 55203 h 474745"/>
                  <a:gd name="connsiteX28" fmla="*/ 0 w 949491"/>
                  <a:gd name="connsiteY28" fmla="*/ 99365 h 474745"/>
                  <a:gd name="connsiteX29" fmla="*/ 44162 w 949491"/>
                  <a:gd name="connsiteY29" fmla="*/ 153452 h 474745"/>
                  <a:gd name="connsiteX30" fmla="*/ 44162 w 949491"/>
                  <a:gd name="connsiteY30" fmla="*/ 342259 h 474745"/>
                  <a:gd name="connsiteX31" fmla="*/ 99365 w 949491"/>
                  <a:gd name="connsiteY31" fmla="*/ 397462 h 474745"/>
                  <a:gd name="connsiteX32" fmla="*/ 130037 w 949491"/>
                  <a:gd name="connsiteY32" fmla="*/ 397462 h 474745"/>
                  <a:gd name="connsiteX33" fmla="*/ 130037 w 949491"/>
                  <a:gd name="connsiteY33" fmla="*/ 398688 h 474745"/>
                  <a:gd name="connsiteX34" fmla="*/ 206095 w 949491"/>
                  <a:gd name="connsiteY34" fmla="*/ 474746 h 474745"/>
                  <a:gd name="connsiteX35" fmla="*/ 219298 w 949491"/>
                  <a:gd name="connsiteY35" fmla="*/ 474746 h 474745"/>
                  <a:gd name="connsiteX36" fmla="*/ 218445 w 949491"/>
                  <a:gd name="connsiteY36" fmla="*/ 461781 h 474745"/>
                  <a:gd name="connsiteX37" fmla="*/ 218908 w 949491"/>
                  <a:gd name="connsiteY37" fmla="*/ 452665 h 474745"/>
                  <a:gd name="connsiteX38" fmla="*/ 206075 w 949491"/>
                  <a:gd name="connsiteY38" fmla="*/ 452665 h 474745"/>
                  <a:gd name="connsiteX39" fmla="*/ 152117 w 949491"/>
                  <a:gd name="connsiteY39" fmla="*/ 398706 h 474745"/>
                  <a:gd name="connsiteX40" fmla="*/ 152117 w 949491"/>
                  <a:gd name="connsiteY40" fmla="*/ 306487 h 474745"/>
                  <a:gd name="connsiteX41" fmla="*/ 774631 w 949491"/>
                  <a:gd name="connsiteY41" fmla="*/ 306487 h 474745"/>
                  <a:gd name="connsiteX42" fmla="*/ 775551 w 949491"/>
                  <a:gd name="connsiteY42" fmla="*/ 306577 h 474745"/>
                  <a:gd name="connsiteX43" fmla="*/ 854442 w 949491"/>
                  <a:gd name="connsiteY43" fmla="*/ 306577 h 474745"/>
                  <a:gd name="connsiteX44" fmla="*/ 927411 w 949491"/>
                  <a:gd name="connsiteY44" fmla="*/ 379544 h 474745"/>
                  <a:gd name="connsiteX45" fmla="*/ 927411 w 949491"/>
                  <a:gd name="connsiteY45" fmla="*/ 436724 h 474745"/>
                  <a:gd name="connsiteX46" fmla="*/ 911465 w 949491"/>
                  <a:gd name="connsiteY46" fmla="*/ 452665 h 474745"/>
                  <a:gd name="connsiteX47" fmla="*/ 857126 w 949491"/>
                  <a:gd name="connsiteY47" fmla="*/ 452665 h 474745"/>
                  <a:gd name="connsiteX48" fmla="*/ 857588 w 949491"/>
                  <a:gd name="connsiteY48" fmla="*/ 461781 h 474745"/>
                  <a:gd name="connsiteX49" fmla="*/ 856735 w 949491"/>
                  <a:gd name="connsiteY49" fmla="*/ 474746 h 474745"/>
                  <a:gd name="connsiteX50" fmla="*/ 911473 w 949491"/>
                  <a:gd name="connsiteY50" fmla="*/ 474746 h 474745"/>
                  <a:gd name="connsiteX51" fmla="*/ 949492 w 949491"/>
                  <a:gd name="connsiteY51" fmla="*/ 436727 h 474745"/>
                  <a:gd name="connsiteX52" fmla="*/ 949492 w 949491"/>
                  <a:gd name="connsiteY52" fmla="*/ 379674 h 474745"/>
                  <a:gd name="connsiteX53" fmla="*/ 854308 w 949491"/>
                  <a:gd name="connsiteY53" fmla="*/ 284490 h 474745"/>
                  <a:gd name="connsiteX54" fmla="*/ 22081 w 949491"/>
                  <a:gd name="connsiteY54" fmla="*/ 98058 h 474745"/>
                  <a:gd name="connsiteX55" fmla="*/ 22081 w 949491"/>
                  <a:gd name="connsiteY55" fmla="*/ 77284 h 474745"/>
                  <a:gd name="connsiteX56" fmla="*/ 88325 w 949491"/>
                  <a:gd name="connsiteY56" fmla="*/ 77284 h 474745"/>
                  <a:gd name="connsiteX57" fmla="*/ 88325 w 949491"/>
                  <a:gd name="connsiteY57" fmla="*/ 99365 h 474745"/>
                  <a:gd name="connsiteX58" fmla="*/ 55107 w 949491"/>
                  <a:gd name="connsiteY58" fmla="*/ 132497 h 474745"/>
                  <a:gd name="connsiteX59" fmla="*/ 48602 w 949491"/>
                  <a:gd name="connsiteY59" fmla="*/ 131845 h 474745"/>
                  <a:gd name="connsiteX60" fmla="*/ 22081 w 949491"/>
                  <a:gd name="connsiteY60" fmla="*/ 98058 h 474745"/>
                  <a:gd name="connsiteX61" fmla="*/ 613621 w 949491"/>
                  <a:gd name="connsiteY61" fmla="*/ 170025 h 474745"/>
                  <a:gd name="connsiteX62" fmla="*/ 728881 w 949491"/>
                  <a:gd name="connsiteY62" fmla="*/ 284406 h 474745"/>
                  <a:gd name="connsiteX63" fmla="*/ 441624 w 949491"/>
                  <a:gd name="connsiteY63" fmla="*/ 284406 h 474745"/>
                  <a:gd name="connsiteX64" fmla="*/ 441624 w 949491"/>
                  <a:gd name="connsiteY64" fmla="*/ 154568 h 474745"/>
                  <a:gd name="connsiteX65" fmla="*/ 574995 w 949491"/>
                  <a:gd name="connsiteY65" fmla="*/ 154568 h 474745"/>
                  <a:gd name="connsiteX66" fmla="*/ 613621 w 949491"/>
                  <a:gd name="connsiteY66" fmla="*/ 170025 h 474745"/>
                  <a:gd name="connsiteX67" fmla="*/ 274920 w 949491"/>
                  <a:gd name="connsiteY67" fmla="*/ 169964 h 474745"/>
                  <a:gd name="connsiteX68" fmla="*/ 313484 w 949491"/>
                  <a:gd name="connsiteY68" fmla="*/ 154568 h 474745"/>
                  <a:gd name="connsiteX69" fmla="*/ 419543 w 949491"/>
                  <a:gd name="connsiteY69" fmla="*/ 154568 h 474745"/>
                  <a:gd name="connsiteX70" fmla="*/ 419543 w 949491"/>
                  <a:gd name="connsiteY70" fmla="*/ 284406 h 474745"/>
                  <a:gd name="connsiteX71" fmla="*/ 161692 w 949491"/>
                  <a:gd name="connsiteY71" fmla="*/ 284406 h 474745"/>
                  <a:gd name="connsiteX72" fmla="*/ 161613 w 949491"/>
                  <a:gd name="connsiteY72" fmla="*/ 284218 h 474745"/>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629174 w 949492"/>
                  <a:gd name="connsiteY5" fmla="*/ 154353 h 474746"/>
                  <a:gd name="connsiteX6" fmla="*/ 574996 w 949492"/>
                  <a:gd name="connsiteY6" fmla="*/ 132487 h 474746"/>
                  <a:gd name="connsiteX7" fmla="*/ 313484 w 949492"/>
                  <a:gd name="connsiteY7" fmla="*/ 132487 h 474746"/>
                  <a:gd name="connsiteX8" fmla="*/ 259305 w 949492"/>
                  <a:gd name="connsiteY8" fmla="*/ 154348 h 474746"/>
                  <a:gd name="connsiteX9" fmla="*/ 141443 w 949492"/>
                  <a:gd name="connsiteY9" fmla="*/ 273193 h 474746"/>
                  <a:gd name="connsiteX10" fmla="*/ 130037 w 949492"/>
                  <a:gd name="connsiteY10" fmla="*/ 300765 h 474746"/>
                  <a:gd name="connsiteX11" fmla="*/ 130037 w 949492"/>
                  <a:gd name="connsiteY11" fmla="*/ 375381 h 474746"/>
                  <a:gd name="connsiteX12" fmla="*/ 99365 w 949492"/>
                  <a:gd name="connsiteY12" fmla="*/ 375381 h 474746"/>
                  <a:gd name="connsiteX13" fmla="*/ 66244 w 949492"/>
                  <a:gd name="connsiteY13" fmla="*/ 342259 h 474746"/>
                  <a:gd name="connsiteX14" fmla="*/ 66244 w 949492"/>
                  <a:gd name="connsiteY14" fmla="*/ 153452 h 474746"/>
                  <a:gd name="connsiteX15" fmla="*/ 110406 w 949492"/>
                  <a:gd name="connsiteY15" fmla="*/ 99365 h 474746"/>
                  <a:gd name="connsiteX16" fmla="*/ 110406 w 949492"/>
                  <a:gd name="connsiteY16" fmla="*/ 55203 h 474746"/>
                  <a:gd name="connsiteX17" fmla="*/ 93845 w 949492"/>
                  <a:gd name="connsiteY17" fmla="*/ 55203 h 474746"/>
                  <a:gd name="connsiteX18" fmla="*/ 93845 w 949492"/>
                  <a:gd name="connsiteY18" fmla="*/ 11041 h 474746"/>
                  <a:gd name="connsiteX19" fmla="*/ 82805 w 949492"/>
                  <a:gd name="connsiteY19" fmla="*/ 0 h 474746"/>
                  <a:gd name="connsiteX20" fmla="*/ 71764 w 949492"/>
                  <a:gd name="connsiteY20" fmla="*/ 11041 h 474746"/>
                  <a:gd name="connsiteX21" fmla="*/ 71764 w 949492"/>
                  <a:gd name="connsiteY21" fmla="*/ 55203 h 474746"/>
                  <a:gd name="connsiteX22" fmla="*/ 38642 w 949492"/>
                  <a:gd name="connsiteY22" fmla="*/ 55203 h 474746"/>
                  <a:gd name="connsiteX23" fmla="*/ 38642 w 949492"/>
                  <a:gd name="connsiteY23" fmla="*/ 11041 h 474746"/>
                  <a:gd name="connsiteX24" fmla="*/ 27602 w 949492"/>
                  <a:gd name="connsiteY24" fmla="*/ 0 h 474746"/>
                  <a:gd name="connsiteX25" fmla="*/ 16561 w 949492"/>
                  <a:gd name="connsiteY25" fmla="*/ 11041 h 474746"/>
                  <a:gd name="connsiteX26" fmla="*/ 16561 w 949492"/>
                  <a:gd name="connsiteY26" fmla="*/ 55203 h 474746"/>
                  <a:gd name="connsiteX27" fmla="*/ 0 w 949492"/>
                  <a:gd name="connsiteY27" fmla="*/ 55203 h 474746"/>
                  <a:gd name="connsiteX28" fmla="*/ 0 w 949492"/>
                  <a:gd name="connsiteY28" fmla="*/ 99365 h 474746"/>
                  <a:gd name="connsiteX29" fmla="*/ 44162 w 949492"/>
                  <a:gd name="connsiteY29" fmla="*/ 153452 h 474746"/>
                  <a:gd name="connsiteX30" fmla="*/ 44162 w 949492"/>
                  <a:gd name="connsiteY30" fmla="*/ 342259 h 474746"/>
                  <a:gd name="connsiteX31" fmla="*/ 99365 w 949492"/>
                  <a:gd name="connsiteY31" fmla="*/ 397462 h 474746"/>
                  <a:gd name="connsiteX32" fmla="*/ 130037 w 949492"/>
                  <a:gd name="connsiteY32" fmla="*/ 397462 h 474746"/>
                  <a:gd name="connsiteX33" fmla="*/ 130037 w 949492"/>
                  <a:gd name="connsiteY33" fmla="*/ 398688 h 474746"/>
                  <a:gd name="connsiteX34" fmla="*/ 206095 w 949492"/>
                  <a:gd name="connsiteY34" fmla="*/ 474746 h 474746"/>
                  <a:gd name="connsiteX35" fmla="*/ 219298 w 949492"/>
                  <a:gd name="connsiteY35" fmla="*/ 474746 h 474746"/>
                  <a:gd name="connsiteX36" fmla="*/ 218445 w 949492"/>
                  <a:gd name="connsiteY36" fmla="*/ 461781 h 474746"/>
                  <a:gd name="connsiteX37" fmla="*/ 218908 w 949492"/>
                  <a:gd name="connsiteY37" fmla="*/ 452665 h 474746"/>
                  <a:gd name="connsiteX38" fmla="*/ 206075 w 949492"/>
                  <a:gd name="connsiteY38" fmla="*/ 452665 h 474746"/>
                  <a:gd name="connsiteX39" fmla="*/ 152117 w 949492"/>
                  <a:gd name="connsiteY39" fmla="*/ 398706 h 474746"/>
                  <a:gd name="connsiteX40" fmla="*/ 152117 w 949492"/>
                  <a:gd name="connsiteY40" fmla="*/ 306487 h 474746"/>
                  <a:gd name="connsiteX41" fmla="*/ 774631 w 949492"/>
                  <a:gd name="connsiteY41" fmla="*/ 306487 h 474746"/>
                  <a:gd name="connsiteX42" fmla="*/ 775551 w 949492"/>
                  <a:gd name="connsiteY42" fmla="*/ 306577 h 474746"/>
                  <a:gd name="connsiteX43" fmla="*/ 854442 w 949492"/>
                  <a:gd name="connsiteY43" fmla="*/ 306577 h 474746"/>
                  <a:gd name="connsiteX44" fmla="*/ 927411 w 949492"/>
                  <a:gd name="connsiteY44" fmla="*/ 379544 h 474746"/>
                  <a:gd name="connsiteX45" fmla="*/ 927411 w 949492"/>
                  <a:gd name="connsiteY45" fmla="*/ 436724 h 474746"/>
                  <a:gd name="connsiteX46" fmla="*/ 911465 w 949492"/>
                  <a:gd name="connsiteY46" fmla="*/ 452665 h 474746"/>
                  <a:gd name="connsiteX47" fmla="*/ 857126 w 949492"/>
                  <a:gd name="connsiteY47" fmla="*/ 452665 h 474746"/>
                  <a:gd name="connsiteX48" fmla="*/ 857588 w 949492"/>
                  <a:gd name="connsiteY48" fmla="*/ 461781 h 474746"/>
                  <a:gd name="connsiteX49" fmla="*/ 856735 w 949492"/>
                  <a:gd name="connsiteY49" fmla="*/ 474746 h 474746"/>
                  <a:gd name="connsiteX50" fmla="*/ 911473 w 949492"/>
                  <a:gd name="connsiteY50" fmla="*/ 474746 h 474746"/>
                  <a:gd name="connsiteX51" fmla="*/ 949492 w 949492"/>
                  <a:gd name="connsiteY51" fmla="*/ 436727 h 474746"/>
                  <a:gd name="connsiteX52" fmla="*/ 949492 w 949492"/>
                  <a:gd name="connsiteY52" fmla="*/ 379674 h 474746"/>
                  <a:gd name="connsiteX53" fmla="*/ 854308 w 949492"/>
                  <a:gd name="connsiteY53" fmla="*/ 284490 h 474746"/>
                  <a:gd name="connsiteX54" fmla="*/ 22081 w 949492"/>
                  <a:gd name="connsiteY54" fmla="*/ 98058 h 474746"/>
                  <a:gd name="connsiteX55" fmla="*/ 22081 w 949492"/>
                  <a:gd name="connsiteY55" fmla="*/ 77284 h 474746"/>
                  <a:gd name="connsiteX56" fmla="*/ 88325 w 949492"/>
                  <a:gd name="connsiteY56" fmla="*/ 77284 h 474746"/>
                  <a:gd name="connsiteX57" fmla="*/ 88325 w 949492"/>
                  <a:gd name="connsiteY57" fmla="*/ 99365 h 474746"/>
                  <a:gd name="connsiteX58" fmla="*/ 55107 w 949492"/>
                  <a:gd name="connsiteY58" fmla="*/ 132497 h 474746"/>
                  <a:gd name="connsiteX59" fmla="*/ 48602 w 949492"/>
                  <a:gd name="connsiteY59" fmla="*/ 131845 h 474746"/>
                  <a:gd name="connsiteX60" fmla="*/ 22081 w 949492"/>
                  <a:gd name="connsiteY60" fmla="*/ 98058 h 474746"/>
                  <a:gd name="connsiteX61" fmla="*/ 613621 w 949492"/>
                  <a:gd name="connsiteY61" fmla="*/ 170025 h 474746"/>
                  <a:gd name="connsiteX62" fmla="*/ 728881 w 949492"/>
                  <a:gd name="connsiteY62" fmla="*/ 284406 h 474746"/>
                  <a:gd name="connsiteX63" fmla="*/ 441624 w 949492"/>
                  <a:gd name="connsiteY63" fmla="*/ 284406 h 474746"/>
                  <a:gd name="connsiteX64" fmla="*/ 441624 w 949492"/>
                  <a:gd name="connsiteY64" fmla="*/ 154568 h 474746"/>
                  <a:gd name="connsiteX65" fmla="*/ 574995 w 949492"/>
                  <a:gd name="connsiteY65" fmla="*/ 154568 h 474746"/>
                  <a:gd name="connsiteX66" fmla="*/ 613621 w 949492"/>
                  <a:gd name="connsiteY66" fmla="*/ 170025 h 474746"/>
                  <a:gd name="connsiteX67" fmla="*/ 274920 w 949492"/>
                  <a:gd name="connsiteY67" fmla="*/ 169964 h 474746"/>
                  <a:gd name="connsiteX68" fmla="*/ 419543 w 949492"/>
                  <a:gd name="connsiteY68" fmla="*/ 154568 h 474746"/>
                  <a:gd name="connsiteX69" fmla="*/ 419543 w 949492"/>
                  <a:gd name="connsiteY69" fmla="*/ 284406 h 474746"/>
                  <a:gd name="connsiteX70" fmla="*/ 161692 w 949492"/>
                  <a:gd name="connsiteY70" fmla="*/ 284406 h 474746"/>
                  <a:gd name="connsiteX71" fmla="*/ 161613 w 949492"/>
                  <a:gd name="connsiteY71" fmla="*/ 284218 h 474746"/>
                  <a:gd name="connsiteX72" fmla="*/ 274920 w 949492"/>
                  <a:gd name="connsiteY72" fmla="*/ 169964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629174 w 949492"/>
                  <a:gd name="connsiteY5" fmla="*/ 154353 h 474746"/>
                  <a:gd name="connsiteX6" fmla="*/ 574996 w 949492"/>
                  <a:gd name="connsiteY6" fmla="*/ 132487 h 474746"/>
                  <a:gd name="connsiteX7" fmla="*/ 313484 w 949492"/>
                  <a:gd name="connsiteY7" fmla="*/ 132487 h 474746"/>
                  <a:gd name="connsiteX8" fmla="*/ 259305 w 949492"/>
                  <a:gd name="connsiteY8" fmla="*/ 154348 h 474746"/>
                  <a:gd name="connsiteX9" fmla="*/ 141443 w 949492"/>
                  <a:gd name="connsiteY9" fmla="*/ 273193 h 474746"/>
                  <a:gd name="connsiteX10" fmla="*/ 130037 w 949492"/>
                  <a:gd name="connsiteY10" fmla="*/ 300765 h 474746"/>
                  <a:gd name="connsiteX11" fmla="*/ 130037 w 949492"/>
                  <a:gd name="connsiteY11" fmla="*/ 375381 h 474746"/>
                  <a:gd name="connsiteX12" fmla="*/ 99365 w 949492"/>
                  <a:gd name="connsiteY12" fmla="*/ 375381 h 474746"/>
                  <a:gd name="connsiteX13" fmla="*/ 66244 w 949492"/>
                  <a:gd name="connsiteY13" fmla="*/ 342259 h 474746"/>
                  <a:gd name="connsiteX14" fmla="*/ 66244 w 949492"/>
                  <a:gd name="connsiteY14" fmla="*/ 153452 h 474746"/>
                  <a:gd name="connsiteX15" fmla="*/ 110406 w 949492"/>
                  <a:gd name="connsiteY15" fmla="*/ 99365 h 474746"/>
                  <a:gd name="connsiteX16" fmla="*/ 110406 w 949492"/>
                  <a:gd name="connsiteY16" fmla="*/ 55203 h 474746"/>
                  <a:gd name="connsiteX17" fmla="*/ 93845 w 949492"/>
                  <a:gd name="connsiteY17" fmla="*/ 55203 h 474746"/>
                  <a:gd name="connsiteX18" fmla="*/ 93845 w 949492"/>
                  <a:gd name="connsiteY18" fmla="*/ 11041 h 474746"/>
                  <a:gd name="connsiteX19" fmla="*/ 82805 w 949492"/>
                  <a:gd name="connsiteY19" fmla="*/ 0 h 474746"/>
                  <a:gd name="connsiteX20" fmla="*/ 71764 w 949492"/>
                  <a:gd name="connsiteY20" fmla="*/ 11041 h 474746"/>
                  <a:gd name="connsiteX21" fmla="*/ 71764 w 949492"/>
                  <a:gd name="connsiteY21" fmla="*/ 55203 h 474746"/>
                  <a:gd name="connsiteX22" fmla="*/ 38642 w 949492"/>
                  <a:gd name="connsiteY22" fmla="*/ 55203 h 474746"/>
                  <a:gd name="connsiteX23" fmla="*/ 38642 w 949492"/>
                  <a:gd name="connsiteY23" fmla="*/ 11041 h 474746"/>
                  <a:gd name="connsiteX24" fmla="*/ 27602 w 949492"/>
                  <a:gd name="connsiteY24" fmla="*/ 0 h 474746"/>
                  <a:gd name="connsiteX25" fmla="*/ 16561 w 949492"/>
                  <a:gd name="connsiteY25" fmla="*/ 11041 h 474746"/>
                  <a:gd name="connsiteX26" fmla="*/ 16561 w 949492"/>
                  <a:gd name="connsiteY26" fmla="*/ 55203 h 474746"/>
                  <a:gd name="connsiteX27" fmla="*/ 0 w 949492"/>
                  <a:gd name="connsiteY27" fmla="*/ 55203 h 474746"/>
                  <a:gd name="connsiteX28" fmla="*/ 0 w 949492"/>
                  <a:gd name="connsiteY28" fmla="*/ 99365 h 474746"/>
                  <a:gd name="connsiteX29" fmla="*/ 44162 w 949492"/>
                  <a:gd name="connsiteY29" fmla="*/ 153452 h 474746"/>
                  <a:gd name="connsiteX30" fmla="*/ 44162 w 949492"/>
                  <a:gd name="connsiteY30" fmla="*/ 342259 h 474746"/>
                  <a:gd name="connsiteX31" fmla="*/ 99365 w 949492"/>
                  <a:gd name="connsiteY31" fmla="*/ 397462 h 474746"/>
                  <a:gd name="connsiteX32" fmla="*/ 130037 w 949492"/>
                  <a:gd name="connsiteY32" fmla="*/ 397462 h 474746"/>
                  <a:gd name="connsiteX33" fmla="*/ 130037 w 949492"/>
                  <a:gd name="connsiteY33" fmla="*/ 398688 h 474746"/>
                  <a:gd name="connsiteX34" fmla="*/ 206095 w 949492"/>
                  <a:gd name="connsiteY34" fmla="*/ 474746 h 474746"/>
                  <a:gd name="connsiteX35" fmla="*/ 219298 w 949492"/>
                  <a:gd name="connsiteY35" fmla="*/ 474746 h 474746"/>
                  <a:gd name="connsiteX36" fmla="*/ 218445 w 949492"/>
                  <a:gd name="connsiteY36" fmla="*/ 461781 h 474746"/>
                  <a:gd name="connsiteX37" fmla="*/ 218908 w 949492"/>
                  <a:gd name="connsiteY37" fmla="*/ 452665 h 474746"/>
                  <a:gd name="connsiteX38" fmla="*/ 206075 w 949492"/>
                  <a:gd name="connsiteY38" fmla="*/ 452665 h 474746"/>
                  <a:gd name="connsiteX39" fmla="*/ 152117 w 949492"/>
                  <a:gd name="connsiteY39" fmla="*/ 398706 h 474746"/>
                  <a:gd name="connsiteX40" fmla="*/ 152117 w 949492"/>
                  <a:gd name="connsiteY40" fmla="*/ 306487 h 474746"/>
                  <a:gd name="connsiteX41" fmla="*/ 774631 w 949492"/>
                  <a:gd name="connsiteY41" fmla="*/ 306487 h 474746"/>
                  <a:gd name="connsiteX42" fmla="*/ 775551 w 949492"/>
                  <a:gd name="connsiteY42" fmla="*/ 306577 h 474746"/>
                  <a:gd name="connsiteX43" fmla="*/ 854442 w 949492"/>
                  <a:gd name="connsiteY43" fmla="*/ 306577 h 474746"/>
                  <a:gd name="connsiteX44" fmla="*/ 927411 w 949492"/>
                  <a:gd name="connsiteY44" fmla="*/ 379544 h 474746"/>
                  <a:gd name="connsiteX45" fmla="*/ 927411 w 949492"/>
                  <a:gd name="connsiteY45" fmla="*/ 436724 h 474746"/>
                  <a:gd name="connsiteX46" fmla="*/ 911465 w 949492"/>
                  <a:gd name="connsiteY46" fmla="*/ 452665 h 474746"/>
                  <a:gd name="connsiteX47" fmla="*/ 857126 w 949492"/>
                  <a:gd name="connsiteY47" fmla="*/ 452665 h 474746"/>
                  <a:gd name="connsiteX48" fmla="*/ 857588 w 949492"/>
                  <a:gd name="connsiteY48" fmla="*/ 461781 h 474746"/>
                  <a:gd name="connsiteX49" fmla="*/ 856735 w 949492"/>
                  <a:gd name="connsiteY49" fmla="*/ 474746 h 474746"/>
                  <a:gd name="connsiteX50" fmla="*/ 911473 w 949492"/>
                  <a:gd name="connsiteY50" fmla="*/ 474746 h 474746"/>
                  <a:gd name="connsiteX51" fmla="*/ 949492 w 949492"/>
                  <a:gd name="connsiteY51" fmla="*/ 436727 h 474746"/>
                  <a:gd name="connsiteX52" fmla="*/ 949492 w 949492"/>
                  <a:gd name="connsiteY52" fmla="*/ 379674 h 474746"/>
                  <a:gd name="connsiteX53" fmla="*/ 854308 w 949492"/>
                  <a:gd name="connsiteY53" fmla="*/ 284490 h 474746"/>
                  <a:gd name="connsiteX54" fmla="*/ 22081 w 949492"/>
                  <a:gd name="connsiteY54" fmla="*/ 98058 h 474746"/>
                  <a:gd name="connsiteX55" fmla="*/ 22081 w 949492"/>
                  <a:gd name="connsiteY55" fmla="*/ 77284 h 474746"/>
                  <a:gd name="connsiteX56" fmla="*/ 88325 w 949492"/>
                  <a:gd name="connsiteY56" fmla="*/ 77284 h 474746"/>
                  <a:gd name="connsiteX57" fmla="*/ 88325 w 949492"/>
                  <a:gd name="connsiteY57" fmla="*/ 99365 h 474746"/>
                  <a:gd name="connsiteX58" fmla="*/ 55107 w 949492"/>
                  <a:gd name="connsiteY58" fmla="*/ 132497 h 474746"/>
                  <a:gd name="connsiteX59" fmla="*/ 48602 w 949492"/>
                  <a:gd name="connsiteY59" fmla="*/ 131845 h 474746"/>
                  <a:gd name="connsiteX60" fmla="*/ 22081 w 949492"/>
                  <a:gd name="connsiteY60" fmla="*/ 98058 h 474746"/>
                  <a:gd name="connsiteX61" fmla="*/ 613621 w 949492"/>
                  <a:gd name="connsiteY61" fmla="*/ 170025 h 474746"/>
                  <a:gd name="connsiteX62" fmla="*/ 728881 w 949492"/>
                  <a:gd name="connsiteY62" fmla="*/ 284406 h 474746"/>
                  <a:gd name="connsiteX63" fmla="*/ 441624 w 949492"/>
                  <a:gd name="connsiteY63" fmla="*/ 284406 h 474746"/>
                  <a:gd name="connsiteX64" fmla="*/ 441624 w 949492"/>
                  <a:gd name="connsiteY64" fmla="*/ 154568 h 474746"/>
                  <a:gd name="connsiteX65" fmla="*/ 574995 w 949492"/>
                  <a:gd name="connsiteY65" fmla="*/ 154568 h 474746"/>
                  <a:gd name="connsiteX66" fmla="*/ 613621 w 949492"/>
                  <a:gd name="connsiteY66" fmla="*/ 170025 h 474746"/>
                  <a:gd name="connsiteX67" fmla="*/ 274920 w 949492"/>
                  <a:gd name="connsiteY67" fmla="*/ 169964 h 474746"/>
                  <a:gd name="connsiteX68" fmla="*/ 310967 w 949492"/>
                  <a:gd name="connsiteY68" fmla="*/ 157341 h 474746"/>
                  <a:gd name="connsiteX69" fmla="*/ 419543 w 949492"/>
                  <a:gd name="connsiteY69" fmla="*/ 154568 h 474746"/>
                  <a:gd name="connsiteX70" fmla="*/ 419543 w 949492"/>
                  <a:gd name="connsiteY70" fmla="*/ 284406 h 474746"/>
                  <a:gd name="connsiteX71" fmla="*/ 161692 w 949492"/>
                  <a:gd name="connsiteY71" fmla="*/ 284406 h 474746"/>
                  <a:gd name="connsiteX72" fmla="*/ 161613 w 949492"/>
                  <a:gd name="connsiteY72" fmla="*/ 284218 h 474746"/>
                  <a:gd name="connsiteX73" fmla="*/ 274920 w 949492"/>
                  <a:gd name="connsiteY73" fmla="*/ 169964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629174 w 949492"/>
                  <a:gd name="connsiteY5" fmla="*/ 154353 h 474746"/>
                  <a:gd name="connsiteX6" fmla="*/ 574996 w 949492"/>
                  <a:gd name="connsiteY6" fmla="*/ 132487 h 474746"/>
                  <a:gd name="connsiteX7" fmla="*/ 259305 w 949492"/>
                  <a:gd name="connsiteY7" fmla="*/ 154348 h 474746"/>
                  <a:gd name="connsiteX8" fmla="*/ 141443 w 949492"/>
                  <a:gd name="connsiteY8" fmla="*/ 273193 h 474746"/>
                  <a:gd name="connsiteX9" fmla="*/ 130037 w 949492"/>
                  <a:gd name="connsiteY9" fmla="*/ 300765 h 474746"/>
                  <a:gd name="connsiteX10" fmla="*/ 130037 w 949492"/>
                  <a:gd name="connsiteY10" fmla="*/ 375381 h 474746"/>
                  <a:gd name="connsiteX11" fmla="*/ 99365 w 949492"/>
                  <a:gd name="connsiteY11" fmla="*/ 375381 h 474746"/>
                  <a:gd name="connsiteX12" fmla="*/ 66244 w 949492"/>
                  <a:gd name="connsiteY12" fmla="*/ 342259 h 474746"/>
                  <a:gd name="connsiteX13" fmla="*/ 66244 w 949492"/>
                  <a:gd name="connsiteY13" fmla="*/ 153452 h 474746"/>
                  <a:gd name="connsiteX14" fmla="*/ 110406 w 949492"/>
                  <a:gd name="connsiteY14" fmla="*/ 99365 h 474746"/>
                  <a:gd name="connsiteX15" fmla="*/ 110406 w 949492"/>
                  <a:gd name="connsiteY15" fmla="*/ 55203 h 474746"/>
                  <a:gd name="connsiteX16" fmla="*/ 93845 w 949492"/>
                  <a:gd name="connsiteY16" fmla="*/ 55203 h 474746"/>
                  <a:gd name="connsiteX17" fmla="*/ 93845 w 949492"/>
                  <a:gd name="connsiteY17" fmla="*/ 11041 h 474746"/>
                  <a:gd name="connsiteX18" fmla="*/ 82805 w 949492"/>
                  <a:gd name="connsiteY18" fmla="*/ 0 h 474746"/>
                  <a:gd name="connsiteX19" fmla="*/ 71764 w 949492"/>
                  <a:gd name="connsiteY19" fmla="*/ 11041 h 474746"/>
                  <a:gd name="connsiteX20" fmla="*/ 71764 w 949492"/>
                  <a:gd name="connsiteY20" fmla="*/ 55203 h 474746"/>
                  <a:gd name="connsiteX21" fmla="*/ 38642 w 949492"/>
                  <a:gd name="connsiteY21" fmla="*/ 55203 h 474746"/>
                  <a:gd name="connsiteX22" fmla="*/ 38642 w 949492"/>
                  <a:gd name="connsiteY22" fmla="*/ 11041 h 474746"/>
                  <a:gd name="connsiteX23" fmla="*/ 27602 w 949492"/>
                  <a:gd name="connsiteY23" fmla="*/ 0 h 474746"/>
                  <a:gd name="connsiteX24" fmla="*/ 16561 w 949492"/>
                  <a:gd name="connsiteY24" fmla="*/ 11041 h 474746"/>
                  <a:gd name="connsiteX25" fmla="*/ 16561 w 949492"/>
                  <a:gd name="connsiteY25" fmla="*/ 55203 h 474746"/>
                  <a:gd name="connsiteX26" fmla="*/ 0 w 949492"/>
                  <a:gd name="connsiteY26" fmla="*/ 55203 h 474746"/>
                  <a:gd name="connsiteX27" fmla="*/ 0 w 949492"/>
                  <a:gd name="connsiteY27" fmla="*/ 99365 h 474746"/>
                  <a:gd name="connsiteX28" fmla="*/ 44162 w 949492"/>
                  <a:gd name="connsiteY28" fmla="*/ 153452 h 474746"/>
                  <a:gd name="connsiteX29" fmla="*/ 44162 w 949492"/>
                  <a:gd name="connsiteY29" fmla="*/ 342259 h 474746"/>
                  <a:gd name="connsiteX30" fmla="*/ 99365 w 949492"/>
                  <a:gd name="connsiteY30" fmla="*/ 397462 h 474746"/>
                  <a:gd name="connsiteX31" fmla="*/ 130037 w 949492"/>
                  <a:gd name="connsiteY31" fmla="*/ 397462 h 474746"/>
                  <a:gd name="connsiteX32" fmla="*/ 130037 w 949492"/>
                  <a:gd name="connsiteY32" fmla="*/ 398688 h 474746"/>
                  <a:gd name="connsiteX33" fmla="*/ 206095 w 949492"/>
                  <a:gd name="connsiteY33" fmla="*/ 474746 h 474746"/>
                  <a:gd name="connsiteX34" fmla="*/ 219298 w 949492"/>
                  <a:gd name="connsiteY34" fmla="*/ 474746 h 474746"/>
                  <a:gd name="connsiteX35" fmla="*/ 218445 w 949492"/>
                  <a:gd name="connsiteY35" fmla="*/ 461781 h 474746"/>
                  <a:gd name="connsiteX36" fmla="*/ 218908 w 949492"/>
                  <a:gd name="connsiteY36" fmla="*/ 452665 h 474746"/>
                  <a:gd name="connsiteX37" fmla="*/ 206075 w 949492"/>
                  <a:gd name="connsiteY37" fmla="*/ 452665 h 474746"/>
                  <a:gd name="connsiteX38" fmla="*/ 152117 w 949492"/>
                  <a:gd name="connsiteY38" fmla="*/ 398706 h 474746"/>
                  <a:gd name="connsiteX39" fmla="*/ 152117 w 949492"/>
                  <a:gd name="connsiteY39" fmla="*/ 306487 h 474746"/>
                  <a:gd name="connsiteX40" fmla="*/ 774631 w 949492"/>
                  <a:gd name="connsiteY40" fmla="*/ 306487 h 474746"/>
                  <a:gd name="connsiteX41" fmla="*/ 775551 w 949492"/>
                  <a:gd name="connsiteY41" fmla="*/ 306577 h 474746"/>
                  <a:gd name="connsiteX42" fmla="*/ 854442 w 949492"/>
                  <a:gd name="connsiteY42" fmla="*/ 306577 h 474746"/>
                  <a:gd name="connsiteX43" fmla="*/ 927411 w 949492"/>
                  <a:gd name="connsiteY43" fmla="*/ 379544 h 474746"/>
                  <a:gd name="connsiteX44" fmla="*/ 927411 w 949492"/>
                  <a:gd name="connsiteY44" fmla="*/ 436724 h 474746"/>
                  <a:gd name="connsiteX45" fmla="*/ 911465 w 949492"/>
                  <a:gd name="connsiteY45" fmla="*/ 452665 h 474746"/>
                  <a:gd name="connsiteX46" fmla="*/ 857126 w 949492"/>
                  <a:gd name="connsiteY46" fmla="*/ 452665 h 474746"/>
                  <a:gd name="connsiteX47" fmla="*/ 857588 w 949492"/>
                  <a:gd name="connsiteY47" fmla="*/ 461781 h 474746"/>
                  <a:gd name="connsiteX48" fmla="*/ 856735 w 949492"/>
                  <a:gd name="connsiteY48" fmla="*/ 474746 h 474746"/>
                  <a:gd name="connsiteX49" fmla="*/ 911473 w 949492"/>
                  <a:gd name="connsiteY49" fmla="*/ 474746 h 474746"/>
                  <a:gd name="connsiteX50" fmla="*/ 949492 w 949492"/>
                  <a:gd name="connsiteY50" fmla="*/ 436727 h 474746"/>
                  <a:gd name="connsiteX51" fmla="*/ 949492 w 949492"/>
                  <a:gd name="connsiteY51" fmla="*/ 379674 h 474746"/>
                  <a:gd name="connsiteX52" fmla="*/ 854308 w 949492"/>
                  <a:gd name="connsiteY52" fmla="*/ 284490 h 474746"/>
                  <a:gd name="connsiteX53" fmla="*/ 22081 w 949492"/>
                  <a:gd name="connsiteY53" fmla="*/ 98058 h 474746"/>
                  <a:gd name="connsiteX54" fmla="*/ 22081 w 949492"/>
                  <a:gd name="connsiteY54" fmla="*/ 77284 h 474746"/>
                  <a:gd name="connsiteX55" fmla="*/ 88325 w 949492"/>
                  <a:gd name="connsiteY55" fmla="*/ 77284 h 474746"/>
                  <a:gd name="connsiteX56" fmla="*/ 88325 w 949492"/>
                  <a:gd name="connsiteY56" fmla="*/ 99365 h 474746"/>
                  <a:gd name="connsiteX57" fmla="*/ 55107 w 949492"/>
                  <a:gd name="connsiteY57" fmla="*/ 132497 h 474746"/>
                  <a:gd name="connsiteX58" fmla="*/ 48602 w 949492"/>
                  <a:gd name="connsiteY58" fmla="*/ 131845 h 474746"/>
                  <a:gd name="connsiteX59" fmla="*/ 22081 w 949492"/>
                  <a:gd name="connsiteY59" fmla="*/ 98058 h 474746"/>
                  <a:gd name="connsiteX60" fmla="*/ 613621 w 949492"/>
                  <a:gd name="connsiteY60" fmla="*/ 170025 h 474746"/>
                  <a:gd name="connsiteX61" fmla="*/ 728881 w 949492"/>
                  <a:gd name="connsiteY61" fmla="*/ 284406 h 474746"/>
                  <a:gd name="connsiteX62" fmla="*/ 441624 w 949492"/>
                  <a:gd name="connsiteY62" fmla="*/ 284406 h 474746"/>
                  <a:gd name="connsiteX63" fmla="*/ 441624 w 949492"/>
                  <a:gd name="connsiteY63" fmla="*/ 154568 h 474746"/>
                  <a:gd name="connsiteX64" fmla="*/ 574995 w 949492"/>
                  <a:gd name="connsiteY64" fmla="*/ 154568 h 474746"/>
                  <a:gd name="connsiteX65" fmla="*/ 613621 w 949492"/>
                  <a:gd name="connsiteY65" fmla="*/ 170025 h 474746"/>
                  <a:gd name="connsiteX66" fmla="*/ 274920 w 949492"/>
                  <a:gd name="connsiteY66" fmla="*/ 169964 h 474746"/>
                  <a:gd name="connsiteX67" fmla="*/ 310967 w 949492"/>
                  <a:gd name="connsiteY67" fmla="*/ 157341 h 474746"/>
                  <a:gd name="connsiteX68" fmla="*/ 419543 w 949492"/>
                  <a:gd name="connsiteY68" fmla="*/ 154568 h 474746"/>
                  <a:gd name="connsiteX69" fmla="*/ 419543 w 949492"/>
                  <a:gd name="connsiteY69" fmla="*/ 284406 h 474746"/>
                  <a:gd name="connsiteX70" fmla="*/ 161692 w 949492"/>
                  <a:gd name="connsiteY70" fmla="*/ 284406 h 474746"/>
                  <a:gd name="connsiteX71" fmla="*/ 161613 w 949492"/>
                  <a:gd name="connsiteY71" fmla="*/ 284218 h 474746"/>
                  <a:gd name="connsiteX72" fmla="*/ 274920 w 949492"/>
                  <a:gd name="connsiteY72" fmla="*/ 169964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629174 w 949492"/>
                  <a:gd name="connsiteY5" fmla="*/ 154353 h 474746"/>
                  <a:gd name="connsiteX6" fmla="*/ 574996 w 949492"/>
                  <a:gd name="connsiteY6" fmla="*/ 132487 h 474746"/>
                  <a:gd name="connsiteX7" fmla="*/ 259305 w 949492"/>
                  <a:gd name="connsiteY7" fmla="*/ 154348 h 474746"/>
                  <a:gd name="connsiteX8" fmla="*/ 141443 w 949492"/>
                  <a:gd name="connsiteY8" fmla="*/ 273193 h 474746"/>
                  <a:gd name="connsiteX9" fmla="*/ 130037 w 949492"/>
                  <a:gd name="connsiteY9" fmla="*/ 300765 h 474746"/>
                  <a:gd name="connsiteX10" fmla="*/ 130037 w 949492"/>
                  <a:gd name="connsiteY10" fmla="*/ 375381 h 474746"/>
                  <a:gd name="connsiteX11" fmla="*/ 99365 w 949492"/>
                  <a:gd name="connsiteY11" fmla="*/ 375381 h 474746"/>
                  <a:gd name="connsiteX12" fmla="*/ 66244 w 949492"/>
                  <a:gd name="connsiteY12" fmla="*/ 342259 h 474746"/>
                  <a:gd name="connsiteX13" fmla="*/ 66244 w 949492"/>
                  <a:gd name="connsiteY13" fmla="*/ 153452 h 474746"/>
                  <a:gd name="connsiteX14" fmla="*/ 110406 w 949492"/>
                  <a:gd name="connsiteY14" fmla="*/ 99365 h 474746"/>
                  <a:gd name="connsiteX15" fmla="*/ 110406 w 949492"/>
                  <a:gd name="connsiteY15" fmla="*/ 55203 h 474746"/>
                  <a:gd name="connsiteX16" fmla="*/ 93845 w 949492"/>
                  <a:gd name="connsiteY16" fmla="*/ 55203 h 474746"/>
                  <a:gd name="connsiteX17" fmla="*/ 93845 w 949492"/>
                  <a:gd name="connsiteY17" fmla="*/ 11041 h 474746"/>
                  <a:gd name="connsiteX18" fmla="*/ 82805 w 949492"/>
                  <a:gd name="connsiteY18" fmla="*/ 0 h 474746"/>
                  <a:gd name="connsiteX19" fmla="*/ 71764 w 949492"/>
                  <a:gd name="connsiteY19" fmla="*/ 11041 h 474746"/>
                  <a:gd name="connsiteX20" fmla="*/ 71764 w 949492"/>
                  <a:gd name="connsiteY20" fmla="*/ 55203 h 474746"/>
                  <a:gd name="connsiteX21" fmla="*/ 38642 w 949492"/>
                  <a:gd name="connsiteY21" fmla="*/ 55203 h 474746"/>
                  <a:gd name="connsiteX22" fmla="*/ 38642 w 949492"/>
                  <a:gd name="connsiteY22" fmla="*/ 11041 h 474746"/>
                  <a:gd name="connsiteX23" fmla="*/ 27602 w 949492"/>
                  <a:gd name="connsiteY23" fmla="*/ 0 h 474746"/>
                  <a:gd name="connsiteX24" fmla="*/ 16561 w 949492"/>
                  <a:gd name="connsiteY24" fmla="*/ 11041 h 474746"/>
                  <a:gd name="connsiteX25" fmla="*/ 16561 w 949492"/>
                  <a:gd name="connsiteY25" fmla="*/ 55203 h 474746"/>
                  <a:gd name="connsiteX26" fmla="*/ 0 w 949492"/>
                  <a:gd name="connsiteY26" fmla="*/ 55203 h 474746"/>
                  <a:gd name="connsiteX27" fmla="*/ 0 w 949492"/>
                  <a:gd name="connsiteY27" fmla="*/ 99365 h 474746"/>
                  <a:gd name="connsiteX28" fmla="*/ 44162 w 949492"/>
                  <a:gd name="connsiteY28" fmla="*/ 153452 h 474746"/>
                  <a:gd name="connsiteX29" fmla="*/ 44162 w 949492"/>
                  <a:gd name="connsiteY29" fmla="*/ 342259 h 474746"/>
                  <a:gd name="connsiteX30" fmla="*/ 99365 w 949492"/>
                  <a:gd name="connsiteY30" fmla="*/ 397462 h 474746"/>
                  <a:gd name="connsiteX31" fmla="*/ 130037 w 949492"/>
                  <a:gd name="connsiteY31" fmla="*/ 397462 h 474746"/>
                  <a:gd name="connsiteX32" fmla="*/ 130037 w 949492"/>
                  <a:gd name="connsiteY32" fmla="*/ 398688 h 474746"/>
                  <a:gd name="connsiteX33" fmla="*/ 206095 w 949492"/>
                  <a:gd name="connsiteY33" fmla="*/ 474746 h 474746"/>
                  <a:gd name="connsiteX34" fmla="*/ 219298 w 949492"/>
                  <a:gd name="connsiteY34" fmla="*/ 474746 h 474746"/>
                  <a:gd name="connsiteX35" fmla="*/ 218445 w 949492"/>
                  <a:gd name="connsiteY35" fmla="*/ 461781 h 474746"/>
                  <a:gd name="connsiteX36" fmla="*/ 218908 w 949492"/>
                  <a:gd name="connsiteY36" fmla="*/ 452665 h 474746"/>
                  <a:gd name="connsiteX37" fmla="*/ 206075 w 949492"/>
                  <a:gd name="connsiteY37" fmla="*/ 452665 h 474746"/>
                  <a:gd name="connsiteX38" fmla="*/ 152117 w 949492"/>
                  <a:gd name="connsiteY38" fmla="*/ 398706 h 474746"/>
                  <a:gd name="connsiteX39" fmla="*/ 152117 w 949492"/>
                  <a:gd name="connsiteY39" fmla="*/ 306487 h 474746"/>
                  <a:gd name="connsiteX40" fmla="*/ 774631 w 949492"/>
                  <a:gd name="connsiteY40" fmla="*/ 306487 h 474746"/>
                  <a:gd name="connsiteX41" fmla="*/ 775551 w 949492"/>
                  <a:gd name="connsiteY41" fmla="*/ 306577 h 474746"/>
                  <a:gd name="connsiteX42" fmla="*/ 854442 w 949492"/>
                  <a:gd name="connsiteY42" fmla="*/ 306577 h 474746"/>
                  <a:gd name="connsiteX43" fmla="*/ 927411 w 949492"/>
                  <a:gd name="connsiteY43" fmla="*/ 379544 h 474746"/>
                  <a:gd name="connsiteX44" fmla="*/ 927411 w 949492"/>
                  <a:gd name="connsiteY44" fmla="*/ 436724 h 474746"/>
                  <a:gd name="connsiteX45" fmla="*/ 911465 w 949492"/>
                  <a:gd name="connsiteY45" fmla="*/ 452665 h 474746"/>
                  <a:gd name="connsiteX46" fmla="*/ 857126 w 949492"/>
                  <a:gd name="connsiteY46" fmla="*/ 452665 h 474746"/>
                  <a:gd name="connsiteX47" fmla="*/ 857588 w 949492"/>
                  <a:gd name="connsiteY47" fmla="*/ 461781 h 474746"/>
                  <a:gd name="connsiteX48" fmla="*/ 856735 w 949492"/>
                  <a:gd name="connsiteY48" fmla="*/ 474746 h 474746"/>
                  <a:gd name="connsiteX49" fmla="*/ 911473 w 949492"/>
                  <a:gd name="connsiteY49" fmla="*/ 474746 h 474746"/>
                  <a:gd name="connsiteX50" fmla="*/ 949492 w 949492"/>
                  <a:gd name="connsiteY50" fmla="*/ 436727 h 474746"/>
                  <a:gd name="connsiteX51" fmla="*/ 949492 w 949492"/>
                  <a:gd name="connsiteY51" fmla="*/ 379674 h 474746"/>
                  <a:gd name="connsiteX52" fmla="*/ 854308 w 949492"/>
                  <a:gd name="connsiteY52" fmla="*/ 284490 h 474746"/>
                  <a:gd name="connsiteX53" fmla="*/ 22081 w 949492"/>
                  <a:gd name="connsiteY53" fmla="*/ 98058 h 474746"/>
                  <a:gd name="connsiteX54" fmla="*/ 22081 w 949492"/>
                  <a:gd name="connsiteY54" fmla="*/ 77284 h 474746"/>
                  <a:gd name="connsiteX55" fmla="*/ 88325 w 949492"/>
                  <a:gd name="connsiteY55" fmla="*/ 77284 h 474746"/>
                  <a:gd name="connsiteX56" fmla="*/ 88325 w 949492"/>
                  <a:gd name="connsiteY56" fmla="*/ 99365 h 474746"/>
                  <a:gd name="connsiteX57" fmla="*/ 55107 w 949492"/>
                  <a:gd name="connsiteY57" fmla="*/ 132497 h 474746"/>
                  <a:gd name="connsiteX58" fmla="*/ 48602 w 949492"/>
                  <a:gd name="connsiteY58" fmla="*/ 131845 h 474746"/>
                  <a:gd name="connsiteX59" fmla="*/ 22081 w 949492"/>
                  <a:gd name="connsiteY59" fmla="*/ 98058 h 474746"/>
                  <a:gd name="connsiteX60" fmla="*/ 613621 w 949492"/>
                  <a:gd name="connsiteY60" fmla="*/ 170025 h 474746"/>
                  <a:gd name="connsiteX61" fmla="*/ 728881 w 949492"/>
                  <a:gd name="connsiteY61" fmla="*/ 284406 h 474746"/>
                  <a:gd name="connsiteX62" fmla="*/ 441624 w 949492"/>
                  <a:gd name="connsiteY62" fmla="*/ 284406 h 474746"/>
                  <a:gd name="connsiteX63" fmla="*/ 441624 w 949492"/>
                  <a:gd name="connsiteY63" fmla="*/ 154568 h 474746"/>
                  <a:gd name="connsiteX64" fmla="*/ 574995 w 949492"/>
                  <a:gd name="connsiteY64" fmla="*/ 154568 h 474746"/>
                  <a:gd name="connsiteX65" fmla="*/ 613621 w 949492"/>
                  <a:gd name="connsiteY65" fmla="*/ 170025 h 474746"/>
                  <a:gd name="connsiteX66" fmla="*/ 274920 w 949492"/>
                  <a:gd name="connsiteY66" fmla="*/ 169964 h 474746"/>
                  <a:gd name="connsiteX67" fmla="*/ 419543 w 949492"/>
                  <a:gd name="connsiteY67" fmla="*/ 154568 h 474746"/>
                  <a:gd name="connsiteX68" fmla="*/ 419543 w 949492"/>
                  <a:gd name="connsiteY68" fmla="*/ 284406 h 474746"/>
                  <a:gd name="connsiteX69" fmla="*/ 161692 w 949492"/>
                  <a:gd name="connsiteY69" fmla="*/ 284406 h 474746"/>
                  <a:gd name="connsiteX70" fmla="*/ 161613 w 949492"/>
                  <a:gd name="connsiteY70" fmla="*/ 284218 h 474746"/>
                  <a:gd name="connsiteX71" fmla="*/ 274920 w 949492"/>
                  <a:gd name="connsiteY71" fmla="*/ 169964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629174 w 949492"/>
                  <a:gd name="connsiteY5" fmla="*/ 154353 h 474746"/>
                  <a:gd name="connsiteX6" fmla="*/ 574996 w 949492"/>
                  <a:gd name="connsiteY6" fmla="*/ 132487 h 474746"/>
                  <a:gd name="connsiteX7" fmla="*/ 259305 w 949492"/>
                  <a:gd name="connsiteY7" fmla="*/ 154348 h 474746"/>
                  <a:gd name="connsiteX8" fmla="*/ 141443 w 949492"/>
                  <a:gd name="connsiteY8" fmla="*/ 273193 h 474746"/>
                  <a:gd name="connsiteX9" fmla="*/ 130037 w 949492"/>
                  <a:gd name="connsiteY9" fmla="*/ 300765 h 474746"/>
                  <a:gd name="connsiteX10" fmla="*/ 130037 w 949492"/>
                  <a:gd name="connsiteY10" fmla="*/ 375381 h 474746"/>
                  <a:gd name="connsiteX11" fmla="*/ 99365 w 949492"/>
                  <a:gd name="connsiteY11" fmla="*/ 375381 h 474746"/>
                  <a:gd name="connsiteX12" fmla="*/ 66244 w 949492"/>
                  <a:gd name="connsiteY12" fmla="*/ 342259 h 474746"/>
                  <a:gd name="connsiteX13" fmla="*/ 66244 w 949492"/>
                  <a:gd name="connsiteY13" fmla="*/ 153452 h 474746"/>
                  <a:gd name="connsiteX14" fmla="*/ 110406 w 949492"/>
                  <a:gd name="connsiteY14" fmla="*/ 99365 h 474746"/>
                  <a:gd name="connsiteX15" fmla="*/ 110406 w 949492"/>
                  <a:gd name="connsiteY15" fmla="*/ 55203 h 474746"/>
                  <a:gd name="connsiteX16" fmla="*/ 93845 w 949492"/>
                  <a:gd name="connsiteY16" fmla="*/ 55203 h 474746"/>
                  <a:gd name="connsiteX17" fmla="*/ 93845 w 949492"/>
                  <a:gd name="connsiteY17" fmla="*/ 11041 h 474746"/>
                  <a:gd name="connsiteX18" fmla="*/ 82805 w 949492"/>
                  <a:gd name="connsiteY18" fmla="*/ 0 h 474746"/>
                  <a:gd name="connsiteX19" fmla="*/ 71764 w 949492"/>
                  <a:gd name="connsiteY19" fmla="*/ 11041 h 474746"/>
                  <a:gd name="connsiteX20" fmla="*/ 71764 w 949492"/>
                  <a:gd name="connsiteY20" fmla="*/ 55203 h 474746"/>
                  <a:gd name="connsiteX21" fmla="*/ 38642 w 949492"/>
                  <a:gd name="connsiteY21" fmla="*/ 55203 h 474746"/>
                  <a:gd name="connsiteX22" fmla="*/ 38642 w 949492"/>
                  <a:gd name="connsiteY22" fmla="*/ 11041 h 474746"/>
                  <a:gd name="connsiteX23" fmla="*/ 27602 w 949492"/>
                  <a:gd name="connsiteY23" fmla="*/ 0 h 474746"/>
                  <a:gd name="connsiteX24" fmla="*/ 16561 w 949492"/>
                  <a:gd name="connsiteY24" fmla="*/ 11041 h 474746"/>
                  <a:gd name="connsiteX25" fmla="*/ 16561 w 949492"/>
                  <a:gd name="connsiteY25" fmla="*/ 55203 h 474746"/>
                  <a:gd name="connsiteX26" fmla="*/ 0 w 949492"/>
                  <a:gd name="connsiteY26" fmla="*/ 55203 h 474746"/>
                  <a:gd name="connsiteX27" fmla="*/ 0 w 949492"/>
                  <a:gd name="connsiteY27" fmla="*/ 99365 h 474746"/>
                  <a:gd name="connsiteX28" fmla="*/ 44162 w 949492"/>
                  <a:gd name="connsiteY28" fmla="*/ 153452 h 474746"/>
                  <a:gd name="connsiteX29" fmla="*/ 44162 w 949492"/>
                  <a:gd name="connsiteY29" fmla="*/ 342259 h 474746"/>
                  <a:gd name="connsiteX30" fmla="*/ 99365 w 949492"/>
                  <a:gd name="connsiteY30" fmla="*/ 397462 h 474746"/>
                  <a:gd name="connsiteX31" fmla="*/ 130037 w 949492"/>
                  <a:gd name="connsiteY31" fmla="*/ 397462 h 474746"/>
                  <a:gd name="connsiteX32" fmla="*/ 130037 w 949492"/>
                  <a:gd name="connsiteY32" fmla="*/ 398688 h 474746"/>
                  <a:gd name="connsiteX33" fmla="*/ 206095 w 949492"/>
                  <a:gd name="connsiteY33" fmla="*/ 474746 h 474746"/>
                  <a:gd name="connsiteX34" fmla="*/ 219298 w 949492"/>
                  <a:gd name="connsiteY34" fmla="*/ 474746 h 474746"/>
                  <a:gd name="connsiteX35" fmla="*/ 218445 w 949492"/>
                  <a:gd name="connsiteY35" fmla="*/ 461781 h 474746"/>
                  <a:gd name="connsiteX36" fmla="*/ 218908 w 949492"/>
                  <a:gd name="connsiteY36" fmla="*/ 452665 h 474746"/>
                  <a:gd name="connsiteX37" fmla="*/ 206075 w 949492"/>
                  <a:gd name="connsiteY37" fmla="*/ 452665 h 474746"/>
                  <a:gd name="connsiteX38" fmla="*/ 152117 w 949492"/>
                  <a:gd name="connsiteY38" fmla="*/ 398706 h 474746"/>
                  <a:gd name="connsiteX39" fmla="*/ 152117 w 949492"/>
                  <a:gd name="connsiteY39" fmla="*/ 306487 h 474746"/>
                  <a:gd name="connsiteX40" fmla="*/ 774631 w 949492"/>
                  <a:gd name="connsiteY40" fmla="*/ 306487 h 474746"/>
                  <a:gd name="connsiteX41" fmla="*/ 775551 w 949492"/>
                  <a:gd name="connsiteY41" fmla="*/ 306577 h 474746"/>
                  <a:gd name="connsiteX42" fmla="*/ 854442 w 949492"/>
                  <a:gd name="connsiteY42" fmla="*/ 306577 h 474746"/>
                  <a:gd name="connsiteX43" fmla="*/ 927411 w 949492"/>
                  <a:gd name="connsiteY43" fmla="*/ 379544 h 474746"/>
                  <a:gd name="connsiteX44" fmla="*/ 927411 w 949492"/>
                  <a:gd name="connsiteY44" fmla="*/ 436724 h 474746"/>
                  <a:gd name="connsiteX45" fmla="*/ 911465 w 949492"/>
                  <a:gd name="connsiteY45" fmla="*/ 452665 h 474746"/>
                  <a:gd name="connsiteX46" fmla="*/ 857126 w 949492"/>
                  <a:gd name="connsiteY46" fmla="*/ 452665 h 474746"/>
                  <a:gd name="connsiteX47" fmla="*/ 857588 w 949492"/>
                  <a:gd name="connsiteY47" fmla="*/ 461781 h 474746"/>
                  <a:gd name="connsiteX48" fmla="*/ 856735 w 949492"/>
                  <a:gd name="connsiteY48" fmla="*/ 474746 h 474746"/>
                  <a:gd name="connsiteX49" fmla="*/ 911473 w 949492"/>
                  <a:gd name="connsiteY49" fmla="*/ 474746 h 474746"/>
                  <a:gd name="connsiteX50" fmla="*/ 949492 w 949492"/>
                  <a:gd name="connsiteY50" fmla="*/ 436727 h 474746"/>
                  <a:gd name="connsiteX51" fmla="*/ 949492 w 949492"/>
                  <a:gd name="connsiteY51" fmla="*/ 379674 h 474746"/>
                  <a:gd name="connsiteX52" fmla="*/ 854308 w 949492"/>
                  <a:gd name="connsiteY52" fmla="*/ 284490 h 474746"/>
                  <a:gd name="connsiteX53" fmla="*/ 22081 w 949492"/>
                  <a:gd name="connsiteY53" fmla="*/ 98058 h 474746"/>
                  <a:gd name="connsiteX54" fmla="*/ 22081 w 949492"/>
                  <a:gd name="connsiteY54" fmla="*/ 77284 h 474746"/>
                  <a:gd name="connsiteX55" fmla="*/ 88325 w 949492"/>
                  <a:gd name="connsiteY55" fmla="*/ 77284 h 474746"/>
                  <a:gd name="connsiteX56" fmla="*/ 88325 w 949492"/>
                  <a:gd name="connsiteY56" fmla="*/ 99365 h 474746"/>
                  <a:gd name="connsiteX57" fmla="*/ 55107 w 949492"/>
                  <a:gd name="connsiteY57" fmla="*/ 132497 h 474746"/>
                  <a:gd name="connsiteX58" fmla="*/ 48602 w 949492"/>
                  <a:gd name="connsiteY58" fmla="*/ 131845 h 474746"/>
                  <a:gd name="connsiteX59" fmla="*/ 22081 w 949492"/>
                  <a:gd name="connsiteY59" fmla="*/ 98058 h 474746"/>
                  <a:gd name="connsiteX60" fmla="*/ 613621 w 949492"/>
                  <a:gd name="connsiteY60" fmla="*/ 170025 h 474746"/>
                  <a:gd name="connsiteX61" fmla="*/ 728881 w 949492"/>
                  <a:gd name="connsiteY61" fmla="*/ 284406 h 474746"/>
                  <a:gd name="connsiteX62" fmla="*/ 441624 w 949492"/>
                  <a:gd name="connsiteY62" fmla="*/ 284406 h 474746"/>
                  <a:gd name="connsiteX63" fmla="*/ 441624 w 949492"/>
                  <a:gd name="connsiteY63" fmla="*/ 154568 h 474746"/>
                  <a:gd name="connsiteX64" fmla="*/ 574995 w 949492"/>
                  <a:gd name="connsiteY64" fmla="*/ 154568 h 474746"/>
                  <a:gd name="connsiteX65" fmla="*/ 613621 w 949492"/>
                  <a:gd name="connsiteY65" fmla="*/ 170025 h 474746"/>
                  <a:gd name="connsiteX66" fmla="*/ 161613 w 949492"/>
                  <a:gd name="connsiteY66" fmla="*/ 284218 h 474746"/>
                  <a:gd name="connsiteX67" fmla="*/ 419543 w 949492"/>
                  <a:gd name="connsiteY67" fmla="*/ 154568 h 474746"/>
                  <a:gd name="connsiteX68" fmla="*/ 419543 w 949492"/>
                  <a:gd name="connsiteY68" fmla="*/ 284406 h 474746"/>
                  <a:gd name="connsiteX69" fmla="*/ 161692 w 949492"/>
                  <a:gd name="connsiteY69" fmla="*/ 284406 h 474746"/>
                  <a:gd name="connsiteX70" fmla="*/ 161613 w 949492"/>
                  <a:gd name="connsiteY70" fmla="*/ 284218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629174 w 949492"/>
                  <a:gd name="connsiteY5" fmla="*/ 154353 h 474746"/>
                  <a:gd name="connsiteX6" fmla="*/ 574996 w 949492"/>
                  <a:gd name="connsiteY6" fmla="*/ 132487 h 474746"/>
                  <a:gd name="connsiteX7" fmla="*/ 141443 w 949492"/>
                  <a:gd name="connsiteY7" fmla="*/ 273193 h 474746"/>
                  <a:gd name="connsiteX8" fmla="*/ 130037 w 949492"/>
                  <a:gd name="connsiteY8" fmla="*/ 300765 h 474746"/>
                  <a:gd name="connsiteX9" fmla="*/ 130037 w 949492"/>
                  <a:gd name="connsiteY9" fmla="*/ 375381 h 474746"/>
                  <a:gd name="connsiteX10" fmla="*/ 99365 w 949492"/>
                  <a:gd name="connsiteY10" fmla="*/ 375381 h 474746"/>
                  <a:gd name="connsiteX11" fmla="*/ 66244 w 949492"/>
                  <a:gd name="connsiteY11" fmla="*/ 342259 h 474746"/>
                  <a:gd name="connsiteX12" fmla="*/ 66244 w 949492"/>
                  <a:gd name="connsiteY12" fmla="*/ 153452 h 474746"/>
                  <a:gd name="connsiteX13" fmla="*/ 110406 w 949492"/>
                  <a:gd name="connsiteY13" fmla="*/ 99365 h 474746"/>
                  <a:gd name="connsiteX14" fmla="*/ 110406 w 949492"/>
                  <a:gd name="connsiteY14" fmla="*/ 55203 h 474746"/>
                  <a:gd name="connsiteX15" fmla="*/ 93845 w 949492"/>
                  <a:gd name="connsiteY15" fmla="*/ 55203 h 474746"/>
                  <a:gd name="connsiteX16" fmla="*/ 93845 w 949492"/>
                  <a:gd name="connsiteY16" fmla="*/ 11041 h 474746"/>
                  <a:gd name="connsiteX17" fmla="*/ 82805 w 949492"/>
                  <a:gd name="connsiteY17" fmla="*/ 0 h 474746"/>
                  <a:gd name="connsiteX18" fmla="*/ 71764 w 949492"/>
                  <a:gd name="connsiteY18" fmla="*/ 11041 h 474746"/>
                  <a:gd name="connsiteX19" fmla="*/ 71764 w 949492"/>
                  <a:gd name="connsiteY19" fmla="*/ 55203 h 474746"/>
                  <a:gd name="connsiteX20" fmla="*/ 38642 w 949492"/>
                  <a:gd name="connsiteY20" fmla="*/ 55203 h 474746"/>
                  <a:gd name="connsiteX21" fmla="*/ 38642 w 949492"/>
                  <a:gd name="connsiteY21" fmla="*/ 11041 h 474746"/>
                  <a:gd name="connsiteX22" fmla="*/ 27602 w 949492"/>
                  <a:gd name="connsiteY22" fmla="*/ 0 h 474746"/>
                  <a:gd name="connsiteX23" fmla="*/ 16561 w 949492"/>
                  <a:gd name="connsiteY23" fmla="*/ 11041 h 474746"/>
                  <a:gd name="connsiteX24" fmla="*/ 16561 w 949492"/>
                  <a:gd name="connsiteY24" fmla="*/ 55203 h 474746"/>
                  <a:gd name="connsiteX25" fmla="*/ 0 w 949492"/>
                  <a:gd name="connsiteY25" fmla="*/ 55203 h 474746"/>
                  <a:gd name="connsiteX26" fmla="*/ 0 w 949492"/>
                  <a:gd name="connsiteY26" fmla="*/ 99365 h 474746"/>
                  <a:gd name="connsiteX27" fmla="*/ 44162 w 949492"/>
                  <a:gd name="connsiteY27" fmla="*/ 153452 h 474746"/>
                  <a:gd name="connsiteX28" fmla="*/ 44162 w 949492"/>
                  <a:gd name="connsiteY28" fmla="*/ 342259 h 474746"/>
                  <a:gd name="connsiteX29" fmla="*/ 99365 w 949492"/>
                  <a:gd name="connsiteY29" fmla="*/ 397462 h 474746"/>
                  <a:gd name="connsiteX30" fmla="*/ 130037 w 949492"/>
                  <a:gd name="connsiteY30" fmla="*/ 397462 h 474746"/>
                  <a:gd name="connsiteX31" fmla="*/ 130037 w 949492"/>
                  <a:gd name="connsiteY31" fmla="*/ 398688 h 474746"/>
                  <a:gd name="connsiteX32" fmla="*/ 206095 w 949492"/>
                  <a:gd name="connsiteY32" fmla="*/ 474746 h 474746"/>
                  <a:gd name="connsiteX33" fmla="*/ 219298 w 949492"/>
                  <a:gd name="connsiteY33" fmla="*/ 474746 h 474746"/>
                  <a:gd name="connsiteX34" fmla="*/ 218445 w 949492"/>
                  <a:gd name="connsiteY34" fmla="*/ 461781 h 474746"/>
                  <a:gd name="connsiteX35" fmla="*/ 218908 w 949492"/>
                  <a:gd name="connsiteY35" fmla="*/ 452665 h 474746"/>
                  <a:gd name="connsiteX36" fmla="*/ 206075 w 949492"/>
                  <a:gd name="connsiteY36" fmla="*/ 452665 h 474746"/>
                  <a:gd name="connsiteX37" fmla="*/ 152117 w 949492"/>
                  <a:gd name="connsiteY37" fmla="*/ 398706 h 474746"/>
                  <a:gd name="connsiteX38" fmla="*/ 152117 w 949492"/>
                  <a:gd name="connsiteY38" fmla="*/ 306487 h 474746"/>
                  <a:gd name="connsiteX39" fmla="*/ 774631 w 949492"/>
                  <a:gd name="connsiteY39" fmla="*/ 306487 h 474746"/>
                  <a:gd name="connsiteX40" fmla="*/ 775551 w 949492"/>
                  <a:gd name="connsiteY40" fmla="*/ 306577 h 474746"/>
                  <a:gd name="connsiteX41" fmla="*/ 854442 w 949492"/>
                  <a:gd name="connsiteY41" fmla="*/ 306577 h 474746"/>
                  <a:gd name="connsiteX42" fmla="*/ 927411 w 949492"/>
                  <a:gd name="connsiteY42" fmla="*/ 379544 h 474746"/>
                  <a:gd name="connsiteX43" fmla="*/ 927411 w 949492"/>
                  <a:gd name="connsiteY43" fmla="*/ 436724 h 474746"/>
                  <a:gd name="connsiteX44" fmla="*/ 911465 w 949492"/>
                  <a:gd name="connsiteY44" fmla="*/ 452665 h 474746"/>
                  <a:gd name="connsiteX45" fmla="*/ 857126 w 949492"/>
                  <a:gd name="connsiteY45" fmla="*/ 452665 h 474746"/>
                  <a:gd name="connsiteX46" fmla="*/ 857588 w 949492"/>
                  <a:gd name="connsiteY46" fmla="*/ 461781 h 474746"/>
                  <a:gd name="connsiteX47" fmla="*/ 856735 w 949492"/>
                  <a:gd name="connsiteY47" fmla="*/ 474746 h 474746"/>
                  <a:gd name="connsiteX48" fmla="*/ 911473 w 949492"/>
                  <a:gd name="connsiteY48" fmla="*/ 474746 h 474746"/>
                  <a:gd name="connsiteX49" fmla="*/ 949492 w 949492"/>
                  <a:gd name="connsiteY49" fmla="*/ 436727 h 474746"/>
                  <a:gd name="connsiteX50" fmla="*/ 949492 w 949492"/>
                  <a:gd name="connsiteY50" fmla="*/ 379674 h 474746"/>
                  <a:gd name="connsiteX51" fmla="*/ 854308 w 949492"/>
                  <a:gd name="connsiteY51" fmla="*/ 284490 h 474746"/>
                  <a:gd name="connsiteX52" fmla="*/ 22081 w 949492"/>
                  <a:gd name="connsiteY52" fmla="*/ 98058 h 474746"/>
                  <a:gd name="connsiteX53" fmla="*/ 22081 w 949492"/>
                  <a:gd name="connsiteY53" fmla="*/ 77284 h 474746"/>
                  <a:gd name="connsiteX54" fmla="*/ 88325 w 949492"/>
                  <a:gd name="connsiteY54" fmla="*/ 77284 h 474746"/>
                  <a:gd name="connsiteX55" fmla="*/ 88325 w 949492"/>
                  <a:gd name="connsiteY55" fmla="*/ 99365 h 474746"/>
                  <a:gd name="connsiteX56" fmla="*/ 55107 w 949492"/>
                  <a:gd name="connsiteY56" fmla="*/ 132497 h 474746"/>
                  <a:gd name="connsiteX57" fmla="*/ 48602 w 949492"/>
                  <a:gd name="connsiteY57" fmla="*/ 131845 h 474746"/>
                  <a:gd name="connsiteX58" fmla="*/ 22081 w 949492"/>
                  <a:gd name="connsiteY58" fmla="*/ 98058 h 474746"/>
                  <a:gd name="connsiteX59" fmla="*/ 613621 w 949492"/>
                  <a:gd name="connsiteY59" fmla="*/ 170025 h 474746"/>
                  <a:gd name="connsiteX60" fmla="*/ 728881 w 949492"/>
                  <a:gd name="connsiteY60" fmla="*/ 284406 h 474746"/>
                  <a:gd name="connsiteX61" fmla="*/ 441624 w 949492"/>
                  <a:gd name="connsiteY61" fmla="*/ 284406 h 474746"/>
                  <a:gd name="connsiteX62" fmla="*/ 441624 w 949492"/>
                  <a:gd name="connsiteY62" fmla="*/ 154568 h 474746"/>
                  <a:gd name="connsiteX63" fmla="*/ 574995 w 949492"/>
                  <a:gd name="connsiteY63" fmla="*/ 154568 h 474746"/>
                  <a:gd name="connsiteX64" fmla="*/ 613621 w 949492"/>
                  <a:gd name="connsiteY64" fmla="*/ 170025 h 474746"/>
                  <a:gd name="connsiteX65" fmla="*/ 161613 w 949492"/>
                  <a:gd name="connsiteY65" fmla="*/ 284218 h 474746"/>
                  <a:gd name="connsiteX66" fmla="*/ 419543 w 949492"/>
                  <a:gd name="connsiteY66" fmla="*/ 154568 h 474746"/>
                  <a:gd name="connsiteX67" fmla="*/ 419543 w 949492"/>
                  <a:gd name="connsiteY67" fmla="*/ 284406 h 474746"/>
                  <a:gd name="connsiteX68" fmla="*/ 161692 w 949492"/>
                  <a:gd name="connsiteY68" fmla="*/ 284406 h 474746"/>
                  <a:gd name="connsiteX69" fmla="*/ 161613 w 949492"/>
                  <a:gd name="connsiteY69" fmla="*/ 284218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629174 w 949492"/>
                  <a:gd name="connsiteY5" fmla="*/ 154353 h 474746"/>
                  <a:gd name="connsiteX6" fmla="*/ 141443 w 949492"/>
                  <a:gd name="connsiteY6" fmla="*/ 273193 h 474746"/>
                  <a:gd name="connsiteX7" fmla="*/ 130037 w 949492"/>
                  <a:gd name="connsiteY7" fmla="*/ 300765 h 474746"/>
                  <a:gd name="connsiteX8" fmla="*/ 130037 w 949492"/>
                  <a:gd name="connsiteY8" fmla="*/ 375381 h 474746"/>
                  <a:gd name="connsiteX9" fmla="*/ 99365 w 949492"/>
                  <a:gd name="connsiteY9" fmla="*/ 375381 h 474746"/>
                  <a:gd name="connsiteX10" fmla="*/ 66244 w 949492"/>
                  <a:gd name="connsiteY10" fmla="*/ 342259 h 474746"/>
                  <a:gd name="connsiteX11" fmla="*/ 66244 w 949492"/>
                  <a:gd name="connsiteY11" fmla="*/ 153452 h 474746"/>
                  <a:gd name="connsiteX12" fmla="*/ 110406 w 949492"/>
                  <a:gd name="connsiteY12" fmla="*/ 99365 h 474746"/>
                  <a:gd name="connsiteX13" fmla="*/ 110406 w 949492"/>
                  <a:gd name="connsiteY13" fmla="*/ 55203 h 474746"/>
                  <a:gd name="connsiteX14" fmla="*/ 93845 w 949492"/>
                  <a:gd name="connsiteY14" fmla="*/ 55203 h 474746"/>
                  <a:gd name="connsiteX15" fmla="*/ 93845 w 949492"/>
                  <a:gd name="connsiteY15" fmla="*/ 11041 h 474746"/>
                  <a:gd name="connsiteX16" fmla="*/ 82805 w 949492"/>
                  <a:gd name="connsiteY16" fmla="*/ 0 h 474746"/>
                  <a:gd name="connsiteX17" fmla="*/ 71764 w 949492"/>
                  <a:gd name="connsiteY17" fmla="*/ 11041 h 474746"/>
                  <a:gd name="connsiteX18" fmla="*/ 71764 w 949492"/>
                  <a:gd name="connsiteY18" fmla="*/ 55203 h 474746"/>
                  <a:gd name="connsiteX19" fmla="*/ 38642 w 949492"/>
                  <a:gd name="connsiteY19" fmla="*/ 55203 h 474746"/>
                  <a:gd name="connsiteX20" fmla="*/ 38642 w 949492"/>
                  <a:gd name="connsiteY20" fmla="*/ 11041 h 474746"/>
                  <a:gd name="connsiteX21" fmla="*/ 27602 w 949492"/>
                  <a:gd name="connsiteY21" fmla="*/ 0 h 474746"/>
                  <a:gd name="connsiteX22" fmla="*/ 16561 w 949492"/>
                  <a:gd name="connsiteY22" fmla="*/ 11041 h 474746"/>
                  <a:gd name="connsiteX23" fmla="*/ 16561 w 949492"/>
                  <a:gd name="connsiteY23" fmla="*/ 55203 h 474746"/>
                  <a:gd name="connsiteX24" fmla="*/ 0 w 949492"/>
                  <a:gd name="connsiteY24" fmla="*/ 55203 h 474746"/>
                  <a:gd name="connsiteX25" fmla="*/ 0 w 949492"/>
                  <a:gd name="connsiteY25" fmla="*/ 99365 h 474746"/>
                  <a:gd name="connsiteX26" fmla="*/ 44162 w 949492"/>
                  <a:gd name="connsiteY26" fmla="*/ 153452 h 474746"/>
                  <a:gd name="connsiteX27" fmla="*/ 44162 w 949492"/>
                  <a:gd name="connsiteY27" fmla="*/ 342259 h 474746"/>
                  <a:gd name="connsiteX28" fmla="*/ 99365 w 949492"/>
                  <a:gd name="connsiteY28" fmla="*/ 397462 h 474746"/>
                  <a:gd name="connsiteX29" fmla="*/ 130037 w 949492"/>
                  <a:gd name="connsiteY29" fmla="*/ 397462 h 474746"/>
                  <a:gd name="connsiteX30" fmla="*/ 130037 w 949492"/>
                  <a:gd name="connsiteY30" fmla="*/ 398688 h 474746"/>
                  <a:gd name="connsiteX31" fmla="*/ 206095 w 949492"/>
                  <a:gd name="connsiteY31" fmla="*/ 474746 h 474746"/>
                  <a:gd name="connsiteX32" fmla="*/ 219298 w 949492"/>
                  <a:gd name="connsiteY32" fmla="*/ 474746 h 474746"/>
                  <a:gd name="connsiteX33" fmla="*/ 218445 w 949492"/>
                  <a:gd name="connsiteY33" fmla="*/ 461781 h 474746"/>
                  <a:gd name="connsiteX34" fmla="*/ 218908 w 949492"/>
                  <a:gd name="connsiteY34" fmla="*/ 452665 h 474746"/>
                  <a:gd name="connsiteX35" fmla="*/ 206075 w 949492"/>
                  <a:gd name="connsiteY35" fmla="*/ 452665 h 474746"/>
                  <a:gd name="connsiteX36" fmla="*/ 152117 w 949492"/>
                  <a:gd name="connsiteY36" fmla="*/ 398706 h 474746"/>
                  <a:gd name="connsiteX37" fmla="*/ 152117 w 949492"/>
                  <a:gd name="connsiteY37" fmla="*/ 306487 h 474746"/>
                  <a:gd name="connsiteX38" fmla="*/ 774631 w 949492"/>
                  <a:gd name="connsiteY38" fmla="*/ 306487 h 474746"/>
                  <a:gd name="connsiteX39" fmla="*/ 775551 w 949492"/>
                  <a:gd name="connsiteY39" fmla="*/ 306577 h 474746"/>
                  <a:gd name="connsiteX40" fmla="*/ 854442 w 949492"/>
                  <a:gd name="connsiteY40" fmla="*/ 306577 h 474746"/>
                  <a:gd name="connsiteX41" fmla="*/ 927411 w 949492"/>
                  <a:gd name="connsiteY41" fmla="*/ 379544 h 474746"/>
                  <a:gd name="connsiteX42" fmla="*/ 927411 w 949492"/>
                  <a:gd name="connsiteY42" fmla="*/ 436724 h 474746"/>
                  <a:gd name="connsiteX43" fmla="*/ 911465 w 949492"/>
                  <a:gd name="connsiteY43" fmla="*/ 452665 h 474746"/>
                  <a:gd name="connsiteX44" fmla="*/ 857126 w 949492"/>
                  <a:gd name="connsiteY44" fmla="*/ 452665 h 474746"/>
                  <a:gd name="connsiteX45" fmla="*/ 857588 w 949492"/>
                  <a:gd name="connsiteY45" fmla="*/ 461781 h 474746"/>
                  <a:gd name="connsiteX46" fmla="*/ 856735 w 949492"/>
                  <a:gd name="connsiteY46" fmla="*/ 474746 h 474746"/>
                  <a:gd name="connsiteX47" fmla="*/ 911473 w 949492"/>
                  <a:gd name="connsiteY47" fmla="*/ 474746 h 474746"/>
                  <a:gd name="connsiteX48" fmla="*/ 949492 w 949492"/>
                  <a:gd name="connsiteY48" fmla="*/ 436727 h 474746"/>
                  <a:gd name="connsiteX49" fmla="*/ 949492 w 949492"/>
                  <a:gd name="connsiteY49" fmla="*/ 379674 h 474746"/>
                  <a:gd name="connsiteX50" fmla="*/ 854308 w 949492"/>
                  <a:gd name="connsiteY50" fmla="*/ 284490 h 474746"/>
                  <a:gd name="connsiteX51" fmla="*/ 22081 w 949492"/>
                  <a:gd name="connsiteY51" fmla="*/ 98058 h 474746"/>
                  <a:gd name="connsiteX52" fmla="*/ 22081 w 949492"/>
                  <a:gd name="connsiteY52" fmla="*/ 77284 h 474746"/>
                  <a:gd name="connsiteX53" fmla="*/ 88325 w 949492"/>
                  <a:gd name="connsiteY53" fmla="*/ 77284 h 474746"/>
                  <a:gd name="connsiteX54" fmla="*/ 88325 w 949492"/>
                  <a:gd name="connsiteY54" fmla="*/ 99365 h 474746"/>
                  <a:gd name="connsiteX55" fmla="*/ 55107 w 949492"/>
                  <a:gd name="connsiteY55" fmla="*/ 132497 h 474746"/>
                  <a:gd name="connsiteX56" fmla="*/ 48602 w 949492"/>
                  <a:gd name="connsiteY56" fmla="*/ 131845 h 474746"/>
                  <a:gd name="connsiteX57" fmla="*/ 22081 w 949492"/>
                  <a:gd name="connsiteY57" fmla="*/ 98058 h 474746"/>
                  <a:gd name="connsiteX58" fmla="*/ 613621 w 949492"/>
                  <a:gd name="connsiteY58" fmla="*/ 170025 h 474746"/>
                  <a:gd name="connsiteX59" fmla="*/ 728881 w 949492"/>
                  <a:gd name="connsiteY59" fmla="*/ 284406 h 474746"/>
                  <a:gd name="connsiteX60" fmla="*/ 441624 w 949492"/>
                  <a:gd name="connsiteY60" fmla="*/ 284406 h 474746"/>
                  <a:gd name="connsiteX61" fmla="*/ 441624 w 949492"/>
                  <a:gd name="connsiteY61" fmla="*/ 154568 h 474746"/>
                  <a:gd name="connsiteX62" fmla="*/ 574995 w 949492"/>
                  <a:gd name="connsiteY62" fmla="*/ 154568 h 474746"/>
                  <a:gd name="connsiteX63" fmla="*/ 613621 w 949492"/>
                  <a:gd name="connsiteY63" fmla="*/ 170025 h 474746"/>
                  <a:gd name="connsiteX64" fmla="*/ 161613 w 949492"/>
                  <a:gd name="connsiteY64" fmla="*/ 284218 h 474746"/>
                  <a:gd name="connsiteX65" fmla="*/ 419543 w 949492"/>
                  <a:gd name="connsiteY65" fmla="*/ 154568 h 474746"/>
                  <a:gd name="connsiteX66" fmla="*/ 419543 w 949492"/>
                  <a:gd name="connsiteY66" fmla="*/ 284406 h 474746"/>
                  <a:gd name="connsiteX67" fmla="*/ 161692 w 949492"/>
                  <a:gd name="connsiteY67" fmla="*/ 284406 h 474746"/>
                  <a:gd name="connsiteX68" fmla="*/ 161613 w 949492"/>
                  <a:gd name="connsiteY68" fmla="*/ 284218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141443 w 949492"/>
                  <a:gd name="connsiteY5" fmla="*/ 273193 h 474746"/>
                  <a:gd name="connsiteX6" fmla="*/ 130037 w 949492"/>
                  <a:gd name="connsiteY6" fmla="*/ 300765 h 474746"/>
                  <a:gd name="connsiteX7" fmla="*/ 130037 w 949492"/>
                  <a:gd name="connsiteY7" fmla="*/ 375381 h 474746"/>
                  <a:gd name="connsiteX8" fmla="*/ 99365 w 949492"/>
                  <a:gd name="connsiteY8" fmla="*/ 375381 h 474746"/>
                  <a:gd name="connsiteX9" fmla="*/ 66244 w 949492"/>
                  <a:gd name="connsiteY9" fmla="*/ 342259 h 474746"/>
                  <a:gd name="connsiteX10" fmla="*/ 66244 w 949492"/>
                  <a:gd name="connsiteY10" fmla="*/ 153452 h 474746"/>
                  <a:gd name="connsiteX11" fmla="*/ 110406 w 949492"/>
                  <a:gd name="connsiteY11" fmla="*/ 99365 h 474746"/>
                  <a:gd name="connsiteX12" fmla="*/ 110406 w 949492"/>
                  <a:gd name="connsiteY12" fmla="*/ 55203 h 474746"/>
                  <a:gd name="connsiteX13" fmla="*/ 93845 w 949492"/>
                  <a:gd name="connsiteY13" fmla="*/ 55203 h 474746"/>
                  <a:gd name="connsiteX14" fmla="*/ 93845 w 949492"/>
                  <a:gd name="connsiteY14" fmla="*/ 11041 h 474746"/>
                  <a:gd name="connsiteX15" fmla="*/ 82805 w 949492"/>
                  <a:gd name="connsiteY15" fmla="*/ 0 h 474746"/>
                  <a:gd name="connsiteX16" fmla="*/ 71764 w 949492"/>
                  <a:gd name="connsiteY16" fmla="*/ 11041 h 474746"/>
                  <a:gd name="connsiteX17" fmla="*/ 71764 w 949492"/>
                  <a:gd name="connsiteY17" fmla="*/ 55203 h 474746"/>
                  <a:gd name="connsiteX18" fmla="*/ 38642 w 949492"/>
                  <a:gd name="connsiteY18" fmla="*/ 55203 h 474746"/>
                  <a:gd name="connsiteX19" fmla="*/ 38642 w 949492"/>
                  <a:gd name="connsiteY19" fmla="*/ 11041 h 474746"/>
                  <a:gd name="connsiteX20" fmla="*/ 27602 w 949492"/>
                  <a:gd name="connsiteY20" fmla="*/ 0 h 474746"/>
                  <a:gd name="connsiteX21" fmla="*/ 16561 w 949492"/>
                  <a:gd name="connsiteY21" fmla="*/ 11041 h 474746"/>
                  <a:gd name="connsiteX22" fmla="*/ 16561 w 949492"/>
                  <a:gd name="connsiteY22" fmla="*/ 55203 h 474746"/>
                  <a:gd name="connsiteX23" fmla="*/ 0 w 949492"/>
                  <a:gd name="connsiteY23" fmla="*/ 55203 h 474746"/>
                  <a:gd name="connsiteX24" fmla="*/ 0 w 949492"/>
                  <a:gd name="connsiteY24" fmla="*/ 99365 h 474746"/>
                  <a:gd name="connsiteX25" fmla="*/ 44162 w 949492"/>
                  <a:gd name="connsiteY25" fmla="*/ 153452 h 474746"/>
                  <a:gd name="connsiteX26" fmla="*/ 44162 w 949492"/>
                  <a:gd name="connsiteY26" fmla="*/ 342259 h 474746"/>
                  <a:gd name="connsiteX27" fmla="*/ 99365 w 949492"/>
                  <a:gd name="connsiteY27" fmla="*/ 397462 h 474746"/>
                  <a:gd name="connsiteX28" fmla="*/ 130037 w 949492"/>
                  <a:gd name="connsiteY28" fmla="*/ 397462 h 474746"/>
                  <a:gd name="connsiteX29" fmla="*/ 130037 w 949492"/>
                  <a:gd name="connsiteY29" fmla="*/ 398688 h 474746"/>
                  <a:gd name="connsiteX30" fmla="*/ 206095 w 949492"/>
                  <a:gd name="connsiteY30" fmla="*/ 474746 h 474746"/>
                  <a:gd name="connsiteX31" fmla="*/ 219298 w 949492"/>
                  <a:gd name="connsiteY31" fmla="*/ 474746 h 474746"/>
                  <a:gd name="connsiteX32" fmla="*/ 218445 w 949492"/>
                  <a:gd name="connsiteY32" fmla="*/ 461781 h 474746"/>
                  <a:gd name="connsiteX33" fmla="*/ 218908 w 949492"/>
                  <a:gd name="connsiteY33" fmla="*/ 452665 h 474746"/>
                  <a:gd name="connsiteX34" fmla="*/ 206075 w 949492"/>
                  <a:gd name="connsiteY34" fmla="*/ 452665 h 474746"/>
                  <a:gd name="connsiteX35" fmla="*/ 152117 w 949492"/>
                  <a:gd name="connsiteY35" fmla="*/ 398706 h 474746"/>
                  <a:gd name="connsiteX36" fmla="*/ 152117 w 949492"/>
                  <a:gd name="connsiteY36" fmla="*/ 306487 h 474746"/>
                  <a:gd name="connsiteX37" fmla="*/ 774631 w 949492"/>
                  <a:gd name="connsiteY37" fmla="*/ 306487 h 474746"/>
                  <a:gd name="connsiteX38" fmla="*/ 775551 w 949492"/>
                  <a:gd name="connsiteY38" fmla="*/ 306577 h 474746"/>
                  <a:gd name="connsiteX39" fmla="*/ 854442 w 949492"/>
                  <a:gd name="connsiteY39" fmla="*/ 306577 h 474746"/>
                  <a:gd name="connsiteX40" fmla="*/ 927411 w 949492"/>
                  <a:gd name="connsiteY40" fmla="*/ 379544 h 474746"/>
                  <a:gd name="connsiteX41" fmla="*/ 927411 w 949492"/>
                  <a:gd name="connsiteY41" fmla="*/ 436724 h 474746"/>
                  <a:gd name="connsiteX42" fmla="*/ 911465 w 949492"/>
                  <a:gd name="connsiteY42" fmla="*/ 452665 h 474746"/>
                  <a:gd name="connsiteX43" fmla="*/ 857126 w 949492"/>
                  <a:gd name="connsiteY43" fmla="*/ 452665 h 474746"/>
                  <a:gd name="connsiteX44" fmla="*/ 857588 w 949492"/>
                  <a:gd name="connsiteY44" fmla="*/ 461781 h 474746"/>
                  <a:gd name="connsiteX45" fmla="*/ 856735 w 949492"/>
                  <a:gd name="connsiteY45" fmla="*/ 474746 h 474746"/>
                  <a:gd name="connsiteX46" fmla="*/ 911473 w 949492"/>
                  <a:gd name="connsiteY46" fmla="*/ 474746 h 474746"/>
                  <a:gd name="connsiteX47" fmla="*/ 949492 w 949492"/>
                  <a:gd name="connsiteY47" fmla="*/ 436727 h 474746"/>
                  <a:gd name="connsiteX48" fmla="*/ 949492 w 949492"/>
                  <a:gd name="connsiteY48" fmla="*/ 379674 h 474746"/>
                  <a:gd name="connsiteX49" fmla="*/ 854308 w 949492"/>
                  <a:gd name="connsiteY49" fmla="*/ 284490 h 474746"/>
                  <a:gd name="connsiteX50" fmla="*/ 22081 w 949492"/>
                  <a:gd name="connsiteY50" fmla="*/ 98058 h 474746"/>
                  <a:gd name="connsiteX51" fmla="*/ 22081 w 949492"/>
                  <a:gd name="connsiteY51" fmla="*/ 77284 h 474746"/>
                  <a:gd name="connsiteX52" fmla="*/ 88325 w 949492"/>
                  <a:gd name="connsiteY52" fmla="*/ 77284 h 474746"/>
                  <a:gd name="connsiteX53" fmla="*/ 88325 w 949492"/>
                  <a:gd name="connsiteY53" fmla="*/ 99365 h 474746"/>
                  <a:gd name="connsiteX54" fmla="*/ 55107 w 949492"/>
                  <a:gd name="connsiteY54" fmla="*/ 132497 h 474746"/>
                  <a:gd name="connsiteX55" fmla="*/ 48602 w 949492"/>
                  <a:gd name="connsiteY55" fmla="*/ 131845 h 474746"/>
                  <a:gd name="connsiteX56" fmla="*/ 22081 w 949492"/>
                  <a:gd name="connsiteY56" fmla="*/ 98058 h 474746"/>
                  <a:gd name="connsiteX57" fmla="*/ 613621 w 949492"/>
                  <a:gd name="connsiteY57" fmla="*/ 170025 h 474746"/>
                  <a:gd name="connsiteX58" fmla="*/ 728881 w 949492"/>
                  <a:gd name="connsiteY58" fmla="*/ 284406 h 474746"/>
                  <a:gd name="connsiteX59" fmla="*/ 441624 w 949492"/>
                  <a:gd name="connsiteY59" fmla="*/ 284406 h 474746"/>
                  <a:gd name="connsiteX60" fmla="*/ 441624 w 949492"/>
                  <a:gd name="connsiteY60" fmla="*/ 154568 h 474746"/>
                  <a:gd name="connsiteX61" fmla="*/ 574995 w 949492"/>
                  <a:gd name="connsiteY61" fmla="*/ 154568 h 474746"/>
                  <a:gd name="connsiteX62" fmla="*/ 613621 w 949492"/>
                  <a:gd name="connsiteY62" fmla="*/ 170025 h 474746"/>
                  <a:gd name="connsiteX63" fmla="*/ 161613 w 949492"/>
                  <a:gd name="connsiteY63" fmla="*/ 284218 h 474746"/>
                  <a:gd name="connsiteX64" fmla="*/ 419543 w 949492"/>
                  <a:gd name="connsiteY64" fmla="*/ 154568 h 474746"/>
                  <a:gd name="connsiteX65" fmla="*/ 419543 w 949492"/>
                  <a:gd name="connsiteY65" fmla="*/ 284406 h 474746"/>
                  <a:gd name="connsiteX66" fmla="*/ 161692 w 949492"/>
                  <a:gd name="connsiteY66" fmla="*/ 284406 h 474746"/>
                  <a:gd name="connsiteX67" fmla="*/ 161613 w 949492"/>
                  <a:gd name="connsiteY67" fmla="*/ 284218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141443 w 949492"/>
                  <a:gd name="connsiteY5" fmla="*/ 273193 h 474746"/>
                  <a:gd name="connsiteX6" fmla="*/ 130037 w 949492"/>
                  <a:gd name="connsiteY6" fmla="*/ 300765 h 474746"/>
                  <a:gd name="connsiteX7" fmla="*/ 130037 w 949492"/>
                  <a:gd name="connsiteY7" fmla="*/ 375381 h 474746"/>
                  <a:gd name="connsiteX8" fmla="*/ 99365 w 949492"/>
                  <a:gd name="connsiteY8" fmla="*/ 375381 h 474746"/>
                  <a:gd name="connsiteX9" fmla="*/ 66244 w 949492"/>
                  <a:gd name="connsiteY9" fmla="*/ 342259 h 474746"/>
                  <a:gd name="connsiteX10" fmla="*/ 66244 w 949492"/>
                  <a:gd name="connsiteY10" fmla="*/ 153452 h 474746"/>
                  <a:gd name="connsiteX11" fmla="*/ 110406 w 949492"/>
                  <a:gd name="connsiteY11" fmla="*/ 99365 h 474746"/>
                  <a:gd name="connsiteX12" fmla="*/ 110406 w 949492"/>
                  <a:gd name="connsiteY12" fmla="*/ 55203 h 474746"/>
                  <a:gd name="connsiteX13" fmla="*/ 93845 w 949492"/>
                  <a:gd name="connsiteY13" fmla="*/ 55203 h 474746"/>
                  <a:gd name="connsiteX14" fmla="*/ 93845 w 949492"/>
                  <a:gd name="connsiteY14" fmla="*/ 11041 h 474746"/>
                  <a:gd name="connsiteX15" fmla="*/ 82805 w 949492"/>
                  <a:gd name="connsiteY15" fmla="*/ 0 h 474746"/>
                  <a:gd name="connsiteX16" fmla="*/ 71764 w 949492"/>
                  <a:gd name="connsiteY16" fmla="*/ 11041 h 474746"/>
                  <a:gd name="connsiteX17" fmla="*/ 71764 w 949492"/>
                  <a:gd name="connsiteY17" fmla="*/ 55203 h 474746"/>
                  <a:gd name="connsiteX18" fmla="*/ 38642 w 949492"/>
                  <a:gd name="connsiteY18" fmla="*/ 55203 h 474746"/>
                  <a:gd name="connsiteX19" fmla="*/ 38642 w 949492"/>
                  <a:gd name="connsiteY19" fmla="*/ 11041 h 474746"/>
                  <a:gd name="connsiteX20" fmla="*/ 27602 w 949492"/>
                  <a:gd name="connsiteY20" fmla="*/ 0 h 474746"/>
                  <a:gd name="connsiteX21" fmla="*/ 16561 w 949492"/>
                  <a:gd name="connsiteY21" fmla="*/ 11041 h 474746"/>
                  <a:gd name="connsiteX22" fmla="*/ 16561 w 949492"/>
                  <a:gd name="connsiteY22" fmla="*/ 55203 h 474746"/>
                  <a:gd name="connsiteX23" fmla="*/ 0 w 949492"/>
                  <a:gd name="connsiteY23" fmla="*/ 55203 h 474746"/>
                  <a:gd name="connsiteX24" fmla="*/ 0 w 949492"/>
                  <a:gd name="connsiteY24" fmla="*/ 99365 h 474746"/>
                  <a:gd name="connsiteX25" fmla="*/ 44162 w 949492"/>
                  <a:gd name="connsiteY25" fmla="*/ 153452 h 474746"/>
                  <a:gd name="connsiteX26" fmla="*/ 44162 w 949492"/>
                  <a:gd name="connsiteY26" fmla="*/ 342259 h 474746"/>
                  <a:gd name="connsiteX27" fmla="*/ 99365 w 949492"/>
                  <a:gd name="connsiteY27" fmla="*/ 397462 h 474746"/>
                  <a:gd name="connsiteX28" fmla="*/ 130037 w 949492"/>
                  <a:gd name="connsiteY28" fmla="*/ 397462 h 474746"/>
                  <a:gd name="connsiteX29" fmla="*/ 130037 w 949492"/>
                  <a:gd name="connsiteY29" fmla="*/ 398688 h 474746"/>
                  <a:gd name="connsiteX30" fmla="*/ 206095 w 949492"/>
                  <a:gd name="connsiteY30" fmla="*/ 474746 h 474746"/>
                  <a:gd name="connsiteX31" fmla="*/ 219298 w 949492"/>
                  <a:gd name="connsiteY31" fmla="*/ 474746 h 474746"/>
                  <a:gd name="connsiteX32" fmla="*/ 218445 w 949492"/>
                  <a:gd name="connsiteY32" fmla="*/ 461781 h 474746"/>
                  <a:gd name="connsiteX33" fmla="*/ 218908 w 949492"/>
                  <a:gd name="connsiteY33" fmla="*/ 452665 h 474746"/>
                  <a:gd name="connsiteX34" fmla="*/ 206075 w 949492"/>
                  <a:gd name="connsiteY34" fmla="*/ 452665 h 474746"/>
                  <a:gd name="connsiteX35" fmla="*/ 152117 w 949492"/>
                  <a:gd name="connsiteY35" fmla="*/ 398706 h 474746"/>
                  <a:gd name="connsiteX36" fmla="*/ 152117 w 949492"/>
                  <a:gd name="connsiteY36" fmla="*/ 306487 h 474746"/>
                  <a:gd name="connsiteX37" fmla="*/ 774631 w 949492"/>
                  <a:gd name="connsiteY37" fmla="*/ 306487 h 474746"/>
                  <a:gd name="connsiteX38" fmla="*/ 775551 w 949492"/>
                  <a:gd name="connsiteY38" fmla="*/ 306577 h 474746"/>
                  <a:gd name="connsiteX39" fmla="*/ 854442 w 949492"/>
                  <a:gd name="connsiteY39" fmla="*/ 306577 h 474746"/>
                  <a:gd name="connsiteX40" fmla="*/ 927411 w 949492"/>
                  <a:gd name="connsiteY40" fmla="*/ 379544 h 474746"/>
                  <a:gd name="connsiteX41" fmla="*/ 927411 w 949492"/>
                  <a:gd name="connsiteY41" fmla="*/ 436724 h 474746"/>
                  <a:gd name="connsiteX42" fmla="*/ 911465 w 949492"/>
                  <a:gd name="connsiteY42" fmla="*/ 452665 h 474746"/>
                  <a:gd name="connsiteX43" fmla="*/ 857126 w 949492"/>
                  <a:gd name="connsiteY43" fmla="*/ 452665 h 474746"/>
                  <a:gd name="connsiteX44" fmla="*/ 857588 w 949492"/>
                  <a:gd name="connsiteY44" fmla="*/ 461781 h 474746"/>
                  <a:gd name="connsiteX45" fmla="*/ 856735 w 949492"/>
                  <a:gd name="connsiteY45" fmla="*/ 474746 h 474746"/>
                  <a:gd name="connsiteX46" fmla="*/ 911473 w 949492"/>
                  <a:gd name="connsiteY46" fmla="*/ 474746 h 474746"/>
                  <a:gd name="connsiteX47" fmla="*/ 949492 w 949492"/>
                  <a:gd name="connsiteY47" fmla="*/ 436727 h 474746"/>
                  <a:gd name="connsiteX48" fmla="*/ 949492 w 949492"/>
                  <a:gd name="connsiteY48" fmla="*/ 379674 h 474746"/>
                  <a:gd name="connsiteX49" fmla="*/ 854308 w 949492"/>
                  <a:gd name="connsiteY49" fmla="*/ 284490 h 474746"/>
                  <a:gd name="connsiteX50" fmla="*/ 22081 w 949492"/>
                  <a:gd name="connsiteY50" fmla="*/ 98058 h 474746"/>
                  <a:gd name="connsiteX51" fmla="*/ 22081 w 949492"/>
                  <a:gd name="connsiteY51" fmla="*/ 77284 h 474746"/>
                  <a:gd name="connsiteX52" fmla="*/ 88325 w 949492"/>
                  <a:gd name="connsiteY52" fmla="*/ 77284 h 474746"/>
                  <a:gd name="connsiteX53" fmla="*/ 88325 w 949492"/>
                  <a:gd name="connsiteY53" fmla="*/ 99365 h 474746"/>
                  <a:gd name="connsiteX54" fmla="*/ 55107 w 949492"/>
                  <a:gd name="connsiteY54" fmla="*/ 132497 h 474746"/>
                  <a:gd name="connsiteX55" fmla="*/ 48602 w 949492"/>
                  <a:gd name="connsiteY55" fmla="*/ 131845 h 474746"/>
                  <a:gd name="connsiteX56" fmla="*/ 22081 w 949492"/>
                  <a:gd name="connsiteY56" fmla="*/ 98058 h 474746"/>
                  <a:gd name="connsiteX57" fmla="*/ 613621 w 949492"/>
                  <a:gd name="connsiteY57" fmla="*/ 170025 h 474746"/>
                  <a:gd name="connsiteX58" fmla="*/ 728881 w 949492"/>
                  <a:gd name="connsiteY58" fmla="*/ 284406 h 474746"/>
                  <a:gd name="connsiteX59" fmla="*/ 441624 w 949492"/>
                  <a:gd name="connsiteY59" fmla="*/ 284406 h 474746"/>
                  <a:gd name="connsiteX60" fmla="*/ 441624 w 949492"/>
                  <a:gd name="connsiteY60" fmla="*/ 154568 h 474746"/>
                  <a:gd name="connsiteX61" fmla="*/ 574995 w 949492"/>
                  <a:gd name="connsiteY61" fmla="*/ 154568 h 474746"/>
                  <a:gd name="connsiteX62" fmla="*/ 613621 w 949492"/>
                  <a:gd name="connsiteY62" fmla="*/ 170025 h 474746"/>
                  <a:gd name="connsiteX63" fmla="*/ 161613 w 949492"/>
                  <a:gd name="connsiteY63" fmla="*/ 284218 h 474746"/>
                  <a:gd name="connsiteX64" fmla="*/ 379062 w 949492"/>
                  <a:gd name="connsiteY64" fmla="*/ 206956 h 474746"/>
                  <a:gd name="connsiteX65" fmla="*/ 419543 w 949492"/>
                  <a:gd name="connsiteY65" fmla="*/ 284406 h 474746"/>
                  <a:gd name="connsiteX66" fmla="*/ 161692 w 949492"/>
                  <a:gd name="connsiteY66" fmla="*/ 284406 h 474746"/>
                  <a:gd name="connsiteX67" fmla="*/ 161613 w 949492"/>
                  <a:gd name="connsiteY67" fmla="*/ 284218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141443 w 949492"/>
                  <a:gd name="connsiteY5" fmla="*/ 273193 h 474746"/>
                  <a:gd name="connsiteX6" fmla="*/ 130037 w 949492"/>
                  <a:gd name="connsiteY6" fmla="*/ 300765 h 474746"/>
                  <a:gd name="connsiteX7" fmla="*/ 130037 w 949492"/>
                  <a:gd name="connsiteY7" fmla="*/ 375381 h 474746"/>
                  <a:gd name="connsiteX8" fmla="*/ 99365 w 949492"/>
                  <a:gd name="connsiteY8" fmla="*/ 375381 h 474746"/>
                  <a:gd name="connsiteX9" fmla="*/ 66244 w 949492"/>
                  <a:gd name="connsiteY9" fmla="*/ 342259 h 474746"/>
                  <a:gd name="connsiteX10" fmla="*/ 66244 w 949492"/>
                  <a:gd name="connsiteY10" fmla="*/ 153452 h 474746"/>
                  <a:gd name="connsiteX11" fmla="*/ 110406 w 949492"/>
                  <a:gd name="connsiteY11" fmla="*/ 99365 h 474746"/>
                  <a:gd name="connsiteX12" fmla="*/ 110406 w 949492"/>
                  <a:gd name="connsiteY12" fmla="*/ 55203 h 474746"/>
                  <a:gd name="connsiteX13" fmla="*/ 93845 w 949492"/>
                  <a:gd name="connsiteY13" fmla="*/ 55203 h 474746"/>
                  <a:gd name="connsiteX14" fmla="*/ 93845 w 949492"/>
                  <a:gd name="connsiteY14" fmla="*/ 11041 h 474746"/>
                  <a:gd name="connsiteX15" fmla="*/ 82805 w 949492"/>
                  <a:gd name="connsiteY15" fmla="*/ 0 h 474746"/>
                  <a:gd name="connsiteX16" fmla="*/ 71764 w 949492"/>
                  <a:gd name="connsiteY16" fmla="*/ 11041 h 474746"/>
                  <a:gd name="connsiteX17" fmla="*/ 71764 w 949492"/>
                  <a:gd name="connsiteY17" fmla="*/ 55203 h 474746"/>
                  <a:gd name="connsiteX18" fmla="*/ 38642 w 949492"/>
                  <a:gd name="connsiteY18" fmla="*/ 55203 h 474746"/>
                  <a:gd name="connsiteX19" fmla="*/ 38642 w 949492"/>
                  <a:gd name="connsiteY19" fmla="*/ 11041 h 474746"/>
                  <a:gd name="connsiteX20" fmla="*/ 27602 w 949492"/>
                  <a:gd name="connsiteY20" fmla="*/ 0 h 474746"/>
                  <a:gd name="connsiteX21" fmla="*/ 16561 w 949492"/>
                  <a:gd name="connsiteY21" fmla="*/ 11041 h 474746"/>
                  <a:gd name="connsiteX22" fmla="*/ 16561 w 949492"/>
                  <a:gd name="connsiteY22" fmla="*/ 55203 h 474746"/>
                  <a:gd name="connsiteX23" fmla="*/ 0 w 949492"/>
                  <a:gd name="connsiteY23" fmla="*/ 55203 h 474746"/>
                  <a:gd name="connsiteX24" fmla="*/ 0 w 949492"/>
                  <a:gd name="connsiteY24" fmla="*/ 99365 h 474746"/>
                  <a:gd name="connsiteX25" fmla="*/ 44162 w 949492"/>
                  <a:gd name="connsiteY25" fmla="*/ 153452 h 474746"/>
                  <a:gd name="connsiteX26" fmla="*/ 44162 w 949492"/>
                  <a:gd name="connsiteY26" fmla="*/ 342259 h 474746"/>
                  <a:gd name="connsiteX27" fmla="*/ 99365 w 949492"/>
                  <a:gd name="connsiteY27" fmla="*/ 397462 h 474746"/>
                  <a:gd name="connsiteX28" fmla="*/ 130037 w 949492"/>
                  <a:gd name="connsiteY28" fmla="*/ 397462 h 474746"/>
                  <a:gd name="connsiteX29" fmla="*/ 130037 w 949492"/>
                  <a:gd name="connsiteY29" fmla="*/ 398688 h 474746"/>
                  <a:gd name="connsiteX30" fmla="*/ 206095 w 949492"/>
                  <a:gd name="connsiteY30" fmla="*/ 474746 h 474746"/>
                  <a:gd name="connsiteX31" fmla="*/ 219298 w 949492"/>
                  <a:gd name="connsiteY31" fmla="*/ 474746 h 474746"/>
                  <a:gd name="connsiteX32" fmla="*/ 218445 w 949492"/>
                  <a:gd name="connsiteY32" fmla="*/ 461781 h 474746"/>
                  <a:gd name="connsiteX33" fmla="*/ 218908 w 949492"/>
                  <a:gd name="connsiteY33" fmla="*/ 452665 h 474746"/>
                  <a:gd name="connsiteX34" fmla="*/ 206075 w 949492"/>
                  <a:gd name="connsiteY34" fmla="*/ 452665 h 474746"/>
                  <a:gd name="connsiteX35" fmla="*/ 152117 w 949492"/>
                  <a:gd name="connsiteY35" fmla="*/ 398706 h 474746"/>
                  <a:gd name="connsiteX36" fmla="*/ 152117 w 949492"/>
                  <a:gd name="connsiteY36" fmla="*/ 306487 h 474746"/>
                  <a:gd name="connsiteX37" fmla="*/ 774631 w 949492"/>
                  <a:gd name="connsiteY37" fmla="*/ 306487 h 474746"/>
                  <a:gd name="connsiteX38" fmla="*/ 775551 w 949492"/>
                  <a:gd name="connsiteY38" fmla="*/ 306577 h 474746"/>
                  <a:gd name="connsiteX39" fmla="*/ 854442 w 949492"/>
                  <a:gd name="connsiteY39" fmla="*/ 306577 h 474746"/>
                  <a:gd name="connsiteX40" fmla="*/ 927411 w 949492"/>
                  <a:gd name="connsiteY40" fmla="*/ 379544 h 474746"/>
                  <a:gd name="connsiteX41" fmla="*/ 927411 w 949492"/>
                  <a:gd name="connsiteY41" fmla="*/ 436724 h 474746"/>
                  <a:gd name="connsiteX42" fmla="*/ 911465 w 949492"/>
                  <a:gd name="connsiteY42" fmla="*/ 452665 h 474746"/>
                  <a:gd name="connsiteX43" fmla="*/ 857126 w 949492"/>
                  <a:gd name="connsiteY43" fmla="*/ 452665 h 474746"/>
                  <a:gd name="connsiteX44" fmla="*/ 857588 w 949492"/>
                  <a:gd name="connsiteY44" fmla="*/ 461781 h 474746"/>
                  <a:gd name="connsiteX45" fmla="*/ 856735 w 949492"/>
                  <a:gd name="connsiteY45" fmla="*/ 474746 h 474746"/>
                  <a:gd name="connsiteX46" fmla="*/ 911473 w 949492"/>
                  <a:gd name="connsiteY46" fmla="*/ 474746 h 474746"/>
                  <a:gd name="connsiteX47" fmla="*/ 949492 w 949492"/>
                  <a:gd name="connsiteY47" fmla="*/ 436727 h 474746"/>
                  <a:gd name="connsiteX48" fmla="*/ 949492 w 949492"/>
                  <a:gd name="connsiteY48" fmla="*/ 379674 h 474746"/>
                  <a:gd name="connsiteX49" fmla="*/ 854308 w 949492"/>
                  <a:gd name="connsiteY49" fmla="*/ 284490 h 474746"/>
                  <a:gd name="connsiteX50" fmla="*/ 22081 w 949492"/>
                  <a:gd name="connsiteY50" fmla="*/ 98058 h 474746"/>
                  <a:gd name="connsiteX51" fmla="*/ 22081 w 949492"/>
                  <a:gd name="connsiteY51" fmla="*/ 77284 h 474746"/>
                  <a:gd name="connsiteX52" fmla="*/ 88325 w 949492"/>
                  <a:gd name="connsiteY52" fmla="*/ 77284 h 474746"/>
                  <a:gd name="connsiteX53" fmla="*/ 88325 w 949492"/>
                  <a:gd name="connsiteY53" fmla="*/ 99365 h 474746"/>
                  <a:gd name="connsiteX54" fmla="*/ 55107 w 949492"/>
                  <a:gd name="connsiteY54" fmla="*/ 132497 h 474746"/>
                  <a:gd name="connsiteX55" fmla="*/ 48602 w 949492"/>
                  <a:gd name="connsiteY55" fmla="*/ 131845 h 474746"/>
                  <a:gd name="connsiteX56" fmla="*/ 22081 w 949492"/>
                  <a:gd name="connsiteY56" fmla="*/ 98058 h 474746"/>
                  <a:gd name="connsiteX57" fmla="*/ 613621 w 949492"/>
                  <a:gd name="connsiteY57" fmla="*/ 170025 h 474746"/>
                  <a:gd name="connsiteX58" fmla="*/ 728881 w 949492"/>
                  <a:gd name="connsiteY58" fmla="*/ 284406 h 474746"/>
                  <a:gd name="connsiteX59" fmla="*/ 441624 w 949492"/>
                  <a:gd name="connsiteY59" fmla="*/ 284406 h 474746"/>
                  <a:gd name="connsiteX60" fmla="*/ 441624 w 949492"/>
                  <a:gd name="connsiteY60" fmla="*/ 154568 h 474746"/>
                  <a:gd name="connsiteX61" fmla="*/ 574995 w 949492"/>
                  <a:gd name="connsiteY61" fmla="*/ 154568 h 474746"/>
                  <a:gd name="connsiteX62" fmla="*/ 613621 w 949492"/>
                  <a:gd name="connsiteY62" fmla="*/ 170025 h 474746"/>
                  <a:gd name="connsiteX63" fmla="*/ 161613 w 949492"/>
                  <a:gd name="connsiteY63" fmla="*/ 284218 h 474746"/>
                  <a:gd name="connsiteX64" fmla="*/ 360974 w 949492"/>
                  <a:gd name="connsiteY64" fmla="*/ 209728 h 474746"/>
                  <a:gd name="connsiteX65" fmla="*/ 379062 w 949492"/>
                  <a:gd name="connsiteY65" fmla="*/ 206956 h 474746"/>
                  <a:gd name="connsiteX66" fmla="*/ 419543 w 949492"/>
                  <a:gd name="connsiteY66" fmla="*/ 284406 h 474746"/>
                  <a:gd name="connsiteX67" fmla="*/ 161692 w 949492"/>
                  <a:gd name="connsiteY67" fmla="*/ 284406 h 474746"/>
                  <a:gd name="connsiteX68" fmla="*/ 161613 w 949492"/>
                  <a:gd name="connsiteY68" fmla="*/ 284218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141443 w 949492"/>
                  <a:gd name="connsiteY5" fmla="*/ 273193 h 474746"/>
                  <a:gd name="connsiteX6" fmla="*/ 130037 w 949492"/>
                  <a:gd name="connsiteY6" fmla="*/ 300765 h 474746"/>
                  <a:gd name="connsiteX7" fmla="*/ 130037 w 949492"/>
                  <a:gd name="connsiteY7" fmla="*/ 375381 h 474746"/>
                  <a:gd name="connsiteX8" fmla="*/ 99365 w 949492"/>
                  <a:gd name="connsiteY8" fmla="*/ 375381 h 474746"/>
                  <a:gd name="connsiteX9" fmla="*/ 66244 w 949492"/>
                  <a:gd name="connsiteY9" fmla="*/ 342259 h 474746"/>
                  <a:gd name="connsiteX10" fmla="*/ 66244 w 949492"/>
                  <a:gd name="connsiteY10" fmla="*/ 153452 h 474746"/>
                  <a:gd name="connsiteX11" fmla="*/ 110406 w 949492"/>
                  <a:gd name="connsiteY11" fmla="*/ 99365 h 474746"/>
                  <a:gd name="connsiteX12" fmla="*/ 110406 w 949492"/>
                  <a:gd name="connsiteY12" fmla="*/ 55203 h 474746"/>
                  <a:gd name="connsiteX13" fmla="*/ 93845 w 949492"/>
                  <a:gd name="connsiteY13" fmla="*/ 55203 h 474746"/>
                  <a:gd name="connsiteX14" fmla="*/ 93845 w 949492"/>
                  <a:gd name="connsiteY14" fmla="*/ 11041 h 474746"/>
                  <a:gd name="connsiteX15" fmla="*/ 82805 w 949492"/>
                  <a:gd name="connsiteY15" fmla="*/ 0 h 474746"/>
                  <a:gd name="connsiteX16" fmla="*/ 71764 w 949492"/>
                  <a:gd name="connsiteY16" fmla="*/ 11041 h 474746"/>
                  <a:gd name="connsiteX17" fmla="*/ 71764 w 949492"/>
                  <a:gd name="connsiteY17" fmla="*/ 55203 h 474746"/>
                  <a:gd name="connsiteX18" fmla="*/ 38642 w 949492"/>
                  <a:gd name="connsiteY18" fmla="*/ 55203 h 474746"/>
                  <a:gd name="connsiteX19" fmla="*/ 38642 w 949492"/>
                  <a:gd name="connsiteY19" fmla="*/ 11041 h 474746"/>
                  <a:gd name="connsiteX20" fmla="*/ 27602 w 949492"/>
                  <a:gd name="connsiteY20" fmla="*/ 0 h 474746"/>
                  <a:gd name="connsiteX21" fmla="*/ 16561 w 949492"/>
                  <a:gd name="connsiteY21" fmla="*/ 11041 h 474746"/>
                  <a:gd name="connsiteX22" fmla="*/ 16561 w 949492"/>
                  <a:gd name="connsiteY22" fmla="*/ 55203 h 474746"/>
                  <a:gd name="connsiteX23" fmla="*/ 0 w 949492"/>
                  <a:gd name="connsiteY23" fmla="*/ 55203 h 474746"/>
                  <a:gd name="connsiteX24" fmla="*/ 0 w 949492"/>
                  <a:gd name="connsiteY24" fmla="*/ 99365 h 474746"/>
                  <a:gd name="connsiteX25" fmla="*/ 44162 w 949492"/>
                  <a:gd name="connsiteY25" fmla="*/ 153452 h 474746"/>
                  <a:gd name="connsiteX26" fmla="*/ 44162 w 949492"/>
                  <a:gd name="connsiteY26" fmla="*/ 342259 h 474746"/>
                  <a:gd name="connsiteX27" fmla="*/ 99365 w 949492"/>
                  <a:gd name="connsiteY27" fmla="*/ 397462 h 474746"/>
                  <a:gd name="connsiteX28" fmla="*/ 130037 w 949492"/>
                  <a:gd name="connsiteY28" fmla="*/ 397462 h 474746"/>
                  <a:gd name="connsiteX29" fmla="*/ 130037 w 949492"/>
                  <a:gd name="connsiteY29" fmla="*/ 398688 h 474746"/>
                  <a:gd name="connsiteX30" fmla="*/ 206095 w 949492"/>
                  <a:gd name="connsiteY30" fmla="*/ 474746 h 474746"/>
                  <a:gd name="connsiteX31" fmla="*/ 219298 w 949492"/>
                  <a:gd name="connsiteY31" fmla="*/ 474746 h 474746"/>
                  <a:gd name="connsiteX32" fmla="*/ 218445 w 949492"/>
                  <a:gd name="connsiteY32" fmla="*/ 461781 h 474746"/>
                  <a:gd name="connsiteX33" fmla="*/ 218908 w 949492"/>
                  <a:gd name="connsiteY33" fmla="*/ 452665 h 474746"/>
                  <a:gd name="connsiteX34" fmla="*/ 206075 w 949492"/>
                  <a:gd name="connsiteY34" fmla="*/ 452665 h 474746"/>
                  <a:gd name="connsiteX35" fmla="*/ 152117 w 949492"/>
                  <a:gd name="connsiteY35" fmla="*/ 398706 h 474746"/>
                  <a:gd name="connsiteX36" fmla="*/ 152117 w 949492"/>
                  <a:gd name="connsiteY36" fmla="*/ 306487 h 474746"/>
                  <a:gd name="connsiteX37" fmla="*/ 774631 w 949492"/>
                  <a:gd name="connsiteY37" fmla="*/ 306487 h 474746"/>
                  <a:gd name="connsiteX38" fmla="*/ 775551 w 949492"/>
                  <a:gd name="connsiteY38" fmla="*/ 306577 h 474746"/>
                  <a:gd name="connsiteX39" fmla="*/ 854442 w 949492"/>
                  <a:gd name="connsiteY39" fmla="*/ 306577 h 474746"/>
                  <a:gd name="connsiteX40" fmla="*/ 927411 w 949492"/>
                  <a:gd name="connsiteY40" fmla="*/ 379544 h 474746"/>
                  <a:gd name="connsiteX41" fmla="*/ 927411 w 949492"/>
                  <a:gd name="connsiteY41" fmla="*/ 436724 h 474746"/>
                  <a:gd name="connsiteX42" fmla="*/ 911465 w 949492"/>
                  <a:gd name="connsiteY42" fmla="*/ 452665 h 474746"/>
                  <a:gd name="connsiteX43" fmla="*/ 857126 w 949492"/>
                  <a:gd name="connsiteY43" fmla="*/ 452665 h 474746"/>
                  <a:gd name="connsiteX44" fmla="*/ 857588 w 949492"/>
                  <a:gd name="connsiteY44" fmla="*/ 461781 h 474746"/>
                  <a:gd name="connsiteX45" fmla="*/ 856735 w 949492"/>
                  <a:gd name="connsiteY45" fmla="*/ 474746 h 474746"/>
                  <a:gd name="connsiteX46" fmla="*/ 911473 w 949492"/>
                  <a:gd name="connsiteY46" fmla="*/ 474746 h 474746"/>
                  <a:gd name="connsiteX47" fmla="*/ 949492 w 949492"/>
                  <a:gd name="connsiteY47" fmla="*/ 436727 h 474746"/>
                  <a:gd name="connsiteX48" fmla="*/ 949492 w 949492"/>
                  <a:gd name="connsiteY48" fmla="*/ 379674 h 474746"/>
                  <a:gd name="connsiteX49" fmla="*/ 854308 w 949492"/>
                  <a:gd name="connsiteY49" fmla="*/ 284490 h 474746"/>
                  <a:gd name="connsiteX50" fmla="*/ 22081 w 949492"/>
                  <a:gd name="connsiteY50" fmla="*/ 98058 h 474746"/>
                  <a:gd name="connsiteX51" fmla="*/ 22081 w 949492"/>
                  <a:gd name="connsiteY51" fmla="*/ 77284 h 474746"/>
                  <a:gd name="connsiteX52" fmla="*/ 88325 w 949492"/>
                  <a:gd name="connsiteY52" fmla="*/ 77284 h 474746"/>
                  <a:gd name="connsiteX53" fmla="*/ 88325 w 949492"/>
                  <a:gd name="connsiteY53" fmla="*/ 99365 h 474746"/>
                  <a:gd name="connsiteX54" fmla="*/ 55107 w 949492"/>
                  <a:gd name="connsiteY54" fmla="*/ 132497 h 474746"/>
                  <a:gd name="connsiteX55" fmla="*/ 48602 w 949492"/>
                  <a:gd name="connsiteY55" fmla="*/ 131845 h 474746"/>
                  <a:gd name="connsiteX56" fmla="*/ 22081 w 949492"/>
                  <a:gd name="connsiteY56" fmla="*/ 98058 h 474746"/>
                  <a:gd name="connsiteX57" fmla="*/ 613621 w 949492"/>
                  <a:gd name="connsiteY57" fmla="*/ 170025 h 474746"/>
                  <a:gd name="connsiteX58" fmla="*/ 728881 w 949492"/>
                  <a:gd name="connsiteY58" fmla="*/ 284406 h 474746"/>
                  <a:gd name="connsiteX59" fmla="*/ 441624 w 949492"/>
                  <a:gd name="connsiteY59" fmla="*/ 284406 h 474746"/>
                  <a:gd name="connsiteX60" fmla="*/ 441624 w 949492"/>
                  <a:gd name="connsiteY60" fmla="*/ 154568 h 474746"/>
                  <a:gd name="connsiteX61" fmla="*/ 574995 w 949492"/>
                  <a:gd name="connsiteY61" fmla="*/ 154568 h 474746"/>
                  <a:gd name="connsiteX62" fmla="*/ 613621 w 949492"/>
                  <a:gd name="connsiteY62" fmla="*/ 170025 h 474746"/>
                  <a:gd name="connsiteX63" fmla="*/ 161613 w 949492"/>
                  <a:gd name="connsiteY63" fmla="*/ 284218 h 474746"/>
                  <a:gd name="connsiteX64" fmla="*/ 379062 w 949492"/>
                  <a:gd name="connsiteY64" fmla="*/ 206956 h 474746"/>
                  <a:gd name="connsiteX65" fmla="*/ 419543 w 949492"/>
                  <a:gd name="connsiteY65" fmla="*/ 284406 h 474746"/>
                  <a:gd name="connsiteX66" fmla="*/ 161692 w 949492"/>
                  <a:gd name="connsiteY66" fmla="*/ 284406 h 474746"/>
                  <a:gd name="connsiteX67" fmla="*/ 161613 w 949492"/>
                  <a:gd name="connsiteY67" fmla="*/ 284218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141443 w 949492"/>
                  <a:gd name="connsiteY5" fmla="*/ 273193 h 474746"/>
                  <a:gd name="connsiteX6" fmla="*/ 130037 w 949492"/>
                  <a:gd name="connsiteY6" fmla="*/ 300765 h 474746"/>
                  <a:gd name="connsiteX7" fmla="*/ 130037 w 949492"/>
                  <a:gd name="connsiteY7" fmla="*/ 375381 h 474746"/>
                  <a:gd name="connsiteX8" fmla="*/ 99365 w 949492"/>
                  <a:gd name="connsiteY8" fmla="*/ 375381 h 474746"/>
                  <a:gd name="connsiteX9" fmla="*/ 66244 w 949492"/>
                  <a:gd name="connsiteY9" fmla="*/ 342259 h 474746"/>
                  <a:gd name="connsiteX10" fmla="*/ 66244 w 949492"/>
                  <a:gd name="connsiteY10" fmla="*/ 153452 h 474746"/>
                  <a:gd name="connsiteX11" fmla="*/ 110406 w 949492"/>
                  <a:gd name="connsiteY11" fmla="*/ 99365 h 474746"/>
                  <a:gd name="connsiteX12" fmla="*/ 110406 w 949492"/>
                  <a:gd name="connsiteY12" fmla="*/ 55203 h 474746"/>
                  <a:gd name="connsiteX13" fmla="*/ 93845 w 949492"/>
                  <a:gd name="connsiteY13" fmla="*/ 55203 h 474746"/>
                  <a:gd name="connsiteX14" fmla="*/ 93845 w 949492"/>
                  <a:gd name="connsiteY14" fmla="*/ 11041 h 474746"/>
                  <a:gd name="connsiteX15" fmla="*/ 82805 w 949492"/>
                  <a:gd name="connsiteY15" fmla="*/ 0 h 474746"/>
                  <a:gd name="connsiteX16" fmla="*/ 71764 w 949492"/>
                  <a:gd name="connsiteY16" fmla="*/ 11041 h 474746"/>
                  <a:gd name="connsiteX17" fmla="*/ 71764 w 949492"/>
                  <a:gd name="connsiteY17" fmla="*/ 55203 h 474746"/>
                  <a:gd name="connsiteX18" fmla="*/ 38642 w 949492"/>
                  <a:gd name="connsiteY18" fmla="*/ 55203 h 474746"/>
                  <a:gd name="connsiteX19" fmla="*/ 38642 w 949492"/>
                  <a:gd name="connsiteY19" fmla="*/ 11041 h 474746"/>
                  <a:gd name="connsiteX20" fmla="*/ 27602 w 949492"/>
                  <a:gd name="connsiteY20" fmla="*/ 0 h 474746"/>
                  <a:gd name="connsiteX21" fmla="*/ 16561 w 949492"/>
                  <a:gd name="connsiteY21" fmla="*/ 11041 h 474746"/>
                  <a:gd name="connsiteX22" fmla="*/ 16561 w 949492"/>
                  <a:gd name="connsiteY22" fmla="*/ 55203 h 474746"/>
                  <a:gd name="connsiteX23" fmla="*/ 0 w 949492"/>
                  <a:gd name="connsiteY23" fmla="*/ 55203 h 474746"/>
                  <a:gd name="connsiteX24" fmla="*/ 0 w 949492"/>
                  <a:gd name="connsiteY24" fmla="*/ 99365 h 474746"/>
                  <a:gd name="connsiteX25" fmla="*/ 44162 w 949492"/>
                  <a:gd name="connsiteY25" fmla="*/ 153452 h 474746"/>
                  <a:gd name="connsiteX26" fmla="*/ 44162 w 949492"/>
                  <a:gd name="connsiteY26" fmla="*/ 342259 h 474746"/>
                  <a:gd name="connsiteX27" fmla="*/ 99365 w 949492"/>
                  <a:gd name="connsiteY27" fmla="*/ 397462 h 474746"/>
                  <a:gd name="connsiteX28" fmla="*/ 130037 w 949492"/>
                  <a:gd name="connsiteY28" fmla="*/ 397462 h 474746"/>
                  <a:gd name="connsiteX29" fmla="*/ 130037 w 949492"/>
                  <a:gd name="connsiteY29" fmla="*/ 398688 h 474746"/>
                  <a:gd name="connsiteX30" fmla="*/ 206095 w 949492"/>
                  <a:gd name="connsiteY30" fmla="*/ 474746 h 474746"/>
                  <a:gd name="connsiteX31" fmla="*/ 219298 w 949492"/>
                  <a:gd name="connsiteY31" fmla="*/ 474746 h 474746"/>
                  <a:gd name="connsiteX32" fmla="*/ 218445 w 949492"/>
                  <a:gd name="connsiteY32" fmla="*/ 461781 h 474746"/>
                  <a:gd name="connsiteX33" fmla="*/ 218908 w 949492"/>
                  <a:gd name="connsiteY33" fmla="*/ 452665 h 474746"/>
                  <a:gd name="connsiteX34" fmla="*/ 206075 w 949492"/>
                  <a:gd name="connsiteY34" fmla="*/ 452665 h 474746"/>
                  <a:gd name="connsiteX35" fmla="*/ 152117 w 949492"/>
                  <a:gd name="connsiteY35" fmla="*/ 398706 h 474746"/>
                  <a:gd name="connsiteX36" fmla="*/ 152117 w 949492"/>
                  <a:gd name="connsiteY36" fmla="*/ 306487 h 474746"/>
                  <a:gd name="connsiteX37" fmla="*/ 774631 w 949492"/>
                  <a:gd name="connsiteY37" fmla="*/ 306487 h 474746"/>
                  <a:gd name="connsiteX38" fmla="*/ 775551 w 949492"/>
                  <a:gd name="connsiteY38" fmla="*/ 306577 h 474746"/>
                  <a:gd name="connsiteX39" fmla="*/ 854442 w 949492"/>
                  <a:gd name="connsiteY39" fmla="*/ 306577 h 474746"/>
                  <a:gd name="connsiteX40" fmla="*/ 927411 w 949492"/>
                  <a:gd name="connsiteY40" fmla="*/ 379544 h 474746"/>
                  <a:gd name="connsiteX41" fmla="*/ 927411 w 949492"/>
                  <a:gd name="connsiteY41" fmla="*/ 436724 h 474746"/>
                  <a:gd name="connsiteX42" fmla="*/ 911465 w 949492"/>
                  <a:gd name="connsiteY42" fmla="*/ 452665 h 474746"/>
                  <a:gd name="connsiteX43" fmla="*/ 857126 w 949492"/>
                  <a:gd name="connsiteY43" fmla="*/ 452665 h 474746"/>
                  <a:gd name="connsiteX44" fmla="*/ 857588 w 949492"/>
                  <a:gd name="connsiteY44" fmla="*/ 461781 h 474746"/>
                  <a:gd name="connsiteX45" fmla="*/ 856735 w 949492"/>
                  <a:gd name="connsiteY45" fmla="*/ 474746 h 474746"/>
                  <a:gd name="connsiteX46" fmla="*/ 911473 w 949492"/>
                  <a:gd name="connsiteY46" fmla="*/ 474746 h 474746"/>
                  <a:gd name="connsiteX47" fmla="*/ 949492 w 949492"/>
                  <a:gd name="connsiteY47" fmla="*/ 436727 h 474746"/>
                  <a:gd name="connsiteX48" fmla="*/ 949492 w 949492"/>
                  <a:gd name="connsiteY48" fmla="*/ 379674 h 474746"/>
                  <a:gd name="connsiteX49" fmla="*/ 854308 w 949492"/>
                  <a:gd name="connsiteY49" fmla="*/ 284490 h 474746"/>
                  <a:gd name="connsiteX50" fmla="*/ 22081 w 949492"/>
                  <a:gd name="connsiteY50" fmla="*/ 98058 h 474746"/>
                  <a:gd name="connsiteX51" fmla="*/ 22081 w 949492"/>
                  <a:gd name="connsiteY51" fmla="*/ 77284 h 474746"/>
                  <a:gd name="connsiteX52" fmla="*/ 88325 w 949492"/>
                  <a:gd name="connsiteY52" fmla="*/ 77284 h 474746"/>
                  <a:gd name="connsiteX53" fmla="*/ 88325 w 949492"/>
                  <a:gd name="connsiteY53" fmla="*/ 99365 h 474746"/>
                  <a:gd name="connsiteX54" fmla="*/ 55107 w 949492"/>
                  <a:gd name="connsiteY54" fmla="*/ 132497 h 474746"/>
                  <a:gd name="connsiteX55" fmla="*/ 48602 w 949492"/>
                  <a:gd name="connsiteY55" fmla="*/ 131845 h 474746"/>
                  <a:gd name="connsiteX56" fmla="*/ 22081 w 949492"/>
                  <a:gd name="connsiteY56" fmla="*/ 98058 h 474746"/>
                  <a:gd name="connsiteX57" fmla="*/ 613621 w 949492"/>
                  <a:gd name="connsiteY57" fmla="*/ 170025 h 474746"/>
                  <a:gd name="connsiteX58" fmla="*/ 728881 w 949492"/>
                  <a:gd name="connsiteY58" fmla="*/ 284406 h 474746"/>
                  <a:gd name="connsiteX59" fmla="*/ 441624 w 949492"/>
                  <a:gd name="connsiteY59" fmla="*/ 284406 h 474746"/>
                  <a:gd name="connsiteX60" fmla="*/ 441624 w 949492"/>
                  <a:gd name="connsiteY60" fmla="*/ 154568 h 474746"/>
                  <a:gd name="connsiteX61" fmla="*/ 574995 w 949492"/>
                  <a:gd name="connsiteY61" fmla="*/ 154568 h 474746"/>
                  <a:gd name="connsiteX62" fmla="*/ 613621 w 949492"/>
                  <a:gd name="connsiteY62" fmla="*/ 170025 h 474746"/>
                  <a:gd name="connsiteX63" fmla="*/ 161613 w 949492"/>
                  <a:gd name="connsiteY63" fmla="*/ 284218 h 474746"/>
                  <a:gd name="connsiteX64" fmla="*/ 419543 w 949492"/>
                  <a:gd name="connsiteY64" fmla="*/ 284406 h 474746"/>
                  <a:gd name="connsiteX65" fmla="*/ 161692 w 949492"/>
                  <a:gd name="connsiteY65" fmla="*/ 284406 h 474746"/>
                  <a:gd name="connsiteX66" fmla="*/ 161613 w 949492"/>
                  <a:gd name="connsiteY66" fmla="*/ 284218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141443 w 949492"/>
                  <a:gd name="connsiteY5" fmla="*/ 273193 h 474746"/>
                  <a:gd name="connsiteX6" fmla="*/ 130037 w 949492"/>
                  <a:gd name="connsiteY6" fmla="*/ 300765 h 474746"/>
                  <a:gd name="connsiteX7" fmla="*/ 130037 w 949492"/>
                  <a:gd name="connsiteY7" fmla="*/ 375381 h 474746"/>
                  <a:gd name="connsiteX8" fmla="*/ 99365 w 949492"/>
                  <a:gd name="connsiteY8" fmla="*/ 375381 h 474746"/>
                  <a:gd name="connsiteX9" fmla="*/ 66244 w 949492"/>
                  <a:gd name="connsiteY9" fmla="*/ 342259 h 474746"/>
                  <a:gd name="connsiteX10" fmla="*/ 66244 w 949492"/>
                  <a:gd name="connsiteY10" fmla="*/ 153452 h 474746"/>
                  <a:gd name="connsiteX11" fmla="*/ 110406 w 949492"/>
                  <a:gd name="connsiteY11" fmla="*/ 99365 h 474746"/>
                  <a:gd name="connsiteX12" fmla="*/ 110406 w 949492"/>
                  <a:gd name="connsiteY12" fmla="*/ 55203 h 474746"/>
                  <a:gd name="connsiteX13" fmla="*/ 93845 w 949492"/>
                  <a:gd name="connsiteY13" fmla="*/ 55203 h 474746"/>
                  <a:gd name="connsiteX14" fmla="*/ 93845 w 949492"/>
                  <a:gd name="connsiteY14" fmla="*/ 11041 h 474746"/>
                  <a:gd name="connsiteX15" fmla="*/ 82805 w 949492"/>
                  <a:gd name="connsiteY15" fmla="*/ 0 h 474746"/>
                  <a:gd name="connsiteX16" fmla="*/ 71764 w 949492"/>
                  <a:gd name="connsiteY16" fmla="*/ 11041 h 474746"/>
                  <a:gd name="connsiteX17" fmla="*/ 71764 w 949492"/>
                  <a:gd name="connsiteY17" fmla="*/ 55203 h 474746"/>
                  <a:gd name="connsiteX18" fmla="*/ 38642 w 949492"/>
                  <a:gd name="connsiteY18" fmla="*/ 55203 h 474746"/>
                  <a:gd name="connsiteX19" fmla="*/ 38642 w 949492"/>
                  <a:gd name="connsiteY19" fmla="*/ 11041 h 474746"/>
                  <a:gd name="connsiteX20" fmla="*/ 27602 w 949492"/>
                  <a:gd name="connsiteY20" fmla="*/ 0 h 474746"/>
                  <a:gd name="connsiteX21" fmla="*/ 16561 w 949492"/>
                  <a:gd name="connsiteY21" fmla="*/ 11041 h 474746"/>
                  <a:gd name="connsiteX22" fmla="*/ 16561 w 949492"/>
                  <a:gd name="connsiteY22" fmla="*/ 55203 h 474746"/>
                  <a:gd name="connsiteX23" fmla="*/ 0 w 949492"/>
                  <a:gd name="connsiteY23" fmla="*/ 55203 h 474746"/>
                  <a:gd name="connsiteX24" fmla="*/ 0 w 949492"/>
                  <a:gd name="connsiteY24" fmla="*/ 99365 h 474746"/>
                  <a:gd name="connsiteX25" fmla="*/ 44162 w 949492"/>
                  <a:gd name="connsiteY25" fmla="*/ 153452 h 474746"/>
                  <a:gd name="connsiteX26" fmla="*/ 44162 w 949492"/>
                  <a:gd name="connsiteY26" fmla="*/ 342259 h 474746"/>
                  <a:gd name="connsiteX27" fmla="*/ 99365 w 949492"/>
                  <a:gd name="connsiteY27" fmla="*/ 397462 h 474746"/>
                  <a:gd name="connsiteX28" fmla="*/ 130037 w 949492"/>
                  <a:gd name="connsiteY28" fmla="*/ 397462 h 474746"/>
                  <a:gd name="connsiteX29" fmla="*/ 130037 w 949492"/>
                  <a:gd name="connsiteY29" fmla="*/ 398688 h 474746"/>
                  <a:gd name="connsiteX30" fmla="*/ 206095 w 949492"/>
                  <a:gd name="connsiteY30" fmla="*/ 474746 h 474746"/>
                  <a:gd name="connsiteX31" fmla="*/ 219298 w 949492"/>
                  <a:gd name="connsiteY31" fmla="*/ 474746 h 474746"/>
                  <a:gd name="connsiteX32" fmla="*/ 218445 w 949492"/>
                  <a:gd name="connsiteY32" fmla="*/ 461781 h 474746"/>
                  <a:gd name="connsiteX33" fmla="*/ 218908 w 949492"/>
                  <a:gd name="connsiteY33" fmla="*/ 452665 h 474746"/>
                  <a:gd name="connsiteX34" fmla="*/ 206075 w 949492"/>
                  <a:gd name="connsiteY34" fmla="*/ 452665 h 474746"/>
                  <a:gd name="connsiteX35" fmla="*/ 152117 w 949492"/>
                  <a:gd name="connsiteY35" fmla="*/ 398706 h 474746"/>
                  <a:gd name="connsiteX36" fmla="*/ 152117 w 949492"/>
                  <a:gd name="connsiteY36" fmla="*/ 306487 h 474746"/>
                  <a:gd name="connsiteX37" fmla="*/ 774631 w 949492"/>
                  <a:gd name="connsiteY37" fmla="*/ 306487 h 474746"/>
                  <a:gd name="connsiteX38" fmla="*/ 775551 w 949492"/>
                  <a:gd name="connsiteY38" fmla="*/ 306577 h 474746"/>
                  <a:gd name="connsiteX39" fmla="*/ 854442 w 949492"/>
                  <a:gd name="connsiteY39" fmla="*/ 306577 h 474746"/>
                  <a:gd name="connsiteX40" fmla="*/ 927411 w 949492"/>
                  <a:gd name="connsiteY40" fmla="*/ 379544 h 474746"/>
                  <a:gd name="connsiteX41" fmla="*/ 927411 w 949492"/>
                  <a:gd name="connsiteY41" fmla="*/ 436724 h 474746"/>
                  <a:gd name="connsiteX42" fmla="*/ 911465 w 949492"/>
                  <a:gd name="connsiteY42" fmla="*/ 452665 h 474746"/>
                  <a:gd name="connsiteX43" fmla="*/ 857126 w 949492"/>
                  <a:gd name="connsiteY43" fmla="*/ 452665 h 474746"/>
                  <a:gd name="connsiteX44" fmla="*/ 857588 w 949492"/>
                  <a:gd name="connsiteY44" fmla="*/ 461781 h 474746"/>
                  <a:gd name="connsiteX45" fmla="*/ 856735 w 949492"/>
                  <a:gd name="connsiteY45" fmla="*/ 474746 h 474746"/>
                  <a:gd name="connsiteX46" fmla="*/ 911473 w 949492"/>
                  <a:gd name="connsiteY46" fmla="*/ 474746 h 474746"/>
                  <a:gd name="connsiteX47" fmla="*/ 949492 w 949492"/>
                  <a:gd name="connsiteY47" fmla="*/ 436727 h 474746"/>
                  <a:gd name="connsiteX48" fmla="*/ 949492 w 949492"/>
                  <a:gd name="connsiteY48" fmla="*/ 379674 h 474746"/>
                  <a:gd name="connsiteX49" fmla="*/ 854308 w 949492"/>
                  <a:gd name="connsiteY49" fmla="*/ 284490 h 474746"/>
                  <a:gd name="connsiteX50" fmla="*/ 22081 w 949492"/>
                  <a:gd name="connsiteY50" fmla="*/ 98058 h 474746"/>
                  <a:gd name="connsiteX51" fmla="*/ 22081 w 949492"/>
                  <a:gd name="connsiteY51" fmla="*/ 77284 h 474746"/>
                  <a:gd name="connsiteX52" fmla="*/ 88325 w 949492"/>
                  <a:gd name="connsiteY52" fmla="*/ 77284 h 474746"/>
                  <a:gd name="connsiteX53" fmla="*/ 88325 w 949492"/>
                  <a:gd name="connsiteY53" fmla="*/ 99365 h 474746"/>
                  <a:gd name="connsiteX54" fmla="*/ 55107 w 949492"/>
                  <a:gd name="connsiteY54" fmla="*/ 132497 h 474746"/>
                  <a:gd name="connsiteX55" fmla="*/ 48602 w 949492"/>
                  <a:gd name="connsiteY55" fmla="*/ 131845 h 474746"/>
                  <a:gd name="connsiteX56" fmla="*/ 22081 w 949492"/>
                  <a:gd name="connsiteY56" fmla="*/ 98058 h 474746"/>
                  <a:gd name="connsiteX57" fmla="*/ 613621 w 949492"/>
                  <a:gd name="connsiteY57" fmla="*/ 170025 h 474746"/>
                  <a:gd name="connsiteX58" fmla="*/ 728881 w 949492"/>
                  <a:gd name="connsiteY58" fmla="*/ 284406 h 474746"/>
                  <a:gd name="connsiteX59" fmla="*/ 441624 w 949492"/>
                  <a:gd name="connsiteY59" fmla="*/ 284406 h 474746"/>
                  <a:gd name="connsiteX60" fmla="*/ 441624 w 949492"/>
                  <a:gd name="connsiteY60" fmla="*/ 154568 h 474746"/>
                  <a:gd name="connsiteX61" fmla="*/ 574995 w 949492"/>
                  <a:gd name="connsiteY61" fmla="*/ 154568 h 474746"/>
                  <a:gd name="connsiteX62" fmla="*/ 613621 w 949492"/>
                  <a:gd name="connsiteY62" fmla="*/ 170025 h 474746"/>
                  <a:gd name="connsiteX63" fmla="*/ 161613 w 949492"/>
                  <a:gd name="connsiteY63" fmla="*/ 284218 h 474746"/>
                  <a:gd name="connsiteX64" fmla="*/ 161692 w 949492"/>
                  <a:gd name="connsiteY64" fmla="*/ 284406 h 474746"/>
                  <a:gd name="connsiteX65" fmla="*/ 161613 w 949492"/>
                  <a:gd name="connsiteY65" fmla="*/ 284218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141443 w 949492"/>
                  <a:gd name="connsiteY5" fmla="*/ 273193 h 474746"/>
                  <a:gd name="connsiteX6" fmla="*/ 130037 w 949492"/>
                  <a:gd name="connsiteY6" fmla="*/ 300765 h 474746"/>
                  <a:gd name="connsiteX7" fmla="*/ 130037 w 949492"/>
                  <a:gd name="connsiteY7" fmla="*/ 375381 h 474746"/>
                  <a:gd name="connsiteX8" fmla="*/ 99365 w 949492"/>
                  <a:gd name="connsiteY8" fmla="*/ 375381 h 474746"/>
                  <a:gd name="connsiteX9" fmla="*/ 66244 w 949492"/>
                  <a:gd name="connsiteY9" fmla="*/ 342259 h 474746"/>
                  <a:gd name="connsiteX10" fmla="*/ 66244 w 949492"/>
                  <a:gd name="connsiteY10" fmla="*/ 153452 h 474746"/>
                  <a:gd name="connsiteX11" fmla="*/ 110406 w 949492"/>
                  <a:gd name="connsiteY11" fmla="*/ 99365 h 474746"/>
                  <a:gd name="connsiteX12" fmla="*/ 110406 w 949492"/>
                  <a:gd name="connsiteY12" fmla="*/ 55203 h 474746"/>
                  <a:gd name="connsiteX13" fmla="*/ 93845 w 949492"/>
                  <a:gd name="connsiteY13" fmla="*/ 55203 h 474746"/>
                  <a:gd name="connsiteX14" fmla="*/ 93845 w 949492"/>
                  <a:gd name="connsiteY14" fmla="*/ 11041 h 474746"/>
                  <a:gd name="connsiteX15" fmla="*/ 82805 w 949492"/>
                  <a:gd name="connsiteY15" fmla="*/ 0 h 474746"/>
                  <a:gd name="connsiteX16" fmla="*/ 71764 w 949492"/>
                  <a:gd name="connsiteY16" fmla="*/ 11041 h 474746"/>
                  <a:gd name="connsiteX17" fmla="*/ 71764 w 949492"/>
                  <a:gd name="connsiteY17" fmla="*/ 55203 h 474746"/>
                  <a:gd name="connsiteX18" fmla="*/ 38642 w 949492"/>
                  <a:gd name="connsiteY18" fmla="*/ 55203 h 474746"/>
                  <a:gd name="connsiteX19" fmla="*/ 38642 w 949492"/>
                  <a:gd name="connsiteY19" fmla="*/ 11041 h 474746"/>
                  <a:gd name="connsiteX20" fmla="*/ 27602 w 949492"/>
                  <a:gd name="connsiteY20" fmla="*/ 0 h 474746"/>
                  <a:gd name="connsiteX21" fmla="*/ 16561 w 949492"/>
                  <a:gd name="connsiteY21" fmla="*/ 11041 h 474746"/>
                  <a:gd name="connsiteX22" fmla="*/ 16561 w 949492"/>
                  <a:gd name="connsiteY22" fmla="*/ 55203 h 474746"/>
                  <a:gd name="connsiteX23" fmla="*/ 0 w 949492"/>
                  <a:gd name="connsiteY23" fmla="*/ 55203 h 474746"/>
                  <a:gd name="connsiteX24" fmla="*/ 0 w 949492"/>
                  <a:gd name="connsiteY24" fmla="*/ 99365 h 474746"/>
                  <a:gd name="connsiteX25" fmla="*/ 44162 w 949492"/>
                  <a:gd name="connsiteY25" fmla="*/ 153452 h 474746"/>
                  <a:gd name="connsiteX26" fmla="*/ 44162 w 949492"/>
                  <a:gd name="connsiteY26" fmla="*/ 342259 h 474746"/>
                  <a:gd name="connsiteX27" fmla="*/ 99365 w 949492"/>
                  <a:gd name="connsiteY27" fmla="*/ 397462 h 474746"/>
                  <a:gd name="connsiteX28" fmla="*/ 130037 w 949492"/>
                  <a:gd name="connsiteY28" fmla="*/ 397462 h 474746"/>
                  <a:gd name="connsiteX29" fmla="*/ 130037 w 949492"/>
                  <a:gd name="connsiteY29" fmla="*/ 398688 h 474746"/>
                  <a:gd name="connsiteX30" fmla="*/ 206095 w 949492"/>
                  <a:gd name="connsiteY30" fmla="*/ 474746 h 474746"/>
                  <a:gd name="connsiteX31" fmla="*/ 219298 w 949492"/>
                  <a:gd name="connsiteY31" fmla="*/ 474746 h 474746"/>
                  <a:gd name="connsiteX32" fmla="*/ 218445 w 949492"/>
                  <a:gd name="connsiteY32" fmla="*/ 461781 h 474746"/>
                  <a:gd name="connsiteX33" fmla="*/ 218908 w 949492"/>
                  <a:gd name="connsiteY33" fmla="*/ 452665 h 474746"/>
                  <a:gd name="connsiteX34" fmla="*/ 206075 w 949492"/>
                  <a:gd name="connsiteY34" fmla="*/ 452665 h 474746"/>
                  <a:gd name="connsiteX35" fmla="*/ 152117 w 949492"/>
                  <a:gd name="connsiteY35" fmla="*/ 398706 h 474746"/>
                  <a:gd name="connsiteX36" fmla="*/ 152117 w 949492"/>
                  <a:gd name="connsiteY36" fmla="*/ 306487 h 474746"/>
                  <a:gd name="connsiteX37" fmla="*/ 774631 w 949492"/>
                  <a:gd name="connsiteY37" fmla="*/ 306487 h 474746"/>
                  <a:gd name="connsiteX38" fmla="*/ 775551 w 949492"/>
                  <a:gd name="connsiteY38" fmla="*/ 306577 h 474746"/>
                  <a:gd name="connsiteX39" fmla="*/ 854442 w 949492"/>
                  <a:gd name="connsiteY39" fmla="*/ 306577 h 474746"/>
                  <a:gd name="connsiteX40" fmla="*/ 927411 w 949492"/>
                  <a:gd name="connsiteY40" fmla="*/ 379544 h 474746"/>
                  <a:gd name="connsiteX41" fmla="*/ 927411 w 949492"/>
                  <a:gd name="connsiteY41" fmla="*/ 436724 h 474746"/>
                  <a:gd name="connsiteX42" fmla="*/ 911465 w 949492"/>
                  <a:gd name="connsiteY42" fmla="*/ 452665 h 474746"/>
                  <a:gd name="connsiteX43" fmla="*/ 857126 w 949492"/>
                  <a:gd name="connsiteY43" fmla="*/ 452665 h 474746"/>
                  <a:gd name="connsiteX44" fmla="*/ 857588 w 949492"/>
                  <a:gd name="connsiteY44" fmla="*/ 461781 h 474746"/>
                  <a:gd name="connsiteX45" fmla="*/ 856735 w 949492"/>
                  <a:gd name="connsiteY45" fmla="*/ 474746 h 474746"/>
                  <a:gd name="connsiteX46" fmla="*/ 911473 w 949492"/>
                  <a:gd name="connsiteY46" fmla="*/ 474746 h 474746"/>
                  <a:gd name="connsiteX47" fmla="*/ 949492 w 949492"/>
                  <a:gd name="connsiteY47" fmla="*/ 436727 h 474746"/>
                  <a:gd name="connsiteX48" fmla="*/ 949492 w 949492"/>
                  <a:gd name="connsiteY48" fmla="*/ 379674 h 474746"/>
                  <a:gd name="connsiteX49" fmla="*/ 854308 w 949492"/>
                  <a:gd name="connsiteY49" fmla="*/ 284490 h 474746"/>
                  <a:gd name="connsiteX50" fmla="*/ 22081 w 949492"/>
                  <a:gd name="connsiteY50" fmla="*/ 98058 h 474746"/>
                  <a:gd name="connsiteX51" fmla="*/ 22081 w 949492"/>
                  <a:gd name="connsiteY51" fmla="*/ 77284 h 474746"/>
                  <a:gd name="connsiteX52" fmla="*/ 88325 w 949492"/>
                  <a:gd name="connsiteY52" fmla="*/ 77284 h 474746"/>
                  <a:gd name="connsiteX53" fmla="*/ 88325 w 949492"/>
                  <a:gd name="connsiteY53" fmla="*/ 99365 h 474746"/>
                  <a:gd name="connsiteX54" fmla="*/ 55107 w 949492"/>
                  <a:gd name="connsiteY54" fmla="*/ 132497 h 474746"/>
                  <a:gd name="connsiteX55" fmla="*/ 48602 w 949492"/>
                  <a:gd name="connsiteY55" fmla="*/ 131845 h 474746"/>
                  <a:gd name="connsiteX56" fmla="*/ 22081 w 949492"/>
                  <a:gd name="connsiteY56" fmla="*/ 98058 h 474746"/>
                  <a:gd name="connsiteX57" fmla="*/ 613621 w 949492"/>
                  <a:gd name="connsiteY57" fmla="*/ 170025 h 474746"/>
                  <a:gd name="connsiteX58" fmla="*/ 728881 w 949492"/>
                  <a:gd name="connsiteY58" fmla="*/ 284406 h 474746"/>
                  <a:gd name="connsiteX59" fmla="*/ 491630 w 949492"/>
                  <a:gd name="connsiteY59" fmla="*/ 239162 h 474746"/>
                  <a:gd name="connsiteX60" fmla="*/ 441624 w 949492"/>
                  <a:gd name="connsiteY60" fmla="*/ 154568 h 474746"/>
                  <a:gd name="connsiteX61" fmla="*/ 574995 w 949492"/>
                  <a:gd name="connsiteY61" fmla="*/ 154568 h 474746"/>
                  <a:gd name="connsiteX62" fmla="*/ 613621 w 949492"/>
                  <a:gd name="connsiteY62" fmla="*/ 170025 h 474746"/>
                  <a:gd name="connsiteX63" fmla="*/ 161613 w 949492"/>
                  <a:gd name="connsiteY63" fmla="*/ 284218 h 474746"/>
                  <a:gd name="connsiteX64" fmla="*/ 161692 w 949492"/>
                  <a:gd name="connsiteY64" fmla="*/ 284406 h 474746"/>
                  <a:gd name="connsiteX65" fmla="*/ 161613 w 949492"/>
                  <a:gd name="connsiteY65" fmla="*/ 284218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141443 w 949492"/>
                  <a:gd name="connsiteY5" fmla="*/ 273193 h 474746"/>
                  <a:gd name="connsiteX6" fmla="*/ 130037 w 949492"/>
                  <a:gd name="connsiteY6" fmla="*/ 300765 h 474746"/>
                  <a:gd name="connsiteX7" fmla="*/ 130037 w 949492"/>
                  <a:gd name="connsiteY7" fmla="*/ 375381 h 474746"/>
                  <a:gd name="connsiteX8" fmla="*/ 99365 w 949492"/>
                  <a:gd name="connsiteY8" fmla="*/ 375381 h 474746"/>
                  <a:gd name="connsiteX9" fmla="*/ 66244 w 949492"/>
                  <a:gd name="connsiteY9" fmla="*/ 342259 h 474746"/>
                  <a:gd name="connsiteX10" fmla="*/ 66244 w 949492"/>
                  <a:gd name="connsiteY10" fmla="*/ 153452 h 474746"/>
                  <a:gd name="connsiteX11" fmla="*/ 110406 w 949492"/>
                  <a:gd name="connsiteY11" fmla="*/ 99365 h 474746"/>
                  <a:gd name="connsiteX12" fmla="*/ 110406 w 949492"/>
                  <a:gd name="connsiteY12" fmla="*/ 55203 h 474746"/>
                  <a:gd name="connsiteX13" fmla="*/ 93845 w 949492"/>
                  <a:gd name="connsiteY13" fmla="*/ 55203 h 474746"/>
                  <a:gd name="connsiteX14" fmla="*/ 93845 w 949492"/>
                  <a:gd name="connsiteY14" fmla="*/ 11041 h 474746"/>
                  <a:gd name="connsiteX15" fmla="*/ 82805 w 949492"/>
                  <a:gd name="connsiteY15" fmla="*/ 0 h 474746"/>
                  <a:gd name="connsiteX16" fmla="*/ 71764 w 949492"/>
                  <a:gd name="connsiteY16" fmla="*/ 11041 h 474746"/>
                  <a:gd name="connsiteX17" fmla="*/ 71764 w 949492"/>
                  <a:gd name="connsiteY17" fmla="*/ 55203 h 474746"/>
                  <a:gd name="connsiteX18" fmla="*/ 38642 w 949492"/>
                  <a:gd name="connsiteY18" fmla="*/ 55203 h 474746"/>
                  <a:gd name="connsiteX19" fmla="*/ 38642 w 949492"/>
                  <a:gd name="connsiteY19" fmla="*/ 11041 h 474746"/>
                  <a:gd name="connsiteX20" fmla="*/ 27602 w 949492"/>
                  <a:gd name="connsiteY20" fmla="*/ 0 h 474746"/>
                  <a:gd name="connsiteX21" fmla="*/ 16561 w 949492"/>
                  <a:gd name="connsiteY21" fmla="*/ 11041 h 474746"/>
                  <a:gd name="connsiteX22" fmla="*/ 16561 w 949492"/>
                  <a:gd name="connsiteY22" fmla="*/ 55203 h 474746"/>
                  <a:gd name="connsiteX23" fmla="*/ 0 w 949492"/>
                  <a:gd name="connsiteY23" fmla="*/ 55203 h 474746"/>
                  <a:gd name="connsiteX24" fmla="*/ 0 w 949492"/>
                  <a:gd name="connsiteY24" fmla="*/ 99365 h 474746"/>
                  <a:gd name="connsiteX25" fmla="*/ 44162 w 949492"/>
                  <a:gd name="connsiteY25" fmla="*/ 153452 h 474746"/>
                  <a:gd name="connsiteX26" fmla="*/ 44162 w 949492"/>
                  <a:gd name="connsiteY26" fmla="*/ 342259 h 474746"/>
                  <a:gd name="connsiteX27" fmla="*/ 99365 w 949492"/>
                  <a:gd name="connsiteY27" fmla="*/ 397462 h 474746"/>
                  <a:gd name="connsiteX28" fmla="*/ 130037 w 949492"/>
                  <a:gd name="connsiteY28" fmla="*/ 397462 h 474746"/>
                  <a:gd name="connsiteX29" fmla="*/ 130037 w 949492"/>
                  <a:gd name="connsiteY29" fmla="*/ 398688 h 474746"/>
                  <a:gd name="connsiteX30" fmla="*/ 206095 w 949492"/>
                  <a:gd name="connsiteY30" fmla="*/ 474746 h 474746"/>
                  <a:gd name="connsiteX31" fmla="*/ 219298 w 949492"/>
                  <a:gd name="connsiteY31" fmla="*/ 474746 h 474746"/>
                  <a:gd name="connsiteX32" fmla="*/ 218445 w 949492"/>
                  <a:gd name="connsiteY32" fmla="*/ 461781 h 474746"/>
                  <a:gd name="connsiteX33" fmla="*/ 218908 w 949492"/>
                  <a:gd name="connsiteY33" fmla="*/ 452665 h 474746"/>
                  <a:gd name="connsiteX34" fmla="*/ 206075 w 949492"/>
                  <a:gd name="connsiteY34" fmla="*/ 452665 h 474746"/>
                  <a:gd name="connsiteX35" fmla="*/ 152117 w 949492"/>
                  <a:gd name="connsiteY35" fmla="*/ 398706 h 474746"/>
                  <a:gd name="connsiteX36" fmla="*/ 152117 w 949492"/>
                  <a:gd name="connsiteY36" fmla="*/ 306487 h 474746"/>
                  <a:gd name="connsiteX37" fmla="*/ 774631 w 949492"/>
                  <a:gd name="connsiteY37" fmla="*/ 306487 h 474746"/>
                  <a:gd name="connsiteX38" fmla="*/ 775551 w 949492"/>
                  <a:gd name="connsiteY38" fmla="*/ 306577 h 474746"/>
                  <a:gd name="connsiteX39" fmla="*/ 854442 w 949492"/>
                  <a:gd name="connsiteY39" fmla="*/ 306577 h 474746"/>
                  <a:gd name="connsiteX40" fmla="*/ 927411 w 949492"/>
                  <a:gd name="connsiteY40" fmla="*/ 379544 h 474746"/>
                  <a:gd name="connsiteX41" fmla="*/ 927411 w 949492"/>
                  <a:gd name="connsiteY41" fmla="*/ 436724 h 474746"/>
                  <a:gd name="connsiteX42" fmla="*/ 911465 w 949492"/>
                  <a:gd name="connsiteY42" fmla="*/ 452665 h 474746"/>
                  <a:gd name="connsiteX43" fmla="*/ 857126 w 949492"/>
                  <a:gd name="connsiteY43" fmla="*/ 452665 h 474746"/>
                  <a:gd name="connsiteX44" fmla="*/ 857588 w 949492"/>
                  <a:gd name="connsiteY44" fmla="*/ 461781 h 474746"/>
                  <a:gd name="connsiteX45" fmla="*/ 856735 w 949492"/>
                  <a:gd name="connsiteY45" fmla="*/ 474746 h 474746"/>
                  <a:gd name="connsiteX46" fmla="*/ 911473 w 949492"/>
                  <a:gd name="connsiteY46" fmla="*/ 474746 h 474746"/>
                  <a:gd name="connsiteX47" fmla="*/ 949492 w 949492"/>
                  <a:gd name="connsiteY47" fmla="*/ 436727 h 474746"/>
                  <a:gd name="connsiteX48" fmla="*/ 949492 w 949492"/>
                  <a:gd name="connsiteY48" fmla="*/ 379674 h 474746"/>
                  <a:gd name="connsiteX49" fmla="*/ 854308 w 949492"/>
                  <a:gd name="connsiteY49" fmla="*/ 284490 h 474746"/>
                  <a:gd name="connsiteX50" fmla="*/ 22081 w 949492"/>
                  <a:gd name="connsiteY50" fmla="*/ 98058 h 474746"/>
                  <a:gd name="connsiteX51" fmla="*/ 22081 w 949492"/>
                  <a:gd name="connsiteY51" fmla="*/ 77284 h 474746"/>
                  <a:gd name="connsiteX52" fmla="*/ 88325 w 949492"/>
                  <a:gd name="connsiteY52" fmla="*/ 77284 h 474746"/>
                  <a:gd name="connsiteX53" fmla="*/ 88325 w 949492"/>
                  <a:gd name="connsiteY53" fmla="*/ 99365 h 474746"/>
                  <a:gd name="connsiteX54" fmla="*/ 55107 w 949492"/>
                  <a:gd name="connsiteY54" fmla="*/ 132497 h 474746"/>
                  <a:gd name="connsiteX55" fmla="*/ 48602 w 949492"/>
                  <a:gd name="connsiteY55" fmla="*/ 131845 h 474746"/>
                  <a:gd name="connsiteX56" fmla="*/ 22081 w 949492"/>
                  <a:gd name="connsiteY56" fmla="*/ 98058 h 474746"/>
                  <a:gd name="connsiteX57" fmla="*/ 613621 w 949492"/>
                  <a:gd name="connsiteY57" fmla="*/ 170025 h 474746"/>
                  <a:gd name="connsiteX58" fmla="*/ 728881 w 949492"/>
                  <a:gd name="connsiteY58" fmla="*/ 284406 h 474746"/>
                  <a:gd name="connsiteX59" fmla="*/ 524968 w 949492"/>
                  <a:gd name="connsiteY59" fmla="*/ 241543 h 474746"/>
                  <a:gd name="connsiteX60" fmla="*/ 441624 w 949492"/>
                  <a:gd name="connsiteY60" fmla="*/ 154568 h 474746"/>
                  <a:gd name="connsiteX61" fmla="*/ 574995 w 949492"/>
                  <a:gd name="connsiteY61" fmla="*/ 154568 h 474746"/>
                  <a:gd name="connsiteX62" fmla="*/ 613621 w 949492"/>
                  <a:gd name="connsiteY62" fmla="*/ 170025 h 474746"/>
                  <a:gd name="connsiteX63" fmla="*/ 161613 w 949492"/>
                  <a:gd name="connsiteY63" fmla="*/ 284218 h 474746"/>
                  <a:gd name="connsiteX64" fmla="*/ 161692 w 949492"/>
                  <a:gd name="connsiteY64" fmla="*/ 284406 h 474746"/>
                  <a:gd name="connsiteX65" fmla="*/ 161613 w 949492"/>
                  <a:gd name="connsiteY65" fmla="*/ 284218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141443 w 949492"/>
                  <a:gd name="connsiteY5" fmla="*/ 273193 h 474746"/>
                  <a:gd name="connsiteX6" fmla="*/ 130037 w 949492"/>
                  <a:gd name="connsiteY6" fmla="*/ 300765 h 474746"/>
                  <a:gd name="connsiteX7" fmla="*/ 130037 w 949492"/>
                  <a:gd name="connsiteY7" fmla="*/ 375381 h 474746"/>
                  <a:gd name="connsiteX8" fmla="*/ 99365 w 949492"/>
                  <a:gd name="connsiteY8" fmla="*/ 375381 h 474746"/>
                  <a:gd name="connsiteX9" fmla="*/ 66244 w 949492"/>
                  <a:gd name="connsiteY9" fmla="*/ 342259 h 474746"/>
                  <a:gd name="connsiteX10" fmla="*/ 66244 w 949492"/>
                  <a:gd name="connsiteY10" fmla="*/ 153452 h 474746"/>
                  <a:gd name="connsiteX11" fmla="*/ 110406 w 949492"/>
                  <a:gd name="connsiteY11" fmla="*/ 99365 h 474746"/>
                  <a:gd name="connsiteX12" fmla="*/ 110406 w 949492"/>
                  <a:gd name="connsiteY12" fmla="*/ 55203 h 474746"/>
                  <a:gd name="connsiteX13" fmla="*/ 93845 w 949492"/>
                  <a:gd name="connsiteY13" fmla="*/ 55203 h 474746"/>
                  <a:gd name="connsiteX14" fmla="*/ 93845 w 949492"/>
                  <a:gd name="connsiteY14" fmla="*/ 11041 h 474746"/>
                  <a:gd name="connsiteX15" fmla="*/ 82805 w 949492"/>
                  <a:gd name="connsiteY15" fmla="*/ 0 h 474746"/>
                  <a:gd name="connsiteX16" fmla="*/ 71764 w 949492"/>
                  <a:gd name="connsiteY16" fmla="*/ 11041 h 474746"/>
                  <a:gd name="connsiteX17" fmla="*/ 71764 w 949492"/>
                  <a:gd name="connsiteY17" fmla="*/ 55203 h 474746"/>
                  <a:gd name="connsiteX18" fmla="*/ 38642 w 949492"/>
                  <a:gd name="connsiteY18" fmla="*/ 55203 h 474746"/>
                  <a:gd name="connsiteX19" fmla="*/ 38642 w 949492"/>
                  <a:gd name="connsiteY19" fmla="*/ 11041 h 474746"/>
                  <a:gd name="connsiteX20" fmla="*/ 27602 w 949492"/>
                  <a:gd name="connsiteY20" fmla="*/ 0 h 474746"/>
                  <a:gd name="connsiteX21" fmla="*/ 16561 w 949492"/>
                  <a:gd name="connsiteY21" fmla="*/ 11041 h 474746"/>
                  <a:gd name="connsiteX22" fmla="*/ 16561 w 949492"/>
                  <a:gd name="connsiteY22" fmla="*/ 55203 h 474746"/>
                  <a:gd name="connsiteX23" fmla="*/ 0 w 949492"/>
                  <a:gd name="connsiteY23" fmla="*/ 55203 h 474746"/>
                  <a:gd name="connsiteX24" fmla="*/ 0 w 949492"/>
                  <a:gd name="connsiteY24" fmla="*/ 99365 h 474746"/>
                  <a:gd name="connsiteX25" fmla="*/ 44162 w 949492"/>
                  <a:gd name="connsiteY25" fmla="*/ 153452 h 474746"/>
                  <a:gd name="connsiteX26" fmla="*/ 44162 w 949492"/>
                  <a:gd name="connsiteY26" fmla="*/ 342259 h 474746"/>
                  <a:gd name="connsiteX27" fmla="*/ 99365 w 949492"/>
                  <a:gd name="connsiteY27" fmla="*/ 397462 h 474746"/>
                  <a:gd name="connsiteX28" fmla="*/ 130037 w 949492"/>
                  <a:gd name="connsiteY28" fmla="*/ 397462 h 474746"/>
                  <a:gd name="connsiteX29" fmla="*/ 130037 w 949492"/>
                  <a:gd name="connsiteY29" fmla="*/ 398688 h 474746"/>
                  <a:gd name="connsiteX30" fmla="*/ 206095 w 949492"/>
                  <a:gd name="connsiteY30" fmla="*/ 474746 h 474746"/>
                  <a:gd name="connsiteX31" fmla="*/ 219298 w 949492"/>
                  <a:gd name="connsiteY31" fmla="*/ 474746 h 474746"/>
                  <a:gd name="connsiteX32" fmla="*/ 218445 w 949492"/>
                  <a:gd name="connsiteY32" fmla="*/ 461781 h 474746"/>
                  <a:gd name="connsiteX33" fmla="*/ 218908 w 949492"/>
                  <a:gd name="connsiteY33" fmla="*/ 452665 h 474746"/>
                  <a:gd name="connsiteX34" fmla="*/ 206075 w 949492"/>
                  <a:gd name="connsiteY34" fmla="*/ 452665 h 474746"/>
                  <a:gd name="connsiteX35" fmla="*/ 152117 w 949492"/>
                  <a:gd name="connsiteY35" fmla="*/ 398706 h 474746"/>
                  <a:gd name="connsiteX36" fmla="*/ 152117 w 949492"/>
                  <a:gd name="connsiteY36" fmla="*/ 306487 h 474746"/>
                  <a:gd name="connsiteX37" fmla="*/ 774631 w 949492"/>
                  <a:gd name="connsiteY37" fmla="*/ 306487 h 474746"/>
                  <a:gd name="connsiteX38" fmla="*/ 775551 w 949492"/>
                  <a:gd name="connsiteY38" fmla="*/ 306577 h 474746"/>
                  <a:gd name="connsiteX39" fmla="*/ 854442 w 949492"/>
                  <a:gd name="connsiteY39" fmla="*/ 306577 h 474746"/>
                  <a:gd name="connsiteX40" fmla="*/ 927411 w 949492"/>
                  <a:gd name="connsiteY40" fmla="*/ 379544 h 474746"/>
                  <a:gd name="connsiteX41" fmla="*/ 927411 w 949492"/>
                  <a:gd name="connsiteY41" fmla="*/ 436724 h 474746"/>
                  <a:gd name="connsiteX42" fmla="*/ 911465 w 949492"/>
                  <a:gd name="connsiteY42" fmla="*/ 452665 h 474746"/>
                  <a:gd name="connsiteX43" fmla="*/ 857126 w 949492"/>
                  <a:gd name="connsiteY43" fmla="*/ 452665 h 474746"/>
                  <a:gd name="connsiteX44" fmla="*/ 857588 w 949492"/>
                  <a:gd name="connsiteY44" fmla="*/ 461781 h 474746"/>
                  <a:gd name="connsiteX45" fmla="*/ 856735 w 949492"/>
                  <a:gd name="connsiteY45" fmla="*/ 474746 h 474746"/>
                  <a:gd name="connsiteX46" fmla="*/ 911473 w 949492"/>
                  <a:gd name="connsiteY46" fmla="*/ 474746 h 474746"/>
                  <a:gd name="connsiteX47" fmla="*/ 949492 w 949492"/>
                  <a:gd name="connsiteY47" fmla="*/ 436727 h 474746"/>
                  <a:gd name="connsiteX48" fmla="*/ 949492 w 949492"/>
                  <a:gd name="connsiteY48" fmla="*/ 379674 h 474746"/>
                  <a:gd name="connsiteX49" fmla="*/ 854308 w 949492"/>
                  <a:gd name="connsiteY49" fmla="*/ 284490 h 474746"/>
                  <a:gd name="connsiteX50" fmla="*/ 22081 w 949492"/>
                  <a:gd name="connsiteY50" fmla="*/ 98058 h 474746"/>
                  <a:gd name="connsiteX51" fmla="*/ 22081 w 949492"/>
                  <a:gd name="connsiteY51" fmla="*/ 77284 h 474746"/>
                  <a:gd name="connsiteX52" fmla="*/ 88325 w 949492"/>
                  <a:gd name="connsiteY52" fmla="*/ 77284 h 474746"/>
                  <a:gd name="connsiteX53" fmla="*/ 88325 w 949492"/>
                  <a:gd name="connsiteY53" fmla="*/ 99365 h 474746"/>
                  <a:gd name="connsiteX54" fmla="*/ 55107 w 949492"/>
                  <a:gd name="connsiteY54" fmla="*/ 132497 h 474746"/>
                  <a:gd name="connsiteX55" fmla="*/ 48602 w 949492"/>
                  <a:gd name="connsiteY55" fmla="*/ 131845 h 474746"/>
                  <a:gd name="connsiteX56" fmla="*/ 22081 w 949492"/>
                  <a:gd name="connsiteY56" fmla="*/ 98058 h 474746"/>
                  <a:gd name="connsiteX57" fmla="*/ 613621 w 949492"/>
                  <a:gd name="connsiteY57" fmla="*/ 170025 h 474746"/>
                  <a:gd name="connsiteX58" fmla="*/ 728881 w 949492"/>
                  <a:gd name="connsiteY58" fmla="*/ 284406 h 474746"/>
                  <a:gd name="connsiteX59" fmla="*/ 524968 w 949492"/>
                  <a:gd name="connsiteY59" fmla="*/ 241543 h 474746"/>
                  <a:gd name="connsiteX60" fmla="*/ 441624 w 949492"/>
                  <a:gd name="connsiteY60" fmla="*/ 154568 h 474746"/>
                  <a:gd name="connsiteX61" fmla="*/ 574995 w 949492"/>
                  <a:gd name="connsiteY61" fmla="*/ 154568 h 474746"/>
                  <a:gd name="connsiteX62" fmla="*/ 613621 w 949492"/>
                  <a:gd name="connsiteY62" fmla="*/ 170025 h 474746"/>
                  <a:gd name="connsiteX63" fmla="*/ 161613 w 949492"/>
                  <a:gd name="connsiteY63" fmla="*/ 284218 h 474746"/>
                  <a:gd name="connsiteX64" fmla="*/ 161692 w 949492"/>
                  <a:gd name="connsiteY64" fmla="*/ 284406 h 474746"/>
                  <a:gd name="connsiteX65" fmla="*/ 161613 w 949492"/>
                  <a:gd name="connsiteY65" fmla="*/ 284218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141443 w 949492"/>
                  <a:gd name="connsiteY5" fmla="*/ 273193 h 474746"/>
                  <a:gd name="connsiteX6" fmla="*/ 130037 w 949492"/>
                  <a:gd name="connsiteY6" fmla="*/ 300765 h 474746"/>
                  <a:gd name="connsiteX7" fmla="*/ 130037 w 949492"/>
                  <a:gd name="connsiteY7" fmla="*/ 375381 h 474746"/>
                  <a:gd name="connsiteX8" fmla="*/ 99365 w 949492"/>
                  <a:gd name="connsiteY8" fmla="*/ 375381 h 474746"/>
                  <a:gd name="connsiteX9" fmla="*/ 66244 w 949492"/>
                  <a:gd name="connsiteY9" fmla="*/ 342259 h 474746"/>
                  <a:gd name="connsiteX10" fmla="*/ 66244 w 949492"/>
                  <a:gd name="connsiteY10" fmla="*/ 153452 h 474746"/>
                  <a:gd name="connsiteX11" fmla="*/ 110406 w 949492"/>
                  <a:gd name="connsiteY11" fmla="*/ 99365 h 474746"/>
                  <a:gd name="connsiteX12" fmla="*/ 110406 w 949492"/>
                  <a:gd name="connsiteY12" fmla="*/ 55203 h 474746"/>
                  <a:gd name="connsiteX13" fmla="*/ 93845 w 949492"/>
                  <a:gd name="connsiteY13" fmla="*/ 55203 h 474746"/>
                  <a:gd name="connsiteX14" fmla="*/ 93845 w 949492"/>
                  <a:gd name="connsiteY14" fmla="*/ 11041 h 474746"/>
                  <a:gd name="connsiteX15" fmla="*/ 82805 w 949492"/>
                  <a:gd name="connsiteY15" fmla="*/ 0 h 474746"/>
                  <a:gd name="connsiteX16" fmla="*/ 71764 w 949492"/>
                  <a:gd name="connsiteY16" fmla="*/ 11041 h 474746"/>
                  <a:gd name="connsiteX17" fmla="*/ 71764 w 949492"/>
                  <a:gd name="connsiteY17" fmla="*/ 55203 h 474746"/>
                  <a:gd name="connsiteX18" fmla="*/ 38642 w 949492"/>
                  <a:gd name="connsiteY18" fmla="*/ 55203 h 474746"/>
                  <a:gd name="connsiteX19" fmla="*/ 38642 w 949492"/>
                  <a:gd name="connsiteY19" fmla="*/ 11041 h 474746"/>
                  <a:gd name="connsiteX20" fmla="*/ 27602 w 949492"/>
                  <a:gd name="connsiteY20" fmla="*/ 0 h 474746"/>
                  <a:gd name="connsiteX21" fmla="*/ 16561 w 949492"/>
                  <a:gd name="connsiteY21" fmla="*/ 11041 h 474746"/>
                  <a:gd name="connsiteX22" fmla="*/ 16561 w 949492"/>
                  <a:gd name="connsiteY22" fmla="*/ 55203 h 474746"/>
                  <a:gd name="connsiteX23" fmla="*/ 0 w 949492"/>
                  <a:gd name="connsiteY23" fmla="*/ 55203 h 474746"/>
                  <a:gd name="connsiteX24" fmla="*/ 0 w 949492"/>
                  <a:gd name="connsiteY24" fmla="*/ 99365 h 474746"/>
                  <a:gd name="connsiteX25" fmla="*/ 44162 w 949492"/>
                  <a:gd name="connsiteY25" fmla="*/ 153452 h 474746"/>
                  <a:gd name="connsiteX26" fmla="*/ 44162 w 949492"/>
                  <a:gd name="connsiteY26" fmla="*/ 342259 h 474746"/>
                  <a:gd name="connsiteX27" fmla="*/ 99365 w 949492"/>
                  <a:gd name="connsiteY27" fmla="*/ 397462 h 474746"/>
                  <a:gd name="connsiteX28" fmla="*/ 130037 w 949492"/>
                  <a:gd name="connsiteY28" fmla="*/ 397462 h 474746"/>
                  <a:gd name="connsiteX29" fmla="*/ 130037 w 949492"/>
                  <a:gd name="connsiteY29" fmla="*/ 398688 h 474746"/>
                  <a:gd name="connsiteX30" fmla="*/ 206095 w 949492"/>
                  <a:gd name="connsiteY30" fmla="*/ 474746 h 474746"/>
                  <a:gd name="connsiteX31" fmla="*/ 219298 w 949492"/>
                  <a:gd name="connsiteY31" fmla="*/ 474746 h 474746"/>
                  <a:gd name="connsiteX32" fmla="*/ 218445 w 949492"/>
                  <a:gd name="connsiteY32" fmla="*/ 461781 h 474746"/>
                  <a:gd name="connsiteX33" fmla="*/ 218908 w 949492"/>
                  <a:gd name="connsiteY33" fmla="*/ 452665 h 474746"/>
                  <a:gd name="connsiteX34" fmla="*/ 206075 w 949492"/>
                  <a:gd name="connsiteY34" fmla="*/ 452665 h 474746"/>
                  <a:gd name="connsiteX35" fmla="*/ 152117 w 949492"/>
                  <a:gd name="connsiteY35" fmla="*/ 398706 h 474746"/>
                  <a:gd name="connsiteX36" fmla="*/ 152117 w 949492"/>
                  <a:gd name="connsiteY36" fmla="*/ 306487 h 474746"/>
                  <a:gd name="connsiteX37" fmla="*/ 774631 w 949492"/>
                  <a:gd name="connsiteY37" fmla="*/ 306487 h 474746"/>
                  <a:gd name="connsiteX38" fmla="*/ 775551 w 949492"/>
                  <a:gd name="connsiteY38" fmla="*/ 306577 h 474746"/>
                  <a:gd name="connsiteX39" fmla="*/ 854442 w 949492"/>
                  <a:gd name="connsiteY39" fmla="*/ 306577 h 474746"/>
                  <a:gd name="connsiteX40" fmla="*/ 927411 w 949492"/>
                  <a:gd name="connsiteY40" fmla="*/ 379544 h 474746"/>
                  <a:gd name="connsiteX41" fmla="*/ 927411 w 949492"/>
                  <a:gd name="connsiteY41" fmla="*/ 436724 h 474746"/>
                  <a:gd name="connsiteX42" fmla="*/ 911465 w 949492"/>
                  <a:gd name="connsiteY42" fmla="*/ 452665 h 474746"/>
                  <a:gd name="connsiteX43" fmla="*/ 857126 w 949492"/>
                  <a:gd name="connsiteY43" fmla="*/ 452665 h 474746"/>
                  <a:gd name="connsiteX44" fmla="*/ 857588 w 949492"/>
                  <a:gd name="connsiteY44" fmla="*/ 461781 h 474746"/>
                  <a:gd name="connsiteX45" fmla="*/ 856735 w 949492"/>
                  <a:gd name="connsiteY45" fmla="*/ 474746 h 474746"/>
                  <a:gd name="connsiteX46" fmla="*/ 911473 w 949492"/>
                  <a:gd name="connsiteY46" fmla="*/ 474746 h 474746"/>
                  <a:gd name="connsiteX47" fmla="*/ 949492 w 949492"/>
                  <a:gd name="connsiteY47" fmla="*/ 436727 h 474746"/>
                  <a:gd name="connsiteX48" fmla="*/ 949492 w 949492"/>
                  <a:gd name="connsiteY48" fmla="*/ 379674 h 474746"/>
                  <a:gd name="connsiteX49" fmla="*/ 854308 w 949492"/>
                  <a:gd name="connsiteY49" fmla="*/ 284490 h 474746"/>
                  <a:gd name="connsiteX50" fmla="*/ 22081 w 949492"/>
                  <a:gd name="connsiteY50" fmla="*/ 98058 h 474746"/>
                  <a:gd name="connsiteX51" fmla="*/ 22081 w 949492"/>
                  <a:gd name="connsiteY51" fmla="*/ 77284 h 474746"/>
                  <a:gd name="connsiteX52" fmla="*/ 88325 w 949492"/>
                  <a:gd name="connsiteY52" fmla="*/ 77284 h 474746"/>
                  <a:gd name="connsiteX53" fmla="*/ 88325 w 949492"/>
                  <a:gd name="connsiteY53" fmla="*/ 99365 h 474746"/>
                  <a:gd name="connsiteX54" fmla="*/ 55107 w 949492"/>
                  <a:gd name="connsiteY54" fmla="*/ 132497 h 474746"/>
                  <a:gd name="connsiteX55" fmla="*/ 48602 w 949492"/>
                  <a:gd name="connsiteY55" fmla="*/ 131845 h 474746"/>
                  <a:gd name="connsiteX56" fmla="*/ 22081 w 949492"/>
                  <a:gd name="connsiteY56" fmla="*/ 98058 h 474746"/>
                  <a:gd name="connsiteX57" fmla="*/ 613621 w 949492"/>
                  <a:gd name="connsiteY57" fmla="*/ 170025 h 474746"/>
                  <a:gd name="connsiteX58" fmla="*/ 728881 w 949492"/>
                  <a:gd name="connsiteY58" fmla="*/ 284406 h 474746"/>
                  <a:gd name="connsiteX59" fmla="*/ 524968 w 949492"/>
                  <a:gd name="connsiteY59" fmla="*/ 241543 h 474746"/>
                  <a:gd name="connsiteX60" fmla="*/ 574995 w 949492"/>
                  <a:gd name="connsiteY60" fmla="*/ 154568 h 474746"/>
                  <a:gd name="connsiteX61" fmla="*/ 613621 w 949492"/>
                  <a:gd name="connsiteY61" fmla="*/ 170025 h 474746"/>
                  <a:gd name="connsiteX62" fmla="*/ 161613 w 949492"/>
                  <a:gd name="connsiteY62" fmla="*/ 284218 h 474746"/>
                  <a:gd name="connsiteX63" fmla="*/ 161692 w 949492"/>
                  <a:gd name="connsiteY63" fmla="*/ 284406 h 474746"/>
                  <a:gd name="connsiteX64" fmla="*/ 161613 w 949492"/>
                  <a:gd name="connsiteY64" fmla="*/ 284218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141443 w 949492"/>
                  <a:gd name="connsiteY5" fmla="*/ 273193 h 474746"/>
                  <a:gd name="connsiteX6" fmla="*/ 130037 w 949492"/>
                  <a:gd name="connsiteY6" fmla="*/ 300765 h 474746"/>
                  <a:gd name="connsiteX7" fmla="*/ 130037 w 949492"/>
                  <a:gd name="connsiteY7" fmla="*/ 375381 h 474746"/>
                  <a:gd name="connsiteX8" fmla="*/ 99365 w 949492"/>
                  <a:gd name="connsiteY8" fmla="*/ 375381 h 474746"/>
                  <a:gd name="connsiteX9" fmla="*/ 66244 w 949492"/>
                  <a:gd name="connsiteY9" fmla="*/ 342259 h 474746"/>
                  <a:gd name="connsiteX10" fmla="*/ 66244 w 949492"/>
                  <a:gd name="connsiteY10" fmla="*/ 153452 h 474746"/>
                  <a:gd name="connsiteX11" fmla="*/ 110406 w 949492"/>
                  <a:gd name="connsiteY11" fmla="*/ 99365 h 474746"/>
                  <a:gd name="connsiteX12" fmla="*/ 110406 w 949492"/>
                  <a:gd name="connsiteY12" fmla="*/ 55203 h 474746"/>
                  <a:gd name="connsiteX13" fmla="*/ 93845 w 949492"/>
                  <a:gd name="connsiteY13" fmla="*/ 55203 h 474746"/>
                  <a:gd name="connsiteX14" fmla="*/ 93845 w 949492"/>
                  <a:gd name="connsiteY14" fmla="*/ 11041 h 474746"/>
                  <a:gd name="connsiteX15" fmla="*/ 82805 w 949492"/>
                  <a:gd name="connsiteY15" fmla="*/ 0 h 474746"/>
                  <a:gd name="connsiteX16" fmla="*/ 71764 w 949492"/>
                  <a:gd name="connsiteY16" fmla="*/ 11041 h 474746"/>
                  <a:gd name="connsiteX17" fmla="*/ 71764 w 949492"/>
                  <a:gd name="connsiteY17" fmla="*/ 55203 h 474746"/>
                  <a:gd name="connsiteX18" fmla="*/ 38642 w 949492"/>
                  <a:gd name="connsiteY18" fmla="*/ 55203 h 474746"/>
                  <a:gd name="connsiteX19" fmla="*/ 38642 w 949492"/>
                  <a:gd name="connsiteY19" fmla="*/ 11041 h 474746"/>
                  <a:gd name="connsiteX20" fmla="*/ 27602 w 949492"/>
                  <a:gd name="connsiteY20" fmla="*/ 0 h 474746"/>
                  <a:gd name="connsiteX21" fmla="*/ 16561 w 949492"/>
                  <a:gd name="connsiteY21" fmla="*/ 11041 h 474746"/>
                  <a:gd name="connsiteX22" fmla="*/ 16561 w 949492"/>
                  <a:gd name="connsiteY22" fmla="*/ 55203 h 474746"/>
                  <a:gd name="connsiteX23" fmla="*/ 0 w 949492"/>
                  <a:gd name="connsiteY23" fmla="*/ 55203 h 474746"/>
                  <a:gd name="connsiteX24" fmla="*/ 0 w 949492"/>
                  <a:gd name="connsiteY24" fmla="*/ 99365 h 474746"/>
                  <a:gd name="connsiteX25" fmla="*/ 44162 w 949492"/>
                  <a:gd name="connsiteY25" fmla="*/ 153452 h 474746"/>
                  <a:gd name="connsiteX26" fmla="*/ 44162 w 949492"/>
                  <a:gd name="connsiteY26" fmla="*/ 342259 h 474746"/>
                  <a:gd name="connsiteX27" fmla="*/ 99365 w 949492"/>
                  <a:gd name="connsiteY27" fmla="*/ 397462 h 474746"/>
                  <a:gd name="connsiteX28" fmla="*/ 130037 w 949492"/>
                  <a:gd name="connsiteY28" fmla="*/ 397462 h 474746"/>
                  <a:gd name="connsiteX29" fmla="*/ 130037 w 949492"/>
                  <a:gd name="connsiteY29" fmla="*/ 398688 h 474746"/>
                  <a:gd name="connsiteX30" fmla="*/ 206095 w 949492"/>
                  <a:gd name="connsiteY30" fmla="*/ 474746 h 474746"/>
                  <a:gd name="connsiteX31" fmla="*/ 219298 w 949492"/>
                  <a:gd name="connsiteY31" fmla="*/ 474746 h 474746"/>
                  <a:gd name="connsiteX32" fmla="*/ 218445 w 949492"/>
                  <a:gd name="connsiteY32" fmla="*/ 461781 h 474746"/>
                  <a:gd name="connsiteX33" fmla="*/ 218908 w 949492"/>
                  <a:gd name="connsiteY33" fmla="*/ 452665 h 474746"/>
                  <a:gd name="connsiteX34" fmla="*/ 206075 w 949492"/>
                  <a:gd name="connsiteY34" fmla="*/ 452665 h 474746"/>
                  <a:gd name="connsiteX35" fmla="*/ 152117 w 949492"/>
                  <a:gd name="connsiteY35" fmla="*/ 398706 h 474746"/>
                  <a:gd name="connsiteX36" fmla="*/ 152117 w 949492"/>
                  <a:gd name="connsiteY36" fmla="*/ 306487 h 474746"/>
                  <a:gd name="connsiteX37" fmla="*/ 774631 w 949492"/>
                  <a:gd name="connsiteY37" fmla="*/ 306487 h 474746"/>
                  <a:gd name="connsiteX38" fmla="*/ 775551 w 949492"/>
                  <a:gd name="connsiteY38" fmla="*/ 306577 h 474746"/>
                  <a:gd name="connsiteX39" fmla="*/ 854442 w 949492"/>
                  <a:gd name="connsiteY39" fmla="*/ 306577 h 474746"/>
                  <a:gd name="connsiteX40" fmla="*/ 927411 w 949492"/>
                  <a:gd name="connsiteY40" fmla="*/ 379544 h 474746"/>
                  <a:gd name="connsiteX41" fmla="*/ 927411 w 949492"/>
                  <a:gd name="connsiteY41" fmla="*/ 436724 h 474746"/>
                  <a:gd name="connsiteX42" fmla="*/ 911465 w 949492"/>
                  <a:gd name="connsiteY42" fmla="*/ 452665 h 474746"/>
                  <a:gd name="connsiteX43" fmla="*/ 857126 w 949492"/>
                  <a:gd name="connsiteY43" fmla="*/ 452665 h 474746"/>
                  <a:gd name="connsiteX44" fmla="*/ 857588 w 949492"/>
                  <a:gd name="connsiteY44" fmla="*/ 461781 h 474746"/>
                  <a:gd name="connsiteX45" fmla="*/ 856735 w 949492"/>
                  <a:gd name="connsiteY45" fmla="*/ 474746 h 474746"/>
                  <a:gd name="connsiteX46" fmla="*/ 911473 w 949492"/>
                  <a:gd name="connsiteY46" fmla="*/ 474746 h 474746"/>
                  <a:gd name="connsiteX47" fmla="*/ 949492 w 949492"/>
                  <a:gd name="connsiteY47" fmla="*/ 436727 h 474746"/>
                  <a:gd name="connsiteX48" fmla="*/ 949492 w 949492"/>
                  <a:gd name="connsiteY48" fmla="*/ 379674 h 474746"/>
                  <a:gd name="connsiteX49" fmla="*/ 854308 w 949492"/>
                  <a:gd name="connsiteY49" fmla="*/ 284490 h 474746"/>
                  <a:gd name="connsiteX50" fmla="*/ 22081 w 949492"/>
                  <a:gd name="connsiteY50" fmla="*/ 98058 h 474746"/>
                  <a:gd name="connsiteX51" fmla="*/ 22081 w 949492"/>
                  <a:gd name="connsiteY51" fmla="*/ 77284 h 474746"/>
                  <a:gd name="connsiteX52" fmla="*/ 88325 w 949492"/>
                  <a:gd name="connsiteY52" fmla="*/ 77284 h 474746"/>
                  <a:gd name="connsiteX53" fmla="*/ 88325 w 949492"/>
                  <a:gd name="connsiteY53" fmla="*/ 99365 h 474746"/>
                  <a:gd name="connsiteX54" fmla="*/ 55107 w 949492"/>
                  <a:gd name="connsiteY54" fmla="*/ 132497 h 474746"/>
                  <a:gd name="connsiteX55" fmla="*/ 48602 w 949492"/>
                  <a:gd name="connsiteY55" fmla="*/ 131845 h 474746"/>
                  <a:gd name="connsiteX56" fmla="*/ 22081 w 949492"/>
                  <a:gd name="connsiteY56" fmla="*/ 98058 h 474746"/>
                  <a:gd name="connsiteX57" fmla="*/ 613621 w 949492"/>
                  <a:gd name="connsiteY57" fmla="*/ 170025 h 474746"/>
                  <a:gd name="connsiteX58" fmla="*/ 728881 w 949492"/>
                  <a:gd name="connsiteY58" fmla="*/ 284406 h 474746"/>
                  <a:gd name="connsiteX59" fmla="*/ 524968 w 949492"/>
                  <a:gd name="connsiteY59" fmla="*/ 241543 h 474746"/>
                  <a:gd name="connsiteX60" fmla="*/ 613621 w 949492"/>
                  <a:gd name="connsiteY60" fmla="*/ 170025 h 474746"/>
                  <a:gd name="connsiteX61" fmla="*/ 161613 w 949492"/>
                  <a:gd name="connsiteY61" fmla="*/ 284218 h 474746"/>
                  <a:gd name="connsiteX62" fmla="*/ 161692 w 949492"/>
                  <a:gd name="connsiteY62" fmla="*/ 284406 h 474746"/>
                  <a:gd name="connsiteX63" fmla="*/ 161613 w 949492"/>
                  <a:gd name="connsiteY63" fmla="*/ 284218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141443 w 949492"/>
                  <a:gd name="connsiteY5" fmla="*/ 273193 h 474746"/>
                  <a:gd name="connsiteX6" fmla="*/ 130037 w 949492"/>
                  <a:gd name="connsiteY6" fmla="*/ 300765 h 474746"/>
                  <a:gd name="connsiteX7" fmla="*/ 130037 w 949492"/>
                  <a:gd name="connsiteY7" fmla="*/ 375381 h 474746"/>
                  <a:gd name="connsiteX8" fmla="*/ 99365 w 949492"/>
                  <a:gd name="connsiteY8" fmla="*/ 375381 h 474746"/>
                  <a:gd name="connsiteX9" fmla="*/ 66244 w 949492"/>
                  <a:gd name="connsiteY9" fmla="*/ 342259 h 474746"/>
                  <a:gd name="connsiteX10" fmla="*/ 66244 w 949492"/>
                  <a:gd name="connsiteY10" fmla="*/ 153452 h 474746"/>
                  <a:gd name="connsiteX11" fmla="*/ 110406 w 949492"/>
                  <a:gd name="connsiteY11" fmla="*/ 99365 h 474746"/>
                  <a:gd name="connsiteX12" fmla="*/ 110406 w 949492"/>
                  <a:gd name="connsiteY12" fmla="*/ 55203 h 474746"/>
                  <a:gd name="connsiteX13" fmla="*/ 93845 w 949492"/>
                  <a:gd name="connsiteY13" fmla="*/ 55203 h 474746"/>
                  <a:gd name="connsiteX14" fmla="*/ 93845 w 949492"/>
                  <a:gd name="connsiteY14" fmla="*/ 11041 h 474746"/>
                  <a:gd name="connsiteX15" fmla="*/ 82805 w 949492"/>
                  <a:gd name="connsiteY15" fmla="*/ 0 h 474746"/>
                  <a:gd name="connsiteX16" fmla="*/ 71764 w 949492"/>
                  <a:gd name="connsiteY16" fmla="*/ 11041 h 474746"/>
                  <a:gd name="connsiteX17" fmla="*/ 71764 w 949492"/>
                  <a:gd name="connsiteY17" fmla="*/ 55203 h 474746"/>
                  <a:gd name="connsiteX18" fmla="*/ 38642 w 949492"/>
                  <a:gd name="connsiteY18" fmla="*/ 55203 h 474746"/>
                  <a:gd name="connsiteX19" fmla="*/ 38642 w 949492"/>
                  <a:gd name="connsiteY19" fmla="*/ 11041 h 474746"/>
                  <a:gd name="connsiteX20" fmla="*/ 27602 w 949492"/>
                  <a:gd name="connsiteY20" fmla="*/ 0 h 474746"/>
                  <a:gd name="connsiteX21" fmla="*/ 16561 w 949492"/>
                  <a:gd name="connsiteY21" fmla="*/ 11041 h 474746"/>
                  <a:gd name="connsiteX22" fmla="*/ 16561 w 949492"/>
                  <a:gd name="connsiteY22" fmla="*/ 55203 h 474746"/>
                  <a:gd name="connsiteX23" fmla="*/ 0 w 949492"/>
                  <a:gd name="connsiteY23" fmla="*/ 55203 h 474746"/>
                  <a:gd name="connsiteX24" fmla="*/ 0 w 949492"/>
                  <a:gd name="connsiteY24" fmla="*/ 99365 h 474746"/>
                  <a:gd name="connsiteX25" fmla="*/ 44162 w 949492"/>
                  <a:gd name="connsiteY25" fmla="*/ 153452 h 474746"/>
                  <a:gd name="connsiteX26" fmla="*/ 44162 w 949492"/>
                  <a:gd name="connsiteY26" fmla="*/ 342259 h 474746"/>
                  <a:gd name="connsiteX27" fmla="*/ 99365 w 949492"/>
                  <a:gd name="connsiteY27" fmla="*/ 397462 h 474746"/>
                  <a:gd name="connsiteX28" fmla="*/ 130037 w 949492"/>
                  <a:gd name="connsiteY28" fmla="*/ 397462 h 474746"/>
                  <a:gd name="connsiteX29" fmla="*/ 130037 w 949492"/>
                  <a:gd name="connsiteY29" fmla="*/ 398688 h 474746"/>
                  <a:gd name="connsiteX30" fmla="*/ 206095 w 949492"/>
                  <a:gd name="connsiteY30" fmla="*/ 474746 h 474746"/>
                  <a:gd name="connsiteX31" fmla="*/ 219298 w 949492"/>
                  <a:gd name="connsiteY31" fmla="*/ 474746 h 474746"/>
                  <a:gd name="connsiteX32" fmla="*/ 218445 w 949492"/>
                  <a:gd name="connsiteY32" fmla="*/ 461781 h 474746"/>
                  <a:gd name="connsiteX33" fmla="*/ 218908 w 949492"/>
                  <a:gd name="connsiteY33" fmla="*/ 452665 h 474746"/>
                  <a:gd name="connsiteX34" fmla="*/ 206075 w 949492"/>
                  <a:gd name="connsiteY34" fmla="*/ 452665 h 474746"/>
                  <a:gd name="connsiteX35" fmla="*/ 152117 w 949492"/>
                  <a:gd name="connsiteY35" fmla="*/ 398706 h 474746"/>
                  <a:gd name="connsiteX36" fmla="*/ 152117 w 949492"/>
                  <a:gd name="connsiteY36" fmla="*/ 306487 h 474746"/>
                  <a:gd name="connsiteX37" fmla="*/ 774631 w 949492"/>
                  <a:gd name="connsiteY37" fmla="*/ 306487 h 474746"/>
                  <a:gd name="connsiteX38" fmla="*/ 775551 w 949492"/>
                  <a:gd name="connsiteY38" fmla="*/ 306577 h 474746"/>
                  <a:gd name="connsiteX39" fmla="*/ 854442 w 949492"/>
                  <a:gd name="connsiteY39" fmla="*/ 306577 h 474746"/>
                  <a:gd name="connsiteX40" fmla="*/ 927411 w 949492"/>
                  <a:gd name="connsiteY40" fmla="*/ 379544 h 474746"/>
                  <a:gd name="connsiteX41" fmla="*/ 927411 w 949492"/>
                  <a:gd name="connsiteY41" fmla="*/ 436724 h 474746"/>
                  <a:gd name="connsiteX42" fmla="*/ 911465 w 949492"/>
                  <a:gd name="connsiteY42" fmla="*/ 452665 h 474746"/>
                  <a:gd name="connsiteX43" fmla="*/ 857126 w 949492"/>
                  <a:gd name="connsiteY43" fmla="*/ 452665 h 474746"/>
                  <a:gd name="connsiteX44" fmla="*/ 857588 w 949492"/>
                  <a:gd name="connsiteY44" fmla="*/ 461781 h 474746"/>
                  <a:gd name="connsiteX45" fmla="*/ 856735 w 949492"/>
                  <a:gd name="connsiteY45" fmla="*/ 474746 h 474746"/>
                  <a:gd name="connsiteX46" fmla="*/ 911473 w 949492"/>
                  <a:gd name="connsiteY46" fmla="*/ 474746 h 474746"/>
                  <a:gd name="connsiteX47" fmla="*/ 949492 w 949492"/>
                  <a:gd name="connsiteY47" fmla="*/ 436727 h 474746"/>
                  <a:gd name="connsiteX48" fmla="*/ 949492 w 949492"/>
                  <a:gd name="connsiteY48" fmla="*/ 379674 h 474746"/>
                  <a:gd name="connsiteX49" fmla="*/ 854308 w 949492"/>
                  <a:gd name="connsiteY49" fmla="*/ 284490 h 474746"/>
                  <a:gd name="connsiteX50" fmla="*/ 22081 w 949492"/>
                  <a:gd name="connsiteY50" fmla="*/ 98058 h 474746"/>
                  <a:gd name="connsiteX51" fmla="*/ 22081 w 949492"/>
                  <a:gd name="connsiteY51" fmla="*/ 77284 h 474746"/>
                  <a:gd name="connsiteX52" fmla="*/ 88325 w 949492"/>
                  <a:gd name="connsiteY52" fmla="*/ 77284 h 474746"/>
                  <a:gd name="connsiteX53" fmla="*/ 88325 w 949492"/>
                  <a:gd name="connsiteY53" fmla="*/ 99365 h 474746"/>
                  <a:gd name="connsiteX54" fmla="*/ 55107 w 949492"/>
                  <a:gd name="connsiteY54" fmla="*/ 132497 h 474746"/>
                  <a:gd name="connsiteX55" fmla="*/ 48602 w 949492"/>
                  <a:gd name="connsiteY55" fmla="*/ 131845 h 474746"/>
                  <a:gd name="connsiteX56" fmla="*/ 22081 w 949492"/>
                  <a:gd name="connsiteY56" fmla="*/ 98058 h 474746"/>
                  <a:gd name="connsiteX57" fmla="*/ 616003 w 949492"/>
                  <a:gd name="connsiteY57" fmla="*/ 70012 h 474746"/>
                  <a:gd name="connsiteX58" fmla="*/ 728881 w 949492"/>
                  <a:gd name="connsiteY58" fmla="*/ 284406 h 474746"/>
                  <a:gd name="connsiteX59" fmla="*/ 524968 w 949492"/>
                  <a:gd name="connsiteY59" fmla="*/ 241543 h 474746"/>
                  <a:gd name="connsiteX60" fmla="*/ 616003 w 949492"/>
                  <a:gd name="connsiteY60" fmla="*/ 70012 h 474746"/>
                  <a:gd name="connsiteX61" fmla="*/ 161613 w 949492"/>
                  <a:gd name="connsiteY61" fmla="*/ 284218 h 474746"/>
                  <a:gd name="connsiteX62" fmla="*/ 161692 w 949492"/>
                  <a:gd name="connsiteY62" fmla="*/ 284406 h 474746"/>
                  <a:gd name="connsiteX63" fmla="*/ 161613 w 949492"/>
                  <a:gd name="connsiteY63" fmla="*/ 284218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141443 w 949492"/>
                  <a:gd name="connsiteY5" fmla="*/ 273193 h 474746"/>
                  <a:gd name="connsiteX6" fmla="*/ 130037 w 949492"/>
                  <a:gd name="connsiteY6" fmla="*/ 300765 h 474746"/>
                  <a:gd name="connsiteX7" fmla="*/ 130037 w 949492"/>
                  <a:gd name="connsiteY7" fmla="*/ 375381 h 474746"/>
                  <a:gd name="connsiteX8" fmla="*/ 99365 w 949492"/>
                  <a:gd name="connsiteY8" fmla="*/ 375381 h 474746"/>
                  <a:gd name="connsiteX9" fmla="*/ 66244 w 949492"/>
                  <a:gd name="connsiteY9" fmla="*/ 342259 h 474746"/>
                  <a:gd name="connsiteX10" fmla="*/ 66244 w 949492"/>
                  <a:gd name="connsiteY10" fmla="*/ 153452 h 474746"/>
                  <a:gd name="connsiteX11" fmla="*/ 110406 w 949492"/>
                  <a:gd name="connsiteY11" fmla="*/ 99365 h 474746"/>
                  <a:gd name="connsiteX12" fmla="*/ 110406 w 949492"/>
                  <a:gd name="connsiteY12" fmla="*/ 55203 h 474746"/>
                  <a:gd name="connsiteX13" fmla="*/ 93845 w 949492"/>
                  <a:gd name="connsiteY13" fmla="*/ 55203 h 474746"/>
                  <a:gd name="connsiteX14" fmla="*/ 93845 w 949492"/>
                  <a:gd name="connsiteY14" fmla="*/ 11041 h 474746"/>
                  <a:gd name="connsiteX15" fmla="*/ 82805 w 949492"/>
                  <a:gd name="connsiteY15" fmla="*/ 0 h 474746"/>
                  <a:gd name="connsiteX16" fmla="*/ 71764 w 949492"/>
                  <a:gd name="connsiteY16" fmla="*/ 11041 h 474746"/>
                  <a:gd name="connsiteX17" fmla="*/ 71764 w 949492"/>
                  <a:gd name="connsiteY17" fmla="*/ 55203 h 474746"/>
                  <a:gd name="connsiteX18" fmla="*/ 38642 w 949492"/>
                  <a:gd name="connsiteY18" fmla="*/ 55203 h 474746"/>
                  <a:gd name="connsiteX19" fmla="*/ 38642 w 949492"/>
                  <a:gd name="connsiteY19" fmla="*/ 11041 h 474746"/>
                  <a:gd name="connsiteX20" fmla="*/ 27602 w 949492"/>
                  <a:gd name="connsiteY20" fmla="*/ 0 h 474746"/>
                  <a:gd name="connsiteX21" fmla="*/ 16561 w 949492"/>
                  <a:gd name="connsiteY21" fmla="*/ 11041 h 474746"/>
                  <a:gd name="connsiteX22" fmla="*/ 16561 w 949492"/>
                  <a:gd name="connsiteY22" fmla="*/ 55203 h 474746"/>
                  <a:gd name="connsiteX23" fmla="*/ 0 w 949492"/>
                  <a:gd name="connsiteY23" fmla="*/ 55203 h 474746"/>
                  <a:gd name="connsiteX24" fmla="*/ 0 w 949492"/>
                  <a:gd name="connsiteY24" fmla="*/ 99365 h 474746"/>
                  <a:gd name="connsiteX25" fmla="*/ 44162 w 949492"/>
                  <a:gd name="connsiteY25" fmla="*/ 153452 h 474746"/>
                  <a:gd name="connsiteX26" fmla="*/ 44162 w 949492"/>
                  <a:gd name="connsiteY26" fmla="*/ 342259 h 474746"/>
                  <a:gd name="connsiteX27" fmla="*/ 99365 w 949492"/>
                  <a:gd name="connsiteY27" fmla="*/ 397462 h 474746"/>
                  <a:gd name="connsiteX28" fmla="*/ 130037 w 949492"/>
                  <a:gd name="connsiteY28" fmla="*/ 397462 h 474746"/>
                  <a:gd name="connsiteX29" fmla="*/ 130037 w 949492"/>
                  <a:gd name="connsiteY29" fmla="*/ 398688 h 474746"/>
                  <a:gd name="connsiteX30" fmla="*/ 206095 w 949492"/>
                  <a:gd name="connsiteY30" fmla="*/ 474746 h 474746"/>
                  <a:gd name="connsiteX31" fmla="*/ 219298 w 949492"/>
                  <a:gd name="connsiteY31" fmla="*/ 474746 h 474746"/>
                  <a:gd name="connsiteX32" fmla="*/ 218445 w 949492"/>
                  <a:gd name="connsiteY32" fmla="*/ 461781 h 474746"/>
                  <a:gd name="connsiteX33" fmla="*/ 218908 w 949492"/>
                  <a:gd name="connsiteY33" fmla="*/ 452665 h 474746"/>
                  <a:gd name="connsiteX34" fmla="*/ 206075 w 949492"/>
                  <a:gd name="connsiteY34" fmla="*/ 452665 h 474746"/>
                  <a:gd name="connsiteX35" fmla="*/ 152117 w 949492"/>
                  <a:gd name="connsiteY35" fmla="*/ 398706 h 474746"/>
                  <a:gd name="connsiteX36" fmla="*/ 152117 w 949492"/>
                  <a:gd name="connsiteY36" fmla="*/ 306487 h 474746"/>
                  <a:gd name="connsiteX37" fmla="*/ 774631 w 949492"/>
                  <a:gd name="connsiteY37" fmla="*/ 306487 h 474746"/>
                  <a:gd name="connsiteX38" fmla="*/ 775551 w 949492"/>
                  <a:gd name="connsiteY38" fmla="*/ 306577 h 474746"/>
                  <a:gd name="connsiteX39" fmla="*/ 854442 w 949492"/>
                  <a:gd name="connsiteY39" fmla="*/ 306577 h 474746"/>
                  <a:gd name="connsiteX40" fmla="*/ 927411 w 949492"/>
                  <a:gd name="connsiteY40" fmla="*/ 379544 h 474746"/>
                  <a:gd name="connsiteX41" fmla="*/ 927411 w 949492"/>
                  <a:gd name="connsiteY41" fmla="*/ 436724 h 474746"/>
                  <a:gd name="connsiteX42" fmla="*/ 911465 w 949492"/>
                  <a:gd name="connsiteY42" fmla="*/ 452665 h 474746"/>
                  <a:gd name="connsiteX43" fmla="*/ 857126 w 949492"/>
                  <a:gd name="connsiteY43" fmla="*/ 452665 h 474746"/>
                  <a:gd name="connsiteX44" fmla="*/ 857588 w 949492"/>
                  <a:gd name="connsiteY44" fmla="*/ 461781 h 474746"/>
                  <a:gd name="connsiteX45" fmla="*/ 856735 w 949492"/>
                  <a:gd name="connsiteY45" fmla="*/ 474746 h 474746"/>
                  <a:gd name="connsiteX46" fmla="*/ 911473 w 949492"/>
                  <a:gd name="connsiteY46" fmla="*/ 474746 h 474746"/>
                  <a:gd name="connsiteX47" fmla="*/ 949492 w 949492"/>
                  <a:gd name="connsiteY47" fmla="*/ 436727 h 474746"/>
                  <a:gd name="connsiteX48" fmla="*/ 949492 w 949492"/>
                  <a:gd name="connsiteY48" fmla="*/ 379674 h 474746"/>
                  <a:gd name="connsiteX49" fmla="*/ 854308 w 949492"/>
                  <a:gd name="connsiteY49" fmla="*/ 284490 h 474746"/>
                  <a:gd name="connsiteX50" fmla="*/ 22081 w 949492"/>
                  <a:gd name="connsiteY50" fmla="*/ 98058 h 474746"/>
                  <a:gd name="connsiteX51" fmla="*/ 22081 w 949492"/>
                  <a:gd name="connsiteY51" fmla="*/ 77284 h 474746"/>
                  <a:gd name="connsiteX52" fmla="*/ 88325 w 949492"/>
                  <a:gd name="connsiteY52" fmla="*/ 77284 h 474746"/>
                  <a:gd name="connsiteX53" fmla="*/ 88325 w 949492"/>
                  <a:gd name="connsiteY53" fmla="*/ 99365 h 474746"/>
                  <a:gd name="connsiteX54" fmla="*/ 55107 w 949492"/>
                  <a:gd name="connsiteY54" fmla="*/ 132497 h 474746"/>
                  <a:gd name="connsiteX55" fmla="*/ 48602 w 949492"/>
                  <a:gd name="connsiteY55" fmla="*/ 131845 h 474746"/>
                  <a:gd name="connsiteX56" fmla="*/ 22081 w 949492"/>
                  <a:gd name="connsiteY56" fmla="*/ 98058 h 474746"/>
                  <a:gd name="connsiteX57" fmla="*/ 616003 w 949492"/>
                  <a:gd name="connsiteY57" fmla="*/ 70012 h 474746"/>
                  <a:gd name="connsiteX58" fmla="*/ 728881 w 949492"/>
                  <a:gd name="connsiteY58" fmla="*/ 284406 h 474746"/>
                  <a:gd name="connsiteX59" fmla="*/ 524968 w 949492"/>
                  <a:gd name="connsiteY59" fmla="*/ 241543 h 474746"/>
                  <a:gd name="connsiteX60" fmla="*/ 616003 w 949492"/>
                  <a:gd name="connsiteY60" fmla="*/ 70012 h 474746"/>
                  <a:gd name="connsiteX61" fmla="*/ 161613 w 949492"/>
                  <a:gd name="connsiteY61" fmla="*/ 284218 h 474746"/>
                  <a:gd name="connsiteX62" fmla="*/ 161692 w 949492"/>
                  <a:gd name="connsiteY62" fmla="*/ 284406 h 474746"/>
                  <a:gd name="connsiteX63" fmla="*/ 161613 w 949492"/>
                  <a:gd name="connsiteY63" fmla="*/ 284218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141443 w 949492"/>
                  <a:gd name="connsiteY5" fmla="*/ 273193 h 474746"/>
                  <a:gd name="connsiteX6" fmla="*/ 130037 w 949492"/>
                  <a:gd name="connsiteY6" fmla="*/ 300765 h 474746"/>
                  <a:gd name="connsiteX7" fmla="*/ 130037 w 949492"/>
                  <a:gd name="connsiteY7" fmla="*/ 375381 h 474746"/>
                  <a:gd name="connsiteX8" fmla="*/ 99365 w 949492"/>
                  <a:gd name="connsiteY8" fmla="*/ 375381 h 474746"/>
                  <a:gd name="connsiteX9" fmla="*/ 66244 w 949492"/>
                  <a:gd name="connsiteY9" fmla="*/ 342259 h 474746"/>
                  <a:gd name="connsiteX10" fmla="*/ 66244 w 949492"/>
                  <a:gd name="connsiteY10" fmla="*/ 153452 h 474746"/>
                  <a:gd name="connsiteX11" fmla="*/ 110406 w 949492"/>
                  <a:gd name="connsiteY11" fmla="*/ 99365 h 474746"/>
                  <a:gd name="connsiteX12" fmla="*/ 110406 w 949492"/>
                  <a:gd name="connsiteY12" fmla="*/ 55203 h 474746"/>
                  <a:gd name="connsiteX13" fmla="*/ 93845 w 949492"/>
                  <a:gd name="connsiteY13" fmla="*/ 55203 h 474746"/>
                  <a:gd name="connsiteX14" fmla="*/ 93845 w 949492"/>
                  <a:gd name="connsiteY14" fmla="*/ 11041 h 474746"/>
                  <a:gd name="connsiteX15" fmla="*/ 82805 w 949492"/>
                  <a:gd name="connsiteY15" fmla="*/ 0 h 474746"/>
                  <a:gd name="connsiteX16" fmla="*/ 71764 w 949492"/>
                  <a:gd name="connsiteY16" fmla="*/ 11041 h 474746"/>
                  <a:gd name="connsiteX17" fmla="*/ 71764 w 949492"/>
                  <a:gd name="connsiteY17" fmla="*/ 55203 h 474746"/>
                  <a:gd name="connsiteX18" fmla="*/ 38642 w 949492"/>
                  <a:gd name="connsiteY18" fmla="*/ 55203 h 474746"/>
                  <a:gd name="connsiteX19" fmla="*/ 38642 w 949492"/>
                  <a:gd name="connsiteY19" fmla="*/ 11041 h 474746"/>
                  <a:gd name="connsiteX20" fmla="*/ 27602 w 949492"/>
                  <a:gd name="connsiteY20" fmla="*/ 0 h 474746"/>
                  <a:gd name="connsiteX21" fmla="*/ 16561 w 949492"/>
                  <a:gd name="connsiteY21" fmla="*/ 11041 h 474746"/>
                  <a:gd name="connsiteX22" fmla="*/ 16561 w 949492"/>
                  <a:gd name="connsiteY22" fmla="*/ 55203 h 474746"/>
                  <a:gd name="connsiteX23" fmla="*/ 0 w 949492"/>
                  <a:gd name="connsiteY23" fmla="*/ 55203 h 474746"/>
                  <a:gd name="connsiteX24" fmla="*/ 0 w 949492"/>
                  <a:gd name="connsiteY24" fmla="*/ 99365 h 474746"/>
                  <a:gd name="connsiteX25" fmla="*/ 44162 w 949492"/>
                  <a:gd name="connsiteY25" fmla="*/ 153452 h 474746"/>
                  <a:gd name="connsiteX26" fmla="*/ 44162 w 949492"/>
                  <a:gd name="connsiteY26" fmla="*/ 342259 h 474746"/>
                  <a:gd name="connsiteX27" fmla="*/ 99365 w 949492"/>
                  <a:gd name="connsiteY27" fmla="*/ 397462 h 474746"/>
                  <a:gd name="connsiteX28" fmla="*/ 130037 w 949492"/>
                  <a:gd name="connsiteY28" fmla="*/ 397462 h 474746"/>
                  <a:gd name="connsiteX29" fmla="*/ 130037 w 949492"/>
                  <a:gd name="connsiteY29" fmla="*/ 398688 h 474746"/>
                  <a:gd name="connsiteX30" fmla="*/ 206095 w 949492"/>
                  <a:gd name="connsiteY30" fmla="*/ 474746 h 474746"/>
                  <a:gd name="connsiteX31" fmla="*/ 219298 w 949492"/>
                  <a:gd name="connsiteY31" fmla="*/ 474746 h 474746"/>
                  <a:gd name="connsiteX32" fmla="*/ 218445 w 949492"/>
                  <a:gd name="connsiteY32" fmla="*/ 461781 h 474746"/>
                  <a:gd name="connsiteX33" fmla="*/ 218908 w 949492"/>
                  <a:gd name="connsiteY33" fmla="*/ 452665 h 474746"/>
                  <a:gd name="connsiteX34" fmla="*/ 206075 w 949492"/>
                  <a:gd name="connsiteY34" fmla="*/ 452665 h 474746"/>
                  <a:gd name="connsiteX35" fmla="*/ 152117 w 949492"/>
                  <a:gd name="connsiteY35" fmla="*/ 398706 h 474746"/>
                  <a:gd name="connsiteX36" fmla="*/ 152117 w 949492"/>
                  <a:gd name="connsiteY36" fmla="*/ 306487 h 474746"/>
                  <a:gd name="connsiteX37" fmla="*/ 774631 w 949492"/>
                  <a:gd name="connsiteY37" fmla="*/ 306487 h 474746"/>
                  <a:gd name="connsiteX38" fmla="*/ 775551 w 949492"/>
                  <a:gd name="connsiteY38" fmla="*/ 306577 h 474746"/>
                  <a:gd name="connsiteX39" fmla="*/ 854442 w 949492"/>
                  <a:gd name="connsiteY39" fmla="*/ 306577 h 474746"/>
                  <a:gd name="connsiteX40" fmla="*/ 927411 w 949492"/>
                  <a:gd name="connsiteY40" fmla="*/ 379544 h 474746"/>
                  <a:gd name="connsiteX41" fmla="*/ 927411 w 949492"/>
                  <a:gd name="connsiteY41" fmla="*/ 436724 h 474746"/>
                  <a:gd name="connsiteX42" fmla="*/ 911465 w 949492"/>
                  <a:gd name="connsiteY42" fmla="*/ 452665 h 474746"/>
                  <a:gd name="connsiteX43" fmla="*/ 857126 w 949492"/>
                  <a:gd name="connsiteY43" fmla="*/ 452665 h 474746"/>
                  <a:gd name="connsiteX44" fmla="*/ 857588 w 949492"/>
                  <a:gd name="connsiteY44" fmla="*/ 461781 h 474746"/>
                  <a:gd name="connsiteX45" fmla="*/ 856735 w 949492"/>
                  <a:gd name="connsiteY45" fmla="*/ 474746 h 474746"/>
                  <a:gd name="connsiteX46" fmla="*/ 911473 w 949492"/>
                  <a:gd name="connsiteY46" fmla="*/ 474746 h 474746"/>
                  <a:gd name="connsiteX47" fmla="*/ 949492 w 949492"/>
                  <a:gd name="connsiteY47" fmla="*/ 436727 h 474746"/>
                  <a:gd name="connsiteX48" fmla="*/ 949492 w 949492"/>
                  <a:gd name="connsiteY48" fmla="*/ 379674 h 474746"/>
                  <a:gd name="connsiteX49" fmla="*/ 854308 w 949492"/>
                  <a:gd name="connsiteY49" fmla="*/ 284490 h 474746"/>
                  <a:gd name="connsiteX50" fmla="*/ 22081 w 949492"/>
                  <a:gd name="connsiteY50" fmla="*/ 98058 h 474746"/>
                  <a:gd name="connsiteX51" fmla="*/ 22081 w 949492"/>
                  <a:gd name="connsiteY51" fmla="*/ 77284 h 474746"/>
                  <a:gd name="connsiteX52" fmla="*/ 88325 w 949492"/>
                  <a:gd name="connsiteY52" fmla="*/ 77284 h 474746"/>
                  <a:gd name="connsiteX53" fmla="*/ 88325 w 949492"/>
                  <a:gd name="connsiteY53" fmla="*/ 99365 h 474746"/>
                  <a:gd name="connsiteX54" fmla="*/ 55107 w 949492"/>
                  <a:gd name="connsiteY54" fmla="*/ 132497 h 474746"/>
                  <a:gd name="connsiteX55" fmla="*/ 48602 w 949492"/>
                  <a:gd name="connsiteY55" fmla="*/ 131845 h 474746"/>
                  <a:gd name="connsiteX56" fmla="*/ 22081 w 949492"/>
                  <a:gd name="connsiteY56" fmla="*/ 98058 h 474746"/>
                  <a:gd name="connsiteX57" fmla="*/ 616003 w 949492"/>
                  <a:gd name="connsiteY57" fmla="*/ 70012 h 474746"/>
                  <a:gd name="connsiteX58" fmla="*/ 728881 w 949492"/>
                  <a:gd name="connsiteY58" fmla="*/ 284406 h 474746"/>
                  <a:gd name="connsiteX59" fmla="*/ 524968 w 949492"/>
                  <a:gd name="connsiteY59" fmla="*/ 241543 h 474746"/>
                  <a:gd name="connsiteX60" fmla="*/ 616003 w 949492"/>
                  <a:gd name="connsiteY60" fmla="*/ 70012 h 474746"/>
                  <a:gd name="connsiteX61" fmla="*/ 161613 w 949492"/>
                  <a:gd name="connsiteY61" fmla="*/ 284218 h 474746"/>
                  <a:gd name="connsiteX62" fmla="*/ 161692 w 949492"/>
                  <a:gd name="connsiteY62" fmla="*/ 284406 h 474746"/>
                  <a:gd name="connsiteX63" fmla="*/ 161613 w 949492"/>
                  <a:gd name="connsiteY63" fmla="*/ 284218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141443 w 949492"/>
                  <a:gd name="connsiteY5" fmla="*/ 273193 h 474746"/>
                  <a:gd name="connsiteX6" fmla="*/ 130037 w 949492"/>
                  <a:gd name="connsiteY6" fmla="*/ 300765 h 474746"/>
                  <a:gd name="connsiteX7" fmla="*/ 130037 w 949492"/>
                  <a:gd name="connsiteY7" fmla="*/ 375381 h 474746"/>
                  <a:gd name="connsiteX8" fmla="*/ 99365 w 949492"/>
                  <a:gd name="connsiteY8" fmla="*/ 375381 h 474746"/>
                  <a:gd name="connsiteX9" fmla="*/ 66244 w 949492"/>
                  <a:gd name="connsiteY9" fmla="*/ 342259 h 474746"/>
                  <a:gd name="connsiteX10" fmla="*/ 66244 w 949492"/>
                  <a:gd name="connsiteY10" fmla="*/ 153452 h 474746"/>
                  <a:gd name="connsiteX11" fmla="*/ 110406 w 949492"/>
                  <a:gd name="connsiteY11" fmla="*/ 99365 h 474746"/>
                  <a:gd name="connsiteX12" fmla="*/ 110406 w 949492"/>
                  <a:gd name="connsiteY12" fmla="*/ 55203 h 474746"/>
                  <a:gd name="connsiteX13" fmla="*/ 93845 w 949492"/>
                  <a:gd name="connsiteY13" fmla="*/ 55203 h 474746"/>
                  <a:gd name="connsiteX14" fmla="*/ 93845 w 949492"/>
                  <a:gd name="connsiteY14" fmla="*/ 11041 h 474746"/>
                  <a:gd name="connsiteX15" fmla="*/ 82805 w 949492"/>
                  <a:gd name="connsiteY15" fmla="*/ 0 h 474746"/>
                  <a:gd name="connsiteX16" fmla="*/ 71764 w 949492"/>
                  <a:gd name="connsiteY16" fmla="*/ 11041 h 474746"/>
                  <a:gd name="connsiteX17" fmla="*/ 71764 w 949492"/>
                  <a:gd name="connsiteY17" fmla="*/ 55203 h 474746"/>
                  <a:gd name="connsiteX18" fmla="*/ 38642 w 949492"/>
                  <a:gd name="connsiteY18" fmla="*/ 55203 h 474746"/>
                  <a:gd name="connsiteX19" fmla="*/ 38642 w 949492"/>
                  <a:gd name="connsiteY19" fmla="*/ 11041 h 474746"/>
                  <a:gd name="connsiteX20" fmla="*/ 27602 w 949492"/>
                  <a:gd name="connsiteY20" fmla="*/ 0 h 474746"/>
                  <a:gd name="connsiteX21" fmla="*/ 16561 w 949492"/>
                  <a:gd name="connsiteY21" fmla="*/ 11041 h 474746"/>
                  <a:gd name="connsiteX22" fmla="*/ 16561 w 949492"/>
                  <a:gd name="connsiteY22" fmla="*/ 55203 h 474746"/>
                  <a:gd name="connsiteX23" fmla="*/ 0 w 949492"/>
                  <a:gd name="connsiteY23" fmla="*/ 55203 h 474746"/>
                  <a:gd name="connsiteX24" fmla="*/ 0 w 949492"/>
                  <a:gd name="connsiteY24" fmla="*/ 99365 h 474746"/>
                  <a:gd name="connsiteX25" fmla="*/ 44162 w 949492"/>
                  <a:gd name="connsiteY25" fmla="*/ 153452 h 474746"/>
                  <a:gd name="connsiteX26" fmla="*/ 44162 w 949492"/>
                  <a:gd name="connsiteY26" fmla="*/ 342259 h 474746"/>
                  <a:gd name="connsiteX27" fmla="*/ 99365 w 949492"/>
                  <a:gd name="connsiteY27" fmla="*/ 397462 h 474746"/>
                  <a:gd name="connsiteX28" fmla="*/ 130037 w 949492"/>
                  <a:gd name="connsiteY28" fmla="*/ 397462 h 474746"/>
                  <a:gd name="connsiteX29" fmla="*/ 130037 w 949492"/>
                  <a:gd name="connsiteY29" fmla="*/ 398688 h 474746"/>
                  <a:gd name="connsiteX30" fmla="*/ 206095 w 949492"/>
                  <a:gd name="connsiteY30" fmla="*/ 474746 h 474746"/>
                  <a:gd name="connsiteX31" fmla="*/ 219298 w 949492"/>
                  <a:gd name="connsiteY31" fmla="*/ 474746 h 474746"/>
                  <a:gd name="connsiteX32" fmla="*/ 218445 w 949492"/>
                  <a:gd name="connsiteY32" fmla="*/ 461781 h 474746"/>
                  <a:gd name="connsiteX33" fmla="*/ 218908 w 949492"/>
                  <a:gd name="connsiteY33" fmla="*/ 452665 h 474746"/>
                  <a:gd name="connsiteX34" fmla="*/ 206075 w 949492"/>
                  <a:gd name="connsiteY34" fmla="*/ 452665 h 474746"/>
                  <a:gd name="connsiteX35" fmla="*/ 152117 w 949492"/>
                  <a:gd name="connsiteY35" fmla="*/ 398706 h 474746"/>
                  <a:gd name="connsiteX36" fmla="*/ 152117 w 949492"/>
                  <a:gd name="connsiteY36" fmla="*/ 306487 h 474746"/>
                  <a:gd name="connsiteX37" fmla="*/ 774631 w 949492"/>
                  <a:gd name="connsiteY37" fmla="*/ 306487 h 474746"/>
                  <a:gd name="connsiteX38" fmla="*/ 775551 w 949492"/>
                  <a:gd name="connsiteY38" fmla="*/ 306577 h 474746"/>
                  <a:gd name="connsiteX39" fmla="*/ 854442 w 949492"/>
                  <a:gd name="connsiteY39" fmla="*/ 306577 h 474746"/>
                  <a:gd name="connsiteX40" fmla="*/ 927411 w 949492"/>
                  <a:gd name="connsiteY40" fmla="*/ 379544 h 474746"/>
                  <a:gd name="connsiteX41" fmla="*/ 927411 w 949492"/>
                  <a:gd name="connsiteY41" fmla="*/ 436724 h 474746"/>
                  <a:gd name="connsiteX42" fmla="*/ 911465 w 949492"/>
                  <a:gd name="connsiteY42" fmla="*/ 452665 h 474746"/>
                  <a:gd name="connsiteX43" fmla="*/ 857126 w 949492"/>
                  <a:gd name="connsiteY43" fmla="*/ 452665 h 474746"/>
                  <a:gd name="connsiteX44" fmla="*/ 857588 w 949492"/>
                  <a:gd name="connsiteY44" fmla="*/ 461781 h 474746"/>
                  <a:gd name="connsiteX45" fmla="*/ 856735 w 949492"/>
                  <a:gd name="connsiteY45" fmla="*/ 474746 h 474746"/>
                  <a:gd name="connsiteX46" fmla="*/ 911473 w 949492"/>
                  <a:gd name="connsiteY46" fmla="*/ 474746 h 474746"/>
                  <a:gd name="connsiteX47" fmla="*/ 949492 w 949492"/>
                  <a:gd name="connsiteY47" fmla="*/ 436727 h 474746"/>
                  <a:gd name="connsiteX48" fmla="*/ 949492 w 949492"/>
                  <a:gd name="connsiteY48" fmla="*/ 379674 h 474746"/>
                  <a:gd name="connsiteX49" fmla="*/ 854308 w 949492"/>
                  <a:gd name="connsiteY49" fmla="*/ 284490 h 474746"/>
                  <a:gd name="connsiteX50" fmla="*/ 22081 w 949492"/>
                  <a:gd name="connsiteY50" fmla="*/ 98058 h 474746"/>
                  <a:gd name="connsiteX51" fmla="*/ 22081 w 949492"/>
                  <a:gd name="connsiteY51" fmla="*/ 77284 h 474746"/>
                  <a:gd name="connsiteX52" fmla="*/ 88325 w 949492"/>
                  <a:gd name="connsiteY52" fmla="*/ 77284 h 474746"/>
                  <a:gd name="connsiteX53" fmla="*/ 88325 w 949492"/>
                  <a:gd name="connsiteY53" fmla="*/ 99365 h 474746"/>
                  <a:gd name="connsiteX54" fmla="*/ 55107 w 949492"/>
                  <a:gd name="connsiteY54" fmla="*/ 132497 h 474746"/>
                  <a:gd name="connsiteX55" fmla="*/ 48602 w 949492"/>
                  <a:gd name="connsiteY55" fmla="*/ 131845 h 474746"/>
                  <a:gd name="connsiteX56" fmla="*/ 22081 w 949492"/>
                  <a:gd name="connsiteY56" fmla="*/ 98058 h 474746"/>
                  <a:gd name="connsiteX57" fmla="*/ 625528 w 949492"/>
                  <a:gd name="connsiteY57" fmla="*/ 93825 h 474746"/>
                  <a:gd name="connsiteX58" fmla="*/ 728881 w 949492"/>
                  <a:gd name="connsiteY58" fmla="*/ 284406 h 474746"/>
                  <a:gd name="connsiteX59" fmla="*/ 524968 w 949492"/>
                  <a:gd name="connsiteY59" fmla="*/ 241543 h 474746"/>
                  <a:gd name="connsiteX60" fmla="*/ 625528 w 949492"/>
                  <a:gd name="connsiteY60" fmla="*/ 93825 h 474746"/>
                  <a:gd name="connsiteX61" fmla="*/ 161613 w 949492"/>
                  <a:gd name="connsiteY61" fmla="*/ 284218 h 474746"/>
                  <a:gd name="connsiteX62" fmla="*/ 161692 w 949492"/>
                  <a:gd name="connsiteY62" fmla="*/ 284406 h 474746"/>
                  <a:gd name="connsiteX63" fmla="*/ 161613 w 949492"/>
                  <a:gd name="connsiteY63" fmla="*/ 284218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141443 w 949492"/>
                  <a:gd name="connsiteY5" fmla="*/ 273193 h 474746"/>
                  <a:gd name="connsiteX6" fmla="*/ 130037 w 949492"/>
                  <a:gd name="connsiteY6" fmla="*/ 300765 h 474746"/>
                  <a:gd name="connsiteX7" fmla="*/ 130037 w 949492"/>
                  <a:gd name="connsiteY7" fmla="*/ 375381 h 474746"/>
                  <a:gd name="connsiteX8" fmla="*/ 99365 w 949492"/>
                  <a:gd name="connsiteY8" fmla="*/ 375381 h 474746"/>
                  <a:gd name="connsiteX9" fmla="*/ 66244 w 949492"/>
                  <a:gd name="connsiteY9" fmla="*/ 342259 h 474746"/>
                  <a:gd name="connsiteX10" fmla="*/ 66244 w 949492"/>
                  <a:gd name="connsiteY10" fmla="*/ 153452 h 474746"/>
                  <a:gd name="connsiteX11" fmla="*/ 110406 w 949492"/>
                  <a:gd name="connsiteY11" fmla="*/ 99365 h 474746"/>
                  <a:gd name="connsiteX12" fmla="*/ 110406 w 949492"/>
                  <a:gd name="connsiteY12" fmla="*/ 55203 h 474746"/>
                  <a:gd name="connsiteX13" fmla="*/ 93845 w 949492"/>
                  <a:gd name="connsiteY13" fmla="*/ 55203 h 474746"/>
                  <a:gd name="connsiteX14" fmla="*/ 93845 w 949492"/>
                  <a:gd name="connsiteY14" fmla="*/ 11041 h 474746"/>
                  <a:gd name="connsiteX15" fmla="*/ 82805 w 949492"/>
                  <a:gd name="connsiteY15" fmla="*/ 0 h 474746"/>
                  <a:gd name="connsiteX16" fmla="*/ 71764 w 949492"/>
                  <a:gd name="connsiteY16" fmla="*/ 11041 h 474746"/>
                  <a:gd name="connsiteX17" fmla="*/ 71764 w 949492"/>
                  <a:gd name="connsiteY17" fmla="*/ 55203 h 474746"/>
                  <a:gd name="connsiteX18" fmla="*/ 38642 w 949492"/>
                  <a:gd name="connsiteY18" fmla="*/ 55203 h 474746"/>
                  <a:gd name="connsiteX19" fmla="*/ 38642 w 949492"/>
                  <a:gd name="connsiteY19" fmla="*/ 11041 h 474746"/>
                  <a:gd name="connsiteX20" fmla="*/ 27602 w 949492"/>
                  <a:gd name="connsiteY20" fmla="*/ 0 h 474746"/>
                  <a:gd name="connsiteX21" fmla="*/ 16561 w 949492"/>
                  <a:gd name="connsiteY21" fmla="*/ 11041 h 474746"/>
                  <a:gd name="connsiteX22" fmla="*/ 16561 w 949492"/>
                  <a:gd name="connsiteY22" fmla="*/ 55203 h 474746"/>
                  <a:gd name="connsiteX23" fmla="*/ 0 w 949492"/>
                  <a:gd name="connsiteY23" fmla="*/ 55203 h 474746"/>
                  <a:gd name="connsiteX24" fmla="*/ 0 w 949492"/>
                  <a:gd name="connsiteY24" fmla="*/ 99365 h 474746"/>
                  <a:gd name="connsiteX25" fmla="*/ 44162 w 949492"/>
                  <a:gd name="connsiteY25" fmla="*/ 153452 h 474746"/>
                  <a:gd name="connsiteX26" fmla="*/ 44162 w 949492"/>
                  <a:gd name="connsiteY26" fmla="*/ 342259 h 474746"/>
                  <a:gd name="connsiteX27" fmla="*/ 99365 w 949492"/>
                  <a:gd name="connsiteY27" fmla="*/ 397462 h 474746"/>
                  <a:gd name="connsiteX28" fmla="*/ 130037 w 949492"/>
                  <a:gd name="connsiteY28" fmla="*/ 397462 h 474746"/>
                  <a:gd name="connsiteX29" fmla="*/ 130037 w 949492"/>
                  <a:gd name="connsiteY29" fmla="*/ 398688 h 474746"/>
                  <a:gd name="connsiteX30" fmla="*/ 206095 w 949492"/>
                  <a:gd name="connsiteY30" fmla="*/ 474746 h 474746"/>
                  <a:gd name="connsiteX31" fmla="*/ 219298 w 949492"/>
                  <a:gd name="connsiteY31" fmla="*/ 474746 h 474746"/>
                  <a:gd name="connsiteX32" fmla="*/ 218445 w 949492"/>
                  <a:gd name="connsiteY32" fmla="*/ 461781 h 474746"/>
                  <a:gd name="connsiteX33" fmla="*/ 218908 w 949492"/>
                  <a:gd name="connsiteY33" fmla="*/ 452665 h 474746"/>
                  <a:gd name="connsiteX34" fmla="*/ 206075 w 949492"/>
                  <a:gd name="connsiteY34" fmla="*/ 452665 h 474746"/>
                  <a:gd name="connsiteX35" fmla="*/ 152117 w 949492"/>
                  <a:gd name="connsiteY35" fmla="*/ 398706 h 474746"/>
                  <a:gd name="connsiteX36" fmla="*/ 152117 w 949492"/>
                  <a:gd name="connsiteY36" fmla="*/ 306487 h 474746"/>
                  <a:gd name="connsiteX37" fmla="*/ 774631 w 949492"/>
                  <a:gd name="connsiteY37" fmla="*/ 306487 h 474746"/>
                  <a:gd name="connsiteX38" fmla="*/ 775551 w 949492"/>
                  <a:gd name="connsiteY38" fmla="*/ 306577 h 474746"/>
                  <a:gd name="connsiteX39" fmla="*/ 854442 w 949492"/>
                  <a:gd name="connsiteY39" fmla="*/ 306577 h 474746"/>
                  <a:gd name="connsiteX40" fmla="*/ 927411 w 949492"/>
                  <a:gd name="connsiteY40" fmla="*/ 379544 h 474746"/>
                  <a:gd name="connsiteX41" fmla="*/ 927411 w 949492"/>
                  <a:gd name="connsiteY41" fmla="*/ 436724 h 474746"/>
                  <a:gd name="connsiteX42" fmla="*/ 911465 w 949492"/>
                  <a:gd name="connsiteY42" fmla="*/ 452665 h 474746"/>
                  <a:gd name="connsiteX43" fmla="*/ 857126 w 949492"/>
                  <a:gd name="connsiteY43" fmla="*/ 452665 h 474746"/>
                  <a:gd name="connsiteX44" fmla="*/ 857588 w 949492"/>
                  <a:gd name="connsiteY44" fmla="*/ 461781 h 474746"/>
                  <a:gd name="connsiteX45" fmla="*/ 856735 w 949492"/>
                  <a:gd name="connsiteY45" fmla="*/ 474746 h 474746"/>
                  <a:gd name="connsiteX46" fmla="*/ 911473 w 949492"/>
                  <a:gd name="connsiteY46" fmla="*/ 474746 h 474746"/>
                  <a:gd name="connsiteX47" fmla="*/ 949492 w 949492"/>
                  <a:gd name="connsiteY47" fmla="*/ 436727 h 474746"/>
                  <a:gd name="connsiteX48" fmla="*/ 949492 w 949492"/>
                  <a:gd name="connsiteY48" fmla="*/ 379674 h 474746"/>
                  <a:gd name="connsiteX49" fmla="*/ 854308 w 949492"/>
                  <a:gd name="connsiteY49" fmla="*/ 284490 h 474746"/>
                  <a:gd name="connsiteX50" fmla="*/ 22081 w 949492"/>
                  <a:gd name="connsiteY50" fmla="*/ 98058 h 474746"/>
                  <a:gd name="connsiteX51" fmla="*/ 22081 w 949492"/>
                  <a:gd name="connsiteY51" fmla="*/ 77284 h 474746"/>
                  <a:gd name="connsiteX52" fmla="*/ 88325 w 949492"/>
                  <a:gd name="connsiteY52" fmla="*/ 77284 h 474746"/>
                  <a:gd name="connsiteX53" fmla="*/ 88325 w 949492"/>
                  <a:gd name="connsiteY53" fmla="*/ 99365 h 474746"/>
                  <a:gd name="connsiteX54" fmla="*/ 55107 w 949492"/>
                  <a:gd name="connsiteY54" fmla="*/ 132497 h 474746"/>
                  <a:gd name="connsiteX55" fmla="*/ 48602 w 949492"/>
                  <a:gd name="connsiteY55" fmla="*/ 131845 h 474746"/>
                  <a:gd name="connsiteX56" fmla="*/ 22081 w 949492"/>
                  <a:gd name="connsiteY56" fmla="*/ 98058 h 474746"/>
                  <a:gd name="connsiteX57" fmla="*/ 524968 w 949492"/>
                  <a:gd name="connsiteY57" fmla="*/ 241543 h 474746"/>
                  <a:gd name="connsiteX58" fmla="*/ 728881 w 949492"/>
                  <a:gd name="connsiteY58" fmla="*/ 284406 h 474746"/>
                  <a:gd name="connsiteX59" fmla="*/ 524968 w 949492"/>
                  <a:gd name="connsiteY59" fmla="*/ 241543 h 474746"/>
                  <a:gd name="connsiteX60" fmla="*/ 161613 w 949492"/>
                  <a:gd name="connsiteY60" fmla="*/ 284218 h 474746"/>
                  <a:gd name="connsiteX61" fmla="*/ 161692 w 949492"/>
                  <a:gd name="connsiteY61" fmla="*/ 284406 h 474746"/>
                  <a:gd name="connsiteX62" fmla="*/ 161613 w 949492"/>
                  <a:gd name="connsiteY62" fmla="*/ 284218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141443 w 949492"/>
                  <a:gd name="connsiteY5" fmla="*/ 273193 h 474746"/>
                  <a:gd name="connsiteX6" fmla="*/ 130037 w 949492"/>
                  <a:gd name="connsiteY6" fmla="*/ 300765 h 474746"/>
                  <a:gd name="connsiteX7" fmla="*/ 130037 w 949492"/>
                  <a:gd name="connsiteY7" fmla="*/ 375381 h 474746"/>
                  <a:gd name="connsiteX8" fmla="*/ 99365 w 949492"/>
                  <a:gd name="connsiteY8" fmla="*/ 375381 h 474746"/>
                  <a:gd name="connsiteX9" fmla="*/ 66244 w 949492"/>
                  <a:gd name="connsiteY9" fmla="*/ 342259 h 474746"/>
                  <a:gd name="connsiteX10" fmla="*/ 66244 w 949492"/>
                  <a:gd name="connsiteY10" fmla="*/ 153452 h 474746"/>
                  <a:gd name="connsiteX11" fmla="*/ 110406 w 949492"/>
                  <a:gd name="connsiteY11" fmla="*/ 99365 h 474746"/>
                  <a:gd name="connsiteX12" fmla="*/ 110406 w 949492"/>
                  <a:gd name="connsiteY12" fmla="*/ 55203 h 474746"/>
                  <a:gd name="connsiteX13" fmla="*/ 93845 w 949492"/>
                  <a:gd name="connsiteY13" fmla="*/ 55203 h 474746"/>
                  <a:gd name="connsiteX14" fmla="*/ 93845 w 949492"/>
                  <a:gd name="connsiteY14" fmla="*/ 11041 h 474746"/>
                  <a:gd name="connsiteX15" fmla="*/ 82805 w 949492"/>
                  <a:gd name="connsiteY15" fmla="*/ 0 h 474746"/>
                  <a:gd name="connsiteX16" fmla="*/ 71764 w 949492"/>
                  <a:gd name="connsiteY16" fmla="*/ 11041 h 474746"/>
                  <a:gd name="connsiteX17" fmla="*/ 71764 w 949492"/>
                  <a:gd name="connsiteY17" fmla="*/ 55203 h 474746"/>
                  <a:gd name="connsiteX18" fmla="*/ 38642 w 949492"/>
                  <a:gd name="connsiteY18" fmla="*/ 55203 h 474746"/>
                  <a:gd name="connsiteX19" fmla="*/ 38642 w 949492"/>
                  <a:gd name="connsiteY19" fmla="*/ 11041 h 474746"/>
                  <a:gd name="connsiteX20" fmla="*/ 27602 w 949492"/>
                  <a:gd name="connsiteY20" fmla="*/ 0 h 474746"/>
                  <a:gd name="connsiteX21" fmla="*/ 16561 w 949492"/>
                  <a:gd name="connsiteY21" fmla="*/ 11041 h 474746"/>
                  <a:gd name="connsiteX22" fmla="*/ 16561 w 949492"/>
                  <a:gd name="connsiteY22" fmla="*/ 55203 h 474746"/>
                  <a:gd name="connsiteX23" fmla="*/ 0 w 949492"/>
                  <a:gd name="connsiteY23" fmla="*/ 55203 h 474746"/>
                  <a:gd name="connsiteX24" fmla="*/ 0 w 949492"/>
                  <a:gd name="connsiteY24" fmla="*/ 99365 h 474746"/>
                  <a:gd name="connsiteX25" fmla="*/ 44162 w 949492"/>
                  <a:gd name="connsiteY25" fmla="*/ 153452 h 474746"/>
                  <a:gd name="connsiteX26" fmla="*/ 44162 w 949492"/>
                  <a:gd name="connsiteY26" fmla="*/ 342259 h 474746"/>
                  <a:gd name="connsiteX27" fmla="*/ 99365 w 949492"/>
                  <a:gd name="connsiteY27" fmla="*/ 397462 h 474746"/>
                  <a:gd name="connsiteX28" fmla="*/ 130037 w 949492"/>
                  <a:gd name="connsiteY28" fmla="*/ 397462 h 474746"/>
                  <a:gd name="connsiteX29" fmla="*/ 130037 w 949492"/>
                  <a:gd name="connsiteY29" fmla="*/ 398688 h 474746"/>
                  <a:gd name="connsiteX30" fmla="*/ 206095 w 949492"/>
                  <a:gd name="connsiteY30" fmla="*/ 474746 h 474746"/>
                  <a:gd name="connsiteX31" fmla="*/ 219298 w 949492"/>
                  <a:gd name="connsiteY31" fmla="*/ 474746 h 474746"/>
                  <a:gd name="connsiteX32" fmla="*/ 218445 w 949492"/>
                  <a:gd name="connsiteY32" fmla="*/ 461781 h 474746"/>
                  <a:gd name="connsiteX33" fmla="*/ 218908 w 949492"/>
                  <a:gd name="connsiteY33" fmla="*/ 452665 h 474746"/>
                  <a:gd name="connsiteX34" fmla="*/ 206075 w 949492"/>
                  <a:gd name="connsiteY34" fmla="*/ 452665 h 474746"/>
                  <a:gd name="connsiteX35" fmla="*/ 152117 w 949492"/>
                  <a:gd name="connsiteY35" fmla="*/ 398706 h 474746"/>
                  <a:gd name="connsiteX36" fmla="*/ 152117 w 949492"/>
                  <a:gd name="connsiteY36" fmla="*/ 306487 h 474746"/>
                  <a:gd name="connsiteX37" fmla="*/ 774631 w 949492"/>
                  <a:gd name="connsiteY37" fmla="*/ 306487 h 474746"/>
                  <a:gd name="connsiteX38" fmla="*/ 775551 w 949492"/>
                  <a:gd name="connsiteY38" fmla="*/ 306577 h 474746"/>
                  <a:gd name="connsiteX39" fmla="*/ 854442 w 949492"/>
                  <a:gd name="connsiteY39" fmla="*/ 306577 h 474746"/>
                  <a:gd name="connsiteX40" fmla="*/ 927411 w 949492"/>
                  <a:gd name="connsiteY40" fmla="*/ 379544 h 474746"/>
                  <a:gd name="connsiteX41" fmla="*/ 927411 w 949492"/>
                  <a:gd name="connsiteY41" fmla="*/ 436724 h 474746"/>
                  <a:gd name="connsiteX42" fmla="*/ 911465 w 949492"/>
                  <a:gd name="connsiteY42" fmla="*/ 452665 h 474746"/>
                  <a:gd name="connsiteX43" fmla="*/ 857126 w 949492"/>
                  <a:gd name="connsiteY43" fmla="*/ 452665 h 474746"/>
                  <a:gd name="connsiteX44" fmla="*/ 857588 w 949492"/>
                  <a:gd name="connsiteY44" fmla="*/ 461781 h 474746"/>
                  <a:gd name="connsiteX45" fmla="*/ 856735 w 949492"/>
                  <a:gd name="connsiteY45" fmla="*/ 474746 h 474746"/>
                  <a:gd name="connsiteX46" fmla="*/ 911473 w 949492"/>
                  <a:gd name="connsiteY46" fmla="*/ 474746 h 474746"/>
                  <a:gd name="connsiteX47" fmla="*/ 949492 w 949492"/>
                  <a:gd name="connsiteY47" fmla="*/ 436727 h 474746"/>
                  <a:gd name="connsiteX48" fmla="*/ 949492 w 949492"/>
                  <a:gd name="connsiteY48" fmla="*/ 379674 h 474746"/>
                  <a:gd name="connsiteX49" fmla="*/ 854308 w 949492"/>
                  <a:gd name="connsiteY49" fmla="*/ 284490 h 474746"/>
                  <a:gd name="connsiteX50" fmla="*/ 22081 w 949492"/>
                  <a:gd name="connsiteY50" fmla="*/ 98058 h 474746"/>
                  <a:gd name="connsiteX51" fmla="*/ 22081 w 949492"/>
                  <a:gd name="connsiteY51" fmla="*/ 77284 h 474746"/>
                  <a:gd name="connsiteX52" fmla="*/ 88325 w 949492"/>
                  <a:gd name="connsiteY52" fmla="*/ 77284 h 474746"/>
                  <a:gd name="connsiteX53" fmla="*/ 88325 w 949492"/>
                  <a:gd name="connsiteY53" fmla="*/ 99365 h 474746"/>
                  <a:gd name="connsiteX54" fmla="*/ 55107 w 949492"/>
                  <a:gd name="connsiteY54" fmla="*/ 132497 h 474746"/>
                  <a:gd name="connsiteX55" fmla="*/ 48602 w 949492"/>
                  <a:gd name="connsiteY55" fmla="*/ 131845 h 474746"/>
                  <a:gd name="connsiteX56" fmla="*/ 22081 w 949492"/>
                  <a:gd name="connsiteY56" fmla="*/ 98058 h 474746"/>
                  <a:gd name="connsiteX57" fmla="*/ 161613 w 949492"/>
                  <a:gd name="connsiteY57" fmla="*/ 284218 h 474746"/>
                  <a:gd name="connsiteX58" fmla="*/ 161692 w 949492"/>
                  <a:gd name="connsiteY58" fmla="*/ 284406 h 474746"/>
                  <a:gd name="connsiteX59" fmla="*/ 161613 w 949492"/>
                  <a:gd name="connsiteY59" fmla="*/ 284218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141443 w 949492"/>
                  <a:gd name="connsiteY4" fmla="*/ 273193 h 474746"/>
                  <a:gd name="connsiteX5" fmla="*/ 130037 w 949492"/>
                  <a:gd name="connsiteY5" fmla="*/ 300765 h 474746"/>
                  <a:gd name="connsiteX6" fmla="*/ 130037 w 949492"/>
                  <a:gd name="connsiteY6" fmla="*/ 375381 h 474746"/>
                  <a:gd name="connsiteX7" fmla="*/ 99365 w 949492"/>
                  <a:gd name="connsiteY7" fmla="*/ 375381 h 474746"/>
                  <a:gd name="connsiteX8" fmla="*/ 66244 w 949492"/>
                  <a:gd name="connsiteY8" fmla="*/ 342259 h 474746"/>
                  <a:gd name="connsiteX9" fmla="*/ 66244 w 949492"/>
                  <a:gd name="connsiteY9" fmla="*/ 153452 h 474746"/>
                  <a:gd name="connsiteX10" fmla="*/ 110406 w 949492"/>
                  <a:gd name="connsiteY10" fmla="*/ 99365 h 474746"/>
                  <a:gd name="connsiteX11" fmla="*/ 110406 w 949492"/>
                  <a:gd name="connsiteY11" fmla="*/ 55203 h 474746"/>
                  <a:gd name="connsiteX12" fmla="*/ 93845 w 949492"/>
                  <a:gd name="connsiteY12" fmla="*/ 55203 h 474746"/>
                  <a:gd name="connsiteX13" fmla="*/ 93845 w 949492"/>
                  <a:gd name="connsiteY13" fmla="*/ 11041 h 474746"/>
                  <a:gd name="connsiteX14" fmla="*/ 82805 w 949492"/>
                  <a:gd name="connsiteY14" fmla="*/ 0 h 474746"/>
                  <a:gd name="connsiteX15" fmla="*/ 71764 w 949492"/>
                  <a:gd name="connsiteY15" fmla="*/ 11041 h 474746"/>
                  <a:gd name="connsiteX16" fmla="*/ 71764 w 949492"/>
                  <a:gd name="connsiteY16" fmla="*/ 55203 h 474746"/>
                  <a:gd name="connsiteX17" fmla="*/ 38642 w 949492"/>
                  <a:gd name="connsiteY17" fmla="*/ 55203 h 474746"/>
                  <a:gd name="connsiteX18" fmla="*/ 38642 w 949492"/>
                  <a:gd name="connsiteY18" fmla="*/ 11041 h 474746"/>
                  <a:gd name="connsiteX19" fmla="*/ 27602 w 949492"/>
                  <a:gd name="connsiteY19" fmla="*/ 0 h 474746"/>
                  <a:gd name="connsiteX20" fmla="*/ 16561 w 949492"/>
                  <a:gd name="connsiteY20" fmla="*/ 11041 h 474746"/>
                  <a:gd name="connsiteX21" fmla="*/ 16561 w 949492"/>
                  <a:gd name="connsiteY21" fmla="*/ 55203 h 474746"/>
                  <a:gd name="connsiteX22" fmla="*/ 0 w 949492"/>
                  <a:gd name="connsiteY22" fmla="*/ 55203 h 474746"/>
                  <a:gd name="connsiteX23" fmla="*/ 0 w 949492"/>
                  <a:gd name="connsiteY23" fmla="*/ 99365 h 474746"/>
                  <a:gd name="connsiteX24" fmla="*/ 44162 w 949492"/>
                  <a:gd name="connsiteY24" fmla="*/ 153452 h 474746"/>
                  <a:gd name="connsiteX25" fmla="*/ 44162 w 949492"/>
                  <a:gd name="connsiteY25" fmla="*/ 342259 h 474746"/>
                  <a:gd name="connsiteX26" fmla="*/ 99365 w 949492"/>
                  <a:gd name="connsiteY26" fmla="*/ 397462 h 474746"/>
                  <a:gd name="connsiteX27" fmla="*/ 130037 w 949492"/>
                  <a:gd name="connsiteY27" fmla="*/ 397462 h 474746"/>
                  <a:gd name="connsiteX28" fmla="*/ 130037 w 949492"/>
                  <a:gd name="connsiteY28" fmla="*/ 398688 h 474746"/>
                  <a:gd name="connsiteX29" fmla="*/ 206095 w 949492"/>
                  <a:gd name="connsiteY29" fmla="*/ 474746 h 474746"/>
                  <a:gd name="connsiteX30" fmla="*/ 219298 w 949492"/>
                  <a:gd name="connsiteY30" fmla="*/ 474746 h 474746"/>
                  <a:gd name="connsiteX31" fmla="*/ 218445 w 949492"/>
                  <a:gd name="connsiteY31" fmla="*/ 461781 h 474746"/>
                  <a:gd name="connsiteX32" fmla="*/ 218908 w 949492"/>
                  <a:gd name="connsiteY32" fmla="*/ 452665 h 474746"/>
                  <a:gd name="connsiteX33" fmla="*/ 206075 w 949492"/>
                  <a:gd name="connsiteY33" fmla="*/ 452665 h 474746"/>
                  <a:gd name="connsiteX34" fmla="*/ 152117 w 949492"/>
                  <a:gd name="connsiteY34" fmla="*/ 398706 h 474746"/>
                  <a:gd name="connsiteX35" fmla="*/ 152117 w 949492"/>
                  <a:gd name="connsiteY35" fmla="*/ 306487 h 474746"/>
                  <a:gd name="connsiteX36" fmla="*/ 774631 w 949492"/>
                  <a:gd name="connsiteY36" fmla="*/ 306487 h 474746"/>
                  <a:gd name="connsiteX37" fmla="*/ 775551 w 949492"/>
                  <a:gd name="connsiteY37" fmla="*/ 306577 h 474746"/>
                  <a:gd name="connsiteX38" fmla="*/ 854442 w 949492"/>
                  <a:gd name="connsiteY38" fmla="*/ 306577 h 474746"/>
                  <a:gd name="connsiteX39" fmla="*/ 927411 w 949492"/>
                  <a:gd name="connsiteY39" fmla="*/ 379544 h 474746"/>
                  <a:gd name="connsiteX40" fmla="*/ 927411 w 949492"/>
                  <a:gd name="connsiteY40" fmla="*/ 436724 h 474746"/>
                  <a:gd name="connsiteX41" fmla="*/ 911465 w 949492"/>
                  <a:gd name="connsiteY41" fmla="*/ 452665 h 474746"/>
                  <a:gd name="connsiteX42" fmla="*/ 857126 w 949492"/>
                  <a:gd name="connsiteY42" fmla="*/ 452665 h 474746"/>
                  <a:gd name="connsiteX43" fmla="*/ 857588 w 949492"/>
                  <a:gd name="connsiteY43" fmla="*/ 461781 h 474746"/>
                  <a:gd name="connsiteX44" fmla="*/ 856735 w 949492"/>
                  <a:gd name="connsiteY44" fmla="*/ 474746 h 474746"/>
                  <a:gd name="connsiteX45" fmla="*/ 911473 w 949492"/>
                  <a:gd name="connsiteY45" fmla="*/ 474746 h 474746"/>
                  <a:gd name="connsiteX46" fmla="*/ 949492 w 949492"/>
                  <a:gd name="connsiteY46" fmla="*/ 436727 h 474746"/>
                  <a:gd name="connsiteX47" fmla="*/ 949492 w 949492"/>
                  <a:gd name="connsiteY47" fmla="*/ 379674 h 474746"/>
                  <a:gd name="connsiteX48" fmla="*/ 854308 w 949492"/>
                  <a:gd name="connsiteY48" fmla="*/ 284490 h 474746"/>
                  <a:gd name="connsiteX49" fmla="*/ 22081 w 949492"/>
                  <a:gd name="connsiteY49" fmla="*/ 98058 h 474746"/>
                  <a:gd name="connsiteX50" fmla="*/ 22081 w 949492"/>
                  <a:gd name="connsiteY50" fmla="*/ 77284 h 474746"/>
                  <a:gd name="connsiteX51" fmla="*/ 88325 w 949492"/>
                  <a:gd name="connsiteY51" fmla="*/ 77284 h 474746"/>
                  <a:gd name="connsiteX52" fmla="*/ 88325 w 949492"/>
                  <a:gd name="connsiteY52" fmla="*/ 99365 h 474746"/>
                  <a:gd name="connsiteX53" fmla="*/ 55107 w 949492"/>
                  <a:gd name="connsiteY53" fmla="*/ 132497 h 474746"/>
                  <a:gd name="connsiteX54" fmla="*/ 48602 w 949492"/>
                  <a:gd name="connsiteY54" fmla="*/ 131845 h 474746"/>
                  <a:gd name="connsiteX55" fmla="*/ 22081 w 949492"/>
                  <a:gd name="connsiteY55" fmla="*/ 98058 h 474746"/>
                  <a:gd name="connsiteX56" fmla="*/ 161613 w 949492"/>
                  <a:gd name="connsiteY56" fmla="*/ 284218 h 474746"/>
                  <a:gd name="connsiteX57" fmla="*/ 161692 w 949492"/>
                  <a:gd name="connsiteY57" fmla="*/ 284406 h 474746"/>
                  <a:gd name="connsiteX58" fmla="*/ 161613 w 949492"/>
                  <a:gd name="connsiteY58" fmla="*/ 284218 h 474746"/>
                  <a:gd name="connsiteX0" fmla="*/ 854308 w 949492"/>
                  <a:gd name="connsiteY0" fmla="*/ 284490 h 474746"/>
                  <a:gd name="connsiteX1" fmla="*/ 778556 w 949492"/>
                  <a:gd name="connsiteY1" fmla="*/ 284490 h 474746"/>
                  <a:gd name="connsiteX2" fmla="*/ 778114 w 949492"/>
                  <a:gd name="connsiteY2" fmla="*/ 284400 h 474746"/>
                  <a:gd name="connsiteX3" fmla="*/ 141443 w 949492"/>
                  <a:gd name="connsiteY3" fmla="*/ 273193 h 474746"/>
                  <a:gd name="connsiteX4" fmla="*/ 130037 w 949492"/>
                  <a:gd name="connsiteY4" fmla="*/ 300765 h 474746"/>
                  <a:gd name="connsiteX5" fmla="*/ 130037 w 949492"/>
                  <a:gd name="connsiteY5" fmla="*/ 375381 h 474746"/>
                  <a:gd name="connsiteX6" fmla="*/ 99365 w 949492"/>
                  <a:gd name="connsiteY6" fmla="*/ 375381 h 474746"/>
                  <a:gd name="connsiteX7" fmla="*/ 66244 w 949492"/>
                  <a:gd name="connsiteY7" fmla="*/ 342259 h 474746"/>
                  <a:gd name="connsiteX8" fmla="*/ 66244 w 949492"/>
                  <a:gd name="connsiteY8" fmla="*/ 153452 h 474746"/>
                  <a:gd name="connsiteX9" fmla="*/ 110406 w 949492"/>
                  <a:gd name="connsiteY9" fmla="*/ 99365 h 474746"/>
                  <a:gd name="connsiteX10" fmla="*/ 110406 w 949492"/>
                  <a:gd name="connsiteY10" fmla="*/ 55203 h 474746"/>
                  <a:gd name="connsiteX11" fmla="*/ 93845 w 949492"/>
                  <a:gd name="connsiteY11" fmla="*/ 55203 h 474746"/>
                  <a:gd name="connsiteX12" fmla="*/ 93845 w 949492"/>
                  <a:gd name="connsiteY12" fmla="*/ 11041 h 474746"/>
                  <a:gd name="connsiteX13" fmla="*/ 82805 w 949492"/>
                  <a:gd name="connsiteY13" fmla="*/ 0 h 474746"/>
                  <a:gd name="connsiteX14" fmla="*/ 71764 w 949492"/>
                  <a:gd name="connsiteY14" fmla="*/ 11041 h 474746"/>
                  <a:gd name="connsiteX15" fmla="*/ 71764 w 949492"/>
                  <a:gd name="connsiteY15" fmla="*/ 55203 h 474746"/>
                  <a:gd name="connsiteX16" fmla="*/ 38642 w 949492"/>
                  <a:gd name="connsiteY16" fmla="*/ 55203 h 474746"/>
                  <a:gd name="connsiteX17" fmla="*/ 38642 w 949492"/>
                  <a:gd name="connsiteY17" fmla="*/ 11041 h 474746"/>
                  <a:gd name="connsiteX18" fmla="*/ 27602 w 949492"/>
                  <a:gd name="connsiteY18" fmla="*/ 0 h 474746"/>
                  <a:gd name="connsiteX19" fmla="*/ 16561 w 949492"/>
                  <a:gd name="connsiteY19" fmla="*/ 11041 h 474746"/>
                  <a:gd name="connsiteX20" fmla="*/ 16561 w 949492"/>
                  <a:gd name="connsiteY20" fmla="*/ 55203 h 474746"/>
                  <a:gd name="connsiteX21" fmla="*/ 0 w 949492"/>
                  <a:gd name="connsiteY21" fmla="*/ 55203 h 474746"/>
                  <a:gd name="connsiteX22" fmla="*/ 0 w 949492"/>
                  <a:gd name="connsiteY22" fmla="*/ 99365 h 474746"/>
                  <a:gd name="connsiteX23" fmla="*/ 44162 w 949492"/>
                  <a:gd name="connsiteY23" fmla="*/ 153452 h 474746"/>
                  <a:gd name="connsiteX24" fmla="*/ 44162 w 949492"/>
                  <a:gd name="connsiteY24" fmla="*/ 342259 h 474746"/>
                  <a:gd name="connsiteX25" fmla="*/ 99365 w 949492"/>
                  <a:gd name="connsiteY25" fmla="*/ 397462 h 474746"/>
                  <a:gd name="connsiteX26" fmla="*/ 130037 w 949492"/>
                  <a:gd name="connsiteY26" fmla="*/ 397462 h 474746"/>
                  <a:gd name="connsiteX27" fmla="*/ 130037 w 949492"/>
                  <a:gd name="connsiteY27" fmla="*/ 398688 h 474746"/>
                  <a:gd name="connsiteX28" fmla="*/ 206095 w 949492"/>
                  <a:gd name="connsiteY28" fmla="*/ 474746 h 474746"/>
                  <a:gd name="connsiteX29" fmla="*/ 219298 w 949492"/>
                  <a:gd name="connsiteY29" fmla="*/ 474746 h 474746"/>
                  <a:gd name="connsiteX30" fmla="*/ 218445 w 949492"/>
                  <a:gd name="connsiteY30" fmla="*/ 461781 h 474746"/>
                  <a:gd name="connsiteX31" fmla="*/ 218908 w 949492"/>
                  <a:gd name="connsiteY31" fmla="*/ 452665 h 474746"/>
                  <a:gd name="connsiteX32" fmla="*/ 206075 w 949492"/>
                  <a:gd name="connsiteY32" fmla="*/ 452665 h 474746"/>
                  <a:gd name="connsiteX33" fmla="*/ 152117 w 949492"/>
                  <a:gd name="connsiteY33" fmla="*/ 398706 h 474746"/>
                  <a:gd name="connsiteX34" fmla="*/ 152117 w 949492"/>
                  <a:gd name="connsiteY34" fmla="*/ 306487 h 474746"/>
                  <a:gd name="connsiteX35" fmla="*/ 774631 w 949492"/>
                  <a:gd name="connsiteY35" fmla="*/ 306487 h 474746"/>
                  <a:gd name="connsiteX36" fmla="*/ 775551 w 949492"/>
                  <a:gd name="connsiteY36" fmla="*/ 306577 h 474746"/>
                  <a:gd name="connsiteX37" fmla="*/ 854442 w 949492"/>
                  <a:gd name="connsiteY37" fmla="*/ 306577 h 474746"/>
                  <a:gd name="connsiteX38" fmla="*/ 927411 w 949492"/>
                  <a:gd name="connsiteY38" fmla="*/ 379544 h 474746"/>
                  <a:gd name="connsiteX39" fmla="*/ 927411 w 949492"/>
                  <a:gd name="connsiteY39" fmla="*/ 436724 h 474746"/>
                  <a:gd name="connsiteX40" fmla="*/ 911465 w 949492"/>
                  <a:gd name="connsiteY40" fmla="*/ 452665 h 474746"/>
                  <a:gd name="connsiteX41" fmla="*/ 857126 w 949492"/>
                  <a:gd name="connsiteY41" fmla="*/ 452665 h 474746"/>
                  <a:gd name="connsiteX42" fmla="*/ 857588 w 949492"/>
                  <a:gd name="connsiteY42" fmla="*/ 461781 h 474746"/>
                  <a:gd name="connsiteX43" fmla="*/ 856735 w 949492"/>
                  <a:gd name="connsiteY43" fmla="*/ 474746 h 474746"/>
                  <a:gd name="connsiteX44" fmla="*/ 911473 w 949492"/>
                  <a:gd name="connsiteY44" fmla="*/ 474746 h 474746"/>
                  <a:gd name="connsiteX45" fmla="*/ 949492 w 949492"/>
                  <a:gd name="connsiteY45" fmla="*/ 436727 h 474746"/>
                  <a:gd name="connsiteX46" fmla="*/ 949492 w 949492"/>
                  <a:gd name="connsiteY46" fmla="*/ 379674 h 474746"/>
                  <a:gd name="connsiteX47" fmla="*/ 854308 w 949492"/>
                  <a:gd name="connsiteY47" fmla="*/ 284490 h 474746"/>
                  <a:gd name="connsiteX48" fmla="*/ 22081 w 949492"/>
                  <a:gd name="connsiteY48" fmla="*/ 98058 h 474746"/>
                  <a:gd name="connsiteX49" fmla="*/ 22081 w 949492"/>
                  <a:gd name="connsiteY49" fmla="*/ 77284 h 474746"/>
                  <a:gd name="connsiteX50" fmla="*/ 88325 w 949492"/>
                  <a:gd name="connsiteY50" fmla="*/ 77284 h 474746"/>
                  <a:gd name="connsiteX51" fmla="*/ 88325 w 949492"/>
                  <a:gd name="connsiteY51" fmla="*/ 99365 h 474746"/>
                  <a:gd name="connsiteX52" fmla="*/ 55107 w 949492"/>
                  <a:gd name="connsiteY52" fmla="*/ 132497 h 474746"/>
                  <a:gd name="connsiteX53" fmla="*/ 48602 w 949492"/>
                  <a:gd name="connsiteY53" fmla="*/ 131845 h 474746"/>
                  <a:gd name="connsiteX54" fmla="*/ 22081 w 949492"/>
                  <a:gd name="connsiteY54" fmla="*/ 98058 h 474746"/>
                  <a:gd name="connsiteX55" fmla="*/ 161613 w 949492"/>
                  <a:gd name="connsiteY55" fmla="*/ 284218 h 474746"/>
                  <a:gd name="connsiteX56" fmla="*/ 161692 w 949492"/>
                  <a:gd name="connsiteY56" fmla="*/ 284406 h 474746"/>
                  <a:gd name="connsiteX57" fmla="*/ 161613 w 949492"/>
                  <a:gd name="connsiteY57" fmla="*/ 284218 h 474746"/>
                  <a:gd name="connsiteX0" fmla="*/ 854308 w 949492"/>
                  <a:gd name="connsiteY0" fmla="*/ 284490 h 474746"/>
                  <a:gd name="connsiteX1" fmla="*/ 778556 w 949492"/>
                  <a:gd name="connsiteY1" fmla="*/ 284490 h 474746"/>
                  <a:gd name="connsiteX2" fmla="*/ 778114 w 949492"/>
                  <a:gd name="connsiteY2" fmla="*/ 284400 h 474746"/>
                  <a:gd name="connsiteX3" fmla="*/ 141443 w 949492"/>
                  <a:gd name="connsiteY3" fmla="*/ 273193 h 474746"/>
                  <a:gd name="connsiteX4" fmla="*/ 130037 w 949492"/>
                  <a:gd name="connsiteY4" fmla="*/ 300765 h 474746"/>
                  <a:gd name="connsiteX5" fmla="*/ 130037 w 949492"/>
                  <a:gd name="connsiteY5" fmla="*/ 375381 h 474746"/>
                  <a:gd name="connsiteX6" fmla="*/ 99365 w 949492"/>
                  <a:gd name="connsiteY6" fmla="*/ 375381 h 474746"/>
                  <a:gd name="connsiteX7" fmla="*/ 66244 w 949492"/>
                  <a:gd name="connsiteY7" fmla="*/ 342259 h 474746"/>
                  <a:gd name="connsiteX8" fmla="*/ 66244 w 949492"/>
                  <a:gd name="connsiteY8" fmla="*/ 153452 h 474746"/>
                  <a:gd name="connsiteX9" fmla="*/ 110406 w 949492"/>
                  <a:gd name="connsiteY9" fmla="*/ 99365 h 474746"/>
                  <a:gd name="connsiteX10" fmla="*/ 110406 w 949492"/>
                  <a:gd name="connsiteY10" fmla="*/ 55203 h 474746"/>
                  <a:gd name="connsiteX11" fmla="*/ 93845 w 949492"/>
                  <a:gd name="connsiteY11" fmla="*/ 55203 h 474746"/>
                  <a:gd name="connsiteX12" fmla="*/ 93845 w 949492"/>
                  <a:gd name="connsiteY12" fmla="*/ 11041 h 474746"/>
                  <a:gd name="connsiteX13" fmla="*/ 82805 w 949492"/>
                  <a:gd name="connsiteY13" fmla="*/ 0 h 474746"/>
                  <a:gd name="connsiteX14" fmla="*/ 71764 w 949492"/>
                  <a:gd name="connsiteY14" fmla="*/ 11041 h 474746"/>
                  <a:gd name="connsiteX15" fmla="*/ 71764 w 949492"/>
                  <a:gd name="connsiteY15" fmla="*/ 55203 h 474746"/>
                  <a:gd name="connsiteX16" fmla="*/ 38642 w 949492"/>
                  <a:gd name="connsiteY16" fmla="*/ 55203 h 474746"/>
                  <a:gd name="connsiteX17" fmla="*/ 38642 w 949492"/>
                  <a:gd name="connsiteY17" fmla="*/ 11041 h 474746"/>
                  <a:gd name="connsiteX18" fmla="*/ 27602 w 949492"/>
                  <a:gd name="connsiteY18" fmla="*/ 0 h 474746"/>
                  <a:gd name="connsiteX19" fmla="*/ 16561 w 949492"/>
                  <a:gd name="connsiteY19" fmla="*/ 11041 h 474746"/>
                  <a:gd name="connsiteX20" fmla="*/ 16561 w 949492"/>
                  <a:gd name="connsiteY20" fmla="*/ 55203 h 474746"/>
                  <a:gd name="connsiteX21" fmla="*/ 0 w 949492"/>
                  <a:gd name="connsiteY21" fmla="*/ 55203 h 474746"/>
                  <a:gd name="connsiteX22" fmla="*/ 0 w 949492"/>
                  <a:gd name="connsiteY22" fmla="*/ 99365 h 474746"/>
                  <a:gd name="connsiteX23" fmla="*/ 44162 w 949492"/>
                  <a:gd name="connsiteY23" fmla="*/ 153452 h 474746"/>
                  <a:gd name="connsiteX24" fmla="*/ 44162 w 949492"/>
                  <a:gd name="connsiteY24" fmla="*/ 342259 h 474746"/>
                  <a:gd name="connsiteX25" fmla="*/ 99365 w 949492"/>
                  <a:gd name="connsiteY25" fmla="*/ 397462 h 474746"/>
                  <a:gd name="connsiteX26" fmla="*/ 130037 w 949492"/>
                  <a:gd name="connsiteY26" fmla="*/ 397462 h 474746"/>
                  <a:gd name="connsiteX27" fmla="*/ 130037 w 949492"/>
                  <a:gd name="connsiteY27" fmla="*/ 398688 h 474746"/>
                  <a:gd name="connsiteX28" fmla="*/ 206095 w 949492"/>
                  <a:gd name="connsiteY28" fmla="*/ 474746 h 474746"/>
                  <a:gd name="connsiteX29" fmla="*/ 219298 w 949492"/>
                  <a:gd name="connsiteY29" fmla="*/ 474746 h 474746"/>
                  <a:gd name="connsiteX30" fmla="*/ 218445 w 949492"/>
                  <a:gd name="connsiteY30" fmla="*/ 461781 h 474746"/>
                  <a:gd name="connsiteX31" fmla="*/ 218908 w 949492"/>
                  <a:gd name="connsiteY31" fmla="*/ 452665 h 474746"/>
                  <a:gd name="connsiteX32" fmla="*/ 206075 w 949492"/>
                  <a:gd name="connsiteY32" fmla="*/ 452665 h 474746"/>
                  <a:gd name="connsiteX33" fmla="*/ 152117 w 949492"/>
                  <a:gd name="connsiteY33" fmla="*/ 398706 h 474746"/>
                  <a:gd name="connsiteX34" fmla="*/ 152117 w 949492"/>
                  <a:gd name="connsiteY34" fmla="*/ 306487 h 474746"/>
                  <a:gd name="connsiteX35" fmla="*/ 774631 w 949492"/>
                  <a:gd name="connsiteY35" fmla="*/ 306487 h 474746"/>
                  <a:gd name="connsiteX36" fmla="*/ 854442 w 949492"/>
                  <a:gd name="connsiteY36" fmla="*/ 306577 h 474746"/>
                  <a:gd name="connsiteX37" fmla="*/ 927411 w 949492"/>
                  <a:gd name="connsiteY37" fmla="*/ 379544 h 474746"/>
                  <a:gd name="connsiteX38" fmla="*/ 927411 w 949492"/>
                  <a:gd name="connsiteY38" fmla="*/ 436724 h 474746"/>
                  <a:gd name="connsiteX39" fmla="*/ 911465 w 949492"/>
                  <a:gd name="connsiteY39" fmla="*/ 452665 h 474746"/>
                  <a:gd name="connsiteX40" fmla="*/ 857126 w 949492"/>
                  <a:gd name="connsiteY40" fmla="*/ 452665 h 474746"/>
                  <a:gd name="connsiteX41" fmla="*/ 857588 w 949492"/>
                  <a:gd name="connsiteY41" fmla="*/ 461781 h 474746"/>
                  <a:gd name="connsiteX42" fmla="*/ 856735 w 949492"/>
                  <a:gd name="connsiteY42" fmla="*/ 474746 h 474746"/>
                  <a:gd name="connsiteX43" fmla="*/ 911473 w 949492"/>
                  <a:gd name="connsiteY43" fmla="*/ 474746 h 474746"/>
                  <a:gd name="connsiteX44" fmla="*/ 949492 w 949492"/>
                  <a:gd name="connsiteY44" fmla="*/ 436727 h 474746"/>
                  <a:gd name="connsiteX45" fmla="*/ 949492 w 949492"/>
                  <a:gd name="connsiteY45" fmla="*/ 379674 h 474746"/>
                  <a:gd name="connsiteX46" fmla="*/ 854308 w 949492"/>
                  <a:gd name="connsiteY46" fmla="*/ 284490 h 474746"/>
                  <a:gd name="connsiteX47" fmla="*/ 22081 w 949492"/>
                  <a:gd name="connsiteY47" fmla="*/ 98058 h 474746"/>
                  <a:gd name="connsiteX48" fmla="*/ 22081 w 949492"/>
                  <a:gd name="connsiteY48" fmla="*/ 77284 h 474746"/>
                  <a:gd name="connsiteX49" fmla="*/ 88325 w 949492"/>
                  <a:gd name="connsiteY49" fmla="*/ 77284 h 474746"/>
                  <a:gd name="connsiteX50" fmla="*/ 88325 w 949492"/>
                  <a:gd name="connsiteY50" fmla="*/ 99365 h 474746"/>
                  <a:gd name="connsiteX51" fmla="*/ 55107 w 949492"/>
                  <a:gd name="connsiteY51" fmla="*/ 132497 h 474746"/>
                  <a:gd name="connsiteX52" fmla="*/ 48602 w 949492"/>
                  <a:gd name="connsiteY52" fmla="*/ 131845 h 474746"/>
                  <a:gd name="connsiteX53" fmla="*/ 22081 w 949492"/>
                  <a:gd name="connsiteY53" fmla="*/ 98058 h 474746"/>
                  <a:gd name="connsiteX54" fmla="*/ 161613 w 949492"/>
                  <a:gd name="connsiteY54" fmla="*/ 284218 h 474746"/>
                  <a:gd name="connsiteX55" fmla="*/ 161692 w 949492"/>
                  <a:gd name="connsiteY55" fmla="*/ 284406 h 474746"/>
                  <a:gd name="connsiteX56" fmla="*/ 161613 w 949492"/>
                  <a:gd name="connsiteY56" fmla="*/ 284218 h 474746"/>
                  <a:gd name="connsiteX0" fmla="*/ 854308 w 949492"/>
                  <a:gd name="connsiteY0" fmla="*/ 284490 h 474746"/>
                  <a:gd name="connsiteX1" fmla="*/ 778556 w 949492"/>
                  <a:gd name="connsiteY1" fmla="*/ 284490 h 474746"/>
                  <a:gd name="connsiteX2" fmla="*/ 141443 w 949492"/>
                  <a:gd name="connsiteY2" fmla="*/ 273193 h 474746"/>
                  <a:gd name="connsiteX3" fmla="*/ 130037 w 949492"/>
                  <a:gd name="connsiteY3" fmla="*/ 300765 h 474746"/>
                  <a:gd name="connsiteX4" fmla="*/ 130037 w 949492"/>
                  <a:gd name="connsiteY4" fmla="*/ 375381 h 474746"/>
                  <a:gd name="connsiteX5" fmla="*/ 99365 w 949492"/>
                  <a:gd name="connsiteY5" fmla="*/ 375381 h 474746"/>
                  <a:gd name="connsiteX6" fmla="*/ 66244 w 949492"/>
                  <a:gd name="connsiteY6" fmla="*/ 342259 h 474746"/>
                  <a:gd name="connsiteX7" fmla="*/ 66244 w 949492"/>
                  <a:gd name="connsiteY7" fmla="*/ 153452 h 474746"/>
                  <a:gd name="connsiteX8" fmla="*/ 110406 w 949492"/>
                  <a:gd name="connsiteY8" fmla="*/ 99365 h 474746"/>
                  <a:gd name="connsiteX9" fmla="*/ 110406 w 949492"/>
                  <a:gd name="connsiteY9" fmla="*/ 55203 h 474746"/>
                  <a:gd name="connsiteX10" fmla="*/ 93845 w 949492"/>
                  <a:gd name="connsiteY10" fmla="*/ 55203 h 474746"/>
                  <a:gd name="connsiteX11" fmla="*/ 93845 w 949492"/>
                  <a:gd name="connsiteY11" fmla="*/ 11041 h 474746"/>
                  <a:gd name="connsiteX12" fmla="*/ 82805 w 949492"/>
                  <a:gd name="connsiteY12" fmla="*/ 0 h 474746"/>
                  <a:gd name="connsiteX13" fmla="*/ 71764 w 949492"/>
                  <a:gd name="connsiteY13" fmla="*/ 11041 h 474746"/>
                  <a:gd name="connsiteX14" fmla="*/ 71764 w 949492"/>
                  <a:gd name="connsiteY14" fmla="*/ 55203 h 474746"/>
                  <a:gd name="connsiteX15" fmla="*/ 38642 w 949492"/>
                  <a:gd name="connsiteY15" fmla="*/ 55203 h 474746"/>
                  <a:gd name="connsiteX16" fmla="*/ 38642 w 949492"/>
                  <a:gd name="connsiteY16" fmla="*/ 11041 h 474746"/>
                  <a:gd name="connsiteX17" fmla="*/ 27602 w 949492"/>
                  <a:gd name="connsiteY17" fmla="*/ 0 h 474746"/>
                  <a:gd name="connsiteX18" fmla="*/ 16561 w 949492"/>
                  <a:gd name="connsiteY18" fmla="*/ 11041 h 474746"/>
                  <a:gd name="connsiteX19" fmla="*/ 16561 w 949492"/>
                  <a:gd name="connsiteY19" fmla="*/ 55203 h 474746"/>
                  <a:gd name="connsiteX20" fmla="*/ 0 w 949492"/>
                  <a:gd name="connsiteY20" fmla="*/ 55203 h 474746"/>
                  <a:gd name="connsiteX21" fmla="*/ 0 w 949492"/>
                  <a:gd name="connsiteY21" fmla="*/ 99365 h 474746"/>
                  <a:gd name="connsiteX22" fmla="*/ 44162 w 949492"/>
                  <a:gd name="connsiteY22" fmla="*/ 153452 h 474746"/>
                  <a:gd name="connsiteX23" fmla="*/ 44162 w 949492"/>
                  <a:gd name="connsiteY23" fmla="*/ 342259 h 474746"/>
                  <a:gd name="connsiteX24" fmla="*/ 99365 w 949492"/>
                  <a:gd name="connsiteY24" fmla="*/ 397462 h 474746"/>
                  <a:gd name="connsiteX25" fmla="*/ 130037 w 949492"/>
                  <a:gd name="connsiteY25" fmla="*/ 397462 h 474746"/>
                  <a:gd name="connsiteX26" fmla="*/ 130037 w 949492"/>
                  <a:gd name="connsiteY26" fmla="*/ 398688 h 474746"/>
                  <a:gd name="connsiteX27" fmla="*/ 206095 w 949492"/>
                  <a:gd name="connsiteY27" fmla="*/ 474746 h 474746"/>
                  <a:gd name="connsiteX28" fmla="*/ 219298 w 949492"/>
                  <a:gd name="connsiteY28" fmla="*/ 474746 h 474746"/>
                  <a:gd name="connsiteX29" fmla="*/ 218445 w 949492"/>
                  <a:gd name="connsiteY29" fmla="*/ 461781 h 474746"/>
                  <a:gd name="connsiteX30" fmla="*/ 218908 w 949492"/>
                  <a:gd name="connsiteY30" fmla="*/ 452665 h 474746"/>
                  <a:gd name="connsiteX31" fmla="*/ 206075 w 949492"/>
                  <a:gd name="connsiteY31" fmla="*/ 452665 h 474746"/>
                  <a:gd name="connsiteX32" fmla="*/ 152117 w 949492"/>
                  <a:gd name="connsiteY32" fmla="*/ 398706 h 474746"/>
                  <a:gd name="connsiteX33" fmla="*/ 152117 w 949492"/>
                  <a:gd name="connsiteY33" fmla="*/ 306487 h 474746"/>
                  <a:gd name="connsiteX34" fmla="*/ 774631 w 949492"/>
                  <a:gd name="connsiteY34" fmla="*/ 306487 h 474746"/>
                  <a:gd name="connsiteX35" fmla="*/ 854442 w 949492"/>
                  <a:gd name="connsiteY35" fmla="*/ 306577 h 474746"/>
                  <a:gd name="connsiteX36" fmla="*/ 927411 w 949492"/>
                  <a:gd name="connsiteY36" fmla="*/ 379544 h 474746"/>
                  <a:gd name="connsiteX37" fmla="*/ 927411 w 949492"/>
                  <a:gd name="connsiteY37" fmla="*/ 436724 h 474746"/>
                  <a:gd name="connsiteX38" fmla="*/ 911465 w 949492"/>
                  <a:gd name="connsiteY38" fmla="*/ 452665 h 474746"/>
                  <a:gd name="connsiteX39" fmla="*/ 857126 w 949492"/>
                  <a:gd name="connsiteY39" fmla="*/ 452665 h 474746"/>
                  <a:gd name="connsiteX40" fmla="*/ 857588 w 949492"/>
                  <a:gd name="connsiteY40" fmla="*/ 461781 h 474746"/>
                  <a:gd name="connsiteX41" fmla="*/ 856735 w 949492"/>
                  <a:gd name="connsiteY41" fmla="*/ 474746 h 474746"/>
                  <a:gd name="connsiteX42" fmla="*/ 911473 w 949492"/>
                  <a:gd name="connsiteY42" fmla="*/ 474746 h 474746"/>
                  <a:gd name="connsiteX43" fmla="*/ 949492 w 949492"/>
                  <a:gd name="connsiteY43" fmla="*/ 436727 h 474746"/>
                  <a:gd name="connsiteX44" fmla="*/ 949492 w 949492"/>
                  <a:gd name="connsiteY44" fmla="*/ 379674 h 474746"/>
                  <a:gd name="connsiteX45" fmla="*/ 854308 w 949492"/>
                  <a:gd name="connsiteY45" fmla="*/ 284490 h 474746"/>
                  <a:gd name="connsiteX46" fmla="*/ 22081 w 949492"/>
                  <a:gd name="connsiteY46" fmla="*/ 98058 h 474746"/>
                  <a:gd name="connsiteX47" fmla="*/ 22081 w 949492"/>
                  <a:gd name="connsiteY47" fmla="*/ 77284 h 474746"/>
                  <a:gd name="connsiteX48" fmla="*/ 88325 w 949492"/>
                  <a:gd name="connsiteY48" fmla="*/ 77284 h 474746"/>
                  <a:gd name="connsiteX49" fmla="*/ 88325 w 949492"/>
                  <a:gd name="connsiteY49" fmla="*/ 99365 h 474746"/>
                  <a:gd name="connsiteX50" fmla="*/ 55107 w 949492"/>
                  <a:gd name="connsiteY50" fmla="*/ 132497 h 474746"/>
                  <a:gd name="connsiteX51" fmla="*/ 48602 w 949492"/>
                  <a:gd name="connsiteY51" fmla="*/ 131845 h 474746"/>
                  <a:gd name="connsiteX52" fmla="*/ 22081 w 949492"/>
                  <a:gd name="connsiteY52" fmla="*/ 98058 h 474746"/>
                  <a:gd name="connsiteX53" fmla="*/ 161613 w 949492"/>
                  <a:gd name="connsiteY53" fmla="*/ 284218 h 474746"/>
                  <a:gd name="connsiteX54" fmla="*/ 161692 w 949492"/>
                  <a:gd name="connsiteY54" fmla="*/ 284406 h 474746"/>
                  <a:gd name="connsiteX55" fmla="*/ 161613 w 949492"/>
                  <a:gd name="connsiteY55" fmla="*/ 284218 h 474746"/>
                  <a:gd name="connsiteX0" fmla="*/ 854308 w 949492"/>
                  <a:gd name="connsiteY0" fmla="*/ 284490 h 474746"/>
                  <a:gd name="connsiteX1" fmla="*/ 778556 w 949492"/>
                  <a:gd name="connsiteY1" fmla="*/ 284490 h 474746"/>
                  <a:gd name="connsiteX2" fmla="*/ 141443 w 949492"/>
                  <a:gd name="connsiteY2" fmla="*/ 273193 h 474746"/>
                  <a:gd name="connsiteX3" fmla="*/ 130037 w 949492"/>
                  <a:gd name="connsiteY3" fmla="*/ 300765 h 474746"/>
                  <a:gd name="connsiteX4" fmla="*/ 130037 w 949492"/>
                  <a:gd name="connsiteY4" fmla="*/ 375381 h 474746"/>
                  <a:gd name="connsiteX5" fmla="*/ 99365 w 949492"/>
                  <a:gd name="connsiteY5" fmla="*/ 375381 h 474746"/>
                  <a:gd name="connsiteX6" fmla="*/ 66244 w 949492"/>
                  <a:gd name="connsiteY6" fmla="*/ 342259 h 474746"/>
                  <a:gd name="connsiteX7" fmla="*/ 66244 w 949492"/>
                  <a:gd name="connsiteY7" fmla="*/ 153452 h 474746"/>
                  <a:gd name="connsiteX8" fmla="*/ 110406 w 949492"/>
                  <a:gd name="connsiteY8" fmla="*/ 99365 h 474746"/>
                  <a:gd name="connsiteX9" fmla="*/ 110406 w 949492"/>
                  <a:gd name="connsiteY9" fmla="*/ 55203 h 474746"/>
                  <a:gd name="connsiteX10" fmla="*/ 93845 w 949492"/>
                  <a:gd name="connsiteY10" fmla="*/ 55203 h 474746"/>
                  <a:gd name="connsiteX11" fmla="*/ 93845 w 949492"/>
                  <a:gd name="connsiteY11" fmla="*/ 11041 h 474746"/>
                  <a:gd name="connsiteX12" fmla="*/ 82805 w 949492"/>
                  <a:gd name="connsiteY12" fmla="*/ 0 h 474746"/>
                  <a:gd name="connsiteX13" fmla="*/ 71764 w 949492"/>
                  <a:gd name="connsiteY13" fmla="*/ 11041 h 474746"/>
                  <a:gd name="connsiteX14" fmla="*/ 71764 w 949492"/>
                  <a:gd name="connsiteY14" fmla="*/ 55203 h 474746"/>
                  <a:gd name="connsiteX15" fmla="*/ 38642 w 949492"/>
                  <a:gd name="connsiteY15" fmla="*/ 55203 h 474746"/>
                  <a:gd name="connsiteX16" fmla="*/ 38642 w 949492"/>
                  <a:gd name="connsiteY16" fmla="*/ 11041 h 474746"/>
                  <a:gd name="connsiteX17" fmla="*/ 27602 w 949492"/>
                  <a:gd name="connsiteY17" fmla="*/ 0 h 474746"/>
                  <a:gd name="connsiteX18" fmla="*/ 16561 w 949492"/>
                  <a:gd name="connsiteY18" fmla="*/ 11041 h 474746"/>
                  <a:gd name="connsiteX19" fmla="*/ 16561 w 949492"/>
                  <a:gd name="connsiteY19" fmla="*/ 55203 h 474746"/>
                  <a:gd name="connsiteX20" fmla="*/ 0 w 949492"/>
                  <a:gd name="connsiteY20" fmla="*/ 55203 h 474746"/>
                  <a:gd name="connsiteX21" fmla="*/ 0 w 949492"/>
                  <a:gd name="connsiteY21" fmla="*/ 99365 h 474746"/>
                  <a:gd name="connsiteX22" fmla="*/ 44162 w 949492"/>
                  <a:gd name="connsiteY22" fmla="*/ 153452 h 474746"/>
                  <a:gd name="connsiteX23" fmla="*/ 44162 w 949492"/>
                  <a:gd name="connsiteY23" fmla="*/ 342259 h 474746"/>
                  <a:gd name="connsiteX24" fmla="*/ 99365 w 949492"/>
                  <a:gd name="connsiteY24" fmla="*/ 397462 h 474746"/>
                  <a:gd name="connsiteX25" fmla="*/ 130037 w 949492"/>
                  <a:gd name="connsiteY25" fmla="*/ 397462 h 474746"/>
                  <a:gd name="connsiteX26" fmla="*/ 130037 w 949492"/>
                  <a:gd name="connsiteY26" fmla="*/ 398688 h 474746"/>
                  <a:gd name="connsiteX27" fmla="*/ 206095 w 949492"/>
                  <a:gd name="connsiteY27" fmla="*/ 474746 h 474746"/>
                  <a:gd name="connsiteX28" fmla="*/ 219298 w 949492"/>
                  <a:gd name="connsiteY28" fmla="*/ 474746 h 474746"/>
                  <a:gd name="connsiteX29" fmla="*/ 218445 w 949492"/>
                  <a:gd name="connsiteY29" fmla="*/ 461781 h 474746"/>
                  <a:gd name="connsiteX30" fmla="*/ 218908 w 949492"/>
                  <a:gd name="connsiteY30" fmla="*/ 452665 h 474746"/>
                  <a:gd name="connsiteX31" fmla="*/ 206075 w 949492"/>
                  <a:gd name="connsiteY31" fmla="*/ 452665 h 474746"/>
                  <a:gd name="connsiteX32" fmla="*/ 152117 w 949492"/>
                  <a:gd name="connsiteY32" fmla="*/ 398706 h 474746"/>
                  <a:gd name="connsiteX33" fmla="*/ 152117 w 949492"/>
                  <a:gd name="connsiteY33" fmla="*/ 306487 h 474746"/>
                  <a:gd name="connsiteX34" fmla="*/ 854442 w 949492"/>
                  <a:gd name="connsiteY34" fmla="*/ 306577 h 474746"/>
                  <a:gd name="connsiteX35" fmla="*/ 927411 w 949492"/>
                  <a:gd name="connsiteY35" fmla="*/ 379544 h 474746"/>
                  <a:gd name="connsiteX36" fmla="*/ 927411 w 949492"/>
                  <a:gd name="connsiteY36" fmla="*/ 436724 h 474746"/>
                  <a:gd name="connsiteX37" fmla="*/ 911465 w 949492"/>
                  <a:gd name="connsiteY37" fmla="*/ 452665 h 474746"/>
                  <a:gd name="connsiteX38" fmla="*/ 857126 w 949492"/>
                  <a:gd name="connsiteY38" fmla="*/ 452665 h 474746"/>
                  <a:gd name="connsiteX39" fmla="*/ 857588 w 949492"/>
                  <a:gd name="connsiteY39" fmla="*/ 461781 h 474746"/>
                  <a:gd name="connsiteX40" fmla="*/ 856735 w 949492"/>
                  <a:gd name="connsiteY40" fmla="*/ 474746 h 474746"/>
                  <a:gd name="connsiteX41" fmla="*/ 911473 w 949492"/>
                  <a:gd name="connsiteY41" fmla="*/ 474746 h 474746"/>
                  <a:gd name="connsiteX42" fmla="*/ 949492 w 949492"/>
                  <a:gd name="connsiteY42" fmla="*/ 436727 h 474746"/>
                  <a:gd name="connsiteX43" fmla="*/ 949492 w 949492"/>
                  <a:gd name="connsiteY43" fmla="*/ 379674 h 474746"/>
                  <a:gd name="connsiteX44" fmla="*/ 854308 w 949492"/>
                  <a:gd name="connsiteY44" fmla="*/ 284490 h 474746"/>
                  <a:gd name="connsiteX45" fmla="*/ 22081 w 949492"/>
                  <a:gd name="connsiteY45" fmla="*/ 98058 h 474746"/>
                  <a:gd name="connsiteX46" fmla="*/ 22081 w 949492"/>
                  <a:gd name="connsiteY46" fmla="*/ 77284 h 474746"/>
                  <a:gd name="connsiteX47" fmla="*/ 88325 w 949492"/>
                  <a:gd name="connsiteY47" fmla="*/ 77284 h 474746"/>
                  <a:gd name="connsiteX48" fmla="*/ 88325 w 949492"/>
                  <a:gd name="connsiteY48" fmla="*/ 99365 h 474746"/>
                  <a:gd name="connsiteX49" fmla="*/ 55107 w 949492"/>
                  <a:gd name="connsiteY49" fmla="*/ 132497 h 474746"/>
                  <a:gd name="connsiteX50" fmla="*/ 48602 w 949492"/>
                  <a:gd name="connsiteY50" fmla="*/ 131845 h 474746"/>
                  <a:gd name="connsiteX51" fmla="*/ 22081 w 949492"/>
                  <a:gd name="connsiteY51" fmla="*/ 98058 h 474746"/>
                  <a:gd name="connsiteX52" fmla="*/ 161613 w 949492"/>
                  <a:gd name="connsiteY52" fmla="*/ 284218 h 474746"/>
                  <a:gd name="connsiteX53" fmla="*/ 161692 w 949492"/>
                  <a:gd name="connsiteY53" fmla="*/ 284406 h 474746"/>
                  <a:gd name="connsiteX54" fmla="*/ 161613 w 949492"/>
                  <a:gd name="connsiteY54" fmla="*/ 284218 h 474746"/>
                  <a:gd name="connsiteX0" fmla="*/ 854308 w 949492"/>
                  <a:gd name="connsiteY0" fmla="*/ 284490 h 474746"/>
                  <a:gd name="connsiteX1" fmla="*/ 141443 w 949492"/>
                  <a:gd name="connsiteY1" fmla="*/ 273193 h 474746"/>
                  <a:gd name="connsiteX2" fmla="*/ 130037 w 949492"/>
                  <a:gd name="connsiteY2" fmla="*/ 300765 h 474746"/>
                  <a:gd name="connsiteX3" fmla="*/ 130037 w 949492"/>
                  <a:gd name="connsiteY3" fmla="*/ 375381 h 474746"/>
                  <a:gd name="connsiteX4" fmla="*/ 99365 w 949492"/>
                  <a:gd name="connsiteY4" fmla="*/ 375381 h 474746"/>
                  <a:gd name="connsiteX5" fmla="*/ 66244 w 949492"/>
                  <a:gd name="connsiteY5" fmla="*/ 342259 h 474746"/>
                  <a:gd name="connsiteX6" fmla="*/ 66244 w 949492"/>
                  <a:gd name="connsiteY6" fmla="*/ 153452 h 474746"/>
                  <a:gd name="connsiteX7" fmla="*/ 110406 w 949492"/>
                  <a:gd name="connsiteY7" fmla="*/ 99365 h 474746"/>
                  <a:gd name="connsiteX8" fmla="*/ 110406 w 949492"/>
                  <a:gd name="connsiteY8" fmla="*/ 55203 h 474746"/>
                  <a:gd name="connsiteX9" fmla="*/ 93845 w 949492"/>
                  <a:gd name="connsiteY9" fmla="*/ 55203 h 474746"/>
                  <a:gd name="connsiteX10" fmla="*/ 93845 w 949492"/>
                  <a:gd name="connsiteY10" fmla="*/ 11041 h 474746"/>
                  <a:gd name="connsiteX11" fmla="*/ 82805 w 949492"/>
                  <a:gd name="connsiteY11" fmla="*/ 0 h 474746"/>
                  <a:gd name="connsiteX12" fmla="*/ 71764 w 949492"/>
                  <a:gd name="connsiteY12" fmla="*/ 11041 h 474746"/>
                  <a:gd name="connsiteX13" fmla="*/ 71764 w 949492"/>
                  <a:gd name="connsiteY13" fmla="*/ 55203 h 474746"/>
                  <a:gd name="connsiteX14" fmla="*/ 38642 w 949492"/>
                  <a:gd name="connsiteY14" fmla="*/ 55203 h 474746"/>
                  <a:gd name="connsiteX15" fmla="*/ 38642 w 949492"/>
                  <a:gd name="connsiteY15" fmla="*/ 11041 h 474746"/>
                  <a:gd name="connsiteX16" fmla="*/ 27602 w 949492"/>
                  <a:gd name="connsiteY16" fmla="*/ 0 h 474746"/>
                  <a:gd name="connsiteX17" fmla="*/ 16561 w 949492"/>
                  <a:gd name="connsiteY17" fmla="*/ 11041 h 474746"/>
                  <a:gd name="connsiteX18" fmla="*/ 16561 w 949492"/>
                  <a:gd name="connsiteY18" fmla="*/ 55203 h 474746"/>
                  <a:gd name="connsiteX19" fmla="*/ 0 w 949492"/>
                  <a:gd name="connsiteY19" fmla="*/ 55203 h 474746"/>
                  <a:gd name="connsiteX20" fmla="*/ 0 w 949492"/>
                  <a:gd name="connsiteY20" fmla="*/ 99365 h 474746"/>
                  <a:gd name="connsiteX21" fmla="*/ 44162 w 949492"/>
                  <a:gd name="connsiteY21" fmla="*/ 153452 h 474746"/>
                  <a:gd name="connsiteX22" fmla="*/ 44162 w 949492"/>
                  <a:gd name="connsiteY22" fmla="*/ 342259 h 474746"/>
                  <a:gd name="connsiteX23" fmla="*/ 99365 w 949492"/>
                  <a:gd name="connsiteY23" fmla="*/ 397462 h 474746"/>
                  <a:gd name="connsiteX24" fmla="*/ 130037 w 949492"/>
                  <a:gd name="connsiteY24" fmla="*/ 397462 h 474746"/>
                  <a:gd name="connsiteX25" fmla="*/ 130037 w 949492"/>
                  <a:gd name="connsiteY25" fmla="*/ 398688 h 474746"/>
                  <a:gd name="connsiteX26" fmla="*/ 206095 w 949492"/>
                  <a:gd name="connsiteY26" fmla="*/ 474746 h 474746"/>
                  <a:gd name="connsiteX27" fmla="*/ 219298 w 949492"/>
                  <a:gd name="connsiteY27" fmla="*/ 474746 h 474746"/>
                  <a:gd name="connsiteX28" fmla="*/ 218445 w 949492"/>
                  <a:gd name="connsiteY28" fmla="*/ 461781 h 474746"/>
                  <a:gd name="connsiteX29" fmla="*/ 218908 w 949492"/>
                  <a:gd name="connsiteY29" fmla="*/ 452665 h 474746"/>
                  <a:gd name="connsiteX30" fmla="*/ 206075 w 949492"/>
                  <a:gd name="connsiteY30" fmla="*/ 452665 h 474746"/>
                  <a:gd name="connsiteX31" fmla="*/ 152117 w 949492"/>
                  <a:gd name="connsiteY31" fmla="*/ 398706 h 474746"/>
                  <a:gd name="connsiteX32" fmla="*/ 152117 w 949492"/>
                  <a:gd name="connsiteY32" fmla="*/ 306487 h 474746"/>
                  <a:gd name="connsiteX33" fmla="*/ 854442 w 949492"/>
                  <a:gd name="connsiteY33" fmla="*/ 306577 h 474746"/>
                  <a:gd name="connsiteX34" fmla="*/ 927411 w 949492"/>
                  <a:gd name="connsiteY34" fmla="*/ 379544 h 474746"/>
                  <a:gd name="connsiteX35" fmla="*/ 927411 w 949492"/>
                  <a:gd name="connsiteY35" fmla="*/ 436724 h 474746"/>
                  <a:gd name="connsiteX36" fmla="*/ 911465 w 949492"/>
                  <a:gd name="connsiteY36" fmla="*/ 452665 h 474746"/>
                  <a:gd name="connsiteX37" fmla="*/ 857126 w 949492"/>
                  <a:gd name="connsiteY37" fmla="*/ 452665 h 474746"/>
                  <a:gd name="connsiteX38" fmla="*/ 857588 w 949492"/>
                  <a:gd name="connsiteY38" fmla="*/ 461781 h 474746"/>
                  <a:gd name="connsiteX39" fmla="*/ 856735 w 949492"/>
                  <a:gd name="connsiteY39" fmla="*/ 474746 h 474746"/>
                  <a:gd name="connsiteX40" fmla="*/ 911473 w 949492"/>
                  <a:gd name="connsiteY40" fmla="*/ 474746 h 474746"/>
                  <a:gd name="connsiteX41" fmla="*/ 949492 w 949492"/>
                  <a:gd name="connsiteY41" fmla="*/ 436727 h 474746"/>
                  <a:gd name="connsiteX42" fmla="*/ 949492 w 949492"/>
                  <a:gd name="connsiteY42" fmla="*/ 379674 h 474746"/>
                  <a:gd name="connsiteX43" fmla="*/ 854308 w 949492"/>
                  <a:gd name="connsiteY43" fmla="*/ 284490 h 474746"/>
                  <a:gd name="connsiteX44" fmla="*/ 22081 w 949492"/>
                  <a:gd name="connsiteY44" fmla="*/ 98058 h 474746"/>
                  <a:gd name="connsiteX45" fmla="*/ 22081 w 949492"/>
                  <a:gd name="connsiteY45" fmla="*/ 77284 h 474746"/>
                  <a:gd name="connsiteX46" fmla="*/ 88325 w 949492"/>
                  <a:gd name="connsiteY46" fmla="*/ 77284 h 474746"/>
                  <a:gd name="connsiteX47" fmla="*/ 88325 w 949492"/>
                  <a:gd name="connsiteY47" fmla="*/ 99365 h 474746"/>
                  <a:gd name="connsiteX48" fmla="*/ 55107 w 949492"/>
                  <a:gd name="connsiteY48" fmla="*/ 132497 h 474746"/>
                  <a:gd name="connsiteX49" fmla="*/ 48602 w 949492"/>
                  <a:gd name="connsiteY49" fmla="*/ 131845 h 474746"/>
                  <a:gd name="connsiteX50" fmla="*/ 22081 w 949492"/>
                  <a:gd name="connsiteY50" fmla="*/ 98058 h 474746"/>
                  <a:gd name="connsiteX51" fmla="*/ 161613 w 949492"/>
                  <a:gd name="connsiteY51" fmla="*/ 284218 h 474746"/>
                  <a:gd name="connsiteX52" fmla="*/ 161692 w 949492"/>
                  <a:gd name="connsiteY52" fmla="*/ 284406 h 474746"/>
                  <a:gd name="connsiteX53" fmla="*/ 161613 w 949492"/>
                  <a:gd name="connsiteY53" fmla="*/ 284218 h 474746"/>
                  <a:gd name="connsiteX0" fmla="*/ 949492 w 949492"/>
                  <a:gd name="connsiteY0" fmla="*/ 379674 h 474746"/>
                  <a:gd name="connsiteX1" fmla="*/ 141443 w 949492"/>
                  <a:gd name="connsiteY1" fmla="*/ 273193 h 474746"/>
                  <a:gd name="connsiteX2" fmla="*/ 130037 w 949492"/>
                  <a:gd name="connsiteY2" fmla="*/ 300765 h 474746"/>
                  <a:gd name="connsiteX3" fmla="*/ 130037 w 949492"/>
                  <a:gd name="connsiteY3" fmla="*/ 375381 h 474746"/>
                  <a:gd name="connsiteX4" fmla="*/ 99365 w 949492"/>
                  <a:gd name="connsiteY4" fmla="*/ 375381 h 474746"/>
                  <a:gd name="connsiteX5" fmla="*/ 66244 w 949492"/>
                  <a:gd name="connsiteY5" fmla="*/ 342259 h 474746"/>
                  <a:gd name="connsiteX6" fmla="*/ 66244 w 949492"/>
                  <a:gd name="connsiteY6" fmla="*/ 153452 h 474746"/>
                  <a:gd name="connsiteX7" fmla="*/ 110406 w 949492"/>
                  <a:gd name="connsiteY7" fmla="*/ 99365 h 474746"/>
                  <a:gd name="connsiteX8" fmla="*/ 110406 w 949492"/>
                  <a:gd name="connsiteY8" fmla="*/ 55203 h 474746"/>
                  <a:gd name="connsiteX9" fmla="*/ 93845 w 949492"/>
                  <a:gd name="connsiteY9" fmla="*/ 55203 h 474746"/>
                  <a:gd name="connsiteX10" fmla="*/ 93845 w 949492"/>
                  <a:gd name="connsiteY10" fmla="*/ 11041 h 474746"/>
                  <a:gd name="connsiteX11" fmla="*/ 82805 w 949492"/>
                  <a:gd name="connsiteY11" fmla="*/ 0 h 474746"/>
                  <a:gd name="connsiteX12" fmla="*/ 71764 w 949492"/>
                  <a:gd name="connsiteY12" fmla="*/ 11041 h 474746"/>
                  <a:gd name="connsiteX13" fmla="*/ 71764 w 949492"/>
                  <a:gd name="connsiteY13" fmla="*/ 55203 h 474746"/>
                  <a:gd name="connsiteX14" fmla="*/ 38642 w 949492"/>
                  <a:gd name="connsiteY14" fmla="*/ 55203 h 474746"/>
                  <a:gd name="connsiteX15" fmla="*/ 38642 w 949492"/>
                  <a:gd name="connsiteY15" fmla="*/ 11041 h 474746"/>
                  <a:gd name="connsiteX16" fmla="*/ 27602 w 949492"/>
                  <a:gd name="connsiteY16" fmla="*/ 0 h 474746"/>
                  <a:gd name="connsiteX17" fmla="*/ 16561 w 949492"/>
                  <a:gd name="connsiteY17" fmla="*/ 11041 h 474746"/>
                  <a:gd name="connsiteX18" fmla="*/ 16561 w 949492"/>
                  <a:gd name="connsiteY18" fmla="*/ 55203 h 474746"/>
                  <a:gd name="connsiteX19" fmla="*/ 0 w 949492"/>
                  <a:gd name="connsiteY19" fmla="*/ 55203 h 474746"/>
                  <a:gd name="connsiteX20" fmla="*/ 0 w 949492"/>
                  <a:gd name="connsiteY20" fmla="*/ 99365 h 474746"/>
                  <a:gd name="connsiteX21" fmla="*/ 44162 w 949492"/>
                  <a:gd name="connsiteY21" fmla="*/ 153452 h 474746"/>
                  <a:gd name="connsiteX22" fmla="*/ 44162 w 949492"/>
                  <a:gd name="connsiteY22" fmla="*/ 342259 h 474746"/>
                  <a:gd name="connsiteX23" fmla="*/ 99365 w 949492"/>
                  <a:gd name="connsiteY23" fmla="*/ 397462 h 474746"/>
                  <a:gd name="connsiteX24" fmla="*/ 130037 w 949492"/>
                  <a:gd name="connsiteY24" fmla="*/ 397462 h 474746"/>
                  <a:gd name="connsiteX25" fmla="*/ 130037 w 949492"/>
                  <a:gd name="connsiteY25" fmla="*/ 398688 h 474746"/>
                  <a:gd name="connsiteX26" fmla="*/ 206095 w 949492"/>
                  <a:gd name="connsiteY26" fmla="*/ 474746 h 474746"/>
                  <a:gd name="connsiteX27" fmla="*/ 219298 w 949492"/>
                  <a:gd name="connsiteY27" fmla="*/ 474746 h 474746"/>
                  <a:gd name="connsiteX28" fmla="*/ 218445 w 949492"/>
                  <a:gd name="connsiteY28" fmla="*/ 461781 h 474746"/>
                  <a:gd name="connsiteX29" fmla="*/ 218908 w 949492"/>
                  <a:gd name="connsiteY29" fmla="*/ 452665 h 474746"/>
                  <a:gd name="connsiteX30" fmla="*/ 206075 w 949492"/>
                  <a:gd name="connsiteY30" fmla="*/ 452665 h 474746"/>
                  <a:gd name="connsiteX31" fmla="*/ 152117 w 949492"/>
                  <a:gd name="connsiteY31" fmla="*/ 398706 h 474746"/>
                  <a:gd name="connsiteX32" fmla="*/ 152117 w 949492"/>
                  <a:gd name="connsiteY32" fmla="*/ 306487 h 474746"/>
                  <a:gd name="connsiteX33" fmla="*/ 854442 w 949492"/>
                  <a:gd name="connsiteY33" fmla="*/ 306577 h 474746"/>
                  <a:gd name="connsiteX34" fmla="*/ 927411 w 949492"/>
                  <a:gd name="connsiteY34" fmla="*/ 379544 h 474746"/>
                  <a:gd name="connsiteX35" fmla="*/ 927411 w 949492"/>
                  <a:gd name="connsiteY35" fmla="*/ 436724 h 474746"/>
                  <a:gd name="connsiteX36" fmla="*/ 911465 w 949492"/>
                  <a:gd name="connsiteY36" fmla="*/ 452665 h 474746"/>
                  <a:gd name="connsiteX37" fmla="*/ 857126 w 949492"/>
                  <a:gd name="connsiteY37" fmla="*/ 452665 h 474746"/>
                  <a:gd name="connsiteX38" fmla="*/ 857588 w 949492"/>
                  <a:gd name="connsiteY38" fmla="*/ 461781 h 474746"/>
                  <a:gd name="connsiteX39" fmla="*/ 856735 w 949492"/>
                  <a:gd name="connsiteY39" fmla="*/ 474746 h 474746"/>
                  <a:gd name="connsiteX40" fmla="*/ 911473 w 949492"/>
                  <a:gd name="connsiteY40" fmla="*/ 474746 h 474746"/>
                  <a:gd name="connsiteX41" fmla="*/ 949492 w 949492"/>
                  <a:gd name="connsiteY41" fmla="*/ 436727 h 474746"/>
                  <a:gd name="connsiteX42" fmla="*/ 949492 w 949492"/>
                  <a:gd name="connsiteY42" fmla="*/ 379674 h 474746"/>
                  <a:gd name="connsiteX43" fmla="*/ 22081 w 949492"/>
                  <a:gd name="connsiteY43" fmla="*/ 98058 h 474746"/>
                  <a:gd name="connsiteX44" fmla="*/ 22081 w 949492"/>
                  <a:gd name="connsiteY44" fmla="*/ 77284 h 474746"/>
                  <a:gd name="connsiteX45" fmla="*/ 88325 w 949492"/>
                  <a:gd name="connsiteY45" fmla="*/ 77284 h 474746"/>
                  <a:gd name="connsiteX46" fmla="*/ 88325 w 949492"/>
                  <a:gd name="connsiteY46" fmla="*/ 99365 h 474746"/>
                  <a:gd name="connsiteX47" fmla="*/ 55107 w 949492"/>
                  <a:gd name="connsiteY47" fmla="*/ 132497 h 474746"/>
                  <a:gd name="connsiteX48" fmla="*/ 48602 w 949492"/>
                  <a:gd name="connsiteY48" fmla="*/ 131845 h 474746"/>
                  <a:gd name="connsiteX49" fmla="*/ 22081 w 949492"/>
                  <a:gd name="connsiteY49" fmla="*/ 98058 h 474746"/>
                  <a:gd name="connsiteX50" fmla="*/ 161613 w 949492"/>
                  <a:gd name="connsiteY50" fmla="*/ 284218 h 474746"/>
                  <a:gd name="connsiteX51" fmla="*/ 161692 w 949492"/>
                  <a:gd name="connsiteY51" fmla="*/ 284406 h 474746"/>
                  <a:gd name="connsiteX52" fmla="*/ 161613 w 949492"/>
                  <a:gd name="connsiteY52" fmla="*/ 284218 h 474746"/>
                  <a:gd name="connsiteX0" fmla="*/ 949492 w 949492"/>
                  <a:gd name="connsiteY0" fmla="*/ 379674 h 474746"/>
                  <a:gd name="connsiteX1" fmla="*/ 141443 w 949492"/>
                  <a:gd name="connsiteY1" fmla="*/ 273193 h 474746"/>
                  <a:gd name="connsiteX2" fmla="*/ 130037 w 949492"/>
                  <a:gd name="connsiteY2" fmla="*/ 300765 h 474746"/>
                  <a:gd name="connsiteX3" fmla="*/ 130037 w 949492"/>
                  <a:gd name="connsiteY3" fmla="*/ 375381 h 474746"/>
                  <a:gd name="connsiteX4" fmla="*/ 99365 w 949492"/>
                  <a:gd name="connsiteY4" fmla="*/ 375381 h 474746"/>
                  <a:gd name="connsiteX5" fmla="*/ 66244 w 949492"/>
                  <a:gd name="connsiteY5" fmla="*/ 342259 h 474746"/>
                  <a:gd name="connsiteX6" fmla="*/ 66244 w 949492"/>
                  <a:gd name="connsiteY6" fmla="*/ 153452 h 474746"/>
                  <a:gd name="connsiteX7" fmla="*/ 110406 w 949492"/>
                  <a:gd name="connsiteY7" fmla="*/ 99365 h 474746"/>
                  <a:gd name="connsiteX8" fmla="*/ 110406 w 949492"/>
                  <a:gd name="connsiteY8" fmla="*/ 55203 h 474746"/>
                  <a:gd name="connsiteX9" fmla="*/ 93845 w 949492"/>
                  <a:gd name="connsiteY9" fmla="*/ 55203 h 474746"/>
                  <a:gd name="connsiteX10" fmla="*/ 93845 w 949492"/>
                  <a:gd name="connsiteY10" fmla="*/ 11041 h 474746"/>
                  <a:gd name="connsiteX11" fmla="*/ 82805 w 949492"/>
                  <a:gd name="connsiteY11" fmla="*/ 0 h 474746"/>
                  <a:gd name="connsiteX12" fmla="*/ 71764 w 949492"/>
                  <a:gd name="connsiteY12" fmla="*/ 11041 h 474746"/>
                  <a:gd name="connsiteX13" fmla="*/ 71764 w 949492"/>
                  <a:gd name="connsiteY13" fmla="*/ 55203 h 474746"/>
                  <a:gd name="connsiteX14" fmla="*/ 38642 w 949492"/>
                  <a:gd name="connsiteY14" fmla="*/ 55203 h 474746"/>
                  <a:gd name="connsiteX15" fmla="*/ 38642 w 949492"/>
                  <a:gd name="connsiteY15" fmla="*/ 11041 h 474746"/>
                  <a:gd name="connsiteX16" fmla="*/ 27602 w 949492"/>
                  <a:gd name="connsiteY16" fmla="*/ 0 h 474746"/>
                  <a:gd name="connsiteX17" fmla="*/ 16561 w 949492"/>
                  <a:gd name="connsiteY17" fmla="*/ 11041 h 474746"/>
                  <a:gd name="connsiteX18" fmla="*/ 16561 w 949492"/>
                  <a:gd name="connsiteY18" fmla="*/ 55203 h 474746"/>
                  <a:gd name="connsiteX19" fmla="*/ 0 w 949492"/>
                  <a:gd name="connsiteY19" fmla="*/ 55203 h 474746"/>
                  <a:gd name="connsiteX20" fmla="*/ 0 w 949492"/>
                  <a:gd name="connsiteY20" fmla="*/ 99365 h 474746"/>
                  <a:gd name="connsiteX21" fmla="*/ 44162 w 949492"/>
                  <a:gd name="connsiteY21" fmla="*/ 153452 h 474746"/>
                  <a:gd name="connsiteX22" fmla="*/ 44162 w 949492"/>
                  <a:gd name="connsiteY22" fmla="*/ 342259 h 474746"/>
                  <a:gd name="connsiteX23" fmla="*/ 99365 w 949492"/>
                  <a:gd name="connsiteY23" fmla="*/ 397462 h 474746"/>
                  <a:gd name="connsiteX24" fmla="*/ 130037 w 949492"/>
                  <a:gd name="connsiteY24" fmla="*/ 397462 h 474746"/>
                  <a:gd name="connsiteX25" fmla="*/ 130037 w 949492"/>
                  <a:gd name="connsiteY25" fmla="*/ 398688 h 474746"/>
                  <a:gd name="connsiteX26" fmla="*/ 206095 w 949492"/>
                  <a:gd name="connsiteY26" fmla="*/ 474746 h 474746"/>
                  <a:gd name="connsiteX27" fmla="*/ 219298 w 949492"/>
                  <a:gd name="connsiteY27" fmla="*/ 474746 h 474746"/>
                  <a:gd name="connsiteX28" fmla="*/ 218445 w 949492"/>
                  <a:gd name="connsiteY28" fmla="*/ 461781 h 474746"/>
                  <a:gd name="connsiteX29" fmla="*/ 218908 w 949492"/>
                  <a:gd name="connsiteY29" fmla="*/ 452665 h 474746"/>
                  <a:gd name="connsiteX30" fmla="*/ 206075 w 949492"/>
                  <a:gd name="connsiteY30" fmla="*/ 452665 h 474746"/>
                  <a:gd name="connsiteX31" fmla="*/ 152117 w 949492"/>
                  <a:gd name="connsiteY31" fmla="*/ 398706 h 474746"/>
                  <a:gd name="connsiteX32" fmla="*/ 152117 w 949492"/>
                  <a:gd name="connsiteY32" fmla="*/ 306487 h 474746"/>
                  <a:gd name="connsiteX33" fmla="*/ 927411 w 949492"/>
                  <a:gd name="connsiteY33" fmla="*/ 379544 h 474746"/>
                  <a:gd name="connsiteX34" fmla="*/ 927411 w 949492"/>
                  <a:gd name="connsiteY34" fmla="*/ 436724 h 474746"/>
                  <a:gd name="connsiteX35" fmla="*/ 911465 w 949492"/>
                  <a:gd name="connsiteY35" fmla="*/ 452665 h 474746"/>
                  <a:gd name="connsiteX36" fmla="*/ 857126 w 949492"/>
                  <a:gd name="connsiteY36" fmla="*/ 452665 h 474746"/>
                  <a:gd name="connsiteX37" fmla="*/ 857588 w 949492"/>
                  <a:gd name="connsiteY37" fmla="*/ 461781 h 474746"/>
                  <a:gd name="connsiteX38" fmla="*/ 856735 w 949492"/>
                  <a:gd name="connsiteY38" fmla="*/ 474746 h 474746"/>
                  <a:gd name="connsiteX39" fmla="*/ 911473 w 949492"/>
                  <a:gd name="connsiteY39" fmla="*/ 474746 h 474746"/>
                  <a:gd name="connsiteX40" fmla="*/ 949492 w 949492"/>
                  <a:gd name="connsiteY40" fmla="*/ 436727 h 474746"/>
                  <a:gd name="connsiteX41" fmla="*/ 949492 w 949492"/>
                  <a:gd name="connsiteY41" fmla="*/ 379674 h 474746"/>
                  <a:gd name="connsiteX42" fmla="*/ 22081 w 949492"/>
                  <a:gd name="connsiteY42" fmla="*/ 98058 h 474746"/>
                  <a:gd name="connsiteX43" fmla="*/ 22081 w 949492"/>
                  <a:gd name="connsiteY43" fmla="*/ 77284 h 474746"/>
                  <a:gd name="connsiteX44" fmla="*/ 88325 w 949492"/>
                  <a:gd name="connsiteY44" fmla="*/ 77284 h 474746"/>
                  <a:gd name="connsiteX45" fmla="*/ 88325 w 949492"/>
                  <a:gd name="connsiteY45" fmla="*/ 99365 h 474746"/>
                  <a:gd name="connsiteX46" fmla="*/ 55107 w 949492"/>
                  <a:gd name="connsiteY46" fmla="*/ 132497 h 474746"/>
                  <a:gd name="connsiteX47" fmla="*/ 48602 w 949492"/>
                  <a:gd name="connsiteY47" fmla="*/ 131845 h 474746"/>
                  <a:gd name="connsiteX48" fmla="*/ 22081 w 949492"/>
                  <a:gd name="connsiteY48" fmla="*/ 98058 h 474746"/>
                  <a:gd name="connsiteX49" fmla="*/ 161613 w 949492"/>
                  <a:gd name="connsiteY49" fmla="*/ 284218 h 474746"/>
                  <a:gd name="connsiteX50" fmla="*/ 161692 w 949492"/>
                  <a:gd name="connsiteY50" fmla="*/ 284406 h 474746"/>
                  <a:gd name="connsiteX51" fmla="*/ 161613 w 949492"/>
                  <a:gd name="connsiteY51" fmla="*/ 284218 h 474746"/>
                  <a:gd name="connsiteX0" fmla="*/ 949492 w 949492"/>
                  <a:gd name="connsiteY0" fmla="*/ 379674 h 474746"/>
                  <a:gd name="connsiteX1" fmla="*/ 141443 w 949492"/>
                  <a:gd name="connsiteY1" fmla="*/ 273193 h 474746"/>
                  <a:gd name="connsiteX2" fmla="*/ 130037 w 949492"/>
                  <a:gd name="connsiteY2" fmla="*/ 300765 h 474746"/>
                  <a:gd name="connsiteX3" fmla="*/ 130037 w 949492"/>
                  <a:gd name="connsiteY3" fmla="*/ 375381 h 474746"/>
                  <a:gd name="connsiteX4" fmla="*/ 99365 w 949492"/>
                  <a:gd name="connsiteY4" fmla="*/ 375381 h 474746"/>
                  <a:gd name="connsiteX5" fmla="*/ 66244 w 949492"/>
                  <a:gd name="connsiteY5" fmla="*/ 342259 h 474746"/>
                  <a:gd name="connsiteX6" fmla="*/ 66244 w 949492"/>
                  <a:gd name="connsiteY6" fmla="*/ 153452 h 474746"/>
                  <a:gd name="connsiteX7" fmla="*/ 110406 w 949492"/>
                  <a:gd name="connsiteY7" fmla="*/ 99365 h 474746"/>
                  <a:gd name="connsiteX8" fmla="*/ 110406 w 949492"/>
                  <a:gd name="connsiteY8" fmla="*/ 55203 h 474746"/>
                  <a:gd name="connsiteX9" fmla="*/ 93845 w 949492"/>
                  <a:gd name="connsiteY9" fmla="*/ 55203 h 474746"/>
                  <a:gd name="connsiteX10" fmla="*/ 93845 w 949492"/>
                  <a:gd name="connsiteY10" fmla="*/ 11041 h 474746"/>
                  <a:gd name="connsiteX11" fmla="*/ 82805 w 949492"/>
                  <a:gd name="connsiteY11" fmla="*/ 0 h 474746"/>
                  <a:gd name="connsiteX12" fmla="*/ 71764 w 949492"/>
                  <a:gd name="connsiteY12" fmla="*/ 11041 h 474746"/>
                  <a:gd name="connsiteX13" fmla="*/ 71764 w 949492"/>
                  <a:gd name="connsiteY13" fmla="*/ 55203 h 474746"/>
                  <a:gd name="connsiteX14" fmla="*/ 38642 w 949492"/>
                  <a:gd name="connsiteY14" fmla="*/ 55203 h 474746"/>
                  <a:gd name="connsiteX15" fmla="*/ 38642 w 949492"/>
                  <a:gd name="connsiteY15" fmla="*/ 11041 h 474746"/>
                  <a:gd name="connsiteX16" fmla="*/ 27602 w 949492"/>
                  <a:gd name="connsiteY16" fmla="*/ 0 h 474746"/>
                  <a:gd name="connsiteX17" fmla="*/ 16561 w 949492"/>
                  <a:gd name="connsiteY17" fmla="*/ 11041 h 474746"/>
                  <a:gd name="connsiteX18" fmla="*/ 16561 w 949492"/>
                  <a:gd name="connsiteY18" fmla="*/ 55203 h 474746"/>
                  <a:gd name="connsiteX19" fmla="*/ 0 w 949492"/>
                  <a:gd name="connsiteY19" fmla="*/ 55203 h 474746"/>
                  <a:gd name="connsiteX20" fmla="*/ 0 w 949492"/>
                  <a:gd name="connsiteY20" fmla="*/ 99365 h 474746"/>
                  <a:gd name="connsiteX21" fmla="*/ 44162 w 949492"/>
                  <a:gd name="connsiteY21" fmla="*/ 153452 h 474746"/>
                  <a:gd name="connsiteX22" fmla="*/ 44162 w 949492"/>
                  <a:gd name="connsiteY22" fmla="*/ 342259 h 474746"/>
                  <a:gd name="connsiteX23" fmla="*/ 99365 w 949492"/>
                  <a:gd name="connsiteY23" fmla="*/ 397462 h 474746"/>
                  <a:gd name="connsiteX24" fmla="*/ 130037 w 949492"/>
                  <a:gd name="connsiteY24" fmla="*/ 397462 h 474746"/>
                  <a:gd name="connsiteX25" fmla="*/ 130037 w 949492"/>
                  <a:gd name="connsiteY25" fmla="*/ 398688 h 474746"/>
                  <a:gd name="connsiteX26" fmla="*/ 206095 w 949492"/>
                  <a:gd name="connsiteY26" fmla="*/ 474746 h 474746"/>
                  <a:gd name="connsiteX27" fmla="*/ 219298 w 949492"/>
                  <a:gd name="connsiteY27" fmla="*/ 474746 h 474746"/>
                  <a:gd name="connsiteX28" fmla="*/ 218445 w 949492"/>
                  <a:gd name="connsiteY28" fmla="*/ 461781 h 474746"/>
                  <a:gd name="connsiteX29" fmla="*/ 218908 w 949492"/>
                  <a:gd name="connsiteY29" fmla="*/ 452665 h 474746"/>
                  <a:gd name="connsiteX30" fmla="*/ 206075 w 949492"/>
                  <a:gd name="connsiteY30" fmla="*/ 452665 h 474746"/>
                  <a:gd name="connsiteX31" fmla="*/ 152117 w 949492"/>
                  <a:gd name="connsiteY31" fmla="*/ 398706 h 474746"/>
                  <a:gd name="connsiteX32" fmla="*/ 152117 w 949492"/>
                  <a:gd name="connsiteY32" fmla="*/ 306487 h 474746"/>
                  <a:gd name="connsiteX33" fmla="*/ 927411 w 949492"/>
                  <a:gd name="connsiteY33" fmla="*/ 436724 h 474746"/>
                  <a:gd name="connsiteX34" fmla="*/ 911465 w 949492"/>
                  <a:gd name="connsiteY34" fmla="*/ 452665 h 474746"/>
                  <a:gd name="connsiteX35" fmla="*/ 857126 w 949492"/>
                  <a:gd name="connsiteY35" fmla="*/ 452665 h 474746"/>
                  <a:gd name="connsiteX36" fmla="*/ 857588 w 949492"/>
                  <a:gd name="connsiteY36" fmla="*/ 461781 h 474746"/>
                  <a:gd name="connsiteX37" fmla="*/ 856735 w 949492"/>
                  <a:gd name="connsiteY37" fmla="*/ 474746 h 474746"/>
                  <a:gd name="connsiteX38" fmla="*/ 911473 w 949492"/>
                  <a:gd name="connsiteY38" fmla="*/ 474746 h 474746"/>
                  <a:gd name="connsiteX39" fmla="*/ 949492 w 949492"/>
                  <a:gd name="connsiteY39" fmla="*/ 436727 h 474746"/>
                  <a:gd name="connsiteX40" fmla="*/ 949492 w 949492"/>
                  <a:gd name="connsiteY40" fmla="*/ 379674 h 474746"/>
                  <a:gd name="connsiteX41" fmla="*/ 22081 w 949492"/>
                  <a:gd name="connsiteY41" fmla="*/ 98058 h 474746"/>
                  <a:gd name="connsiteX42" fmla="*/ 22081 w 949492"/>
                  <a:gd name="connsiteY42" fmla="*/ 77284 h 474746"/>
                  <a:gd name="connsiteX43" fmla="*/ 88325 w 949492"/>
                  <a:gd name="connsiteY43" fmla="*/ 77284 h 474746"/>
                  <a:gd name="connsiteX44" fmla="*/ 88325 w 949492"/>
                  <a:gd name="connsiteY44" fmla="*/ 99365 h 474746"/>
                  <a:gd name="connsiteX45" fmla="*/ 55107 w 949492"/>
                  <a:gd name="connsiteY45" fmla="*/ 132497 h 474746"/>
                  <a:gd name="connsiteX46" fmla="*/ 48602 w 949492"/>
                  <a:gd name="connsiteY46" fmla="*/ 131845 h 474746"/>
                  <a:gd name="connsiteX47" fmla="*/ 22081 w 949492"/>
                  <a:gd name="connsiteY47" fmla="*/ 98058 h 474746"/>
                  <a:gd name="connsiteX48" fmla="*/ 161613 w 949492"/>
                  <a:gd name="connsiteY48" fmla="*/ 284218 h 474746"/>
                  <a:gd name="connsiteX49" fmla="*/ 161692 w 949492"/>
                  <a:gd name="connsiteY49" fmla="*/ 284406 h 474746"/>
                  <a:gd name="connsiteX50" fmla="*/ 161613 w 949492"/>
                  <a:gd name="connsiteY50" fmla="*/ 284218 h 474746"/>
                  <a:gd name="connsiteX0" fmla="*/ 949492 w 949492"/>
                  <a:gd name="connsiteY0" fmla="*/ 436727 h 474746"/>
                  <a:gd name="connsiteX1" fmla="*/ 141443 w 949492"/>
                  <a:gd name="connsiteY1" fmla="*/ 273193 h 474746"/>
                  <a:gd name="connsiteX2" fmla="*/ 130037 w 949492"/>
                  <a:gd name="connsiteY2" fmla="*/ 300765 h 474746"/>
                  <a:gd name="connsiteX3" fmla="*/ 130037 w 949492"/>
                  <a:gd name="connsiteY3" fmla="*/ 375381 h 474746"/>
                  <a:gd name="connsiteX4" fmla="*/ 99365 w 949492"/>
                  <a:gd name="connsiteY4" fmla="*/ 375381 h 474746"/>
                  <a:gd name="connsiteX5" fmla="*/ 66244 w 949492"/>
                  <a:gd name="connsiteY5" fmla="*/ 342259 h 474746"/>
                  <a:gd name="connsiteX6" fmla="*/ 66244 w 949492"/>
                  <a:gd name="connsiteY6" fmla="*/ 153452 h 474746"/>
                  <a:gd name="connsiteX7" fmla="*/ 110406 w 949492"/>
                  <a:gd name="connsiteY7" fmla="*/ 99365 h 474746"/>
                  <a:gd name="connsiteX8" fmla="*/ 110406 w 949492"/>
                  <a:gd name="connsiteY8" fmla="*/ 55203 h 474746"/>
                  <a:gd name="connsiteX9" fmla="*/ 93845 w 949492"/>
                  <a:gd name="connsiteY9" fmla="*/ 55203 h 474746"/>
                  <a:gd name="connsiteX10" fmla="*/ 93845 w 949492"/>
                  <a:gd name="connsiteY10" fmla="*/ 11041 h 474746"/>
                  <a:gd name="connsiteX11" fmla="*/ 82805 w 949492"/>
                  <a:gd name="connsiteY11" fmla="*/ 0 h 474746"/>
                  <a:gd name="connsiteX12" fmla="*/ 71764 w 949492"/>
                  <a:gd name="connsiteY12" fmla="*/ 11041 h 474746"/>
                  <a:gd name="connsiteX13" fmla="*/ 71764 w 949492"/>
                  <a:gd name="connsiteY13" fmla="*/ 55203 h 474746"/>
                  <a:gd name="connsiteX14" fmla="*/ 38642 w 949492"/>
                  <a:gd name="connsiteY14" fmla="*/ 55203 h 474746"/>
                  <a:gd name="connsiteX15" fmla="*/ 38642 w 949492"/>
                  <a:gd name="connsiteY15" fmla="*/ 11041 h 474746"/>
                  <a:gd name="connsiteX16" fmla="*/ 27602 w 949492"/>
                  <a:gd name="connsiteY16" fmla="*/ 0 h 474746"/>
                  <a:gd name="connsiteX17" fmla="*/ 16561 w 949492"/>
                  <a:gd name="connsiteY17" fmla="*/ 11041 h 474746"/>
                  <a:gd name="connsiteX18" fmla="*/ 16561 w 949492"/>
                  <a:gd name="connsiteY18" fmla="*/ 55203 h 474746"/>
                  <a:gd name="connsiteX19" fmla="*/ 0 w 949492"/>
                  <a:gd name="connsiteY19" fmla="*/ 55203 h 474746"/>
                  <a:gd name="connsiteX20" fmla="*/ 0 w 949492"/>
                  <a:gd name="connsiteY20" fmla="*/ 99365 h 474746"/>
                  <a:gd name="connsiteX21" fmla="*/ 44162 w 949492"/>
                  <a:gd name="connsiteY21" fmla="*/ 153452 h 474746"/>
                  <a:gd name="connsiteX22" fmla="*/ 44162 w 949492"/>
                  <a:gd name="connsiteY22" fmla="*/ 342259 h 474746"/>
                  <a:gd name="connsiteX23" fmla="*/ 99365 w 949492"/>
                  <a:gd name="connsiteY23" fmla="*/ 397462 h 474746"/>
                  <a:gd name="connsiteX24" fmla="*/ 130037 w 949492"/>
                  <a:gd name="connsiteY24" fmla="*/ 397462 h 474746"/>
                  <a:gd name="connsiteX25" fmla="*/ 130037 w 949492"/>
                  <a:gd name="connsiteY25" fmla="*/ 398688 h 474746"/>
                  <a:gd name="connsiteX26" fmla="*/ 206095 w 949492"/>
                  <a:gd name="connsiteY26" fmla="*/ 474746 h 474746"/>
                  <a:gd name="connsiteX27" fmla="*/ 219298 w 949492"/>
                  <a:gd name="connsiteY27" fmla="*/ 474746 h 474746"/>
                  <a:gd name="connsiteX28" fmla="*/ 218445 w 949492"/>
                  <a:gd name="connsiteY28" fmla="*/ 461781 h 474746"/>
                  <a:gd name="connsiteX29" fmla="*/ 218908 w 949492"/>
                  <a:gd name="connsiteY29" fmla="*/ 452665 h 474746"/>
                  <a:gd name="connsiteX30" fmla="*/ 206075 w 949492"/>
                  <a:gd name="connsiteY30" fmla="*/ 452665 h 474746"/>
                  <a:gd name="connsiteX31" fmla="*/ 152117 w 949492"/>
                  <a:gd name="connsiteY31" fmla="*/ 398706 h 474746"/>
                  <a:gd name="connsiteX32" fmla="*/ 152117 w 949492"/>
                  <a:gd name="connsiteY32" fmla="*/ 306487 h 474746"/>
                  <a:gd name="connsiteX33" fmla="*/ 927411 w 949492"/>
                  <a:gd name="connsiteY33" fmla="*/ 436724 h 474746"/>
                  <a:gd name="connsiteX34" fmla="*/ 911465 w 949492"/>
                  <a:gd name="connsiteY34" fmla="*/ 452665 h 474746"/>
                  <a:gd name="connsiteX35" fmla="*/ 857126 w 949492"/>
                  <a:gd name="connsiteY35" fmla="*/ 452665 h 474746"/>
                  <a:gd name="connsiteX36" fmla="*/ 857588 w 949492"/>
                  <a:gd name="connsiteY36" fmla="*/ 461781 h 474746"/>
                  <a:gd name="connsiteX37" fmla="*/ 856735 w 949492"/>
                  <a:gd name="connsiteY37" fmla="*/ 474746 h 474746"/>
                  <a:gd name="connsiteX38" fmla="*/ 911473 w 949492"/>
                  <a:gd name="connsiteY38" fmla="*/ 474746 h 474746"/>
                  <a:gd name="connsiteX39" fmla="*/ 949492 w 949492"/>
                  <a:gd name="connsiteY39" fmla="*/ 436727 h 474746"/>
                  <a:gd name="connsiteX40" fmla="*/ 22081 w 949492"/>
                  <a:gd name="connsiteY40" fmla="*/ 98058 h 474746"/>
                  <a:gd name="connsiteX41" fmla="*/ 22081 w 949492"/>
                  <a:gd name="connsiteY41" fmla="*/ 77284 h 474746"/>
                  <a:gd name="connsiteX42" fmla="*/ 88325 w 949492"/>
                  <a:gd name="connsiteY42" fmla="*/ 77284 h 474746"/>
                  <a:gd name="connsiteX43" fmla="*/ 88325 w 949492"/>
                  <a:gd name="connsiteY43" fmla="*/ 99365 h 474746"/>
                  <a:gd name="connsiteX44" fmla="*/ 55107 w 949492"/>
                  <a:gd name="connsiteY44" fmla="*/ 132497 h 474746"/>
                  <a:gd name="connsiteX45" fmla="*/ 48602 w 949492"/>
                  <a:gd name="connsiteY45" fmla="*/ 131845 h 474746"/>
                  <a:gd name="connsiteX46" fmla="*/ 22081 w 949492"/>
                  <a:gd name="connsiteY46" fmla="*/ 98058 h 474746"/>
                  <a:gd name="connsiteX47" fmla="*/ 161613 w 949492"/>
                  <a:gd name="connsiteY47" fmla="*/ 284218 h 474746"/>
                  <a:gd name="connsiteX48" fmla="*/ 161692 w 949492"/>
                  <a:gd name="connsiteY48" fmla="*/ 284406 h 474746"/>
                  <a:gd name="connsiteX49" fmla="*/ 161613 w 949492"/>
                  <a:gd name="connsiteY49" fmla="*/ 284218 h 474746"/>
                  <a:gd name="connsiteX0" fmla="*/ 911473 w 927411"/>
                  <a:gd name="connsiteY0" fmla="*/ 474746 h 474746"/>
                  <a:gd name="connsiteX1" fmla="*/ 141443 w 927411"/>
                  <a:gd name="connsiteY1" fmla="*/ 273193 h 474746"/>
                  <a:gd name="connsiteX2" fmla="*/ 130037 w 927411"/>
                  <a:gd name="connsiteY2" fmla="*/ 300765 h 474746"/>
                  <a:gd name="connsiteX3" fmla="*/ 130037 w 927411"/>
                  <a:gd name="connsiteY3" fmla="*/ 375381 h 474746"/>
                  <a:gd name="connsiteX4" fmla="*/ 99365 w 927411"/>
                  <a:gd name="connsiteY4" fmla="*/ 375381 h 474746"/>
                  <a:gd name="connsiteX5" fmla="*/ 66244 w 927411"/>
                  <a:gd name="connsiteY5" fmla="*/ 342259 h 474746"/>
                  <a:gd name="connsiteX6" fmla="*/ 66244 w 927411"/>
                  <a:gd name="connsiteY6" fmla="*/ 153452 h 474746"/>
                  <a:gd name="connsiteX7" fmla="*/ 110406 w 927411"/>
                  <a:gd name="connsiteY7" fmla="*/ 99365 h 474746"/>
                  <a:gd name="connsiteX8" fmla="*/ 110406 w 927411"/>
                  <a:gd name="connsiteY8" fmla="*/ 55203 h 474746"/>
                  <a:gd name="connsiteX9" fmla="*/ 93845 w 927411"/>
                  <a:gd name="connsiteY9" fmla="*/ 55203 h 474746"/>
                  <a:gd name="connsiteX10" fmla="*/ 93845 w 927411"/>
                  <a:gd name="connsiteY10" fmla="*/ 11041 h 474746"/>
                  <a:gd name="connsiteX11" fmla="*/ 82805 w 927411"/>
                  <a:gd name="connsiteY11" fmla="*/ 0 h 474746"/>
                  <a:gd name="connsiteX12" fmla="*/ 71764 w 927411"/>
                  <a:gd name="connsiteY12" fmla="*/ 11041 h 474746"/>
                  <a:gd name="connsiteX13" fmla="*/ 71764 w 927411"/>
                  <a:gd name="connsiteY13" fmla="*/ 55203 h 474746"/>
                  <a:gd name="connsiteX14" fmla="*/ 38642 w 927411"/>
                  <a:gd name="connsiteY14" fmla="*/ 55203 h 474746"/>
                  <a:gd name="connsiteX15" fmla="*/ 38642 w 927411"/>
                  <a:gd name="connsiteY15" fmla="*/ 11041 h 474746"/>
                  <a:gd name="connsiteX16" fmla="*/ 27602 w 927411"/>
                  <a:gd name="connsiteY16" fmla="*/ 0 h 474746"/>
                  <a:gd name="connsiteX17" fmla="*/ 16561 w 927411"/>
                  <a:gd name="connsiteY17" fmla="*/ 11041 h 474746"/>
                  <a:gd name="connsiteX18" fmla="*/ 16561 w 927411"/>
                  <a:gd name="connsiteY18" fmla="*/ 55203 h 474746"/>
                  <a:gd name="connsiteX19" fmla="*/ 0 w 927411"/>
                  <a:gd name="connsiteY19" fmla="*/ 55203 h 474746"/>
                  <a:gd name="connsiteX20" fmla="*/ 0 w 927411"/>
                  <a:gd name="connsiteY20" fmla="*/ 99365 h 474746"/>
                  <a:gd name="connsiteX21" fmla="*/ 44162 w 927411"/>
                  <a:gd name="connsiteY21" fmla="*/ 153452 h 474746"/>
                  <a:gd name="connsiteX22" fmla="*/ 44162 w 927411"/>
                  <a:gd name="connsiteY22" fmla="*/ 342259 h 474746"/>
                  <a:gd name="connsiteX23" fmla="*/ 99365 w 927411"/>
                  <a:gd name="connsiteY23" fmla="*/ 397462 h 474746"/>
                  <a:gd name="connsiteX24" fmla="*/ 130037 w 927411"/>
                  <a:gd name="connsiteY24" fmla="*/ 397462 h 474746"/>
                  <a:gd name="connsiteX25" fmla="*/ 130037 w 927411"/>
                  <a:gd name="connsiteY25" fmla="*/ 398688 h 474746"/>
                  <a:gd name="connsiteX26" fmla="*/ 206095 w 927411"/>
                  <a:gd name="connsiteY26" fmla="*/ 474746 h 474746"/>
                  <a:gd name="connsiteX27" fmla="*/ 219298 w 927411"/>
                  <a:gd name="connsiteY27" fmla="*/ 474746 h 474746"/>
                  <a:gd name="connsiteX28" fmla="*/ 218445 w 927411"/>
                  <a:gd name="connsiteY28" fmla="*/ 461781 h 474746"/>
                  <a:gd name="connsiteX29" fmla="*/ 218908 w 927411"/>
                  <a:gd name="connsiteY29" fmla="*/ 452665 h 474746"/>
                  <a:gd name="connsiteX30" fmla="*/ 206075 w 927411"/>
                  <a:gd name="connsiteY30" fmla="*/ 452665 h 474746"/>
                  <a:gd name="connsiteX31" fmla="*/ 152117 w 927411"/>
                  <a:gd name="connsiteY31" fmla="*/ 398706 h 474746"/>
                  <a:gd name="connsiteX32" fmla="*/ 152117 w 927411"/>
                  <a:gd name="connsiteY32" fmla="*/ 306487 h 474746"/>
                  <a:gd name="connsiteX33" fmla="*/ 927411 w 927411"/>
                  <a:gd name="connsiteY33" fmla="*/ 436724 h 474746"/>
                  <a:gd name="connsiteX34" fmla="*/ 911465 w 927411"/>
                  <a:gd name="connsiteY34" fmla="*/ 452665 h 474746"/>
                  <a:gd name="connsiteX35" fmla="*/ 857126 w 927411"/>
                  <a:gd name="connsiteY35" fmla="*/ 452665 h 474746"/>
                  <a:gd name="connsiteX36" fmla="*/ 857588 w 927411"/>
                  <a:gd name="connsiteY36" fmla="*/ 461781 h 474746"/>
                  <a:gd name="connsiteX37" fmla="*/ 856735 w 927411"/>
                  <a:gd name="connsiteY37" fmla="*/ 474746 h 474746"/>
                  <a:gd name="connsiteX38" fmla="*/ 911473 w 927411"/>
                  <a:gd name="connsiteY38" fmla="*/ 474746 h 474746"/>
                  <a:gd name="connsiteX39" fmla="*/ 22081 w 927411"/>
                  <a:gd name="connsiteY39" fmla="*/ 98058 h 474746"/>
                  <a:gd name="connsiteX40" fmla="*/ 22081 w 927411"/>
                  <a:gd name="connsiteY40" fmla="*/ 77284 h 474746"/>
                  <a:gd name="connsiteX41" fmla="*/ 88325 w 927411"/>
                  <a:gd name="connsiteY41" fmla="*/ 77284 h 474746"/>
                  <a:gd name="connsiteX42" fmla="*/ 88325 w 927411"/>
                  <a:gd name="connsiteY42" fmla="*/ 99365 h 474746"/>
                  <a:gd name="connsiteX43" fmla="*/ 55107 w 927411"/>
                  <a:gd name="connsiteY43" fmla="*/ 132497 h 474746"/>
                  <a:gd name="connsiteX44" fmla="*/ 48602 w 927411"/>
                  <a:gd name="connsiteY44" fmla="*/ 131845 h 474746"/>
                  <a:gd name="connsiteX45" fmla="*/ 22081 w 927411"/>
                  <a:gd name="connsiteY45" fmla="*/ 98058 h 474746"/>
                  <a:gd name="connsiteX46" fmla="*/ 161613 w 927411"/>
                  <a:gd name="connsiteY46" fmla="*/ 284218 h 474746"/>
                  <a:gd name="connsiteX47" fmla="*/ 161692 w 927411"/>
                  <a:gd name="connsiteY47" fmla="*/ 284406 h 474746"/>
                  <a:gd name="connsiteX48" fmla="*/ 161613 w 927411"/>
                  <a:gd name="connsiteY48" fmla="*/ 284218 h 474746"/>
                  <a:gd name="connsiteX0" fmla="*/ 911473 w 911473"/>
                  <a:gd name="connsiteY0" fmla="*/ 474746 h 474746"/>
                  <a:gd name="connsiteX1" fmla="*/ 141443 w 911473"/>
                  <a:gd name="connsiteY1" fmla="*/ 273193 h 474746"/>
                  <a:gd name="connsiteX2" fmla="*/ 130037 w 911473"/>
                  <a:gd name="connsiteY2" fmla="*/ 300765 h 474746"/>
                  <a:gd name="connsiteX3" fmla="*/ 130037 w 911473"/>
                  <a:gd name="connsiteY3" fmla="*/ 375381 h 474746"/>
                  <a:gd name="connsiteX4" fmla="*/ 99365 w 911473"/>
                  <a:gd name="connsiteY4" fmla="*/ 375381 h 474746"/>
                  <a:gd name="connsiteX5" fmla="*/ 66244 w 911473"/>
                  <a:gd name="connsiteY5" fmla="*/ 342259 h 474746"/>
                  <a:gd name="connsiteX6" fmla="*/ 66244 w 911473"/>
                  <a:gd name="connsiteY6" fmla="*/ 153452 h 474746"/>
                  <a:gd name="connsiteX7" fmla="*/ 110406 w 911473"/>
                  <a:gd name="connsiteY7" fmla="*/ 99365 h 474746"/>
                  <a:gd name="connsiteX8" fmla="*/ 110406 w 911473"/>
                  <a:gd name="connsiteY8" fmla="*/ 55203 h 474746"/>
                  <a:gd name="connsiteX9" fmla="*/ 93845 w 911473"/>
                  <a:gd name="connsiteY9" fmla="*/ 55203 h 474746"/>
                  <a:gd name="connsiteX10" fmla="*/ 93845 w 911473"/>
                  <a:gd name="connsiteY10" fmla="*/ 11041 h 474746"/>
                  <a:gd name="connsiteX11" fmla="*/ 82805 w 911473"/>
                  <a:gd name="connsiteY11" fmla="*/ 0 h 474746"/>
                  <a:gd name="connsiteX12" fmla="*/ 71764 w 911473"/>
                  <a:gd name="connsiteY12" fmla="*/ 11041 h 474746"/>
                  <a:gd name="connsiteX13" fmla="*/ 71764 w 911473"/>
                  <a:gd name="connsiteY13" fmla="*/ 55203 h 474746"/>
                  <a:gd name="connsiteX14" fmla="*/ 38642 w 911473"/>
                  <a:gd name="connsiteY14" fmla="*/ 55203 h 474746"/>
                  <a:gd name="connsiteX15" fmla="*/ 38642 w 911473"/>
                  <a:gd name="connsiteY15" fmla="*/ 11041 h 474746"/>
                  <a:gd name="connsiteX16" fmla="*/ 27602 w 911473"/>
                  <a:gd name="connsiteY16" fmla="*/ 0 h 474746"/>
                  <a:gd name="connsiteX17" fmla="*/ 16561 w 911473"/>
                  <a:gd name="connsiteY17" fmla="*/ 11041 h 474746"/>
                  <a:gd name="connsiteX18" fmla="*/ 16561 w 911473"/>
                  <a:gd name="connsiteY18" fmla="*/ 55203 h 474746"/>
                  <a:gd name="connsiteX19" fmla="*/ 0 w 911473"/>
                  <a:gd name="connsiteY19" fmla="*/ 55203 h 474746"/>
                  <a:gd name="connsiteX20" fmla="*/ 0 w 911473"/>
                  <a:gd name="connsiteY20" fmla="*/ 99365 h 474746"/>
                  <a:gd name="connsiteX21" fmla="*/ 44162 w 911473"/>
                  <a:gd name="connsiteY21" fmla="*/ 153452 h 474746"/>
                  <a:gd name="connsiteX22" fmla="*/ 44162 w 911473"/>
                  <a:gd name="connsiteY22" fmla="*/ 342259 h 474746"/>
                  <a:gd name="connsiteX23" fmla="*/ 99365 w 911473"/>
                  <a:gd name="connsiteY23" fmla="*/ 397462 h 474746"/>
                  <a:gd name="connsiteX24" fmla="*/ 130037 w 911473"/>
                  <a:gd name="connsiteY24" fmla="*/ 397462 h 474746"/>
                  <a:gd name="connsiteX25" fmla="*/ 130037 w 911473"/>
                  <a:gd name="connsiteY25" fmla="*/ 398688 h 474746"/>
                  <a:gd name="connsiteX26" fmla="*/ 206095 w 911473"/>
                  <a:gd name="connsiteY26" fmla="*/ 474746 h 474746"/>
                  <a:gd name="connsiteX27" fmla="*/ 219298 w 911473"/>
                  <a:gd name="connsiteY27" fmla="*/ 474746 h 474746"/>
                  <a:gd name="connsiteX28" fmla="*/ 218445 w 911473"/>
                  <a:gd name="connsiteY28" fmla="*/ 461781 h 474746"/>
                  <a:gd name="connsiteX29" fmla="*/ 218908 w 911473"/>
                  <a:gd name="connsiteY29" fmla="*/ 452665 h 474746"/>
                  <a:gd name="connsiteX30" fmla="*/ 206075 w 911473"/>
                  <a:gd name="connsiteY30" fmla="*/ 452665 h 474746"/>
                  <a:gd name="connsiteX31" fmla="*/ 152117 w 911473"/>
                  <a:gd name="connsiteY31" fmla="*/ 398706 h 474746"/>
                  <a:gd name="connsiteX32" fmla="*/ 152117 w 911473"/>
                  <a:gd name="connsiteY32" fmla="*/ 306487 h 474746"/>
                  <a:gd name="connsiteX33" fmla="*/ 911465 w 911473"/>
                  <a:gd name="connsiteY33" fmla="*/ 452665 h 474746"/>
                  <a:gd name="connsiteX34" fmla="*/ 857126 w 911473"/>
                  <a:gd name="connsiteY34" fmla="*/ 452665 h 474746"/>
                  <a:gd name="connsiteX35" fmla="*/ 857588 w 911473"/>
                  <a:gd name="connsiteY35" fmla="*/ 461781 h 474746"/>
                  <a:gd name="connsiteX36" fmla="*/ 856735 w 911473"/>
                  <a:gd name="connsiteY36" fmla="*/ 474746 h 474746"/>
                  <a:gd name="connsiteX37" fmla="*/ 911473 w 911473"/>
                  <a:gd name="connsiteY37" fmla="*/ 474746 h 474746"/>
                  <a:gd name="connsiteX38" fmla="*/ 22081 w 911473"/>
                  <a:gd name="connsiteY38" fmla="*/ 98058 h 474746"/>
                  <a:gd name="connsiteX39" fmla="*/ 22081 w 911473"/>
                  <a:gd name="connsiteY39" fmla="*/ 77284 h 474746"/>
                  <a:gd name="connsiteX40" fmla="*/ 88325 w 911473"/>
                  <a:gd name="connsiteY40" fmla="*/ 77284 h 474746"/>
                  <a:gd name="connsiteX41" fmla="*/ 88325 w 911473"/>
                  <a:gd name="connsiteY41" fmla="*/ 99365 h 474746"/>
                  <a:gd name="connsiteX42" fmla="*/ 55107 w 911473"/>
                  <a:gd name="connsiteY42" fmla="*/ 132497 h 474746"/>
                  <a:gd name="connsiteX43" fmla="*/ 48602 w 911473"/>
                  <a:gd name="connsiteY43" fmla="*/ 131845 h 474746"/>
                  <a:gd name="connsiteX44" fmla="*/ 22081 w 911473"/>
                  <a:gd name="connsiteY44" fmla="*/ 98058 h 474746"/>
                  <a:gd name="connsiteX45" fmla="*/ 161613 w 911473"/>
                  <a:gd name="connsiteY45" fmla="*/ 284218 h 474746"/>
                  <a:gd name="connsiteX46" fmla="*/ 161692 w 911473"/>
                  <a:gd name="connsiteY46" fmla="*/ 284406 h 474746"/>
                  <a:gd name="connsiteX47" fmla="*/ 161613 w 911473"/>
                  <a:gd name="connsiteY47" fmla="*/ 284218 h 474746"/>
                  <a:gd name="connsiteX0" fmla="*/ 911473 w 911473"/>
                  <a:gd name="connsiteY0" fmla="*/ 474746 h 474746"/>
                  <a:gd name="connsiteX1" fmla="*/ 141443 w 911473"/>
                  <a:gd name="connsiteY1" fmla="*/ 273193 h 474746"/>
                  <a:gd name="connsiteX2" fmla="*/ 130037 w 911473"/>
                  <a:gd name="connsiteY2" fmla="*/ 300765 h 474746"/>
                  <a:gd name="connsiteX3" fmla="*/ 130037 w 911473"/>
                  <a:gd name="connsiteY3" fmla="*/ 375381 h 474746"/>
                  <a:gd name="connsiteX4" fmla="*/ 99365 w 911473"/>
                  <a:gd name="connsiteY4" fmla="*/ 375381 h 474746"/>
                  <a:gd name="connsiteX5" fmla="*/ 66244 w 911473"/>
                  <a:gd name="connsiteY5" fmla="*/ 342259 h 474746"/>
                  <a:gd name="connsiteX6" fmla="*/ 66244 w 911473"/>
                  <a:gd name="connsiteY6" fmla="*/ 153452 h 474746"/>
                  <a:gd name="connsiteX7" fmla="*/ 110406 w 911473"/>
                  <a:gd name="connsiteY7" fmla="*/ 99365 h 474746"/>
                  <a:gd name="connsiteX8" fmla="*/ 110406 w 911473"/>
                  <a:gd name="connsiteY8" fmla="*/ 55203 h 474746"/>
                  <a:gd name="connsiteX9" fmla="*/ 93845 w 911473"/>
                  <a:gd name="connsiteY9" fmla="*/ 55203 h 474746"/>
                  <a:gd name="connsiteX10" fmla="*/ 93845 w 911473"/>
                  <a:gd name="connsiteY10" fmla="*/ 11041 h 474746"/>
                  <a:gd name="connsiteX11" fmla="*/ 82805 w 911473"/>
                  <a:gd name="connsiteY11" fmla="*/ 0 h 474746"/>
                  <a:gd name="connsiteX12" fmla="*/ 71764 w 911473"/>
                  <a:gd name="connsiteY12" fmla="*/ 11041 h 474746"/>
                  <a:gd name="connsiteX13" fmla="*/ 71764 w 911473"/>
                  <a:gd name="connsiteY13" fmla="*/ 55203 h 474746"/>
                  <a:gd name="connsiteX14" fmla="*/ 38642 w 911473"/>
                  <a:gd name="connsiteY14" fmla="*/ 55203 h 474746"/>
                  <a:gd name="connsiteX15" fmla="*/ 38642 w 911473"/>
                  <a:gd name="connsiteY15" fmla="*/ 11041 h 474746"/>
                  <a:gd name="connsiteX16" fmla="*/ 27602 w 911473"/>
                  <a:gd name="connsiteY16" fmla="*/ 0 h 474746"/>
                  <a:gd name="connsiteX17" fmla="*/ 16561 w 911473"/>
                  <a:gd name="connsiteY17" fmla="*/ 11041 h 474746"/>
                  <a:gd name="connsiteX18" fmla="*/ 16561 w 911473"/>
                  <a:gd name="connsiteY18" fmla="*/ 55203 h 474746"/>
                  <a:gd name="connsiteX19" fmla="*/ 0 w 911473"/>
                  <a:gd name="connsiteY19" fmla="*/ 55203 h 474746"/>
                  <a:gd name="connsiteX20" fmla="*/ 0 w 911473"/>
                  <a:gd name="connsiteY20" fmla="*/ 99365 h 474746"/>
                  <a:gd name="connsiteX21" fmla="*/ 44162 w 911473"/>
                  <a:gd name="connsiteY21" fmla="*/ 153452 h 474746"/>
                  <a:gd name="connsiteX22" fmla="*/ 44162 w 911473"/>
                  <a:gd name="connsiteY22" fmla="*/ 342259 h 474746"/>
                  <a:gd name="connsiteX23" fmla="*/ 99365 w 911473"/>
                  <a:gd name="connsiteY23" fmla="*/ 397462 h 474746"/>
                  <a:gd name="connsiteX24" fmla="*/ 130037 w 911473"/>
                  <a:gd name="connsiteY24" fmla="*/ 397462 h 474746"/>
                  <a:gd name="connsiteX25" fmla="*/ 130037 w 911473"/>
                  <a:gd name="connsiteY25" fmla="*/ 398688 h 474746"/>
                  <a:gd name="connsiteX26" fmla="*/ 206095 w 911473"/>
                  <a:gd name="connsiteY26" fmla="*/ 474746 h 474746"/>
                  <a:gd name="connsiteX27" fmla="*/ 219298 w 911473"/>
                  <a:gd name="connsiteY27" fmla="*/ 474746 h 474746"/>
                  <a:gd name="connsiteX28" fmla="*/ 218445 w 911473"/>
                  <a:gd name="connsiteY28" fmla="*/ 461781 h 474746"/>
                  <a:gd name="connsiteX29" fmla="*/ 218908 w 911473"/>
                  <a:gd name="connsiteY29" fmla="*/ 452665 h 474746"/>
                  <a:gd name="connsiteX30" fmla="*/ 206075 w 911473"/>
                  <a:gd name="connsiteY30" fmla="*/ 452665 h 474746"/>
                  <a:gd name="connsiteX31" fmla="*/ 152117 w 911473"/>
                  <a:gd name="connsiteY31" fmla="*/ 398706 h 474746"/>
                  <a:gd name="connsiteX32" fmla="*/ 152117 w 911473"/>
                  <a:gd name="connsiteY32" fmla="*/ 306487 h 474746"/>
                  <a:gd name="connsiteX33" fmla="*/ 857126 w 911473"/>
                  <a:gd name="connsiteY33" fmla="*/ 452665 h 474746"/>
                  <a:gd name="connsiteX34" fmla="*/ 857588 w 911473"/>
                  <a:gd name="connsiteY34" fmla="*/ 461781 h 474746"/>
                  <a:gd name="connsiteX35" fmla="*/ 856735 w 911473"/>
                  <a:gd name="connsiteY35" fmla="*/ 474746 h 474746"/>
                  <a:gd name="connsiteX36" fmla="*/ 911473 w 911473"/>
                  <a:gd name="connsiteY36" fmla="*/ 474746 h 474746"/>
                  <a:gd name="connsiteX37" fmla="*/ 22081 w 911473"/>
                  <a:gd name="connsiteY37" fmla="*/ 98058 h 474746"/>
                  <a:gd name="connsiteX38" fmla="*/ 22081 w 911473"/>
                  <a:gd name="connsiteY38" fmla="*/ 77284 h 474746"/>
                  <a:gd name="connsiteX39" fmla="*/ 88325 w 911473"/>
                  <a:gd name="connsiteY39" fmla="*/ 77284 h 474746"/>
                  <a:gd name="connsiteX40" fmla="*/ 88325 w 911473"/>
                  <a:gd name="connsiteY40" fmla="*/ 99365 h 474746"/>
                  <a:gd name="connsiteX41" fmla="*/ 55107 w 911473"/>
                  <a:gd name="connsiteY41" fmla="*/ 132497 h 474746"/>
                  <a:gd name="connsiteX42" fmla="*/ 48602 w 911473"/>
                  <a:gd name="connsiteY42" fmla="*/ 131845 h 474746"/>
                  <a:gd name="connsiteX43" fmla="*/ 22081 w 911473"/>
                  <a:gd name="connsiteY43" fmla="*/ 98058 h 474746"/>
                  <a:gd name="connsiteX44" fmla="*/ 161613 w 911473"/>
                  <a:gd name="connsiteY44" fmla="*/ 284218 h 474746"/>
                  <a:gd name="connsiteX45" fmla="*/ 161692 w 911473"/>
                  <a:gd name="connsiteY45" fmla="*/ 284406 h 474746"/>
                  <a:gd name="connsiteX46" fmla="*/ 161613 w 911473"/>
                  <a:gd name="connsiteY46" fmla="*/ 284218 h 474746"/>
                  <a:gd name="connsiteX0" fmla="*/ 856735 w 857588"/>
                  <a:gd name="connsiteY0" fmla="*/ 474746 h 474746"/>
                  <a:gd name="connsiteX1" fmla="*/ 141443 w 857588"/>
                  <a:gd name="connsiteY1" fmla="*/ 273193 h 474746"/>
                  <a:gd name="connsiteX2" fmla="*/ 130037 w 857588"/>
                  <a:gd name="connsiteY2" fmla="*/ 300765 h 474746"/>
                  <a:gd name="connsiteX3" fmla="*/ 130037 w 857588"/>
                  <a:gd name="connsiteY3" fmla="*/ 375381 h 474746"/>
                  <a:gd name="connsiteX4" fmla="*/ 99365 w 857588"/>
                  <a:gd name="connsiteY4" fmla="*/ 375381 h 474746"/>
                  <a:gd name="connsiteX5" fmla="*/ 66244 w 857588"/>
                  <a:gd name="connsiteY5" fmla="*/ 342259 h 474746"/>
                  <a:gd name="connsiteX6" fmla="*/ 66244 w 857588"/>
                  <a:gd name="connsiteY6" fmla="*/ 153452 h 474746"/>
                  <a:gd name="connsiteX7" fmla="*/ 110406 w 857588"/>
                  <a:gd name="connsiteY7" fmla="*/ 99365 h 474746"/>
                  <a:gd name="connsiteX8" fmla="*/ 110406 w 857588"/>
                  <a:gd name="connsiteY8" fmla="*/ 55203 h 474746"/>
                  <a:gd name="connsiteX9" fmla="*/ 93845 w 857588"/>
                  <a:gd name="connsiteY9" fmla="*/ 55203 h 474746"/>
                  <a:gd name="connsiteX10" fmla="*/ 93845 w 857588"/>
                  <a:gd name="connsiteY10" fmla="*/ 11041 h 474746"/>
                  <a:gd name="connsiteX11" fmla="*/ 82805 w 857588"/>
                  <a:gd name="connsiteY11" fmla="*/ 0 h 474746"/>
                  <a:gd name="connsiteX12" fmla="*/ 71764 w 857588"/>
                  <a:gd name="connsiteY12" fmla="*/ 11041 h 474746"/>
                  <a:gd name="connsiteX13" fmla="*/ 71764 w 857588"/>
                  <a:gd name="connsiteY13" fmla="*/ 55203 h 474746"/>
                  <a:gd name="connsiteX14" fmla="*/ 38642 w 857588"/>
                  <a:gd name="connsiteY14" fmla="*/ 55203 h 474746"/>
                  <a:gd name="connsiteX15" fmla="*/ 38642 w 857588"/>
                  <a:gd name="connsiteY15" fmla="*/ 11041 h 474746"/>
                  <a:gd name="connsiteX16" fmla="*/ 27602 w 857588"/>
                  <a:gd name="connsiteY16" fmla="*/ 0 h 474746"/>
                  <a:gd name="connsiteX17" fmla="*/ 16561 w 857588"/>
                  <a:gd name="connsiteY17" fmla="*/ 11041 h 474746"/>
                  <a:gd name="connsiteX18" fmla="*/ 16561 w 857588"/>
                  <a:gd name="connsiteY18" fmla="*/ 55203 h 474746"/>
                  <a:gd name="connsiteX19" fmla="*/ 0 w 857588"/>
                  <a:gd name="connsiteY19" fmla="*/ 55203 h 474746"/>
                  <a:gd name="connsiteX20" fmla="*/ 0 w 857588"/>
                  <a:gd name="connsiteY20" fmla="*/ 99365 h 474746"/>
                  <a:gd name="connsiteX21" fmla="*/ 44162 w 857588"/>
                  <a:gd name="connsiteY21" fmla="*/ 153452 h 474746"/>
                  <a:gd name="connsiteX22" fmla="*/ 44162 w 857588"/>
                  <a:gd name="connsiteY22" fmla="*/ 342259 h 474746"/>
                  <a:gd name="connsiteX23" fmla="*/ 99365 w 857588"/>
                  <a:gd name="connsiteY23" fmla="*/ 397462 h 474746"/>
                  <a:gd name="connsiteX24" fmla="*/ 130037 w 857588"/>
                  <a:gd name="connsiteY24" fmla="*/ 397462 h 474746"/>
                  <a:gd name="connsiteX25" fmla="*/ 130037 w 857588"/>
                  <a:gd name="connsiteY25" fmla="*/ 398688 h 474746"/>
                  <a:gd name="connsiteX26" fmla="*/ 206095 w 857588"/>
                  <a:gd name="connsiteY26" fmla="*/ 474746 h 474746"/>
                  <a:gd name="connsiteX27" fmla="*/ 219298 w 857588"/>
                  <a:gd name="connsiteY27" fmla="*/ 474746 h 474746"/>
                  <a:gd name="connsiteX28" fmla="*/ 218445 w 857588"/>
                  <a:gd name="connsiteY28" fmla="*/ 461781 h 474746"/>
                  <a:gd name="connsiteX29" fmla="*/ 218908 w 857588"/>
                  <a:gd name="connsiteY29" fmla="*/ 452665 h 474746"/>
                  <a:gd name="connsiteX30" fmla="*/ 206075 w 857588"/>
                  <a:gd name="connsiteY30" fmla="*/ 452665 h 474746"/>
                  <a:gd name="connsiteX31" fmla="*/ 152117 w 857588"/>
                  <a:gd name="connsiteY31" fmla="*/ 398706 h 474746"/>
                  <a:gd name="connsiteX32" fmla="*/ 152117 w 857588"/>
                  <a:gd name="connsiteY32" fmla="*/ 306487 h 474746"/>
                  <a:gd name="connsiteX33" fmla="*/ 857126 w 857588"/>
                  <a:gd name="connsiteY33" fmla="*/ 452665 h 474746"/>
                  <a:gd name="connsiteX34" fmla="*/ 857588 w 857588"/>
                  <a:gd name="connsiteY34" fmla="*/ 461781 h 474746"/>
                  <a:gd name="connsiteX35" fmla="*/ 856735 w 857588"/>
                  <a:gd name="connsiteY35" fmla="*/ 474746 h 474746"/>
                  <a:gd name="connsiteX36" fmla="*/ 22081 w 857588"/>
                  <a:gd name="connsiteY36" fmla="*/ 98058 h 474746"/>
                  <a:gd name="connsiteX37" fmla="*/ 22081 w 857588"/>
                  <a:gd name="connsiteY37" fmla="*/ 77284 h 474746"/>
                  <a:gd name="connsiteX38" fmla="*/ 88325 w 857588"/>
                  <a:gd name="connsiteY38" fmla="*/ 77284 h 474746"/>
                  <a:gd name="connsiteX39" fmla="*/ 88325 w 857588"/>
                  <a:gd name="connsiteY39" fmla="*/ 99365 h 474746"/>
                  <a:gd name="connsiteX40" fmla="*/ 55107 w 857588"/>
                  <a:gd name="connsiteY40" fmla="*/ 132497 h 474746"/>
                  <a:gd name="connsiteX41" fmla="*/ 48602 w 857588"/>
                  <a:gd name="connsiteY41" fmla="*/ 131845 h 474746"/>
                  <a:gd name="connsiteX42" fmla="*/ 22081 w 857588"/>
                  <a:gd name="connsiteY42" fmla="*/ 98058 h 474746"/>
                  <a:gd name="connsiteX43" fmla="*/ 161613 w 857588"/>
                  <a:gd name="connsiteY43" fmla="*/ 284218 h 474746"/>
                  <a:gd name="connsiteX44" fmla="*/ 161692 w 857588"/>
                  <a:gd name="connsiteY44" fmla="*/ 284406 h 474746"/>
                  <a:gd name="connsiteX45" fmla="*/ 161613 w 857588"/>
                  <a:gd name="connsiteY45" fmla="*/ 284218 h 474746"/>
                  <a:gd name="connsiteX0" fmla="*/ 856735 w 945699"/>
                  <a:gd name="connsiteY0" fmla="*/ 474746 h 488551"/>
                  <a:gd name="connsiteX1" fmla="*/ 141443 w 945699"/>
                  <a:gd name="connsiteY1" fmla="*/ 273193 h 488551"/>
                  <a:gd name="connsiteX2" fmla="*/ 130037 w 945699"/>
                  <a:gd name="connsiteY2" fmla="*/ 300765 h 488551"/>
                  <a:gd name="connsiteX3" fmla="*/ 130037 w 945699"/>
                  <a:gd name="connsiteY3" fmla="*/ 375381 h 488551"/>
                  <a:gd name="connsiteX4" fmla="*/ 99365 w 945699"/>
                  <a:gd name="connsiteY4" fmla="*/ 375381 h 488551"/>
                  <a:gd name="connsiteX5" fmla="*/ 66244 w 945699"/>
                  <a:gd name="connsiteY5" fmla="*/ 342259 h 488551"/>
                  <a:gd name="connsiteX6" fmla="*/ 66244 w 945699"/>
                  <a:gd name="connsiteY6" fmla="*/ 153452 h 488551"/>
                  <a:gd name="connsiteX7" fmla="*/ 110406 w 945699"/>
                  <a:gd name="connsiteY7" fmla="*/ 99365 h 488551"/>
                  <a:gd name="connsiteX8" fmla="*/ 110406 w 945699"/>
                  <a:gd name="connsiteY8" fmla="*/ 55203 h 488551"/>
                  <a:gd name="connsiteX9" fmla="*/ 93845 w 945699"/>
                  <a:gd name="connsiteY9" fmla="*/ 55203 h 488551"/>
                  <a:gd name="connsiteX10" fmla="*/ 93845 w 945699"/>
                  <a:gd name="connsiteY10" fmla="*/ 11041 h 488551"/>
                  <a:gd name="connsiteX11" fmla="*/ 82805 w 945699"/>
                  <a:gd name="connsiteY11" fmla="*/ 0 h 488551"/>
                  <a:gd name="connsiteX12" fmla="*/ 71764 w 945699"/>
                  <a:gd name="connsiteY12" fmla="*/ 11041 h 488551"/>
                  <a:gd name="connsiteX13" fmla="*/ 71764 w 945699"/>
                  <a:gd name="connsiteY13" fmla="*/ 55203 h 488551"/>
                  <a:gd name="connsiteX14" fmla="*/ 38642 w 945699"/>
                  <a:gd name="connsiteY14" fmla="*/ 55203 h 488551"/>
                  <a:gd name="connsiteX15" fmla="*/ 38642 w 945699"/>
                  <a:gd name="connsiteY15" fmla="*/ 11041 h 488551"/>
                  <a:gd name="connsiteX16" fmla="*/ 27602 w 945699"/>
                  <a:gd name="connsiteY16" fmla="*/ 0 h 488551"/>
                  <a:gd name="connsiteX17" fmla="*/ 16561 w 945699"/>
                  <a:gd name="connsiteY17" fmla="*/ 11041 h 488551"/>
                  <a:gd name="connsiteX18" fmla="*/ 16561 w 945699"/>
                  <a:gd name="connsiteY18" fmla="*/ 55203 h 488551"/>
                  <a:gd name="connsiteX19" fmla="*/ 0 w 945699"/>
                  <a:gd name="connsiteY19" fmla="*/ 55203 h 488551"/>
                  <a:gd name="connsiteX20" fmla="*/ 0 w 945699"/>
                  <a:gd name="connsiteY20" fmla="*/ 99365 h 488551"/>
                  <a:gd name="connsiteX21" fmla="*/ 44162 w 945699"/>
                  <a:gd name="connsiteY21" fmla="*/ 153452 h 488551"/>
                  <a:gd name="connsiteX22" fmla="*/ 44162 w 945699"/>
                  <a:gd name="connsiteY22" fmla="*/ 342259 h 488551"/>
                  <a:gd name="connsiteX23" fmla="*/ 99365 w 945699"/>
                  <a:gd name="connsiteY23" fmla="*/ 397462 h 488551"/>
                  <a:gd name="connsiteX24" fmla="*/ 130037 w 945699"/>
                  <a:gd name="connsiteY24" fmla="*/ 397462 h 488551"/>
                  <a:gd name="connsiteX25" fmla="*/ 130037 w 945699"/>
                  <a:gd name="connsiteY25" fmla="*/ 398688 h 488551"/>
                  <a:gd name="connsiteX26" fmla="*/ 206095 w 945699"/>
                  <a:gd name="connsiteY26" fmla="*/ 474746 h 488551"/>
                  <a:gd name="connsiteX27" fmla="*/ 219298 w 945699"/>
                  <a:gd name="connsiteY27" fmla="*/ 474746 h 488551"/>
                  <a:gd name="connsiteX28" fmla="*/ 218445 w 945699"/>
                  <a:gd name="connsiteY28" fmla="*/ 461781 h 488551"/>
                  <a:gd name="connsiteX29" fmla="*/ 218908 w 945699"/>
                  <a:gd name="connsiteY29" fmla="*/ 452665 h 488551"/>
                  <a:gd name="connsiteX30" fmla="*/ 206075 w 945699"/>
                  <a:gd name="connsiteY30" fmla="*/ 452665 h 488551"/>
                  <a:gd name="connsiteX31" fmla="*/ 152117 w 945699"/>
                  <a:gd name="connsiteY31" fmla="*/ 398706 h 488551"/>
                  <a:gd name="connsiteX32" fmla="*/ 152117 w 945699"/>
                  <a:gd name="connsiteY32" fmla="*/ 306487 h 488551"/>
                  <a:gd name="connsiteX33" fmla="*/ 857126 w 945699"/>
                  <a:gd name="connsiteY33" fmla="*/ 452665 h 488551"/>
                  <a:gd name="connsiteX34" fmla="*/ 856735 w 945699"/>
                  <a:gd name="connsiteY34" fmla="*/ 474746 h 488551"/>
                  <a:gd name="connsiteX35" fmla="*/ 22081 w 945699"/>
                  <a:gd name="connsiteY35" fmla="*/ 98058 h 488551"/>
                  <a:gd name="connsiteX36" fmla="*/ 22081 w 945699"/>
                  <a:gd name="connsiteY36" fmla="*/ 77284 h 488551"/>
                  <a:gd name="connsiteX37" fmla="*/ 88325 w 945699"/>
                  <a:gd name="connsiteY37" fmla="*/ 77284 h 488551"/>
                  <a:gd name="connsiteX38" fmla="*/ 88325 w 945699"/>
                  <a:gd name="connsiteY38" fmla="*/ 99365 h 488551"/>
                  <a:gd name="connsiteX39" fmla="*/ 55107 w 945699"/>
                  <a:gd name="connsiteY39" fmla="*/ 132497 h 488551"/>
                  <a:gd name="connsiteX40" fmla="*/ 48602 w 945699"/>
                  <a:gd name="connsiteY40" fmla="*/ 131845 h 488551"/>
                  <a:gd name="connsiteX41" fmla="*/ 22081 w 945699"/>
                  <a:gd name="connsiteY41" fmla="*/ 98058 h 488551"/>
                  <a:gd name="connsiteX42" fmla="*/ 161613 w 945699"/>
                  <a:gd name="connsiteY42" fmla="*/ 284218 h 488551"/>
                  <a:gd name="connsiteX43" fmla="*/ 161692 w 945699"/>
                  <a:gd name="connsiteY43" fmla="*/ 284406 h 488551"/>
                  <a:gd name="connsiteX44" fmla="*/ 161613 w 945699"/>
                  <a:gd name="connsiteY44" fmla="*/ 284218 h 488551"/>
                  <a:gd name="connsiteX0" fmla="*/ 856735 w 856735"/>
                  <a:gd name="connsiteY0" fmla="*/ 474746 h 474746"/>
                  <a:gd name="connsiteX1" fmla="*/ 141443 w 856735"/>
                  <a:gd name="connsiteY1" fmla="*/ 273193 h 474746"/>
                  <a:gd name="connsiteX2" fmla="*/ 130037 w 856735"/>
                  <a:gd name="connsiteY2" fmla="*/ 300765 h 474746"/>
                  <a:gd name="connsiteX3" fmla="*/ 130037 w 856735"/>
                  <a:gd name="connsiteY3" fmla="*/ 375381 h 474746"/>
                  <a:gd name="connsiteX4" fmla="*/ 99365 w 856735"/>
                  <a:gd name="connsiteY4" fmla="*/ 375381 h 474746"/>
                  <a:gd name="connsiteX5" fmla="*/ 66244 w 856735"/>
                  <a:gd name="connsiteY5" fmla="*/ 342259 h 474746"/>
                  <a:gd name="connsiteX6" fmla="*/ 66244 w 856735"/>
                  <a:gd name="connsiteY6" fmla="*/ 153452 h 474746"/>
                  <a:gd name="connsiteX7" fmla="*/ 110406 w 856735"/>
                  <a:gd name="connsiteY7" fmla="*/ 99365 h 474746"/>
                  <a:gd name="connsiteX8" fmla="*/ 110406 w 856735"/>
                  <a:gd name="connsiteY8" fmla="*/ 55203 h 474746"/>
                  <a:gd name="connsiteX9" fmla="*/ 93845 w 856735"/>
                  <a:gd name="connsiteY9" fmla="*/ 55203 h 474746"/>
                  <a:gd name="connsiteX10" fmla="*/ 93845 w 856735"/>
                  <a:gd name="connsiteY10" fmla="*/ 11041 h 474746"/>
                  <a:gd name="connsiteX11" fmla="*/ 82805 w 856735"/>
                  <a:gd name="connsiteY11" fmla="*/ 0 h 474746"/>
                  <a:gd name="connsiteX12" fmla="*/ 71764 w 856735"/>
                  <a:gd name="connsiteY12" fmla="*/ 11041 h 474746"/>
                  <a:gd name="connsiteX13" fmla="*/ 71764 w 856735"/>
                  <a:gd name="connsiteY13" fmla="*/ 55203 h 474746"/>
                  <a:gd name="connsiteX14" fmla="*/ 38642 w 856735"/>
                  <a:gd name="connsiteY14" fmla="*/ 55203 h 474746"/>
                  <a:gd name="connsiteX15" fmla="*/ 38642 w 856735"/>
                  <a:gd name="connsiteY15" fmla="*/ 11041 h 474746"/>
                  <a:gd name="connsiteX16" fmla="*/ 27602 w 856735"/>
                  <a:gd name="connsiteY16" fmla="*/ 0 h 474746"/>
                  <a:gd name="connsiteX17" fmla="*/ 16561 w 856735"/>
                  <a:gd name="connsiteY17" fmla="*/ 11041 h 474746"/>
                  <a:gd name="connsiteX18" fmla="*/ 16561 w 856735"/>
                  <a:gd name="connsiteY18" fmla="*/ 55203 h 474746"/>
                  <a:gd name="connsiteX19" fmla="*/ 0 w 856735"/>
                  <a:gd name="connsiteY19" fmla="*/ 55203 h 474746"/>
                  <a:gd name="connsiteX20" fmla="*/ 0 w 856735"/>
                  <a:gd name="connsiteY20" fmla="*/ 99365 h 474746"/>
                  <a:gd name="connsiteX21" fmla="*/ 44162 w 856735"/>
                  <a:gd name="connsiteY21" fmla="*/ 153452 h 474746"/>
                  <a:gd name="connsiteX22" fmla="*/ 44162 w 856735"/>
                  <a:gd name="connsiteY22" fmla="*/ 342259 h 474746"/>
                  <a:gd name="connsiteX23" fmla="*/ 99365 w 856735"/>
                  <a:gd name="connsiteY23" fmla="*/ 397462 h 474746"/>
                  <a:gd name="connsiteX24" fmla="*/ 130037 w 856735"/>
                  <a:gd name="connsiteY24" fmla="*/ 397462 h 474746"/>
                  <a:gd name="connsiteX25" fmla="*/ 130037 w 856735"/>
                  <a:gd name="connsiteY25" fmla="*/ 398688 h 474746"/>
                  <a:gd name="connsiteX26" fmla="*/ 206095 w 856735"/>
                  <a:gd name="connsiteY26" fmla="*/ 474746 h 474746"/>
                  <a:gd name="connsiteX27" fmla="*/ 219298 w 856735"/>
                  <a:gd name="connsiteY27" fmla="*/ 474746 h 474746"/>
                  <a:gd name="connsiteX28" fmla="*/ 218445 w 856735"/>
                  <a:gd name="connsiteY28" fmla="*/ 461781 h 474746"/>
                  <a:gd name="connsiteX29" fmla="*/ 218908 w 856735"/>
                  <a:gd name="connsiteY29" fmla="*/ 452665 h 474746"/>
                  <a:gd name="connsiteX30" fmla="*/ 206075 w 856735"/>
                  <a:gd name="connsiteY30" fmla="*/ 452665 h 474746"/>
                  <a:gd name="connsiteX31" fmla="*/ 152117 w 856735"/>
                  <a:gd name="connsiteY31" fmla="*/ 398706 h 474746"/>
                  <a:gd name="connsiteX32" fmla="*/ 152117 w 856735"/>
                  <a:gd name="connsiteY32" fmla="*/ 306487 h 474746"/>
                  <a:gd name="connsiteX33" fmla="*/ 856735 w 856735"/>
                  <a:gd name="connsiteY33" fmla="*/ 474746 h 474746"/>
                  <a:gd name="connsiteX34" fmla="*/ 22081 w 856735"/>
                  <a:gd name="connsiteY34" fmla="*/ 98058 h 474746"/>
                  <a:gd name="connsiteX35" fmla="*/ 22081 w 856735"/>
                  <a:gd name="connsiteY35" fmla="*/ 77284 h 474746"/>
                  <a:gd name="connsiteX36" fmla="*/ 88325 w 856735"/>
                  <a:gd name="connsiteY36" fmla="*/ 77284 h 474746"/>
                  <a:gd name="connsiteX37" fmla="*/ 88325 w 856735"/>
                  <a:gd name="connsiteY37" fmla="*/ 99365 h 474746"/>
                  <a:gd name="connsiteX38" fmla="*/ 55107 w 856735"/>
                  <a:gd name="connsiteY38" fmla="*/ 132497 h 474746"/>
                  <a:gd name="connsiteX39" fmla="*/ 48602 w 856735"/>
                  <a:gd name="connsiteY39" fmla="*/ 131845 h 474746"/>
                  <a:gd name="connsiteX40" fmla="*/ 22081 w 856735"/>
                  <a:gd name="connsiteY40" fmla="*/ 98058 h 474746"/>
                  <a:gd name="connsiteX41" fmla="*/ 161613 w 856735"/>
                  <a:gd name="connsiteY41" fmla="*/ 284218 h 474746"/>
                  <a:gd name="connsiteX42" fmla="*/ 161692 w 856735"/>
                  <a:gd name="connsiteY42" fmla="*/ 284406 h 474746"/>
                  <a:gd name="connsiteX43" fmla="*/ 161613 w 856735"/>
                  <a:gd name="connsiteY43" fmla="*/ 284218 h 474746"/>
                  <a:gd name="connsiteX0" fmla="*/ 152117 w 219298"/>
                  <a:gd name="connsiteY0" fmla="*/ 306487 h 474746"/>
                  <a:gd name="connsiteX1" fmla="*/ 141443 w 219298"/>
                  <a:gd name="connsiteY1" fmla="*/ 273193 h 474746"/>
                  <a:gd name="connsiteX2" fmla="*/ 130037 w 219298"/>
                  <a:gd name="connsiteY2" fmla="*/ 300765 h 474746"/>
                  <a:gd name="connsiteX3" fmla="*/ 130037 w 219298"/>
                  <a:gd name="connsiteY3" fmla="*/ 375381 h 474746"/>
                  <a:gd name="connsiteX4" fmla="*/ 99365 w 219298"/>
                  <a:gd name="connsiteY4" fmla="*/ 375381 h 474746"/>
                  <a:gd name="connsiteX5" fmla="*/ 66244 w 219298"/>
                  <a:gd name="connsiteY5" fmla="*/ 342259 h 474746"/>
                  <a:gd name="connsiteX6" fmla="*/ 66244 w 219298"/>
                  <a:gd name="connsiteY6" fmla="*/ 153452 h 474746"/>
                  <a:gd name="connsiteX7" fmla="*/ 110406 w 219298"/>
                  <a:gd name="connsiteY7" fmla="*/ 99365 h 474746"/>
                  <a:gd name="connsiteX8" fmla="*/ 110406 w 219298"/>
                  <a:gd name="connsiteY8" fmla="*/ 55203 h 474746"/>
                  <a:gd name="connsiteX9" fmla="*/ 93845 w 219298"/>
                  <a:gd name="connsiteY9" fmla="*/ 55203 h 474746"/>
                  <a:gd name="connsiteX10" fmla="*/ 93845 w 219298"/>
                  <a:gd name="connsiteY10" fmla="*/ 11041 h 474746"/>
                  <a:gd name="connsiteX11" fmla="*/ 82805 w 219298"/>
                  <a:gd name="connsiteY11" fmla="*/ 0 h 474746"/>
                  <a:gd name="connsiteX12" fmla="*/ 71764 w 219298"/>
                  <a:gd name="connsiteY12" fmla="*/ 11041 h 474746"/>
                  <a:gd name="connsiteX13" fmla="*/ 71764 w 219298"/>
                  <a:gd name="connsiteY13" fmla="*/ 55203 h 474746"/>
                  <a:gd name="connsiteX14" fmla="*/ 38642 w 219298"/>
                  <a:gd name="connsiteY14" fmla="*/ 55203 h 474746"/>
                  <a:gd name="connsiteX15" fmla="*/ 38642 w 219298"/>
                  <a:gd name="connsiteY15" fmla="*/ 11041 h 474746"/>
                  <a:gd name="connsiteX16" fmla="*/ 27602 w 219298"/>
                  <a:gd name="connsiteY16" fmla="*/ 0 h 474746"/>
                  <a:gd name="connsiteX17" fmla="*/ 16561 w 219298"/>
                  <a:gd name="connsiteY17" fmla="*/ 11041 h 474746"/>
                  <a:gd name="connsiteX18" fmla="*/ 16561 w 219298"/>
                  <a:gd name="connsiteY18" fmla="*/ 55203 h 474746"/>
                  <a:gd name="connsiteX19" fmla="*/ 0 w 219298"/>
                  <a:gd name="connsiteY19" fmla="*/ 55203 h 474746"/>
                  <a:gd name="connsiteX20" fmla="*/ 0 w 219298"/>
                  <a:gd name="connsiteY20" fmla="*/ 99365 h 474746"/>
                  <a:gd name="connsiteX21" fmla="*/ 44162 w 219298"/>
                  <a:gd name="connsiteY21" fmla="*/ 153452 h 474746"/>
                  <a:gd name="connsiteX22" fmla="*/ 44162 w 219298"/>
                  <a:gd name="connsiteY22" fmla="*/ 342259 h 474746"/>
                  <a:gd name="connsiteX23" fmla="*/ 99365 w 219298"/>
                  <a:gd name="connsiteY23" fmla="*/ 397462 h 474746"/>
                  <a:gd name="connsiteX24" fmla="*/ 130037 w 219298"/>
                  <a:gd name="connsiteY24" fmla="*/ 397462 h 474746"/>
                  <a:gd name="connsiteX25" fmla="*/ 130037 w 219298"/>
                  <a:gd name="connsiteY25" fmla="*/ 398688 h 474746"/>
                  <a:gd name="connsiteX26" fmla="*/ 206095 w 219298"/>
                  <a:gd name="connsiteY26" fmla="*/ 474746 h 474746"/>
                  <a:gd name="connsiteX27" fmla="*/ 219298 w 219298"/>
                  <a:gd name="connsiteY27" fmla="*/ 474746 h 474746"/>
                  <a:gd name="connsiteX28" fmla="*/ 218445 w 219298"/>
                  <a:gd name="connsiteY28" fmla="*/ 461781 h 474746"/>
                  <a:gd name="connsiteX29" fmla="*/ 218908 w 219298"/>
                  <a:gd name="connsiteY29" fmla="*/ 452665 h 474746"/>
                  <a:gd name="connsiteX30" fmla="*/ 206075 w 219298"/>
                  <a:gd name="connsiteY30" fmla="*/ 452665 h 474746"/>
                  <a:gd name="connsiteX31" fmla="*/ 152117 w 219298"/>
                  <a:gd name="connsiteY31" fmla="*/ 398706 h 474746"/>
                  <a:gd name="connsiteX32" fmla="*/ 152117 w 219298"/>
                  <a:gd name="connsiteY32" fmla="*/ 306487 h 474746"/>
                  <a:gd name="connsiteX33" fmla="*/ 22081 w 219298"/>
                  <a:gd name="connsiteY33" fmla="*/ 98058 h 474746"/>
                  <a:gd name="connsiteX34" fmla="*/ 22081 w 219298"/>
                  <a:gd name="connsiteY34" fmla="*/ 77284 h 474746"/>
                  <a:gd name="connsiteX35" fmla="*/ 88325 w 219298"/>
                  <a:gd name="connsiteY35" fmla="*/ 77284 h 474746"/>
                  <a:gd name="connsiteX36" fmla="*/ 88325 w 219298"/>
                  <a:gd name="connsiteY36" fmla="*/ 99365 h 474746"/>
                  <a:gd name="connsiteX37" fmla="*/ 55107 w 219298"/>
                  <a:gd name="connsiteY37" fmla="*/ 132497 h 474746"/>
                  <a:gd name="connsiteX38" fmla="*/ 48602 w 219298"/>
                  <a:gd name="connsiteY38" fmla="*/ 131845 h 474746"/>
                  <a:gd name="connsiteX39" fmla="*/ 22081 w 219298"/>
                  <a:gd name="connsiteY39" fmla="*/ 98058 h 474746"/>
                  <a:gd name="connsiteX40" fmla="*/ 161613 w 219298"/>
                  <a:gd name="connsiteY40" fmla="*/ 284218 h 474746"/>
                  <a:gd name="connsiteX41" fmla="*/ 161692 w 219298"/>
                  <a:gd name="connsiteY41" fmla="*/ 284406 h 474746"/>
                  <a:gd name="connsiteX42" fmla="*/ 161613 w 219298"/>
                  <a:gd name="connsiteY42" fmla="*/ 284218 h 474746"/>
                  <a:gd name="connsiteX0" fmla="*/ 152117 w 219298"/>
                  <a:gd name="connsiteY0" fmla="*/ 306487 h 474746"/>
                  <a:gd name="connsiteX1" fmla="*/ 130037 w 219298"/>
                  <a:gd name="connsiteY1" fmla="*/ 300765 h 474746"/>
                  <a:gd name="connsiteX2" fmla="*/ 130037 w 219298"/>
                  <a:gd name="connsiteY2" fmla="*/ 375381 h 474746"/>
                  <a:gd name="connsiteX3" fmla="*/ 99365 w 219298"/>
                  <a:gd name="connsiteY3" fmla="*/ 375381 h 474746"/>
                  <a:gd name="connsiteX4" fmla="*/ 66244 w 219298"/>
                  <a:gd name="connsiteY4" fmla="*/ 342259 h 474746"/>
                  <a:gd name="connsiteX5" fmla="*/ 66244 w 219298"/>
                  <a:gd name="connsiteY5" fmla="*/ 153452 h 474746"/>
                  <a:gd name="connsiteX6" fmla="*/ 110406 w 219298"/>
                  <a:gd name="connsiteY6" fmla="*/ 99365 h 474746"/>
                  <a:gd name="connsiteX7" fmla="*/ 110406 w 219298"/>
                  <a:gd name="connsiteY7" fmla="*/ 55203 h 474746"/>
                  <a:gd name="connsiteX8" fmla="*/ 93845 w 219298"/>
                  <a:gd name="connsiteY8" fmla="*/ 55203 h 474746"/>
                  <a:gd name="connsiteX9" fmla="*/ 93845 w 219298"/>
                  <a:gd name="connsiteY9" fmla="*/ 11041 h 474746"/>
                  <a:gd name="connsiteX10" fmla="*/ 82805 w 219298"/>
                  <a:gd name="connsiteY10" fmla="*/ 0 h 474746"/>
                  <a:gd name="connsiteX11" fmla="*/ 71764 w 219298"/>
                  <a:gd name="connsiteY11" fmla="*/ 11041 h 474746"/>
                  <a:gd name="connsiteX12" fmla="*/ 71764 w 219298"/>
                  <a:gd name="connsiteY12" fmla="*/ 55203 h 474746"/>
                  <a:gd name="connsiteX13" fmla="*/ 38642 w 219298"/>
                  <a:gd name="connsiteY13" fmla="*/ 55203 h 474746"/>
                  <a:gd name="connsiteX14" fmla="*/ 38642 w 219298"/>
                  <a:gd name="connsiteY14" fmla="*/ 11041 h 474746"/>
                  <a:gd name="connsiteX15" fmla="*/ 27602 w 219298"/>
                  <a:gd name="connsiteY15" fmla="*/ 0 h 474746"/>
                  <a:gd name="connsiteX16" fmla="*/ 16561 w 219298"/>
                  <a:gd name="connsiteY16" fmla="*/ 11041 h 474746"/>
                  <a:gd name="connsiteX17" fmla="*/ 16561 w 219298"/>
                  <a:gd name="connsiteY17" fmla="*/ 55203 h 474746"/>
                  <a:gd name="connsiteX18" fmla="*/ 0 w 219298"/>
                  <a:gd name="connsiteY18" fmla="*/ 55203 h 474746"/>
                  <a:gd name="connsiteX19" fmla="*/ 0 w 219298"/>
                  <a:gd name="connsiteY19" fmla="*/ 99365 h 474746"/>
                  <a:gd name="connsiteX20" fmla="*/ 44162 w 219298"/>
                  <a:gd name="connsiteY20" fmla="*/ 153452 h 474746"/>
                  <a:gd name="connsiteX21" fmla="*/ 44162 w 219298"/>
                  <a:gd name="connsiteY21" fmla="*/ 342259 h 474746"/>
                  <a:gd name="connsiteX22" fmla="*/ 99365 w 219298"/>
                  <a:gd name="connsiteY22" fmla="*/ 397462 h 474746"/>
                  <a:gd name="connsiteX23" fmla="*/ 130037 w 219298"/>
                  <a:gd name="connsiteY23" fmla="*/ 397462 h 474746"/>
                  <a:gd name="connsiteX24" fmla="*/ 130037 w 219298"/>
                  <a:gd name="connsiteY24" fmla="*/ 398688 h 474746"/>
                  <a:gd name="connsiteX25" fmla="*/ 206095 w 219298"/>
                  <a:gd name="connsiteY25" fmla="*/ 474746 h 474746"/>
                  <a:gd name="connsiteX26" fmla="*/ 219298 w 219298"/>
                  <a:gd name="connsiteY26" fmla="*/ 474746 h 474746"/>
                  <a:gd name="connsiteX27" fmla="*/ 218445 w 219298"/>
                  <a:gd name="connsiteY27" fmla="*/ 461781 h 474746"/>
                  <a:gd name="connsiteX28" fmla="*/ 218908 w 219298"/>
                  <a:gd name="connsiteY28" fmla="*/ 452665 h 474746"/>
                  <a:gd name="connsiteX29" fmla="*/ 206075 w 219298"/>
                  <a:gd name="connsiteY29" fmla="*/ 452665 h 474746"/>
                  <a:gd name="connsiteX30" fmla="*/ 152117 w 219298"/>
                  <a:gd name="connsiteY30" fmla="*/ 398706 h 474746"/>
                  <a:gd name="connsiteX31" fmla="*/ 152117 w 219298"/>
                  <a:gd name="connsiteY31" fmla="*/ 306487 h 474746"/>
                  <a:gd name="connsiteX32" fmla="*/ 22081 w 219298"/>
                  <a:gd name="connsiteY32" fmla="*/ 98058 h 474746"/>
                  <a:gd name="connsiteX33" fmla="*/ 22081 w 219298"/>
                  <a:gd name="connsiteY33" fmla="*/ 77284 h 474746"/>
                  <a:gd name="connsiteX34" fmla="*/ 88325 w 219298"/>
                  <a:gd name="connsiteY34" fmla="*/ 77284 h 474746"/>
                  <a:gd name="connsiteX35" fmla="*/ 88325 w 219298"/>
                  <a:gd name="connsiteY35" fmla="*/ 99365 h 474746"/>
                  <a:gd name="connsiteX36" fmla="*/ 55107 w 219298"/>
                  <a:gd name="connsiteY36" fmla="*/ 132497 h 474746"/>
                  <a:gd name="connsiteX37" fmla="*/ 48602 w 219298"/>
                  <a:gd name="connsiteY37" fmla="*/ 131845 h 474746"/>
                  <a:gd name="connsiteX38" fmla="*/ 22081 w 219298"/>
                  <a:gd name="connsiteY38" fmla="*/ 98058 h 474746"/>
                  <a:gd name="connsiteX39" fmla="*/ 161613 w 219298"/>
                  <a:gd name="connsiteY39" fmla="*/ 284218 h 474746"/>
                  <a:gd name="connsiteX40" fmla="*/ 161692 w 219298"/>
                  <a:gd name="connsiteY40" fmla="*/ 284406 h 474746"/>
                  <a:gd name="connsiteX41" fmla="*/ 161613 w 219298"/>
                  <a:gd name="connsiteY41" fmla="*/ 284218 h 474746"/>
                  <a:gd name="connsiteX0" fmla="*/ 152117 w 219298"/>
                  <a:gd name="connsiteY0" fmla="*/ 398706 h 474746"/>
                  <a:gd name="connsiteX1" fmla="*/ 130037 w 219298"/>
                  <a:gd name="connsiteY1" fmla="*/ 300765 h 474746"/>
                  <a:gd name="connsiteX2" fmla="*/ 130037 w 219298"/>
                  <a:gd name="connsiteY2" fmla="*/ 375381 h 474746"/>
                  <a:gd name="connsiteX3" fmla="*/ 99365 w 219298"/>
                  <a:gd name="connsiteY3" fmla="*/ 375381 h 474746"/>
                  <a:gd name="connsiteX4" fmla="*/ 66244 w 219298"/>
                  <a:gd name="connsiteY4" fmla="*/ 342259 h 474746"/>
                  <a:gd name="connsiteX5" fmla="*/ 66244 w 219298"/>
                  <a:gd name="connsiteY5" fmla="*/ 153452 h 474746"/>
                  <a:gd name="connsiteX6" fmla="*/ 110406 w 219298"/>
                  <a:gd name="connsiteY6" fmla="*/ 99365 h 474746"/>
                  <a:gd name="connsiteX7" fmla="*/ 110406 w 219298"/>
                  <a:gd name="connsiteY7" fmla="*/ 55203 h 474746"/>
                  <a:gd name="connsiteX8" fmla="*/ 93845 w 219298"/>
                  <a:gd name="connsiteY8" fmla="*/ 55203 h 474746"/>
                  <a:gd name="connsiteX9" fmla="*/ 93845 w 219298"/>
                  <a:gd name="connsiteY9" fmla="*/ 11041 h 474746"/>
                  <a:gd name="connsiteX10" fmla="*/ 82805 w 219298"/>
                  <a:gd name="connsiteY10" fmla="*/ 0 h 474746"/>
                  <a:gd name="connsiteX11" fmla="*/ 71764 w 219298"/>
                  <a:gd name="connsiteY11" fmla="*/ 11041 h 474746"/>
                  <a:gd name="connsiteX12" fmla="*/ 71764 w 219298"/>
                  <a:gd name="connsiteY12" fmla="*/ 55203 h 474746"/>
                  <a:gd name="connsiteX13" fmla="*/ 38642 w 219298"/>
                  <a:gd name="connsiteY13" fmla="*/ 55203 h 474746"/>
                  <a:gd name="connsiteX14" fmla="*/ 38642 w 219298"/>
                  <a:gd name="connsiteY14" fmla="*/ 11041 h 474746"/>
                  <a:gd name="connsiteX15" fmla="*/ 27602 w 219298"/>
                  <a:gd name="connsiteY15" fmla="*/ 0 h 474746"/>
                  <a:gd name="connsiteX16" fmla="*/ 16561 w 219298"/>
                  <a:gd name="connsiteY16" fmla="*/ 11041 h 474746"/>
                  <a:gd name="connsiteX17" fmla="*/ 16561 w 219298"/>
                  <a:gd name="connsiteY17" fmla="*/ 55203 h 474746"/>
                  <a:gd name="connsiteX18" fmla="*/ 0 w 219298"/>
                  <a:gd name="connsiteY18" fmla="*/ 55203 h 474746"/>
                  <a:gd name="connsiteX19" fmla="*/ 0 w 219298"/>
                  <a:gd name="connsiteY19" fmla="*/ 99365 h 474746"/>
                  <a:gd name="connsiteX20" fmla="*/ 44162 w 219298"/>
                  <a:gd name="connsiteY20" fmla="*/ 153452 h 474746"/>
                  <a:gd name="connsiteX21" fmla="*/ 44162 w 219298"/>
                  <a:gd name="connsiteY21" fmla="*/ 342259 h 474746"/>
                  <a:gd name="connsiteX22" fmla="*/ 99365 w 219298"/>
                  <a:gd name="connsiteY22" fmla="*/ 397462 h 474746"/>
                  <a:gd name="connsiteX23" fmla="*/ 130037 w 219298"/>
                  <a:gd name="connsiteY23" fmla="*/ 397462 h 474746"/>
                  <a:gd name="connsiteX24" fmla="*/ 130037 w 219298"/>
                  <a:gd name="connsiteY24" fmla="*/ 398688 h 474746"/>
                  <a:gd name="connsiteX25" fmla="*/ 206095 w 219298"/>
                  <a:gd name="connsiteY25" fmla="*/ 474746 h 474746"/>
                  <a:gd name="connsiteX26" fmla="*/ 219298 w 219298"/>
                  <a:gd name="connsiteY26" fmla="*/ 474746 h 474746"/>
                  <a:gd name="connsiteX27" fmla="*/ 218445 w 219298"/>
                  <a:gd name="connsiteY27" fmla="*/ 461781 h 474746"/>
                  <a:gd name="connsiteX28" fmla="*/ 218908 w 219298"/>
                  <a:gd name="connsiteY28" fmla="*/ 452665 h 474746"/>
                  <a:gd name="connsiteX29" fmla="*/ 206075 w 219298"/>
                  <a:gd name="connsiteY29" fmla="*/ 452665 h 474746"/>
                  <a:gd name="connsiteX30" fmla="*/ 152117 w 219298"/>
                  <a:gd name="connsiteY30" fmla="*/ 398706 h 474746"/>
                  <a:gd name="connsiteX31" fmla="*/ 22081 w 219298"/>
                  <a:gd name="connsiteY31" fmla="*/ 98058 h 474746"/>
                  <a:gd name="connsiteX32" fmla="*/ 22081 w 219298"/>
                  <a:gd name="connsiteY32" fmla="*/ 77284 h 474746"/>
                  <a:gd name="connsiteX33" fmla="*/ 88325 w 219298"/>
                  <a:gd name="connsiteY33" fmla="*/ 77284 h 474746"/>
                  <a:gd name="connsiteX34" fmla="*/ 88325 w 219298"/>
                  <a:gd name="connsiteY34" fmla="*/ 99365 h 474746"/>
                  <a:gd name="connsiteX35" fmla="*/ 55107 w 219298"/>
                  <a:gd name="connsiteY35" fmla="*/ 132497 h 474746"/>
                  <a:gd name="connsiteX36" fmla="*/ 48602 w 219298"/>
                  <a:gd name="connsiteY36" fmla="*/ 131845 h 474746"/>
                  <a:gd name="connsiteX37" fmla="*/ 22081 w 219298"/>
                  <a:gd name="connsiteY37" fmla="*/ 98058 h 474746"/>
                  <a:gd name="connsiteX38" fmla="*/ 161613 w 219298"/>
                  <a:gd name="connsiteY38" fmla="*/ 284218 h 474746"/>
                  <a:gd name="connsiteX39" fmla="*/ 161692 w 219298"/>
                  <a:gd name="connsiteY39" fmla="*/ 284406 h 474746"/>
                  <a:gd name="connsiteX40" fmla="*/ 161613 w 219298"/>
                  <a:gd name="connsiteY40" fmla="*/ 284218 h 474746"/>
                  <a:gd name="connsiteX0" fmla="*/ 152117 w 219298"/>
                  <a:gd name="connsiteY0" fmla="*/ 398706 h 474746"/>
                  <a:gd name="connsiteX1" fmla="*/ 130037 w 219298"/>
                  <a:gd name="connsiteY1" fmla="*/ 375381 h 474746"/>
                  <a:gd name="connsiteX2" fmla="*/ 99365 w 219298"/>
                  <a:gd name="connsiteY2" fmla="*/ 375381 h 474746"/>
                  <a:gd name="connsiteX3" fmla="*/ 66244 w 219298"/>
                  <a:gd name="connsiteY3" fmla="*/ 342259 h 474746"/>
                  <a:gd name="connsiteX4" fmla="*/ 66244 w 219298"/>
                  <a:gd name="connsiteY4" fmla="*/ 153452 h 474746"/>
                  <a:gd name="connsiteX5" fmla="*/ 110406 w 219298"/>
                  <a:gd name="connsiteY5" fmla="*/ 99365 h 474746"/>
                  <a:gd name="connsiteX6" fmla="*/ 110406 w 219298"/>
                  <a:gd name="connsiteY6" fmla="*/ 55203 h 474746"/>
                  <a:gd name="connsiteX7" fmla="*/ 93845 w 219298"/>
                  <a:gd name="connsiteY7" fmla="*/ 55203 h 474746"/>
                  <a:gd name="connsiteX8" fmla="*/ 93845 w 219298"/>
                  <a:gd name="connsiteY8" fmla="*/ 11041 h 474746"/>
                  <a:gd name="connsiteX9" fmla="*/ 82805 w 219298"/>
                  <a:gd name="connsiteY9" fmla="*/ 0 h 474746"/>
                  <a:gd name="connsiteX10" fmla="*/ 71764 w 219298"/>
                  <a:gd name="connsiteY10" fmla="*/ 11041 h 474746"/>
                  <a:gd name="connsiteX11" fmla="*/ 71764 w 219298"/>
                  <a:gd name="connsiteY11" fmla="*/ 55203 h 474746"/>
                  <a:gd name="connsiteX12" fmla="*/ 38642 w 219298"/>
                  <a:gd name="connsiteY12" fmla="*/ 55203 h 474746"/>
                  <a:gd name="connsiteX13" fmla="*/ 38642 w 219298"/>
                  <a:gd name="connsiteY13" fmla="*/ 11041 h 474746"/>
                  <a:gd name="connsiteX14" fmla="*/ 27602 w 219298"/>
                  <a:gd name="connsiteY14" fmla="*/ 0 h 474746"/>
                  <a:gd name="connsiteX15" fmla="*/ 16561 w 219298"/>
                  <a:gd name="connsiteY15" fmla="*/ 11041 h 474746"/>
                  <a:gd name="connsiteX16" fmla="*/ 16561 w 219298"/>
                  <a:gd name="connsiteY16" fmla="*/ 55203 h 474746"/>
                  <a:gd name="connsiteX17" fmla="*/ 0 w 219298"/>
                  <a:gd name="connsiteY17" fmla="*/ 55203 h 474746"/>
                  <a:gd name="connsiteX18" fmla="*/ 0 w 219298"/>
                  <a:gd name="connsiteY18" fmla="*/ 99365 h 474746"/>
                  <a:gd name="connsiteX19" fmla="*/ 44162 w 219298"/>
                  <a:gd name="connsiteY19" fmla="*/ 153452 h 474746"/>
                  <a:gd name="connsiteX20" fmla="*/ 44162 w 219298"/>
                  <a:gd name="connsiteY20" fmla="*/ 342259 h 474746"/>
                  <a:gd name="connsiteX21" fmla="*/ 99365 w 219298"/>
                  <a:gd name="connsiteY21" fmla="*/ 397462 h 474746"/>
                  <a:gd name="connsiteX22" fmla="*/ 130037 w 219298"/>
                  <a:gd name="connsiteY22" fmla="*/ 397462 h 474746"/>
                  <a:gd name="connsiteX23" fmla="*/ 130037 w 219298"/>
                  <a:gd name="connsiteY23" fmla="*/ 398688 h 474746"/>
                  <a:gd name="connsiteX24" fmla="*/ 206095 w 219298"/>
                  <a:gd name="connsiteY24" fmla="*/ 474746 h 474746"/>
                  <a:gd name="connsiteX25" fmla="*/ 219298 w 219298"/>
                  <a:gd name="connsiteY25" fmla="*/ 474746 h 474746"/>
                  <a:gd name="connsiteX26" fmla="*/ 218445 w 219298"/>
                  <a:gd name="connsiteY26" fmla="*/ 461781 h 474746"/>
                  <a:gd name="connsiteX27" fmla="*/ 218908 w 219298"/>
                  <a:gd name="connsiteY27" fmla="*/ 452665 h 474746"/>
                  <a:gd name="connsiteX28" fmla="*/ 206075 w 219298"/>
                  <a:gd name="connsiteY28" fmla="*/ 452665 h 474746"/>
                  <a:gd name="connsiteX29" fmla="*/ 152117 w 219298"/>
                  <a:gd name="connsiteY29" fmla="*/ 398706 h 474746"/>
                  <a:gd name="connsiteX30" fmla="*/ 22081 w 219298"/>
                  <a:gd name="connsiteY30" fmla="*/ 98058 h 474746"/>
                  <a:gd name="connsiteX31" fmla="*/ 22081 w 219298"/>
                  <a:gd name="connsiteY31" fmla="*/ 77284 h 474746"/>
                  <a:gd name="connsiteX32" fmla="*/ 88325 w 219298"/>
                  <a:gd name="connsiteY32" fmla="*/ 77284 h 474746"/>
                  <a:gd name="connsiteX33" fmla="*/ 88325 w 219298"/>
                  <a:gd name="connsiteY33" fmla="*/ 99365 h 474746"/>
                  <a:gd name="connsiteX34" fmla="*/ 55107 w 219298"/>
                  <a:gd name="connsiteY34" fmla="*/ 132497 h 474746"/>
                  <a:gd name="connsiteX35" fmla="*/ 48602 w 219298"/>
                  <a:gd name="connsiteY35" fmla="*/ 131845 h 474746"/>
                  <a:gd name="connsiteX36" fmla="*/ 22081 w 219298"/>
                  <a:gd name="connsiteY36" fmla="*/ 98058 h 474746"/>
                  <a:gd name="connsiteX37" fmla="*/ 161613 w 219298"/>
                  <a:gd name="connsiteY37" fmla="*/ 284218 h 474746"/>
                  <a:gd name="connsiteX38" fmla="*/ 161692 w 219298"/>
                  <a:gd name="connsiteY38" fmla="*/ 284406 h 474746"/>
                  <a:gd name="connsiteX39" fmla="*/ 161613 w 219298"/>
                  <a:gd name="connsiteY39" fmla="*/ 284218 h 474746"/>
                  <a:gd name="connsiteX0" fmla="*/ 206075 w 219298"/>
                  <a:gd name="connsiteY0" fmla="*/ 452665 h 474746"/>
                  <a:gd name="connsiteX1" fmla="*/ 130037 w 219298"/>
                  <a:gd name="connsiteY1" fmla="*/ 375381 h 474746"/>
                  <a:gd name="connsiteX2" fmla="*/ 99365 w 219298"/>
                  <a:gd name="connsiteY2" fmla="*/ 375381 h 474746"/>
                  <a:gd name="connsiteX3" fmla="*/ 66244 w 219298"/>
                  <a:gd name="connsiteY3" fmla="*/ 342259 h 474746"/>
                  <a:gd name="connsiteX4" fmla="*/ 66244 w 219298"/>
                  <a:gd name="connsiteY4" fmla="*/ 153452 h 474746"/>
                  <a:gd name="connsiteX5" fmla="*/ 110406 w 219298"/>
                  <a:gd name="connsiteY5" fmla="*/ 99365 h 474746"/>
                  <a:gd name="connsiteX6" fmla="*/ 110406 w 219298"/>
                  <a:gd name="connsiteY6" fmla="*/ 55203 h 474746"/>
                  <a:gd name="connsiteX7" fmla="*/ 93845 w 219298"/>
                  <a:gd name="connsiteY7" fmla="*/ 55203 h 474746"/>
                  <a:gd name="connsiteX8" fmla="*/ 93845 w 219298"/>
                  <a:gd name="connsiteY8" fmla="*/ 11041 h 474746"/>
                  <a:gd name="connsiteX9" fmla="*/ 82805 w 219298"/>
                  <a:gd name="connsiteY9" fmla="*/ 0 h 474746"/>
                  <a:gd name="connsiteX10" fmla="*/ 71764 w 219298"/>
                  <a:gd name="connsiteY10" fmla="*/ 11041 h 474746"/>
                  <a:gd name="connsiteX11" fmla="*/ 71764 w 219298"/>
                  <a:gd name="connsiteY11" fmla="*/ 55203 h 474746"/>
                  <a:gd name="connsiteX12" fmla="*/ 38642 w 219298"/>
                  <a:gd name="connsiteY12" fmla="*/ 55203 h 474746"/>
                  <a:gd name="connsiteX13" fmla="*/ 38642 w 219298"/>
                  <a:gd name="connsiteY13" fmla="*/ 11041 h 474746"/>
                  <a:gd name="connsiteX14" fmla="*/ 27602 w 219298"/>
                  <a:gd name="connsiteY14" fmla="*/ 0 h 474746"/>
                  <a:gd name="connsiteX15" fmla="*/ 16561 w 219298"/>
                  <a:gd name="connsiteY15" fmla="*/ 11041 h 474746"/>
                  <a:gd name="connsiteX16" fmla="*/ 16561 w 219298"/>
                  <a:gd name="connsiteY16" fmla="*/ 55203 h 474746"/>
                  <a:gd name="connsiteX17" fmla="*/ 0 w 219298"/>
                  <a:gd name="connsiteY17" fmla="*/ 55203 h 474746"/>
                  <a:gd name="connsiteX18" fmla="*/ 0 w 219298"/>
                  <a:gd name="connsiteY18" fmla="*/ 99365 h 474746"/>
                  <a:gd name="connsiteX19" fmla="*/ 44162 w 219298"/>
                  <a:gd name="connsiteY19" fmla="*/ 153452 h 474746"/>
                  <a:gd name="connsiteX20" fmla="*/ 44162 w 219298"/>
                  <a:gd name="connsiteY20" fmla="*/ 342259 h 474746"/>
                  <a:gd name="connsiteX21" fmla="*/ 99365 w 219298"/>
                  <a:gd name="connsiteY21" fmla="*/ 397462 h 474746"/>
                  <a:gd name="connsiteX22" fmla="*/ 130037 w 219298"/>
                  <a:gd name="connsiteY22" fmla="*/ 397462 h 474746"/>
                  <a:gd name="connsiteX23" fmla="*/ 130037 w 219298"/>
                  <a:gd name="connsiteY23" fmla="*/ 398688 h 474746"/>
                  <a:gd name="connsiteX24" fmla="*/ 206095 w 219298"/>
                  <a:gd name="connsiteY24" fmla="*/ 474746 h 474746"/>
                  <a:gd name="connsiteX25" fmla="*/ 219298 w 219298"/>
                  <a:gd name="connsiteY25" fmla="*/ 474746 h 474746"/>
                  <a:gd name="connsiteX26" fmla="*/ 218445 w 219298"/>
                  <a:gd name="connsiteY26" fmla="*/ 461781 h 474746"/>
                  <a:gd name="connsiteX27" fmla="*/ 218908 w 219298"/>
                  <a:gd name="connsiteY27" fmla="*/ 452665 h 474746"/>
                  <a:gd name="connsiteX28" fmla="*/ 206075 w 219298"/>
                  <a:gd name="connsiteY28" fmla="*/ 452665 h 474746"/>
                  <a:gd name="connsiteX29" fmla="*/ 22081 w 219298"/>
                  <a:gd name="connsiteY29" fmla="*/ 98058 h 474746"/>
                  <a:gd name="connsiteX30" fmla="*/ 22081 w 219298"/>
                  <a:gd name="connsiteY30" fmla="*/ 77284 h 474746"/>
                  <a:gd name="connsiteX31" fmla="*/ 88325 w 219298"/>
                  <a:gd name="connsiteY31" fmla="*/ 77284 h 474746"/>
                  <a:gd name="connsiteX32" fmla="*/ 88325 w 219298"/>
                  <a:gd name="connsiteY32" fmla="*/ 99365 h 474746"/>
                  <a:gd name="connsiteX33" fmla="*/ 55107 w 219298"/>
                  <a:gd name="connsiteY33" fmla="*/ 132497 h 474746"/>
                  <a:gd name="connsiteX34" fmla="*/ 48602 w 219298"/>
                  <a:gd name="connsiteY34" fmla="*/ 131845 h 474746"/>
                  <a:gd name="connsiteX35" fmla="*/ 22081 w 219298"/>
                  <a:gd name="connsiteY35" fmla="*/ 98058 h 474746"/>
                  <a:gd name="connsiteX36" fmla="*/ 161613 w 219298"/>
                  <a:gd name="connsiteY36" fmla="*/ 284218 h 474746"/>
                  <a:gd name="connsiteX37" fmla="*/ 161692 w 219298"/>
                  <a:gd name="connsiteY37" fmla="*/ 284406 h 474746"/>
                  <a:gd name="connsiteX38" fmla="*/ 161613 w 219298"/>
                  <a:gd name="connsiteY38" fmla="*/ 284218 h 474746"/>
                  <a:gd name="connsiteX0" fmla="*/ 218908 w 219298"/>
                  <a:gd name="connsiteY0" fmla="*/ 452665 h 474746"/>
                  <a:gd name="connsiteX1" fmla="*/ 130037 w 219298"/>
                  <a:gd name="connsiteY1" fmla="*/ 375381 h 474746"/>
                  <a:gd name="connsiteX2" fmla="*/ 99365 w 219298"/>
                  <a:gd name="connsiteY2" fmla="*/ 375381 h 474746"/>
                  <a:gd name="connsiteX3" fmla="*/ 66244 w 219298"/>
                  <a:gd name="connsiteY3" fmla="*/ 342259 h 474746"/>
                  <a:gd name="connsiteX4" fmla="*/ 66244 w 219298"/>
                  <a:gd name="connsiteY4" fmla="*/ 153452 h 474746"/>
                  <a:gd name="connsiteX5" fmla="*/ 110406 w 219298"/>
                  <a:gd name="connsiteY5" fmla="*/ 99365 h 474746"/>
                  <a:gd name="connsiteX6" fmla="*/ 110406 w 219298"/>
                  <a:gd name="connsiteY6" fmla="*/ 55203 h 474746"/>
                  <a:gd name="connsiteX7" fmla="*/ 93845 w 219298"/>
                  <a:gd name="connsiteY7" fmla="*/ 55203 h 474746"/>
                  <a:gd name="connsiteX8" fmla="*/ 93845 w 219298"/>
                  <a:gd name="connsiteY8" fmla="*/ 11041 h 474746"/>
                  <a:gd name="connsiteX9" fmla="*/ 82805 w 219298"/>
                  <a:gd name="connsiteY9" fmla="*/ 0 h 474746"/>
                  <a:gd name="connsiteX10" fmla="*/ 71764 w 219298"/>
                  <a:gd name="connsiteY10" fmla="*/ 11041 h 474746"/>
                  <a:gd name="connsiteX11" fmla="*/ 71764 w 219298"/>
                  <a:gd name="connsiteY11" fmla="*/ 55203 h 474746"/>
                  <a:gd name="connsiteX12" fmla="*/ 38642 w 219298"/>
                  <a:gd name="connsiteY12" fmla="*/ 55203 h 474746"/>
                  <a:gd name="connsiteX13" fmla="*/ 38642 w 219298"/>
                  <a:gd name="connsiteY13" fmla="*/ 11041 h 474746"/>
                  <a:gd name="connsiteX14" fmla="*/ 27602 w 219298"/>
                  <a:gd name="connsiteY14" fmla="*/ 0 h 474746"/>
                  <a:gd name="connsiteX15" fmla="*/ 16561 w 219298"/>
                  <a:gd name="connsiteY15" fmla="*/ 11041 h 474746"/>
                  <a:gd name="connsiteX16" fmla="*/ 16561 w 219298"/>
                  <a:gd name="connsiteY16" fmla="*/ 55203 h 474746"/>
                  <a:gd name="connsiteX17" fmla="*/ 0 w 219298"/>
                  <a:gd name="connsiteY17" fmla="*/ 55203 h 474746"/>
                  <a:gd name="connsiteX18" fmla="*/ 0 w 219298"/>
                  <a:gd name="connsiteY18" fmla="*/ 99365 h 474746"/>
                  <a:gd name="connsiteX19" fmla="*/ 44162 w 219298"/>
                  <a:gd name="connsiteY19" fmla="*/ 153452 h 474746"/>
                  <a:gd name="connsiteX20" fmla="*/ 44162 w 219298"/>
                  <a:gd name="connsiteY20" fmla="*/ 342259 h 474746"/>
                  <a:gd name="connsiteX21" fmla="*/ 99365 w 219298"/>
                  <a:gd name="connsiteY21" fmla="*/ 397462 h 474746"/>
                  <a:gd name="connsiteX22" fmla="*/ 130037 w 219298"/>
                  <a:gd name="connsiteY22" fmla="*/ 397462 h 474746"/>
                  <a:gd name="connsiteX23" fmla="*/ 130037 w 219298"/>
                  <a:gd name="connsiteY23" fmla="*/ 398688 h 474746"/>
                  <a:gd name="connsiteX24" fmla="*/ 206095 w 219298"/>
                  <a:gd name="connsiteY24" fmla="*/ 474746 h 474746"/>
                  <a:gd name="connsiteX25" fmla="*/ 219298 w 219298"/>
                  <a:gd name="connsiteY25" fmla="*/ 474746 h 474746"/>
                  <a:gd name="connsiteX26" fmla="*/ 218445 w 219298"/>
                  <a:gd name="connsiteY26" fmla="*/ 461781 h 474746"/>
                  <a:gd name="connsiteX27" fmla="*/ 218908 w 219298"/>
                  <a:gd name="connsiteY27" fmla="*/ 452665 h 474746"/>
                  <a:gd name="connsiteX28" fmla="*/ 22081 w 219298"/>
                  <a:gd name="connsiteY28" fmla="*/ 98058 h 474746"/>
                  <a:gd name="connsiteX29" fmla="*/ 22081 w 219298"/>
                  <a:gd name="connsiteY29" fmla="*/ 77284 h 474746"/>
                  <a:gd name="connsiteX30" fmla="*/ 88325 w 219298"/>
                  <a:gd name="connsiteY30" fmla="*/ 77284 h 474746"/>
                  <a:gd name="connsiteX31" fmla="*/ 88325 w 219298"/>
                  <a:gd name="connsiteY31" fmla="*/ 99365 h 474746"/>
                  <a:gd name="connsiteX32" fmla="*/ 55107 w 219298"/>
                  <a:gd name="connsiteY32" fmla="*/ 132497 h 474746"/>
                  <a:gd name="connsiteX33" fmla="*/ 48602 w 219298"/>
                  <a:gd name="connsiteY33" fmla="*/ 131845 h 474746"/>
                  <a:gd name="connsiteX34" fmla="*/ 22081 w 219298"/>
                  <a:gd name="connsiteY34" fmla="*/ 98058 h 474746"/>
                  <a:gd name="connsiteX35" fmla="*/ 161613 w 219298"/>
                  <a:gd name="connsiteY35" fmla="*/ 284218 h 474746"/>
                  <a:gd name="connsiteX36" fmla="*/ 161692 w 219298"/>
                  <a:gd name="connsiteY36" fmla="*/ 284406 h 474746"/>
                  <a:gd name="connsiteX37" fmla="*/ 161613 w 219298"/>
                  <a:gd name="connsiteY37" fmla="*/ 284218 h 474746"/>
                  <a:gd name="connsiteX0" fmla="*/ 218445 w 219298"/>
                  <a:gd name="connsiteY0" fmla="*/ 461781 h 474746"/>
                  <a:gd name="connsiteX1" fmla="*/ 130037 w 219298"/>
                  <a:gd name="connsiteY1" fmla="*/ 375381 h 474746"/>
                  <a:gd name="connsiteX2" fmla="*/ 99365 w 219298"/>
                  <a:gd name="connsiteY2" fmla="*/ 375381 h 474746"/>
                  <a:gd name="connsiteX3" fmla="*/ 66244 w 219298"/>
                  <a:gd name="connsiteY3" fmla="*/ 342259 h 474746"/>
                  <a:gd name="connsiteX4" fmla="*/ 66244 w 219298"/>
                  <a:gd name="connsiteY4" fmla="*/ 153452 h 474746"/>
                  <a:gd name="connsiteX5" fmla="*/ 110406 w 219298"/>
                  <a:gd name="connsiteY5" fmla="*/ 99365 h 474746"/>
                  <a:gd name="connsiteX6" fmla="*/ 110406 w 219298"/>
                  <a:gd name="connsiteY6" fmla="*/ 55203 h 474746"/>
                  <a:gd name="connsiteX7" fmla="*/ 93845 w 219298"/>
                  <a:gd name="connsiteY7" fmla="*/ 55203 h 474746"/>
                  <a:gd name="connsiteX8" fmla="*/ 93845 w 219298"/>
                  <a:gd name="connsiteY8" fmla="*/ 11041 h 474746"/>
                  <a:gd name="connsiteX9" fmla="*/ 82805 w 219298"/>
                  <a:gd name="connsiteY9" fmla="*/ 0 h 474746"/>
                  <a:gd name="connsiteX10" fmla="*/ 71764 w 219298"/>
                  <a:gd name="connsiteY10" fmla="*/ 11041 h 474746"/>
                  <a:gd name="connsiteX11" fmla="*/ 71764 w 219298"/>
                  <a:gd name="connsiteY11" fmla="*/ 55203 h 474746"/>
                  <a:gd name="connsiteX12" fmla="*/ 38642 w 219298"/>
                  <a:gd name="connsiteY12" fmla="*/ 55203 h 474746"/>
                  <a:gd name="connsiteX13" fmla="*/ 38642 w 219298"/>
                  <a:gd name="connsiteY13" fmla="*/ 11041 h 474746"/>
                  <a:gd name="connsiteX14" fmla="*/ 27602 w 219298"/>
                  <a:gd name="connsiteY14" fmla="*/ 0 h 474746"/>
                  <a:gd name="connsiteX15" fmla="*/ 16561 w 219298"/>
                  <a:gd name="connsiteY15" fmla="*/ 11041 h 474746"/>
                  <a:gd name="connsiteX16" fmla="*/ 16561 w 219298"/>
                  <a:gd name="connsiteY16" fmla="*/ 55203 h 474746"/>
                  <a:gd name="connsiteX17" fmla="*/ 0 w 219298"/>
                  <a:gd name="connsiteY17" fmla="*/ 55203 h 474746"/>
                  <a:gd name="connsiteX18" fmla="*/ 0 w 219298"/>
                  <a:gd name="connsiteY18" fmla="*/ 99365 h 474746"/>
                  <a:gd name="connsiteX19" fmla="*/ 44162 w 219298"/>
                  <a:gd name="connsiteY19" fmla="*/ 153452 h 474746"/>
                  <a:gd name="connsiteX20" fmla="*/ 44162 w 219298"/>
                  <a:gd name="connsiteY20" fmla="*/ 342259 h 474746"/>
                  <a:gd name="connsiteX21" fmla="*/ 99365 w 219298"/>
                  <a:gd name="connsiteY21" fmla="*/ 397462 h 474746"/>
                  <a:gd name="connsiteX22" fmla="*/ 130037 w 219298"/>
                  <a:gd name="connsiteY22" fmla="*/ 397462 h 474746"/>
                  <a:gd name="connsiteX23" fmla="*/ 130037 w 219298"/>
                  <a:gd name="connsiteY23" fmla="*/ 398688 h 474746"/>
                  <a:gd name="connsiteX24" fmla="*/ 206095 w 219298"/>
                  <a:gd name="connsiteY24" fmla="*/ 474746 h 474746"/>
                  <a:gd name="connsiteX25" fmla="*/ 219298 w 219298"/>
                  <a:gd name="connsiteY25" fmla="*/ 474746 h 474746"/>
                  <a:gd name="connsiteX26" fmla="*/ 218445 w 219298"/>
                  <a:gd name="connsiteY26" fmla="*/ 461781 h 474746"/>
                  <a:gd name="connsiteX27" fmla="*/ 22081 w 219298"/>
                  <a:gd name="connsiteY27" fmla="*/ 98058 h 474746"/>
                  <a:gd name="connsiteX28" fmla="*/ 22081 w 219298"/>
                  <a:gd name="connsiteY28" fmla="*/ 77284 h 474746"/>
                  <a:gd name="connsiteX29" fmla="*/ 88325 w 219298"/>
                  <a:gd name="connsiteY29" fmla="*/ 77284 h 474746"/>
                  <a:gd name="connsiteX30" fmla="*/ 88325 w 219298"/>
                  <a:gd name="connsiteY30" fmla="*/ 99365 h 474746"/>
                  <a:gd name="connsiteX31" fmla="*/ 55107 w 219298"/>
                  <a:gd name="connsiteY31" fmla="*/ 132497 h 474746"/>
                  <a:gd name="connsiteX32" fmla="*/ 48602 w 219298"/>
                  <a:gd name="connsiteY32" fmla="*/ 131845 h 474746"/>
                  <a:gd name="connsiteX33" fmla="*/ 22081 w 219298"/>
                  <a:gd name="connsiteY33" fmla="*/ 98058 h 474746"/>
                  <a:gd name="connsiteX34" fmla="*/ 161613 w 219298"/>
                  <a:gd name="connsiteY34" fmla="*/ 284218 h 474746"/>
                  <a:gd name="connsiteX35" fmla="*/ 161692 w 219298"/>
                  <a:gd name="connsiteY35" fmla="*/ 284406 h 474746"/>
                  <a:gd name="connsiteX36" fmla="*/ 161613 w 219298"/>
                  <a:gd name="connsiteY36" fmla="*/ 284218 h 474746"/>
                  <a:gd name="connsiteX0" fmla="*/ 219298 w 219298"/>
                  <a:gd name="connsiteY0" fmla="*/ 474746 h 474746"/>
                  <a:gd name="connsiteX1" fmla="*/ 130037 w 219298"/>
                  <a:gd name="connsiteY1" fmla="*/ 375381 h 474746"/>
                  <a:gd name="connsiteX2" fmla="*/ 99365 w 219298"/>
                  <a:gd name="connsiteY2" fmla="*/ 375381 h 474746"/>
                  <a:gd name="connsiteX3" fmla="*/ 66244 w 219298"/>
                  <a:gd name="connsiteY3" fmla="*/ 342259 h 474746"/>
                  <a:gd name="connsiteX4" fmla="*/ 66244 w 219298"/>
                  <a:gd name="connsiteY4" fmla="*/ 153452 h 474746"/>
                  <a:gd name="connsiteX5" fmla="*/ 110406 w 219298"/>
                  <a:gd name="connsiteY5" fmla="*/ 99365 h 474746"/>
                  <a:gd name="connsiteX6" fmla="*/ 110406 w 219298"/>
                  <a:gd name="connsiteY6" fmla="*/ 55203 h 474746"/>
                  <a:gd name="connsiteX7" fmla="*/ 93845 w 219298"/>
                  <a:gd name="connsiteY7" fmla="*/ 55203 h 474746"/>
                  <a:gd name="connsiteX8" fmla="*/ 93845 w 219298"/>
                  <a:gd name="connsiteY8" fmla="*/ 11041 h 474746"/>
                  <a:gd name="connsiteX9" fmla="*/ 82805 w 219298"/>
                  <a:gd name="connsiteY9" fmla="*/ 0 h 474746"/>
                  <a:gd name="connsiteX10" fmla="*/ 71764 w 219298"/>
                  <a:gd name="connsiteY10" fmla="*/ 11041 h 474746"/>
                  <a:gd name="connsiteX11" fmla="*/ 71764 w 219298"/>
                  <a:gd name="connsiteY11" fmla="*/ 55203 h 474746"/>
                  <a:gd name="connsiteX12" fmla="*/ 38642 w 219298"/>
                  <a:gd name="connsiteY12" fmla="*/ 55203 h 474746"/>
                  <a:gd name="connsiteX13" fmla="*/ 38642 w 219298"/>
                  <a:gd name="connsiteY13" fmla="*/ 11041 h 474746"/>
                  <a:gd name="connsiteX14" fmla="*/ 27602 w 219298"/>
                  <a:gd name="connsiteY14" fmla="*/ 0 h 474746"/>
                  <a:gd name="connsiteX15" fmla="*/ 16561 w 219298"/>
                  <a:gd name="connsiteY15" fmla="*/ 11041 h 474746"/>
                  <a:gd name="connsiteX16" fmla="*/ 16561 w 219298"/>
                  <a:gd name="connsiteY16" fmla="*/ 55203 h 474746"/>
                  <a:gd name="connsiteX17" fmla="*/ 0 w 219298"/>
                  <a:gd name="connsiteY17" fmla="*/ 55203 h 474746"/>
                  <a:gd name="connsiteX18" fmla="*/ 0 w 219298"/>
                  <a:gd name="connsiteY18" fmla="*/ 99365 h 474746"/>
                  <a:gd name="connsiteX19" fmla="*/ 44162 w 219298"/>
                  <a:gd name="connsiteY19" fmla="*/ 153452 h 474746"/>
                  <a:gd name="connsiteX20" fmla="*/ 44162 w 219298"/>
                  <a:gd name="connsiteY20" fmla="*/ 342259 h 474746"/>
                  <a:gd name="connsiteX21" fmla="*/ 99365 w 219298"/>
                  <a:gd name="connsiteY21" fmla="*/ 397462 h 474746"/>
                  <a:gd name="connsiteX22" fmla="*/ 130037 w 219298"/>
                  <a:gd name="connsiteY22" fmla="*/ 397462 h 474746"/>
                  <a:gd name="connsiteX23" fmla="*/ 130037 w 219298"/>
                  <a:gd name="connsiteY23" fmla="*/ 398688 h 474746"/>
                  <a:gd name="connsiteX24" fmla="*/ 206095 w 219298"/>
                  <a:gd name="connsiteY24" fmla="*/ 474746 h 474746"/>
                  <a:gd name="connsiteX25" fmla="*/ 219298 w 219298"/>
                  <a:gd name="connsiteY25" fmla="*/ 474746 h 474746"/>
                  <a:gd name="connsiteX26" fmla="*/ 22081 w 219298"/>
                  <a:gd name="connsiteY26" fmla="*/ 98058 h 474746"/>
                  <a:gd name="connsiteX27" fmla="*/ 22081 w 219298"/>
                  <a:gd name="connsiteY27" fmla="*/ 77284 h 474746"/>
                  <a:gd name="connsiteX28" fmla="*/ 88325 w 219298"/>
                  <a:gd name="connsiteY28" fmla="*/ 77284 h 474746"/>
                  <a:gd name="connsiteX29" fmla="*/ 88325 w 219298"/>
                  <a:gd name="connsiteY29" fmla="*/ 99365 h 474746"/>
                  <a:gd name="connsiteX30" fmla="*/ 55107 w 219298"/>
                  <a:gd name="connsiteY30" fmla="*/ 132497 h 474746"/>
                  <a:gd name="connsiteX31" fmla="*/ 48602 w 219298"/>
                  <a:gd name="connsiteY31" fmla="*/ 131845 h 474746"/>
                  <a:gd name="connsiteX32" fmla="*/ 22081 w 219298"/>
                  <a:gd name="connsiteY32" fmla="*/ 98058 h 474746"/>
                  <a:gd name="connsiteX33" fmla="*/ 161613 w 219298"/>
                  <a:gd name="connsiteY33" fmla="*/ 284218 h 474746"/>
                  <a:gd name="connsiteX34" fmla="*/ 161692 w 219298"/>
                  <a:gd name="connsiteY34" fmla="*/ 284406 h 474746"/>
                  <a:gd name="connsiteX35" fmla="*/ 161613 w 219298"/>
                  <a:gd name="connsiteY35" fmla="*/ 284218 h 474746"/>
                  <a:gd name="connsiteX0" fmla="*/ 206095 w 206095"/>
                  <a:gd name="connsiteY0" fmla="*/ 474746 h 474746"/>
                  <a:gd name="connsiteX1" fmla="*/ 130037 w 206095"/>
                  <a:gd name="connsiteY1" fmla="*/ 375381 h 474746"/>
                  <a:gd name="connsiteX2" fmla="*/ 99365 w 206095"/>
                  <a:gd name="connsiteY2" fmla="*/ 375381 h 474746"/>
                  <a:gd name="connsiteX3" fmla="*/ 66244 w 206095"/>
                  <a:gd name="connsiteY3" fmla="*/ 342259 h 474746"/>
                  <a:gd name="connsiteX4" fmla="*/ 66244 w 206095"/>
                  <a:gd name="connsiteY4" fmla="*/ 153452 h 474746"/>
                  <a:gd name="connsiteX5" fmla="*/ 110406 w 206095"/>
                  <a:gd name="connsiteY5" fmla="*/ 99365 h 474746"/>
                  <a:gd name="connsiteX6" fmla="*/ 110406 w 206095"/>
                  <a:gd name="connsiteY6" fmla="*/ 55203 h 474746"/>
                  <a:gd name="connsiteX7" fmla="*/ 93845 w 206095"/>
                  <a:gd name="connsiteY7" fmla="*/ 55203 h 474746"/>
                  <a:gd name="connsiteX8" fmla="*/ 93845 w 206095"/>
                  <a:gd name="connsiteY8" fmla="*/ 11041 h 474746"/>
                  <a:gd name="connsiteX9" fmla="*/ 82805 w 206095"/>
                  <a:gd name="connsiteY9" fmla="*/ 0 h 474746"/>
                  <a:gd name="connsiteX10" fmla="*/ 71764 w 206095"/>
                  <a:gd name="connsiteY10" fmla="*/ 11041 h 474746"/>
                  <a:gd name="connsiteX11" fmla="*/ 71764 w 206095"/>
                  <a:gd name="connsiteY11" fmla="*/ 55203 h 474746"/>
                  <a:gd name="connsiteX12" fmla="*/ 38642 w 206095"/>
                  <a:gd name="connsiteY12" fmla="*/ 55203 h 474746"/>
                  <a:gd name="connsiteX13" fmla="*/ 38642 w 206095"/>
                  <a:gd name="connsiteY13" fmla="*/ 11041 h 474746"/>
                  <a:gd name="connsiteX14" fmla="*/ 27602 w 206095"/>
                  <a:gd name="connsiteY14" fmla="*/ 0 h 474746"/>
                  <a:gd name="connsiteX15" fmla="*/ 16561 w 206095"/>
                  <a:gd name="connsiteY15" fmla="*/ 11041 h 474746"/>
                  <a:gd name="connsiteX16" fmla="*/ 16561 w 206095"/>
                  <a:gd name="connsiteY16" fmla="*/ 55203 h 474746"/>
                  <a:gd name="connsiteX17" fmla="*/ 0 w 206095"/>
                  <a:gd name="connsiteY17" fmla="*/ 55203 h 474746"/>
                  <a:gd name="connsiteX18" fmla="*/ 0 w 206095"/>
                  <a:gd name="connsiteY18" fmla="*/ 99365 h 474746"/>
                  <a:gd name="connsiteX19" fmla="*/ 44162 w 206095"/>
                  <a:gd name="connsiteY19" fmla="*/ 153452 h 474746"/>
                  <a:gd name="connsiteX20" fmla="*/ 44162 w 206095"/>
                  <a:gd name="connsiteY20" fmla="*/ 342259 h 474746"/>
                  <a:gd name="connsiteX21" fmla="*/ 99365 w 206095"/>
                  <a:gd name="connsiteY21" fmla="*/ 397462 h 474746"/>
                  <a:gd name="connsiteX22" fmla="*/ 130037 w 206095"/>
                  <a:gd name="connsiteY22" fmla="*/ 397462 h 474746"/>
                  <a:gd name="connsiteX23" fmla="*/ 130037 w 206095"/>
                  <a:gd name="connsiteY23" fmla="*/ 398688 h 474746"/>
                  <a:gd name="connsiteX24" fmla="*/ 206095 w 206095"/>
                  <a:gd name="connsiteY24" fmla="*/ 474746 h 474746"/>
                  <a:gd name="connsiteX25" fmla="*/ 22081 w 206095"/>
                  <a:gd name="connsiteY25" fmla="*/ 98058 h 474746"/>
                  <a:gd name="connsiteX26" fmla="*/ 22081 w 206095"/>
                  <a:gd name="connsiteY26" fmla="*/ 77284 h 474746"/>
                  <a:gd name="connsiteX27" fmla="*/ 88325 w 206095"/>
                  <a:gd name="connsiteY27" fmla="*/ 77284 h 474746"/>
                  <a:gd name="connsiteX28" fmla="*/ 88325 w 206095"/>
                  <a:gd name="connsiteY28" fmla="*/ 99365 h 474746"/>
                  <a:gd name="connsiteX29" fmla="*/ 55107 w 206095"/>
                  <a:gd name="connsiteY29" fmla="*/ 132497 h 474746"/>
                  <a:gd name="connsiteX30" fmla="*/ 48602 w 206095"/>
                  <a:gd name="connsiteY30" fmla="*/ 131845 h 474746"/>
                  <a:gd name="connsiteX31" fmla="*/ 22081 w 206095"/>
                  <a:gd name="connsiteY31" fmla="*/ 98058 h 474746"/>
                  <a:gd name="connsiteX32" fmla="*/ 161613 w 206095"/>
                  <a:gd name="connsiteY32" fmla="*/ 284218 h 474746"/>
                  <a:gd name="connsiteX33" fmla="*/ 161692 w 206095"/>
                  <a:gd name="connsiteY33" fmla="*/ 284406 h 474746"/>
                  <a:gd name="connsiteX34" fmla="*/ 161613 w 206095"/>
                  <a:gd name="connsiteY34" fmla="*/ 284218 h 474746"/>
                  <a:gd name="connsiteX0" fmla="*/ 130037 w 161692"/>
                  <a:gd name="connsiteY0" fmla="*/ 398688 h 398688"/>
                  <a:gd name="connsiteX1" fmla="*/ 130037 w 161692"/>
                  <a:gd name="connsiteY1" fmla="*/ 375381 h 398688"/>
                  <a:gd name="connsiteX2" fmla="*/ 99365 w 161692"/>
                  <a:gd name="connsiteY2" fmla="*/ 375381 h 398688"/>
                  <a:gd name="connsiteX3" fmla="*/ 66244 w 161692"/>
                  <a:gd name="connsiteY3" fmla="*/ 342259 h 398688"/>
                  <a:gd name="connsiteX4" fmla="*/ 66244 w 161692"/>
                  <a:gd name="connsiteY4" fmla="*/ 153452 h 398688"/>
                  <a:gd name="connsiteX5" fmla="*/ 110406 w 161692"/>
                  <a:gd name="connsiteY5" fmla="*/ 99365 h 398688"/>
                  <a:gd name="connsiteX6" fmla="*/ 110406 w 161692"/>
                  <a:gd name="connsiteY6" fmla="*/ 55203 h 398688"/>
                  <a:gd name="connsiteX7" fmla="*/ 93845 w 161692"/>
                  <a:gd name="connsiteY7" fmla="*/ 55203 h 398688"/>
                  <a:gd name="connsiteX8" fmla="*/ 93845 w 161692"/>
                  <a:gd name="connsiteY8" fmla="*/ 11041 h 398688"/>
                  <a:gd name="connsiteX9" fmla="*/ 82805 w 161692"/>
                  <a:gd name="connsiteY9" fmla="*/ 0 h 398688"/>
                  <a:gd name="connsiteX10" fmla="*/ 71764 w 161692"/>
                  <a:gd name="connsiteY10" fmla="*/ 11041 h 398688"/>
                  <a:gd name="connsiteX11" fmla="*/ 71764 w 161692"/>
                  <a:gd name="connsiteY11" fmla="*/ 55203 h 398688"/>
                  <a:gd name="connsiteX12" fmla="*/ 38642 w 161692"/>
                  <a:gd name="connsiteY12" fmla="*/ 55203 h 398688"/>
                  <a:gd name="connsiteX13" fmla="*/ 38642 w 161692"/>
                  <a:gd name="connsiteY13" fmla="*/ 11041 h 398688"/>
                  <a:gd name="connsiteX14" fmla="*/ 27602 w 161692"/>
                  <a:gd name="connsiteY14" fmla="*/ 0 h 398688"/>
                  <a:gd name="connsiteX15" fmla="*/ 16561 w 161692"/>
                  <a:gd name="connsiteY15" fmla="*/ 11041 h 398688"/>
                  <a:gd name="connsiteX16" fmla="*/ 16561 w 161692"/>
                  <a:gd name="connsiteY16" fmla="*/ 55203 h 398688"/>
                  <a:gd name="connsiteX17" fmla="*/ 0 w 161692"/>
                  <a:gd name="connsiteY17" fmla="*/ 55203 h 398688"/>
                  <a:gd name="connsiteX18" fmla="*/ 0 w 161692"/>
                  <a:gd name="connsiteY18" fmla="*/ 99365 h 398688"/>
                  <a:gd name="connsiteX19" fmla="*/ 44162 w 161692"/>
                  <a:gd name="connsiteY19" fmla="*/ 153452 h 398688"/>
                  <a:gd name="connsiteX20" fmla="*/ 44162 w 161692"/>
                  <a:gd name="connsiteY20" fmla="*/ 342259 h 398688"/>
                  <a:gd name="connsiteX21" fmla="*/ 99365 w 161692"/>
                  <a:gd name="connsiteY21" fmla="*/ 397462 h 398688"/>
                  <a:gd name="connsiteX22" fmla="*/ 130037 w 161692"/>
                  <a:gd name="connsiteY22" fmla="*/ 397462 h 398688"/>
                  <a:gd name="connsiteX23" fmla="*/ 130037 w 161692"/>
                  <a:gd name="connsiteY23" fmla="*/ 398688 h 398688"/>
                  <a:gd name="connsiteX24" fmla="*/ 22081 w 161692"/>
                  <a:gd name="connsiteY24" fmla="*/ 98058 h 398688"/>
                  <a:gd name="connsiteX25" fmla="*/ 22081 w 161692"/>
                  <a:gd name="connsiteY25" fmla="*/ 77284 h 398688"/>
                  <a:gd name="connsiteX26" fmla="*/ 88325 w 161692"/>
                  <a:gd name="connsiteY26" fmla="*/ 77284 h 398688"/>
                  <a:gd name="connsiteX27" fmla="*/ 88325 w 161692"/>
                  <a:gd name="connsiteY27" fmla="*/ 99365 h 398688"/>
                  <a:gd name="connsiteX28" fmla="*/ 55107 w 161692"/>
                  <a:gd name="connsiteY28" fmla="*/ 132497 h 398688"/>
                  <a:gd name="connsiteX29" fmla="*/ 48602 w 161692"/>
                  <a:gd name="connsiteY29" fmla="*/ 131845 h 398688"/>
                  <a:gd name="connsiteX30" fmla="*/ 22081 w 161692"/>
                  <a:gd name="connsiteY30" fmla="*/ 98058 h 398688"/>
                  <a:gd name="connsiteX31" fmla="*/ 161613 w 161692"/>
                  <a:gd name="connsiteY31" fmla="*/ 284218 h 398688"/>
                  <a:gd name="connsiteX32" fmla="*/ 161692 w 161692"/>
                  <a:gd name="connsiteY32" fmla="*/ 284406 h 398688"/>
                  <a:gd name="connsiteX33" fmla="*/ 161613 w 161692"/>
                  <a:gd name="connsiteY33" fmla="*/ 284218 h 398688"/>
                  <a:gd name="connsiteX0" fmla="*/ 130037 w 161692"/>
                  <a:gd name="connsiteY0" fmla="*/ 398688 h 398688"/>
                  <a:gd name="connsiteX1" fmla="*/ 130037 w 161692"/>
                  <a:gd name="connsiteY1" fmla="*/ 375381 h 398688"/>
                  <a:gd name="connsiteX2" fmla="*/ 99365 w 161692"/>
                  <a:gd name="connsiteY2" fmla="*/ 375381 h 398688"/>
                  <a:gd name="connsiteX3" fmla="*/ 66244 w 161692"/>
                  <a:gd name="connsiteY3" fmla="*/ 342259 h 398688"/>
                  <a:gd name="connsiteX4" fmla="*/ 66244 w 161692"/>
                  <a:gd name="connsiteY4" fmla="*/ 153452 h 398688"/>
                  <a:gd name="connsiteX5" fmla="*/ 110406 w 161692"/>
                  <a:gd name="connsiteY5" fmla="*/ 99365 h 398688"/>
                  <a:gd name="connsiteX6" fmla="*/ 110406 w 161692"/>
                  <a:gd name="connsiteY6" fmla="*/ 55203 h 398688"/>
                  <a:gd name="connsiteX7" fmla="*/ 93845 w 161692"/>
                  <a:gd name="connsiteY7" fmla="*/ 55203 h 398688"/>
                  <a:gd name="connsiteX8" fmla="*/ 93845 w 161692"/>
                  <a:gd name="connsiteY8" fmla="*/ 11041 h 398688"/>
                  <a:gd name="connsiteX9" fmla="*/ 82805 w 161692"/>
                  <a:gd name="connsiteY9" fmla="*/ 0 h 398688"/>
                  <a:gd name="connsiteX10" fmla="*/ 71764 w 161692"/>
                  <a:gd name="connsiteY10" fmla="*/ 11041 h 398688"/>
                  <a:gd name="connsiteX11" fmla="*/ 71764 w 161692"/>
                  <a:gd name="connsiteY11" fmla="*/ 55203 h 398688"/>
                  <a:gd name="connsiteX12" fmla="*/ 38642 w 161692"/>
                  <a:gd name="connsiteY12" fmla="*/ 55203 h 398688"/>
                  <a:gd name="connsiteX13" fmla="*/ 38642 w 161692"/>
                  <a:gd name="connsiteY13" fmla="*/ 11041 h 398688"/>
                  <a:gd name="connsiteX14" fmla="*/ 27602 w 161692"/>
                  <a:gd name="connsiteY14" fmla="*/ 0 h 398688"/>
                  <a:gd name="connsiteX15" fmla="*/ 16561 w 161692"/>
                  <a:gd name="connsiteY15" fmla="*/ 11041 h 398688"/>
                  <a:gd name="connsiteX16" fmla="*/ 16561 w 161692"/>
                  <a:gd name="connsiteY16" fmla="*/ 55203 h 398688"/>
                  <a:gd name="connsiteX17" fmla="*/ 0 w 161692"/>
                  <a:gd name="connsiteY17" fmla="*/ 55203 h 398688"/>
                  <a:gd name="connsiteX18" fmla="*/ 0 w 161692"/>
                  <a:gd name="connsiteY18" fmla="*/ 99365 h 398688"/>
                  <a:gd name="connsiteX19" fmla="*/ 44162 w 161692"/>
                  <a:gd name="connsiteY19" fmla="*/ 153452 h 398688"/>
                  <a:gd name="connsiteX20" fmla="*/ 44162 w 161692"/>
                  <a:gd name="connsiteY20" fmla="*/ 342259 h 398688"/>
                  <a:gd name="connsiteX21" fmla="*/ 99365 w 161692"/>
                  <a:gd name="connsiteY21" fmla="*/ 397462 h 398688"/>
                  <a:gd name="connsiteX22" fmla="*/ 130037 w 161692"/>
                  <a:gd name="connsiteY22" fmla="*/ 398688 h 398688"/>
                  <a:gd name="connsiteX23" fmla="*/ 22081 w 161692"/>
                  <a:gd name="connsiteY23" fmla="*/ 98058 h 398688"/>
                  <a:gd name="connsiteX24" fmla="*/ 22081 w 161692"/>
                  <a:gd name="connsiteY24" fmla="*/ 77284 h 398688"/>
                  <a:gd name="connsiteX25" fmla="*/ 88325 w 161692"/>
                  <a:gd name="connsiteY25" fmla="*/ 77284 h 398688"/>
                  <a:gd name="connsiteX26" fmla="*/ 88325 w 161692"/>
                  <a:gd name="connsiteY26" fmla="*/ 99365 h 398688"/>
                  <a:gd name="connsiteX27" fmla="*/ 55107 w 161692"/>
                  <a:gd name="connsiteY27" fmla="*/ 132497 h 398688"/>
                  <a:gd name="connsiteX28" fmla="*/ 48602 w 161692"/>
                  <a:gd name="connsiteY28" fmla="*/ 131845 h 398688"/>
                  <a:gd name="connsiteX29" fmla="*/ 22081 w 161692"/>
                  <a:gd name="connsiteY29" fmla="*/ 98058 h 398688"/>
                  <a:gd name="connsiteX30" fmla="*/ 161613 w 161692"/>
                  <a:gd name="connsiteY30" fmla="*/ 284218 h 398688"/>
                  <a:gd name="connsiteX31" fmla="*/ 161692 w 161692"/>
                  <a:gd name="connsiteY31" fmla="*/ 284406 h 398688"/>
                  <a:gd name="connsiteX32" fmla="*/ 161613 w 161692"/>
                  <a:gd name="connsiteY32" fmla="*/ 284218 h 398688"/>
                  <a:gd name="connsiteX0" fmla="*/ 99365 w 161692"/>
                  <a:gd name="connsiteY0" fmla="*/ 397462 h 397462"/>
                  <a:gd name="connsiteX1" fmla="*/ 130037 w 161692"/>
                  <a:gd name="connsiteY1" fmla="*/ 375381 h 397462"/>
                  <a:gd name="connsiteX2" fmla="*/ 99365 w 161692"/>
                  <a:gd name="connsiteY2" fmla="*/ 375381 h 397462"/>
                  <a:gd name="connsiteX3" fmla="*/ 66244 w 161692"/>
                  <a:gd name="connsiteY3" fmla="*/ 342259 h 397462"/>
                  <a:gd name="connsiteX4" fmla="*/ 66244 w 161692"/>
                  <a:gd name="connsiteY4" fmla="*/ 153452 h 397462"/>
                  <a:gd name="connsiteX5" fmla="*/ 110406 w 161692"/>
                  <a:gd name="connsiteY5" fmla="*/ 99365 h 397462"/>
                  <a:gd name="connsiteX6" fmla="*/ 110406 w 161692"/>
                  <a:gd name="connsiteY6" fmla="*/ 55203 h 397462"/>
                  <a:gd name="connsiteX7" fmla="*/ 93845 w 161692"/>
                  <a:gd name="connsiteY7" fmla="*/ 55203 h 397462"/>
                  <a:gd name="connsiteX8" fmla="*/ 93845 w 161692"/>
                  <a:gd name="connsiteY8" fmla="*/ 11041 h 397462"/>
                  <a:gd name="connsiteX9" fmla="*/ 82805 w 161692"/>
                  <a:gd name="connsiteY9" fmla="*/ 0 h 397462"/>
                  <a:gd name="connsiteX10" fmla="*/ 71764 w 161692"/>
                  <a:gd name="connsiteY10" fmla="*/ 11041 h 397462"/>
                  <a:gd name="connsiteX11" fmla="*/ 71764 w 161692"/>
                  <a:gd name="connsiteY11" fmla="*/ 55203 h 397462"/>
                  <a:gd name="connsiteX12" fmla="*/ 38642 w 161692"/>
                  <a:gd name="connsiteY12" fmla="*/ 55203 h 397462"/>
                  <a:gd name="connsiteX13" fmla="*/ 38642 w 161692"/>
                  <a:gd name="connsiteY13" fmla="*/ 11041 h 397462"/>
                  <a:gd name="connsiteX14" fmla="*/ 27602 w 161692"/>
                  <a:gd name="connsiteY14" fmla="*/ 0 h 397462"/>
                  <a:gd name="connsiteX15" fmla="*/ 16561 w 161692"/>
                  <a:gd name="connsiteY15" fmla="*/ 11041 h 397462"/>
                  <a:gd name="connsiteX16" fmla="*/ 16561 w 161692"/>
                  <a:gd name="connsiteY16" fmla="*/ 55203 h 397462"/>
                  <a:gd name="connsiteX17" fmla="*/ 0 w 161692"/>
                  <a:gd name="connsiteY17" fmla="*/ 55203 h 397462"/>
                  <a:gd name="connsiteX18" fmla="*/ 0 w 161692"/>
                  <a:gd name="connsiteY18" fmla="*/ 99365 h 397462"/>
                  <a:gd name="connsiteX19" fmla="*/ 44162 w 161692"/>
                  <a:gd name="connsiteY19" fmla="*/ 153452 h 397462"/>
                  <a:gd name="connsiteX20" fmla="*/ 44162 w 161692"/>
                  <a:gd name="connsiteY20" fmla="*/ 342259 h 397462"/>
                  <a:gd name="connsiteX21" fmla="*/ 99365 w 161692"/>
                  <a:gd name="connsiteY21" fmla="*/ 397462 h 397462"/>
                  <a:gd name="connsiteX22" fmla="*/ 22081 w 161692"/>
                  <a:gd name="connsiteY22" fmla="*/ 98058 h 397462"/>
                  <a:gd name="connsiteX23" fmla="*/ 22081 w 161692"/>
                  <a:gd name="connsiteY23" fmla="*/ 77284 h 397462"/>
                  <a:gd name="connsiteX24" fmla="*/ 88325 w 161692"/>
                  <a:gd name="connsiteY24" fmla="*/ 77284 h 397462"/>
                  <a:gd name="connsiteX25" fmla="*/ 88325 w 161692"/>
                  <a:gd name="connsiteY25" fmla="*/ 99365 h 397462"/>
                  <a:gd name="connsiteX26" fmla="*/ 55107 w 161692"/>
                  <a:gd name="connsiteY26" fmla="*/ 132497 h 397462"/>
                  <a:gd name="connsiteX27" fmla="*/ 48602 w 161692"/>
                  <a:gd name="connsiteY27" fmla="*/ 131845 h 397462"/>
                  <a:gd name="connsiteX28" fmla="*/ 22081 w 161692"/>
                  <a:gd name="connsiteY28" fmla="*/ 98058 h 397462"/>
                  <a:gd name="connsiteX29" fmla="*/ 161613 w 161692"/>
                  <a:gd name="connsiteY29" fmla="*/ 284218 h 397462"/>
                  <a:gd name="connsiteX30" fmla="*/ 161692 w 161692"/>
                  <a:gd name="connsiteY30" fmla="*/ 284406 h 397462"/>
                  <a:gd name="connsiteX31" fmla="*/ 161613 w 161692"/>
                  <a:gd name="connsiteY31" fmla="*/ 284218 h 397462"/>
                  <a:gd name="connsiteX0" fmla="*/ 99365 w 161692"/>
                  <a:gd name="connsiteY0" fmla="*/ 397462 h 397462"/>
                  <a:gd name="connsiteX1" fmla="*/ 99365 w 161692"/>
                  <a:gd name="connsiteY1" fmla="*/ 375381 h 397462"/>
                  <a:gd name="connsiteX2" fmla="*/ 66244 w 161692"/>
                  <a:gd name="connsiteY2" fmla="*/ 342259 h 397462"/>
                  <a:gd name="connsiteX3" fmla="*/ 66244 w 161692"/>
                  <a:gd name="connsiteY3" fmla="*/ 153452 h 397462"/>
                  <a:gd name="connsiteX4" fmla="*/ 110406 w 161692"/>
                  <a:gd name="connsiteY4" fmla="*/ 99365 h 397462"/>
                  <a:gd name="connsiteX5" fmla="*/ 110406 w 161692"/>
                  <a:gd name="connsiteY5" fmla="*/ 55203 h 397462"/>
                  <a:gd name="connsiteX6" fmla="*/ 93845 w 161692"/>
                  <a:gd name="connsiteY6" fmla="*/ 55203 h 397462"/>
                  <a:gd name="connsiteX7" fmla="*/ 93845 w 161692"/>
                  <a:gd name="connsiteY7" fmla="*/ 11041 h 397462"/>
                  <a:gd name="connsiteX8" fmla="*/ 82805 w 161692"/>
                  <a:gd name="connsiteY8" fmla="*/ 0 h 397462"/>
                  <a:gd name="connsiteX9" fmla="*/ 71764 w 161692"/>
                  <a:gd name="connsiteY9" fmla="*/ 11041 h 397462"/>
                  <a:gd name="connsiteX10" fmla="*/ 71764 w 161692"/>
                  <a:gd name="connsiteY10" fmla="*/ 55203 h 397462"/>
                  <a:gd name="connsiteX11" fmla="*/ 38642 w 161692"/>
                  <a:gd name="connsiteY11" fmla="*/ 55203 h 397462"/>
                  <a:gd name="connsiteX12" fmla="*/ 38642 w 161692"/>
                  <a:gd name="connsiteY12" fmla="*/ 11041 h 397462"/>
                  <a:gd name="connsiteX13" fmla="*/ 27602 w 161692"/>
                  <a:gd name="connsiteY13" fmla="*/ 0 h 397462"/>
                  <a:gd name="connsiteX14" fmla="*/ 16561 w 161692"/>
                  <a:gd name="connsiteY14" fmla="*/ 11041 h 397462"/>
                  <a:gd name="connsiteX15" fmla="*/ 16561 w 161692"/>
                  <a:gd name="connsiteY15" fmla="*/ 55203 h 397462"/>
                  <a:gd name="connsiteX16" fmla="*/ 0 w 161692"/>
                  <a:gd name="connsiteY16" fmla="*/ 55203 h 397462"/>
                  <a:gd name="connsiteX17" fmla="*/ 0 w 161692"/>
                  <a:gd name="connsiteY17" fmla="*/ 99365 h 397462"/>
                  <a:gd name="connsiteX18" fmla="*/ 44162 w 161692"/>
                  <a:gd name="connsiteY18" fmla="*/ 153452 h 397462"/>
                  <a:gd name="connsiteX19" fmla="*/ 44162 w 161692"/>
                  <a:gd name="connsiteY19" fmla="*/ 342259 h 397462"/>
                  <a:gd name="connsiteX20" fmla="*/ 99365 w 161692"/>
                  <a:gd name="connsiteY20" fmla="*/ 397462 h 397462"/>
                  <a:gd name="connsiteX21" fmla="*/ 22081 w 161692"/>
                  <a:gd name="connsiteY21" fmla="*/ 98058 h 397462"/>
                  <a:gd name="connsiteX22" fmla="*/ 22081 w 161692"/>
                  <a:gd name="connsiteY22" fmla="*/ 77284 h 397462"/>
                  <a:gd name="connsiteX23" fmla="*/ 88325 w 161692"/>
                  <a:gd name="connsiteY23" fmla="*/ 77284 h 397462"/>
                  <a:gd name="connsiteX24" fmla="*/ 88325 w 161692"/>
                  <a:gd name="connsiteY24" fmla="*/ 99365 h 397462"/>
                  <a:gd name="connsiteX25" fmla="*/ 55107 w 161692"/>
                  <a:gd name="connsiteY25" fmla="*/ 132497 h 397462"/>
                  <a:gd name="connsiteX26" fmla="*/ 48602 w 161692"/>
                  <a:gd name="connsiteY26" fmla="*/ 131845 h 397462"/>
                  <a:gd name="connsiteX27" fmla="*/ 22081 w 161692"/>
                  <a:gd name="connsiteY27" fmla="*/ 98058 h 397462"/>
                  <a:gd name="connsiteX28" fmla="*/ 161613 w 161692"/>
                  <a:gd name="connsiteY28" fmla="*/ 284218 h 397462"/>
                  <a:gd name="connsiteX29" fmla="*/ 161692 w 161692"/>
                  <a:gd name="connsiteY29" fmla="*/ 284406 h 397462"/>
                  <a:gd name="connsiteX30" fmla="*/ 161613 w 161692"/>
                  <a:gd name="connsiteY30" fmla="*/ 284218 h 397462"/>
                  <a:gd name="connsiteX0" fmla="*/ 99365 w 161692"/>
                  <a:gd name="connsiteY0" fmla="*/ 397462 h 397462"/>
                  <a:gd name="connsiteX1" fmla="*/ 66244 w 161692"/>
                  <a:gd name="connsiteY1" fmla="*/ 342259 h 397462"/>
                  <a:gd name="connsiteX2" fmla="*/ 66244 w 161692"/>
                  <a:gd name="connsiteY2" fmla="*/ 153452 h 397462"/>
                  <a:gd name="connsiteX3" fmla="*/ 110406 w 161692"/>
                  <a:gd name="connsiteY3" fmla="*/ 99365 h 397462"/>
                  <a:gd name="connsiteX4" fmla="*/ 110406 w 161692"/>
                  <a:gd name="connsiteY4" fmla="*/ 55203 h 397462"/>
                  <a:gd name="connsiteX5" fmla="*/ 93845 w 161692"/>
                  <a:gd name="connsiteY5" fmla="*/ 55203 h 397462"/>
                  <a:gd name="connsiteX6" fmla="*/ 93845 w 161692"/>
                  <a:gd name="connsiteY6" fmla="*/ 11041 h 397462"/>
                  <a:gd name="connsiteX7" fmla="*/ 82805 w 161692"/>
                  <a:gd name="connsiteY7" fmla="*/ 0 h 397462"/>
                  <a:gd name="connsiteX8" fmla="*/ 71764 w 161692"/>
                  <a:gd name="connsiteY8" fmla="*/ 11041 h 397462"/>
                  <a:gd name="connsiteX9" fmla="*/ 71764 w 161692"/>
                  <a:gd name="connsiteY9" fmla="*/ 55203 h 397462"/>
                  <a:gd name="connsiteX10" fmla="*/ 38642 w 161692"/>
                  <a:gd name="connsiteY10" fmla="*/ 55203 h 397462"/>
                  <a:gd name="connsiteX11" fmla="*/ 38642 w 161692"/>
                  <a:gd name="connsiteY11" fmla="*/ 11041 h 397462"/>
                  <a:gd name="connsiteX12" fmla="*/ 27602 w 161692"/>
                  <a:gd name="connsiteY12" fmla="*/ 0 h 397462"/>
                  <a:gd name="connsiteX13" fmla="*/ 16561 w 161692"/>
                  <a:gd name="connsiteY13" fmla="*/ 11041 h 397462"/>
                  <a:gd name="connsiteX14" fmla="*/ 16561 w 161692"/>
                  <a:gd name="connsiteY14" fmla="*/ 55203 h 397462"/>
                  <a:gd name="connsiteX15" fmla="*/ 0 w 161692"/>
                  <a:gd name="connsiteY15" fmla="*/ 55203 h 397462"/>
                  <a:gd name="connsiteX16" fmla="*/ 0 w 161692"/>
                  <a:gd name="connsiteY16" fmla="*/ 99365 h 397462"/>
                  <a:gd name="connsiteX17" fmla="*/ 44162 w 161692"/>
                  <a:gd name="connsiteY17" fmla="*/ 153452 h 397462"/>
                  <a:gd name="connsiteX18" fmla="*/ 44162 w 161692"/>
                  <a:gd name="connsiteY18" fmla="*/ 342259 h 397462"/>
                  <a:gd name="connsiteX19" fmla="*/ 99365 w 161692"/>
                  <a:gd name="connsiteY19" fmla="*/ 397462 h 397462"/>
                  <a:gd name="connsiteX20" fmla="*/ 22081 w 161692"/>
                  <a:gd name="connsiteY20" fmla="*/ 98058 h 397462"/>
                  <a:gd name="connsiteX21" fmla="*/ 22081 w 161692"/>
                  <a:gd name="connsiteY21" fmla="*/ 77284 h 397462"/>
                  <a:gd name="connsiteX22" fmla="*/ 88325 w 161692"/>
                  <a:gd name="connsiteY22" fmla="*/ 77284 h 397462"/>
                  <a:gd name="connsiteX23" fmla="*/ 88325 w 161692"/>
                  <a:gd name="connsiteY23" fmla="*/ 99365 h 397462"/>
                  <a:gd name="connsiteX24" fmla="*/ 55107 w 161692"/>
                  <a:gd name="connsiteY24" fmla="*/ 132497 h 397462"/>
                  <a:gd name="connsiteX25" fmla="*/ 48602 w 161692"/>
                  <a:gd name="connsiteY25" fmla="*/ 131845 h 397462"/>
                  <a:gd name="connsiteX26" fmla="*/ 22081 w 161692"/>
                  <a:gd name="connsiteY26" fmla="*/ 98058 h 397462"/>
                  <a:gd name="connsiteX27" fmla="*/ 161613 w 161692"/>
                  <a:gd name="connsiteY27" fmla="*/ 284218 h 397462"/>
                  <a:gd name="connsiteX28" fmla="*/ 161692 w 161692"/>
                  <a:gd name="connsiteY28" fmla="*/ 284406 h 397462"/>
                  <a:gd name="connsiteX29" fmla="*/ 161613 w 161692"/>
                  <a:gd name="connsiteY29" fmla="*/ 284218 h 397462"/>
                  <a:gd name="connsiteX0" fmla="*/ 44162 w 161692"/>
                  <a:gd name="connsiteY0" fmla="*/ 342259 h 365860"/>
                  <a:gd name="connsiteX1" fmla="*/ 66244 w 161692"/>
                  <a:gd name="connsiteY1" fmla="*/ 342259 h 365860"/>
                  <a:gd name="connsiteX2" fmla="*/ 66244 w 161692"/>
                  <a:gd name="connsiteY2" fmla="*/ 153452 h 365860"/>
                  <a:gd name="connsiteX3" fmla="*/ 110406 w 161692"/>
                  <a:gd name="connsiteY3" fmla="*/ 99365 h 365860"/>
                  <a:gd name="connsiteX4" fmla="*/ 110406 w 161692"/>
                  <a:gd name="connsiteY4" fmla="*/ 55203 h 365860"/>
                  <a:gd name="connsiteX5" fmla="*/ 93845 w 161692"/>
                  <a:gd name="connsiteY5" fmla="*/ 55203 h 365860"/>
                  <a:gd name="connsiteX6" fmla="*/ 93845 w 161692"/>
                  <a:gd name="connsiteY6" fmla="*/ 11041 h 365860"/>
                  <a:gd name="connsiteX7" fmla="*/ 82805 w 161692"/>
                  <a:gd name="connsiteY7" fmla="*/ 0 h 365860"/>
                  <a:gd name="connsiteX8" fmla="*/ 71764 w 161692"/>
                  <a:gd name="connsiteY8" fmla="*/ 11041 h 365860"/>
                  <a:gd name="connsiteX9" fmla="*/ 71764 w 161692"/>
                  <a:gd name="connsiteY9" fmla="*/ 55203 h 365860"/>
                  <a:gd name="connsiteX10" fmla="*/ 38642 w 161692"/>
                  <a:gd name="connsiteY10" fmla="*/ 55203 h 365860"/>
                  <a:gd name="connsiteX11" fmla="*/ 38642 w 161692"/>
                  <a:gd name="connsiteY11" fmla="*/ 11041 h 365860"/>
                  <a:gd name="connsiteX12" fmla="*/ 27602 w 161692"/>
                  <a:gd name="connsiteY12" fmla="*/ 0 h 365860"/>
                  <a:gd name="connsiteX13" fmla="*/ 16561 w 161692"/>
                  <a:gd name="connsiteY13" fmla="*/ 11041 h 365860"/>
                  <a:gd name="connsiteX14" fmla="*/ 16561 w 161692"/>
                  <a:gd name="connsiteY14" fmla="*/ 55203 h 365860"/>
                  <a:gd name="connsiteX15" fmla="*/ 0 w 161692"/>
                  <a:gd name="connsiteY15" fmla="*/ 55203 h 365860"/>
                  <a:gd name="connsiteX16" fmla="*/ 0 w 161692"/>
                  <a:gd name="connsiteY16" fmla="*/ 99365 h 365860"/>
                  <a:gd name="connsiteX17" fmla="*/ 44162 w 161692"/>
                  <a:gd name="connsiteY17" fmla="*/ 153452 h 365860"/>
                  <a:gd name="connsiteX18" fmla="*/ 44162 w 161692"/>
                  <a:gd name="connsiteY18" fmla="*/ 342259 h 365860"/>
                  <a:gd name="connsiteX19" fmla="*/ 22081 w 161692"/>
                  <a:gd name="connsiteY19" fmla="*/ 98058 h 365860"/>
                  <a:gd name="connsiteX20" fmla="*/ 22081 w 161692"/>
                  <a:gd name="connsiteY20" fmla="*/ 77284 h 365860"/>
                  <a:gd name="connsiteX21" fmla="*/ 88325 w 161692"/>
                  <a:gd name="connsiteY21" fmla="*/ 77284 h 365860"/>
                  <a:gd name="connsiteX22" fmla="*/ 88325 w 161692"/>
                  <a:gd name="connsiteY22" fmla="*/ 99365 h 365860"/>
                  <a:gd name="connsiteX23" fmla="*/ 55107 w 161692"/>
                  <a:gd name="connsiteY23" fmla="*/ 132497 h 365860"/>
                  <a:gd name="connsiteX24" fmla="*/ 48602 w 161692"/>
                  <a:gd name="connsiteY24" fmla="*/ 131845 h 365860"/>
                  <a:gd name="connsiteX25" fmla="*/ 22081 w 161692"/>
                  <a:gd name="connsiteY25" fmla="*/ 98058 h 365860"/>
                  <a:gd name="connsiteX26" fmla="*/ 161613 w 161692"/>
                  <a:gd name="connsiteY26" fmla="*/ 284218 h 365860"/>
                  <a:gd name="connsiteX27" fmla="*/ 161692 w 161692"/>
                  <a:gd name="connsiteY27" fmla="*/ 284406 h 365860"/>
                  <a:gd name="connsiteX28" fmla="*/ 161613 w 161692"/>
                  <a:gd name="connsiteY28" fmla="*/ 284218 h 365860"/>
                  <a:gd name="connsiteX0" fmla="*/ 44162 w 110406"/>
                  <a:gd name="connsiteY0" fmla="*/ 342259 h 365860"/>
                  <a:gd name="connsiteX1" fmla="*/ 66244 w 110406"/>
                  <a:gd name="connsiteY1" fmla="*/ 342259 h 365860"/>
                  <a:gd name="connsiteX2" fmla="*/ 66244 w 110406"/>
                  <a:gd name="connsiteY2" fmla="*/ 153452 h 365860"/>
                  <a:gd name="connsiteX3" fmla="*/ 110406 w 110406"/>
                  <a:gd name="connsiteY3" fmla="*/ 99365 h 365860"/>
                  <a:gd name="connsiteX4" fmla="*/ 110406 w 110406"/>
                  <a:gd name="connsiteY4" fmla="*/ 55203 h 365860"/>
                  <a:gd name="connsiteX5" fmla="*/ 93845 w 110406"/>
                  <a:gd name="connsiteY5" fmla="*/ 55203 h 365860"/>
                  <a:gd name="connsiteX6" fmla="*/ 93845 w 110406"/>
                  <a:gd name="connsiteY6" fmla="*/ 11041 h 365860"/>
                  <a:gd name="connsiteX7" fmla="*/ 82805 w 110406"/>
                  <a:gd name="connsiteY7" fmla="*/ 0 h 365860"/>
                  <a:gd name="connsiteX8" fmla="*/ 71764 w 110406"/>
                  <a:gd name="connsiteY8" fmla="*/ 11041 h 365860"/>
                  <a:gd name="connsiteX9" fmla="*/ 71764 w 110406"/>
                  <a:gd name="connsiteY9" fmla="*/ 55203 h 365860"/>
                  <a:gd name="connsiteX10" fmla="*/ 38642 w 110406"/>
                  <a:gd name="connsiteY10" fmla="*/ 55203 h 365860"/>
                  <a:gd name="connsiteX11" fmla="*/ 38642 w 110406"/>
                  <a:gd name="connsiteY11" fmla="*/ 11041 h 365860"/>
                  <a:gd name="connsiteX12" fmla="*/ 27602 w 110406"/>
                  <a:gd name="connsiteY12" fmla="*/ 0 h 365860"/>
                  <a:gd name="connsiteX13" fmla="*/ 16561 w 110406"/>
                  <a:gd name="connsiteY13" fmla="*/ 11041 h 365860"/>
                  <a:gd name="connsiteX14" fmla="*/ 16561 w 110406"/>
                  <a:gd name="connsiteY14" fmla="*/ 55203 h 365860"/>
                  <a:gd name="connsiteX15" fmla="*/ 0 w 110406"/>
                  <a:gd name="connsiteY15" fmla="*/ 55203 h 365860"/>
                  <a:gd name="connsiteX16" fmla="*/ 0 w 110406"/>
                  <a:gd name="connsiteY16" fmla="*/ 99365 h 365860"/>
                  <a:gd name="connsiteX17" fmla="*/ 44162 w 110406"/>
                  <a:gd name="connsiteY17" fmla="*/ 153452 h 365860"/>
                  <a:gd name="connsiteX18" fmla="*/ 44162 w 110406"/>
                  <a:gd name="connsiteY18" fmla="*/ 342259 h 365860"/>
                  <a:gd name="connsiteX19" fmla="*/ 22081 w 110406"/>
                  <a:gd name="connsiteY19" fmla="*/ 98058 h 365860"/>
                  <a:gd name="connsiteX20" fmla="*/ 22081 w 110406"/>
                  <a:gd name="connsiteY20" fmla="*/ 77284 h 365860"/>
                  <a:gd name="connsiteX21" fmla="*/ 88325 w 110406"/>
                  <a:gd name="connsiteY21" fmla="*/ 77284 h 365860"/>
                  <a:gd name="connsiteX22" fmla="*/ 88325 w 110406"/>
                  <a:gd name="connsiteY22" fmla="*/ 99365 h 365860"/>
                  <a:gd name="connsiteX23" fmla="*/ 55107 w 110406"/>
                  <a:gd name="connsiteY23" fmla="*/ 132497 h 365860"/>
                  <a:gd name="connsiteX24" fmla="*/ 48602 w 110406"/>
                  <a:gd name="connsiteY24" fmla="*/ 131845 h 365860"/>
                  <a:gd name="connsiteX25" fmla="*/ 22081 w 110406"/>
                  <a:gd name="connsiteY25" fmla="*/ 98058 h 365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0406" h="365860">
                    <a:moveTo>
                      <a:pt x="44162" y="342259"/>
                    </a:moveTo>
                    <a:cubicBezTo>
                      <a:pt x="47842" y="373727"/>
                      <a:pt x="62564" y="373727"/>
                      <a:pt x="66244" y="342259"/>
                    </a:cubicBezTo>
                    <a:lnTo>
                      <a:pt x="66244" y="153452"/>
                    </a:lnTo>
                    <a:cubicBezTo>
                      <a:pt x="91926" y="148175"/>
                      <a:pt x="110371" y="125585"/>
                      <a:pt x="110406" y="99365"/>
                    </a:cubicBezTo>
                    <a:lnTo>
                      <a:pt x="110406" y="55203"/>
                    </a:lnTo>
                    <a:lnTo>
                      <a:pt x="93845" y="55203"/>
                    </a:lnTo>
                    <a:lnTo>
                      <a:pt x="93845" y="11041"/>
                    </a:lnTo>
                    <a:cubicBezTo>
                      <a:pt x="93845" y="4943"/>
                      <a:pt x="88902" y="0"/>
                      <a:pt x="82805" y="0"/>
                    </a:cubicBezTo>
                    <a:cubicBezTo>
                      <a:pt x="76707" y="0"/>
                      <a:pt x="71764" y="4943"/>
                      <a:pt x="71764" y="11041"/>
                    </a:cubicBezTo>
                    <a:lnTo>
                      <a:pt x="71764" y="55203"/>
                    </a:lnTo>
                    <a:lnTo>
                      <a:pt x="38642" y="55203"/>
                    </a:lnTo>
                    <a:lnTo>
                      <a:pt x="38642" y="11041"/>
                    </a:lnTo>
                    <a:cubicBezTo>
                      <a:pt x="38642" y="4943"/>
                      <a:pt x="33699" y="0"/>
                      <a:pt x="27602" y="0"/>
                    </a:cubicBezTo>
                    <a:cubicBezTo>
                      <a:pt x="21504" y="0"/>
                      <a:pt x="16561" y="4943"/>
                      <a:pt x="16561" y="11041"/>
                    </a:cubicBezTo>
                    <a:lnTo>
                      <a:pt x="16561" y="55203"/>
                    </a:lnTo>
                    <a:lnTo>
                      <a:pt x="0" y="55203"/>
                    </a:lnTo>
                    <a:lnTo>
                      <a:pt x="0" y="99365"/>
                    </a:lnTo>
                    <a:cubicBezTo>
                      <a:pt x="35" y="125585"/>
                      <a:pt x="18480" y="148175"/>
                      <a:pt x="44162" y="153452"/>
                    </a:cubicBezTo>
                    <a:lnTo>
                      <a:pt x="44162" y="342259"/>
                    </a:lnTo>
                    <a:close/>
                    <a:moveTo>
                      <a:pt x="22081" y="98058"/>
                    </a:moveTo>
                    <a:lnTo>
                      <a:pt x="22081" y="77284"/>
                    </a:lnTo>
                    <a:lnTo>
                      <a:pt x="88325" y="77284"/>
                    </a:lnTo>
                    <a:lnTo>
                      <a:pt x="88325" y="99365"/>
                    </a:lnTo>
                    <a:cubicBezTo>
                      <a:pt x="88302" y="117687"/>
                      <a:pt x="73429" y="132521"/>
                      <a:pt x="55107" y="132497"/>
                    </a:cubicBezTo>
                    <a:cubicBezTo>
                      <a:pt x="52923" y="132495"/>
                      <a:pt x="50744" y="132276"/>
                      <a:pt x="48602" y="131845"/>
                    </a:cubicBezTo>
                    <a:cubicBezTo>
                      <a:pt x="32868" y="128297"/>
                      <a:pt x="21790" y="114185"/>
                      <a:pt x="22081" y="98058"/>
                    </a:cubicBezTo>
                    <a:close/>
                  </a:path>
                </a:pathLst>
              </a:custGeom>
              <a:grpFill/>
              <a:ln w="11013" cap="flat">
                <a:noFill/>
                <a:prstDash val="solid"/>
                <a:miter/>
              </a:ln>
            </p:spPr>
            <p:txBody>
              <a:bodyPr rtlCol="0" anchor="ctr"/>
              <a:lstStyle/>
              <a:p>
                <a:endParaRPr lang="en-GB" dirty="0"/>
              </a:p>
            </p:txBody>
          </p:sp>
        </p:grpSp>
        <p:grpSp>
          <p:nvGrpSpPr>
            <p:cNvPr id="23" name="Group 22">
              <a:extLst>
                <a:ext uri="{FF2B5EF4-FFF2-40B4-BE49-F238E27FC236}">
                  <a16:creationId xmlns:a16="http://schemas.microsoft.com/office/drawing/2014/main" id="{EFADEFCC-3D48-D84A-BF83-36D6EE7AA2CB}"/>
                </a:ext>
              </a:extLst>
            </p:cNvPr>
            <p:cNvGrpSpPr/>
            <p:nvPr/>
          </p:nvGrpSpPr>
          <p:grpSpPr>
            <a:xfrm>
              <a:off x="8274886" y="5340293"/>
              <a:ext cx="819458" cy="415560"/>
              <a:chOff x="8274886" y="5340293"/>
              <a:chExt cx="819458" cy="415560"/>
            </a:xfrm>
            <a:grpFill/>
          </p:grpSpPr>
          <p:sp>
            <p:nvSpPr>
              <p:cNvPr id="24" name="Freeform: Shape 46">
                <a:extLst>
                  <a:ext uri="{FF2B5EF4-FFF2-40B4-BE49-F238E27FC236}">
                    <a16:creationId xmlns:a16="http://schemas.microsoft.com/office/drawing/2014/main" id="{1BF1FA6D-BB4B-4940-97D0-0EC5DDC44C14}"/>
                  </a:ext>
                </a:extLst>
              </p:cNvPr>
              <p:cNvSpPr/>
              <p:nvPr/>
            </p:nvSpPr>
            <p:spPr>
              <a:xfrm>
                <a:off x="8807908" y="5583331"/>
                <a:ext cx="172504" cy="172520"/>
              </a:xfrm>
              <a:custGeom>
                <a:avLst/>
                <a:gdLst>
                  <a:gd name="connsiteX0" fmla="*/ 103166 w 172504"/>
                  <a:gd name="connsiteY0" fmla="*/ 1690 h 172520"/>
                  <a:gd name="connsiteX1" fmla="*/ 1690 w 172504"/>
                  <a:gd name="connsiteY1" fmla="*/ 69354 h 172520"/>
                  <a:gd name="connsiteX2" fmla="*/ 69355 w 172504"/>
                  <a:gd name="connsiteY2" fmla="*/ 170831 h 172520"/>
                  <a:gd name="connsiteX3" fmla="*/ 170832 w 172504"/>
                  <a:gd name="connsiteY3" fmla="*/ 103166 h 172520"/>
                  <a:gd name="connsiteX4" fmla="*/ 170834 w 172504"/>
                  <a:gd name="connsiteY4" fmla="*/ 69369 h 172520"/>
                  <a:gd name="connsiteX5" fmla="*/ 103166 w 172504"/>
                  <a:gd name="connsiteY5" fmla="*/ 1690 h 172520"/>
                  <a:gd name="connsiteX6" fmla="*/ 100937 w 172504"/>
                  <a:gd name="connsiteY6" fmla="*/ 148744 h 172520"/>
                  <a:gd name="connsiteX7" fmla="*/ 23804 w 172504"/>
                  <a:gd name="connsiteY7" fmla="*/ 100700 h 172520"/>
                  <a:gd name="connsiteX8" fmla="*/ 23807 w 172504"/>
                  <a:gd name="connsiteY8" fmla="*/ 71597 h 172520"/>
                  <a:gd name="connsiteX9" fmla="*/ 71600 w 172504"/>
                  <a:gd name="connsiteY9" fmla="*/ 23785 h 172520"/>
                  <a:gd name="connsiteX10" fmla="*/ 148740 w 172504"/>
                  <a:gd name="connsiteY10" fmla="*/ 71816 h 172520"/>
                  <a:gd name="connsiteX11" fmla="*/ 148736 w 172504"/>
                  <a:gd name="connsiteY11" fmla="*/ 100948 h 172520"/>
                  <a:gd name="connsiteX12" fmla="*/ 100937 w 172504"/>
                  <a:gd name="connsiteY12" fmla="*/ 148744 h 172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2504" h="172520">
                    <a:moveTo>
                      <a:pt x="103166" y="1690"/>
                    </a:moveTo>
                    <a:cubicBezTo>
                      <a:pt x="56459" y="-7647"/>
                      <a:pt x="11027" y="22648"/>
                      <a:pt x="1690" y="69354"/>
                    </a:cubicBezTo>
                    <a:cubicBezTo>
                      <a:pt x="-7646" y="116062"/>
                      <a:pt x="22648" y="161495"/>
                      <a:pt x="69355" y="170831"/>
                    </a:cubicBezTo>
                    <a:cubicBezTo>
                      <a:pt x="116062" y="180168"/>
                      <a:pt x="161495" y="149872"/>
                      <a:pt x="170832" y="103166"/>
                    </a:cubicBezTo>
                    <a:cubicBezTo>
                      <a:pt x="173061" y="92011"/>
                      <a:pt x="173062" y="80524"/>
                      <a:pt x="170834" y="69369"/>
                    </a:cubicBezTo>
                    <a:cubicBezTo>
                      <a:pt x="163984" y="35230"/>
                      <a:pt x="137303" y="8545"/>
                      <a:pt x="103166" y="1690"/>
                    </a:cubicBezTo>
                    <a:close/>
                    <a:moveTo>
                      <a:pt x="100937" y="148744"/>
                    </a:moveTo>
                    <a:cubicBezTo>
                      <a:pt x="66370" y="156777"/>
                      <a:pt x="31836" y="135267"/>
                      <a:pt x="23804" y="100700"/>
                    </a:cubicBezTo>
                    <a:cubicBezTo>
                      <a:pt x="21579" y="91126"/>
                      <a:pt x="21580" y="81170"/>
                      <a:pt x="23807" y="71597"/>
                    </a:cubicBezTo>
                    <a:cubicBezTo>
                      <a:pt x="29247" y="47811"/>
                      <a:pt x="47816" y="29234"/>
                      <a:pt x="71600" y="23785"/>
                    </a:cubicBezTo>
                    <a:cubicBezTo>
                      <a:pt x="106165" y="15747"/>
                      <a:pt x="140703" y="37251"/>
                      <a:pt x="148740" y="71816"/>
                    </a:cubicBezTo>
                    <a:cubicBezTo>
                      <a:pt x="150970" y="81400"/>
                      <a:pt x="150968" y="91366"/>
                      <a:pt x="148736" y="100948"/>
                    </a:cubicBezTo>
                    <a:cubicBezTo>
                      <a:pt x="143291" y="124730"/>
                      <a:pt x="124719" y="143300"/>
                      <a:pt x="100937" y="148744"/>
                    </a:cubicBezTo>
                    <a:close/>
                  </a:path>
                </a:pathLst>
              </a:custGeom>
              <a:grpFill/>
              <a:ln w="11013" cap="flat">
                <a:noFill/>
                <a:prstDash val="solid"/>
                <a:miter/>
              </a:ln>
            </p:spPr>
            <p:txBody>
              <a:bodyPr rtlCol="0" anchor="ctr"/>
              <a:lstStyle/>
              <a:p>
                <a:endParaRPr lang="en-GB"/>
              </a:p>
            </p:txBody>
          </p:sp>
          <p:sp>
            <p:nvSpPr>
              <p:cNvPr id="25" name="Freeform: Shape 47">
                <a:extLst>
                  <a:ext uri="{FF2B5EF4-FFF2-40B4-BE49-F238E27FC236}">
                    <a16:creationId xmlns:a16="http://schemas.microsoft.com/office/drawing/2014/main" id="{FA7CEFC3-2899-4B4E-AD0E-9B30F26D17A5}"/>
                  </a:ext>
                </a:extLst>
              </p:cNvPr>
              <p:cNvSpPr/>
              <p:nvPr/>
            </p:nvSpPr>
            <p:spPr>
              <a:xfrm>
                <a:off x="8578953" y="5660477"/>
                <a:ext cx="207826" cy="22081"/>
              </a:xfrm>
              <a:custGeom>
                <a:avLst/>
                <a:gdLst>
                  <a:gd name="connsiteX0" fmla="*/ 207435 w 207826"/>
                  <a:gd name="connsiteY0" fmla="*/ 0 h 22081"/>
                  <a:gd name="connsiteX1" fmla="*/ 391 w 207826"/>
                  <a:gd name="connsiteY1" fmla="*/ 0 h 22081"/>
                  <a:gd name="connsiteX2" fmla="*/ 852 w 207826"/>
                  <a:gd name="connsiteY2" fmla="*/ 9116 h 22081"/>
                  <a:gd name="connsiteX3" fmla="*/ 0 w 207826"/>
                  <a:gd name="connsiteY3" fmla="*/ 22081 h 22081"/>
                  <a:gd name="connsiteX4" fmla="*/ 207826 w 207826"/>
                  <a:gd name="connsiteY4" fmla="*/ 22081 h 22081"/>
                  <a:gd name="connsiteX5" fmla="*/ 206974 w 207826"/>
                  <a:gd name="connsiteY5" fmla="*/ 9116 h 22081"/>
                  <a:gd name="connsiteX6" fmla="*/ 207435 w 207826"/>
                  <a:gd name="connsiteY6" fmla="*/ 0 h 22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826" h="22081">
                    <a:moveTo>
                      <a:pt x="207435" y="0"/>
                    </a:moveTo>
                    <a:lnTo>
                      <a:pt x="391" y="0"/>
                    </a:lnTo>
                    <a:cubicBezTo>
                      <a:pt x="644" y="3013"/>
                      <a:pt x="852" y="6038"/>
                      <a:pt x="852" y="9116"/>
                    </a:cubicBezTo>
                    <a:cubicBezTo>
                      <a:pt x="827" y="13451"/>
                      <a:pt x="543" y="17781"/>
                      <a:pt x="0" y="22081"/>
                    </a:cubicBezTo>
                    <a:lnTo>
                      <a:pt x="207826" y="22081"/>
                    </a:lnTo>
                    <a:cubicBezTo>
                      <a:pt x="207283" y="17781"/>
                      <a:pt x="206999" y="13451"/>
                      <a:pt x="206974" y="9116"/>
                    </a:cubicBezTo>
                    <a:cubicBezTo>
                      <a:pt x="206972" y="6038"/>
                      <a:pt x="207184" y="3013"/>
                      <a:pt x="207435" y="0"/>
                    </a:cubicBezTo>
                    <a:close/>
                  </a:path>
                </a:pathLst>
              </a:custGeom>
              <a:grpFill/>
              <a:ln w="11013" cap="flat">
                <a:noFill/>
                <a:prstDash val="solid"/>
                <a:miter/>
              </a:ln>
            </p:spPr>
            <p:txBody>
              <a:bodyPr rtlCol="0" anchor="ctr"/>
              <a:lstStyle/>
              <a:p>
                <a:endParaRPr lang="en-GB"/>
              </a:p>
            </p:txBody>
          </p:sp>
          <p:sp>
            <p:nvSpPr>
              <p:cNvPr id="26" name="Freeform: Shape 48">
                <a:extLst>
                  <a:ext uri="{FF2B5EF4-FFF2-40B4-BE49-F238E27FC236}">
                    <a16:creationId xmlns:a16="http://schemas.microsoft.com/office/drawing/2014/main" id="{BAE03BF8-11B0-864C-8751-DE6A0AF8528E}"/>
                  </a:ext>
                </a:extLst>
              </p:cNvPr>
              <p:cNvSpPr/>
              <p:nvPr/>
            </p:nvSpPr>
            <p:spPr>
              <a:xfrm>
                <a:off x="8274886" y="5340293"/>
                <a:ext cx="819458" cy="342267"/>
              </a:xfrm>
              <a:custGeom>
                <a:avLst/>
                <a:gdLst>
                  <a:gd name="connsiteX0" fmla="*/ 854308 w 949491"/>
                  <a:gd name="connsiteY0" fmla="*/ 284490 h 474745"/>
                  <a:gd name="connsiteX1" fmla="*/ 778556 w 949491"/>
                  <a:gd name="connsiteY1" fmla="*/ 284490 h 474745"/>
                  <a:gd name="connsiteX2" fmla="*/ 778114 w 949491"/>
                  <a:gd name="connsiteY2" fmla="*/ 284400 h 474745"/>
                  <a:gd name="connsiteX3" fmla="*/ 774575 w 949491"/>
                  <a:gd name="connsiteY3" fmla="*/ 284400 h 474745"/>
                  <a:gd name="connsiteX4" fmla="*/ 748942 w 949491"/>
                  <a:gd name="connsiteY4" fmla="*/ 273193 h 474745"/>
                  <a:gd name="connsiteX5" fmla="*/ 629174 w 949491"/>
                  <a:gd name="connsiteY5" fmla="*/ 154353 h 474745"/>
                  <a:gd name="connsiteX6" fmla="*/ 574996 w 949491"/>
                  <a:gd name="connsiteY6" fmla="*/ 132487 h 474745"/>
                  <a:gd name="connsiteX7" fmla="*/ 313484 w 949491"/>
                  <a:gd name="connsiteY7" fmla="*/ 132487 h 474745"/>
                  <a:gd name="connsiteX8" fmla="*/ 259305 w 949491"/>
                  <a:gd name="connsiteY8" fmla="*/ 154348 h 474745"/>
                  <a:gd name="connsiteX9" fmla="*/ 141443 w 949491"/>
                  <a:gd name="connsiteY9" fmla="*/ 273193 h 474745"/>
                  <a:gd name="connsiteX10" fmla="*/ 130037 w 949491"/>
                  <a:gd name="connsiteY10" fmla="*/ 300765 h 474745"/>
                  <a:gd name="connsiteX11" fmla="*/ 130037 w 949491"/>
                  <a:gd name="connsiteY11" fmla="*/ 375381 h 474745"/>
                  <a:gd name="connsiteX12" fmla="*/ 99365 w 949491"/>
                  <a:gd name="connsiteY12" fmla="*/ 375381 h 474745"/>
                  <a:gd name="connsiteX13" fmla="*/ 66244 w 949491"/>
                  <a:gd name="connsiteY13" fmla="*/ 342259 h 474745"/>
                  <a:gd name="connsiteX14" fmla="*/ 66244 w 949491"/>
                  <a:gd name="connsiteY14" fmla="*/ 153452 h 474745"/>
                  <a:gd name="connsiteX15" fmla="*/ 110406 w 949491"/>
                  <a:gd name="connsiteY15" fmla="*/ 99365 h 474745"/>
                  <a:gd name="connsiteX16" fmla="*/ 110406 w 949491"/>
                  <a:gd name="connsiteY16" fmla="*/ 55203 h 474745"/>
                  <a:gd name="connsiteX17" fmla="*/ 93845 w 949491"/>
                  <a:gd name="connsiteY17" fmla="*/ 55203 h 474745"/>
                  <a:gd name="connsiteX18" fmla="*/ 93845 w 949491"/>
                  <a:gd name="connsiteY18" fmla="*/ 11041 h 474745"/>
                  <a:gd name="connsiteX19" fmla="*/ 82805 w 949491"/>
                  <a:gd name="connsiteY19" fmla="*/ 0 h 474745"/>
                  <a:gd name="connsiteX20" fmla="*/ 71764 w 949491"/>
                  <a:gd name="connsiteY20" fmla="*/ 11041 h 474745"/>
                  <a:gd name="connsiteX21" fmla="*/ 71764 w 949491"/>
                  <a:gd name="connsiteY21" fmla="*/ 55203 h 474745"/>
                  <a:gd name="connsiteX22" fmla="*/ 38642 w 949491"/>
                  <a:gd name="connsiteY22" fmla="*/ 55203 h 474745"/>
                  <a:gd name="connsiteX23" fmla="*/ 38642 w 949491"/>
                  <a:gd name="connsiteY23" fmla="*/ 11041 h 474745"/>
                  <a:gd name="connsiteX24" fmla="*/ 27602 w 949491"/>
                  <a:gd name="connsiteY24" fmla="*/ 0 h 474745"/>
                  <a:gd name="connsiteX25" fmla="*/ 16561 w 949491"/>
                  <a:gd name="connsiteY25" fmla="*/ 11041 h 474745"/>
                  <a:gd name="connsiteX26" fmla="*/ 16561 w 949491"/>
                  <a:gd name="connsiteY26" fmla="*/ 55203 h 474745"/>
                  <a:gd name="connsiteX27" fmla="*/ 0 w 949491"/>
                  <a:gd name="connsiteY27" fmla="*/ 55203 h 474745"/>
                  <a:gd name="connsiteX28" fmla="*/ 0 w 949491"/>
                  <a:gd name="connsiteY28" fmla="*/ 99365 h 474745"/>
                  <a:gd name="connsiteX29" fmla="*/ 44162 w 949491"/>
                  <a:gd name="connsiteY29" fmla="*/ 153452 h 474745"/>
                  <a:gd name="connsiteX30" fmla="*/ 44162 w 949491"/>
                  <a:gd name="connsiteY30" fmla="*/ 342259 h 474745"/>
                  <a:gd name="connsiteX31" fmla="*/ 99365 w 949491"/>
                  <a:gd name="connsiteY31" fmla="*/ 397462 h 474745"/>
                  <a:gd name="connsiteX32" fmla="*/ 130037 w 949491"/>
                  <a:gd name="connsiteY32" fmla="*/ 397462 h 474745"/>
                  <a:gd name="connsiteX33" fmla="*/ 130037 w 949491"/>
                  <a:gd name="connsiteY33" fmla="*/ 398688 h 474745"/>
                  <a:gd name="connsiteX34" fmla="*/ 206095 w 949491"/>
                  <a:gd name="connsiteY34" fmla="*/ 474746 h 474745"/>
                  <a:gd name="connsiteX35" fmla="*/ 219298 w 949491"/>
                  <a:gd name="connsiteY35" fmla="*/ 474746 h 474745"/>
                  <a:gd name="connsiteX36" fmla="*/ 218445 w 949491"/>
                  <a:gd name="connsiteY36" fmla="*/ 461781 h 474745"/>
                  <a:gd name="connsiteX37" fmla="*/ 218908 w 949491"/>
                  <a:gd name="connsiteY37" fmla="*/ 452665 h 474745"/>
                  <a:gd name="connsiteX38" fmla="*/ 206075 w 949491"/>
                  <a:gd name="connsiteY38" fmla="*/ 452665 h 474745"/>
                  <a:gd name="connsiteX39" fmla="*/ 152117 w 949491"/>
                  <a:gd name="connsiteY39" fmla="*/ 398706 h 474745"/>
                  <a:gd name="connsiteX40" fmla="*/ 152117 w 949491"/>
                  <a:gd name="connsiteY40" fmla="*/ 306487 h 474745"/>
                  <a:gd name="connsiteX41" fmla="*/ 774631 w 949491"/>
                  <a:gd name="connsiteY41" fmla="*/ 306487 h 474745"/>
                  <a:gd name="connsiteX42" fmla="*/ 775551 w 949491"/>
                  <a:gd name="connsiteY42" fmla="*/ 306577 h 474745"/>
                  <a:gd name="connsiteX43" fmla="*/ 854442 w 949491"/>
                  <a:gd name="connsiteY43" fmla="*/ 306577 h 474745"/>
                  <a:gd name="connsiteX44" fmla="*/ 927411 w 949491"/>
                  <a:gd name="connsiteY44" fmla="*/ 379544 h 474745"/>
                  <a:gd name="connsiteX45" fmla="*/ 927411 w 949491"/>
                  <a:gd name="connsiteY45" fmla="*/ 436724 h 474745"/>
                  <a:gd name="connsiteX46" fmla="*/ 911465 w 949491"/>
                  <a:gd name="connsiteY46" fmla="*/ 452665 h 474745"/>
                  <a:gd name="connsiteX47" fmla="*/ 857126 w 949491"/>
                  <a:gd name="connsiteY47" fmla="*/ 452665 h 474745"/>
                  <a:gd name="connsiteX48" fmla="*/ 857588 w 949491"/>
                  <a:gd name="connsiteY48" fmla="*/ 461781 h 474745"/>
                  <a:gd name="connsiteX49" fmla="*/ 856735 w 949491"/>
                  <a:gd name="connsiteY49" fmla="*/ 474746 h 474745"/>
                  <a:gd name="connsiteX50" fmla="*/ 911473 w 949491"/>
                  <a:gd name="connsiteY50" fmla="*/ 474746 h 474745"/>
                  <a:gd name="connsiteX51" fmla="*/ 949492 w 949491"/>
                  <a:gd name="connsiteY51" fmla="*/ 436727 h 474745"/>
                  <a:gd name="connsiteX52" fmla="*/ 949492 w 949491"/>
                  <a:gd name="connsiteY52" fmla="*/ 379674 h 474745"/>
                  <a:gd name="connsiteX53" fmla="*/ 854308 w 949491"/>
                  <a:gd name="connsiteY53" fmla="*/ 284490 h 474745"/>
                  <a:gd name="connsiteX54" fmla="*/ 22081 w 949491"/>
                  <a:gd name="connsiteY54" fmla="*/ 98058 h 474745"/>
                  <a:gd name="connsiteX55" fmla="*/ 22081 w 949491"/>
                  <a:gd name="connsiteY55" fmla="*/ 77284 h 474745"/>
                  <a:gd name="connsiteX56" fmla="*/ 88325 w 949491"/>
                  <a:gd name="connsiteY56" fmla="*/ 77284 h 474745"/>
                  <a:gd name="connsiteX57" fmla="*/ 88325 w 949491"/>
                  <a:gd name="connsiteY57" fmla="*/ 99365 h 474745"/>
                  <a:gd name="connsiteX58" fmla="*/ 55107 w 949491"/>
                  <a:gd name="connsiteY58" fmla="*/ 132497 h 474745"/>
                  <a:gd name="connsiteX59" fmla="*/ 48602 w 949491"/>
                  <a:gd name="connsiteY59" fmla="*/ 131845 h 474745"/>
                  <a:gd name="connsiteX60" fmla="*/ 22081 w 949491"/>
                  <a:gd name="connsiteY60" fmla="*/ 98058 h 474745"/>
                  <a:gd name="connsiteX61" fmla="*/ 613621 w 949491"/>
                  <a:gd name="connsiteY61" fmla="*/ 170025 h 474745"/>
                  <a:gd name="connsiteX62" fmla="*/ 728881 w 949491"/>
                  <a:gd name="connsiteY62" fmla="*/ 284406 h 474745"/>
                  <a:gd name="connsiteX63" fmla="*/ 441624 w 949491"/>
                  <a:gd name="connsiteY63" fmla="*/ 284406 h 474745"/>
                  <a:gd name="connsiteX64" fmla="*/ 441624 w 949491"/>
                  <a:gd name="connsiteY64" fmla="*/ 154568 h 474745"/>
                  <a:gd name="connsiteX65" fmla="*/ 574995 w 949491"/>
                  <a:gd name="connsiteY65" fmla="*/ 154568 h 474745"/>
                  <a:gd name="connsiteX66" fmla="*/ 613621 w 949491"/>
                  <a:gd name="connsiteY66" fmla="*/ 170025 h 474745"/>
                  <a:gd name="connsiteX67" fmla="*/ 274920 w 949491"/>
                  <a:gd name="connsiteY67" fmla="*/ 169964 h 474745"/>
                  <a:gd name="connsiteX68" fmla="*/ 313484 w 949491"/>
                  <a:gd name="connsiteY68" fmla="*/ 154568 h 474745"/>
                  <a:gd name="connsiteX69" fmla="*/ 419543 w 949491"/>
                  <a:gd name="connsiteY69" fmla="*/ 154568 h 474745"/>
                  <a:gd name="connsiteX70" fmla="*/ 419543 w 949491"/>
                  <a:gd name="connsiteY70" fmla="*/ 284406 h 474745"/>
                  <a:gd name="connsiteX71" fmla="*/ 161692 w 949491"/>
                  <a:gd name="connsiteY71" fmla="*/ 284406 h 474745"/>
                  <a:gd name="connsiteX72" fmla="*/ 161613 w 949491"/>
                  <a:gd name="connsiteY72" fmla="*/ 284218 h 474745"/>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629174 w 949492"/>
                  <a:gd name="connsiteY5" fmla="*/ 154353 h 474746"/>
                  <a:gd name="connsiteX6" fmla="*/ 574996 w 949492"/>
                  <a:gd name="connsiteY6" fmla="*/ 132487 h 474746"/>
                  <a:gd name="connsiteX7" fmla="*/ 313484 w 949492"/>
                  <a:gd name="connsiteY7" fmla="*/ 132487 h 474746"/>
                  <a:gd name="connsiteX8" fmla="*/ 259305 w 949492"/>
                  <a:gd name="connsiteY8" fmla="*/ 154348 h 474746"/>
                  <a:gd name="connsiteX9" fmla="*/ 141443 w 949492"/>
                  <a:gd name="connsiteY9" fmla="*/ 273193 h 474746"/>
                  <a:gd name="connsiteX10" fmla="*/ 130037 w 949492"/>
                  <a:gd name="connsiteY10" fmla="*/ 300765 h 474746"/>
                  <a:gd name="connsiteX11" fmla="*/ 130037 w 949492"/>
                  <a:gd name="connsiteY11" fmla="*/ 375381 h 474746"/>
                  <a:gd name="connsiteX12" fmla="*/ 99365 w 949492"/>
                  <a:gd name="connsiteY12" fmla="*/ 375381 h 474746"/>
                  <a:gd name="connsiteX13" fmla="*/ 66244 w 949492"/>
                  <a:gd name="connsiteY13" fmla="*/ 342259 h 474746"/>
                  <a:gd name="connsiteX14" fmla="*/ 66244 w 949492"/>
                  <a:gd name="connsiteY14" fmla="*/ 153452 h 474746"/>
                  <a:gd name="connsiteX15" fmla="*/ 110406 w 949492"/>
                  <a:gd name="connsiteY15" fmla="*/ 99365 h 474746"/>
                  <a:gd name="connsiteX16" fmla="*/ 110406 w 949492"/>
                  <a:gd name="connsiteY16" fmla="*/ 55203 h 474746"/>
                  <a:gd name="connsiteX17" fmla="*/ 93845 w 949492"/>
                  <a:gd name="connsiteY17" fmla="*/ 55203 h 474746"/>
                  <a:gd name="connsiteX18" fmla="*/ 93845 w 949492"/>
                  <a:gd name="connsiteY18" fmla="*/ 11041 h 474746"/>
                  <a:gd name="connsiteX19" fmla="*/ 71764 w 949492"/>
                  <a:gd name="connsiteY19" fmla="*/ 11041 h 474746"/>
                  <a:gd name="connsiteX20" fmla="*/ 71764 w 949492"/>
                  <a:gd name="connsiteY20" fmla="*/ 55203 h 474746"/>
                  <a:gd name="connsiteX21" fmla="*/ 38642 w 949492"/>
                  <a:gd name="connsiteY21" fmla="*/ 55203 h 474746"/>
                  <a:gd name="connsiteX22" fmla="*/ 38642 w 949492"/>
                  <a:gd name="connsiteY22" fmla="*/ 11041 h 474746"/>
                  <a:gd name="connsiteX23" fmla="*/ 27602 w 949492"/>
                  <a:gd name="connsiteY23" fmla="*/ 0 h 474746"/>
                  <a:gd name="connsiteX24" fmla="*/ 16561 w 949492"/>
                  <a:gd name="connsiteY24" fmla="*/ 11041 h 474746"/>
                  <a:gd name="connsiteX25" fmla="*/ 16561 w 949492"/>
                  <a:gd name="connsiteY25" fmla="*/ 55203 h 474746"/>
                  <a:gd name="connsiteX26" fmla="*/ 0 w 949492"/>
                  <a:gd name="connsiteY26" fmla="*/ 55203 h 474746"/>
                  <a:gd name="connsiteX27" fmla="*/ 0 w 949492"/>
                  <a:gd name="connsiteY27" fmla="*/ 99365 h 474746"/>
                  <a:gd name="connsiteX28" fmla="*/ 44162 w 949492"/>
                  <a:gd name="connsiteY28" fmla="*/ 153452 h 474746"/>
                  <a:gd name="connsiteX29" fmla="*/ 44162 w 949492"/>
                  <a:gd name="connsiteY29" fmla="*/ 342259 h 474746"/>
                  <a:gd name="connsiteX30" fmla="*/ 99365 w 949492"/>
                  <a:gd name="connsiteY30" fmla="*/ 397462 h 474746"/>
                  <a:gd name="connsiteX31" fmla="*/ 130037 w 949492"/>
                  <a:gd name="connsiteY31" fmla="*/ 397462 h 474746"/>
                  <a:gd name="connsiteX32" fmla="*/ 130037 w 949492"/>
                  <a:gd name="connsiteY32" fmla="*/ 398688 h 474746"/>
                  <a:gd name="connsiteX33" fmla="*/ 206095 w 949492"/>
                  <a:gd name="connsiteY33" fmla="*/ 474746 h 474746"/>
                  <a:gd name="connsiteX34" fmla="*/ 219298 w 949492"/>
                  <a:gd name="connsiteY34" fmla="*/ 474746 h 474746"/>
                  <a:gd name="connsiteX35" fmla="*/ 218445 w 949492"/>
                  <a:gd name="connsiteY35" fmla="*/ 461781 h 474746"/>
                  <a:gd name="connsiteX36" fmla="*/ 218908 w 949492"/>
                  <a:gd name="connsiteY36" fmla="*/ 452665 h 474746"/>
                  <a:gd name="connsiteX37" fmla="*/ 206075 w 949492"/>
                  <a:gd name="connsiteY37" fmla="*/ 452665 h 474746"/>
                  <a:gd name="connsiteX38" fmla="*/ 152117 w 949492"/>
                  <a:gd name="connsiteY38" fmla="*/ 398706 h 474746"/>
                  <a:gd name="connsiteX39" fmla="*/ 152117 w 949492"/>
                  <a:gd name="connsiteY39" fmla="*/ 306487 h 474746"/>
                  <a:gd name="connsiteX40" fmla="*/ 774631 w 949492"/>
                  <a:gd name="connsiteY40" fmla="*/ 306487 h 474746"/>
                  <a:gd name="connsiteX41" fmla="*/ 775551 w 949492"/>
                  <a:gd name="connsiteY41" fmla="*/ 306577 h 474746"/>
                  <a:gd name="connsiteX42" fmla="*/ 854442 w 949492"/>
                  <a:gd name="connsiteY42" fmla="*/ 306577 h 474746"/>
                  <a:gd name="connsiteX43" fmla="*/ 927411 w 949492"/>
                  <a:gd name="connsiteY43" fmla="*/ 379544 h 474746"/>
                  <a:gd name="connsiteX44" fmla="*/ 927411 w 949492"/>
                  <a:gd name="connsiteY44" fmla="*/ 436724 h 474746"/>
                  <a:gd name="connsiteX45" fmla="*/ 911465 w 949492"/>
                  <a:gd name="connsiteY45" fmla="*/ 452665 h 474746"/>
                  <a:gd name="connsiteX46" fmla="*/ 857126 w 949492"/>
                  <a:gd name="connsiteY46" fmla="*/ 452665 h 474746"/>
                  <a:gd name="connsiteX47" fmla="*/ 857588 w 949492"/>
                  <a:gd name="connsiteY47" fmla="*/ 461781 h 474746"/>
                  <a:gd name="connsiteX48" fmla="*/ 856735 w 949492"/>
                  <a:gd name="connsiteY48" fmla="*/ 474746 h 474746"/>
                  <a:gd name="connsiteX49" fmla="*/ 911473 w 949492"/>
                  <a:gd name="connsiteY49" fmla="*/ 474746 h 474746"/>
                  <a:gd name="connsiteX50" fmla="*/ 949492 w 949492"/>
                  <a:gd name="connsiteY50" fmla="*/ 436727 h 474746"/>
                  <a:gd name="connsiteX51" fmla="*/ 949492 w 949492"/>
                  <a:gd name="connsiteY51" fmla="*/ 379674 h 474746"/>
                  <a:gd name="connsiteX52" fmla="*/ 854308 w 949492"/>
                  <a:gd name="connsiteY52" fmla="*/ 284490 h 474746"/>
                  <a:gd name="connsiteX53" fmla="*/ 22081 w 949492"/>
                  <a:gd name="connsiteY53" fmla="*/ 98058 h 474746"/>
                  <a:gd name="connsiteX54" fmla="*/ 22081 w 949492"/>
                  <a:gd name="connsiteY54" fmla="*/ 77284 h 474746"/>
                  <a:gd name="connsiteX55" fmla="*/ 88325 w 949492"/>
                  <a:gd name="connsiteY55" fmla="*/ 77284 h 474746"/>
                  <a:gd name="connsiteX56" fmla="*/ 88325 w 949492"/>
                  <a:gd name="connsiteY56" fmla="*/ 99365 h 474746"/>
                  <a:gd name="connsiteX57" fmla="*/ 55107 w 949492"/>
                  <a:gd name="connsiteY57" fmla="*/ 132497 h 474746"/>
                  <a:gd name="connsiteX58" fmla="*/ 48602 w 949492"/>
                  <a:gd name="connsiteY58" fmla="*/ 131845 h 474746"/>
                  <a:gd name="connsiteX59" fmla="*/ 22081 w 949492"/>
                  <a:gd name="connsiteY59" fmla="*/ 98058 h 474746"/>
                  <a:gd name="connsiteX60" fmla="*/ 613621 w 949492"/>
                  <a:gd name="connsiteY60" fmla="*/ 170025 h 474746"/>
                  <a:gd name="connsiteX61" fmla="*/ 728881 w 949492"/>
                  <a:gd name="connsiteY61" fmla="*/ 284406 h 474746"/>
                  <a:gd name="connsiteX62" fmla="*/ 441624 w 949492"/>
                  <a:gd name="connsiteY62" fmla="*/ 284406 h 474746"/>
                  <a:gd name="connsiteX63" fmla="*/ 441624 w 949492"/>
                  <a:gd name="connsiteY63" fmla="*/ 154568 h 474746"/>
                  <a:gd name="connsiteX64" fmla="*/ 574995 w 949492"/>
                  <a:gd name="connsiteY64" fmla="*/ 154568 h 474746"/>
                  <a:gd name="connsiteX65" fmla="*/ 613621 w 949492"/>
                  <a:gd name="connsiteY65" fmla="*/ 170025 h 474746"/>
                  <a:gd name="connsiteX66" fmla="*/ 274920 w 949492"/>
                  <a:gd name="connsiteY66" fmla="*/ 169964 h 474746"/>
                  <a:gd name="connsiteX67" fmla="*/ 313484 w 949492"/>
                  <a:gd name="connsiteY67" fmla="*/ 154568 h 474746"/>
                  <a:gd name="connsiteX68" fmla="*/ 419543 w 949492"/>
                  <a:gd name="connsiteY68" fmla="*/ 154568 h 474746"/>
                  <a:gd name="connsiteX69" fmla="*/ 419543 w 949492"/>
                  <a:gd name="connsiteY69" fmla="*/ 284406 h 474746"/>
                  <a:gd name="connsiteX70" fmla="*/ 161692 w 949492"/>
                  <a:gd name="connsiteY70" fmla="*/ 284406 h 474746"/>
                  <a:gd name="connsiteX71" fmla="*/ 161613 w 949492"/>
                  <a:gd name="connsiteY71" fmla="*/ 284218 h 474746"/>
                  <a:gd name="connsiteX72" fmla="*/ 274920 w 949492"/>
                  <a:gd name="connsiteY72" fmla="*/ 169964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629174 w 949492"/>
                  <a:gd name="connsiteY5" fmla="*/ 154353 h 474746"/>
                  <a:gd name="connsiteX6" fmla="*/ 574996 w 949492"/>
                  <a:gd name="connsiteY6" fmla="*/ 132487 h 474746"/>
                  <a:gd name="connsiteX7" fmla="*/ 313484 w 949492"/>
                  <a:gd name="connsiteY7" fmla="*/ 132487 h 474746"/>
                  <a:gd name="connsiteX8" fmla="*/ 259305 w 949492"/>
                  <a:gd name="connsiteY8" fmla="*/ 154348 h 474746"/>
                  <a:gd name="connsiteX9" fmla="*/ 141443 w 949492"/>
                  <a:gd name="connsiteY9" fmla="*/ 273193 h 474746"/>
                  <a:gd name="connsiteX10" fmla="*/ 130037 w 949492"/>
                  <a:gd name="connsiteY10" fmla="*/ 300765 h 474746"/>
                  <a:gd name="connsiteX11" fmla="*/ 130037 w 949492"/>
                  <a:gd name="connsiteY11" fmla="*/ 375381 h 474746"/>
                  <a:gd name="connsiteX12" fmla="*/ 99365 w 949492"/>
                  <a:gd name="connsiteY12" fmla="*/ 375381 h 474746"/>
                  <a:gd name="connsiteX13" fmla="*/ 66244 w 949492"/>
                  <a:gd name="connsiteY13" fmla="*/ 342259 h 474746"/>
                  <a:gd name="connsiteX14" fmla="*/ 66244 w 949492"/>
                  <a:gd name="connsiteY14" fmla="*/ 153452 h 474746"/>
                  <a:gd name="connsiteX15" fmla="*/ 110406 w 949492"/>
                  <a:gd name="connsiteY15" fmla="*/ 99365 h 474746"/>
                  <a:gd name="connsiteX16" fmla="*/ 110406 w 949492"/>
                  <a:gd name="connsiteY16" fmla="*/ 55203 h 474746"/>
                  <a:gd name="connsiteX17" fmla="*/ 93845 w 949492"/>
                  <a:gd name="connsiteY17" fmla="*/ 55203 h 474746"/>
                  <a:gd name="connsiteX18" fmla="*/ 93845 w 949492"/>
                  <a:gd name="connsiteY18" fmla="*/ 11041 h 474746"/>
                  <a:gd name="connsiteX19" fmla="*/ 71764 w 949492"/>
                  <a:gd name="connsiteY19" fmla="*/ 55203 h 474746"/>
                  <a:gd name="connsiteX20" fmla="*/ 38642 w 949492"/>
                  <a:gd name="connsiteY20" fmla="*/ 55203 h 474746"/>
                  <a:gd name="connsiteX21" fmla="*/ 38642 w 949492"/>
                  <a:gd name="connsiteY21" fmla="*/ 11041 h 474746"/>
                  <a:gd name="connsiteX22" fmla="*/ 27602 w 949492"/>
                  <a:gd name="connsiteY22" fmla="*/ 0 h 474746"/>
                  <a:gd name="connsiteX23" fmla="*/ 16561 w 949492"/>
                  <a:gd name="connsiteY23" fmla="*/ 11041 h 474746"/>
                  <a:gd name="connsiteX24" fmla="*/ 16561 w 949492"/>
                  <a:gd name="connsiteY24" fmla="*/ 55203 h 474746"/>
                  <a:gd name="connsiteX25" fmla="*/ 0 w 949492"/>
                  <a:gd name="connsiteY25" fmla="*/ 55203 h 474746"/>
                  <a:gd name="connsiteX26" fmla="*/ 0 w 949492"/>
                  <a:gd name="connsiteY26" fmla="*/ 99365 h 474746"/>
                  <a:gd name="connsiteX27" fmla="*/ 44162 w 949492"/>
                  <a:gd name="connsiteY27" fmla="*/ 153452 h 474746"/>
                  <a:gd name="connsiteX28" fmla="*/ 44162 w 949492"/>
                  <a:gd name="connsiteY28" fmla="*/ 342259 h 474746"/>
                  <a:gd name="connsiteX29" fmla="*/ 99365 w 949492"/>
                  <a:gd name="connsiteY29" fmla="*/ 397462 h 474746"/>
                  <a:gd name="connsiteX30" fmla="*/ 130037 w 949492"/>
                  <a:gd name="connsiteY30" fmla="*/ 397462 h 474746"/>
                  <a:gd name="connsiteX31" fmla="*/ 130037 w 949492"/>
                  <a:gd name="connsiteY31" fmla="*/ 398688 h 474746"/>
                  <a:gd name="connsiteX32" fmla="*/ 206095 w 949492"/>
                  <a:gd name="connsiteY32" fmla="*/ 474746 h 474746"/>
                  <a:gd name="connsiteX33" fmla="*/ 219298 w 949492"/>
                  <a:gd name="connsiteY33" fmla="*/ 474746 h 474746"/>
                  <a:gd name="connsiteX34" fmla="*/ 218445 w 949492"/>
                  <a:gd name="connsiteY34" fmla="*/ 461781 h 474746"/>
                  <a:gd name="connsiteX35" fmla="*/ 218908 w 949492"/>
                  <a:gd name="connsiteY35" fmla="*/ 452665 h 474746"/>
                  <a:gd name="connsiteX36" fmla="*/ 206075 w 949492"/>
                  <a:gd name="connsiteY36" fmla="*/ 452665 h 474746"/>
                  <a:gd name="connsiteX37" fmla="*/ 152117 w 949492"/>
                  <a:gd name="connsiteY37" fmla="*/ 398706 h 474746"/>
                  <a:gd name="connsiteX38" fmla="*/ 152117 w 949492"/>
                  <a:gd name="connsiteY38" fmla="*/ 306487 h 474746"/>
                  <a:gd name="connsiteX39" fmla="*/ 774631 w 949492"/>
                  <a:gd name="connsiteY39" fmla="*/ 306487 h 474746"/>
                  <a:gd name="connsiteX40" fmla="*/ 775551 w 949492"/>
                  <a:gd name="connsiteY40" fmla="*/ 306577 h 474746"/>
                  <a:gd name="connsiteX41" fmla="*/ 854442 w 949492"/>
                  <a:gd name="connsiteY41" fmla="*/ 306577 h 474746"/>
                  <a:gd name="connsiteX42" fmla="*/ 927411 w 949492"/>
                  <a:gd name="connsiteY42" fmla="*/ 379544 h 474746"/>
                  <a:gd name="connsiteX43" fmla="*/ 927411 w 949492"/>
                  <a:gd name="connsiteY43" fmla="*/ 436724 h 474746"/>
                  <a:gd name="connsiteX44" fmla="*/ 911465 w 949492"/>
                  <a:gd name="connsiteY44" fmla="*/ 452665 h 474746"/>
                  <a:gd name="connsiteX45" fmla="*/ 857126 w 949492"/>
                  <a:gd name="connsiteY45" fmla="*/ 452665 h 474746"/>
                  <a:gd name="connsiteX46" fmla="*/ 857588 w 949492"/>
                  <a:gd name="connsiteY46" fmla="*/ 461781 h 474746"/>
                  <a:gd name="connsiteX47" fmla="*/ 856735 w 949492"/>
                  <a:gd name="connsiteY47" fmla="*/ 474746 h 474746"/>
                  <a:gd name="connsiteX48" fmla="*/ 911473 w 949492"/>
                  <a:gd name="connsiteY48" fmla="*/ 474746 h 474746"/>
                  <a:gd name="connsiteX49" fmla="*/ 949492 w 949492"/>
                  <a:gd name="connsiteY49" fmla="*/ 436727 h 474746"/>
                  <a:gd name="connsiteX50" fmla="*/ 949492 w 949492"/>
                  <a:gd name="connsiteY50" fmla="*/ 379674 h 474746"/>
                  <a:gd name="connsiteX51" fmla="*/ 854308 w 949492"/>
                  <a:gd name="connsiteY51" fmla="*/ 284490 h 474746"/>
                  <a:gd name="connsiteX52" fmla="*/ 22081 w 949492"/>
                  <a:gd name="connsiteY52" fmla="*/ 98058 h 474746"/>
                  <a:gd name="connsiteX53" fmla="*/ 22081 w 949492"/>
                  <a:gd name="connsiteY53" fmla="*/ 77284 h 474746"/>
                  <a:gd name="connsiteX54" fmla="*/ 88325 w 949492"/>
                  <a:gd name="connsiteY54" fmla="*/ 77284 h 474746"/>
                  <a:gd name="connsiteX55" fmla="*/ 88325 w 949492"/>
                  <a:gd name="connsiteY55" fmla="*/ 99365 h 474746"/>
                  <a:gd name="connsiteX56" fmla="*/ 55107 w 949492"/>
                  <a:gd name="connsiteY56" fmla="*/ 132497 h 474746"/>
                  <a:gd name="connsiteX57" fmla="*/ 48602 w 949492"/>
                  <a:gd name="connsiteY57" fmla="*/ 131845 h 474746"/>
                  <a:gd name="connsiteX58" fmla="*/ 22081 w 949492"/>
                  <a:gd name="connsiteY58" fmla="*/ 98058 h 474746"/>
                  <a:gd name="connsiteX59" fmla="*/ 613621 w 949492"/>
                  <a:gd name="connsiteY59" fmla="*/ 170025 h 474746"/>
                  <a:gd name="connsiteX60" fmla="*/ 728881 w 949492"/>
                  <a:gd name="connsiteY60" fmla="*/ 284406 h 474746"/>
                  <a:gd name="connsiteX61" fmla="*/ 441624 w 949492"/>
                  <a:gd name="connsiteY61" fmla="*/ 284406 h 474746"/>
                  <a:gd name="connsiteX62" fmla="*/ 441624 w 949492"/>
                  <a:gd name="connsiteY62" fmla="*/ 154568 h 474746"/>
                  <a:gd name="connsiteX63" fmla="*/ 574995 w 949492"/>
                  <a:gd name="connsiteY63" fmla="*/ 154568 h 474746"/>
                  <a:gd name="connsiteX64" fmla="*/ 613621 w 949492"/>
                  <a:gd name="connsiteY64" fmla="*/ 170025 h 474746"/>
                  <a:gd name="connsiteX65" fmla="*/ 274920 w 949492"/>
                  <a:gd name="connsiteY65" fmla="*/ 169964 h 474746"/>
                  <a:gd name="connsiteX66" fmla="*/ 313484 w 949492"/>
                  <a:gd name="connsiteY66" fmla="*/ 154568 h 474746"/>
                  <a:gd name="connsiteX67" fmla="*/ 419543 w 949492"/>
                  <a:gd name="connsiteY67" fmla="*/ 154568 h 474746"/>
                  <a:gd name="connsiteX68" fmla="*/ 419543 w 949492"/>
                  <a:gd name="connsiteY68" fmla="*/ 284406 h 474746"/>
                  <a:gd name="connsiteX69" fmla="*/ 161692 w 949492"/>
                  <a:gd name="connsiteY69" fmla="*/ 284406 h 474746"/>
                  <a:gd name="connsiteX70" fmla="*/ 161613 w 949492"/>
                  <a:gd name="connsiteY70" fmla="*/ 284218 h 474746"/>
                  <a:gd name="connsiteX71" fmla="*/ 274920 w 949492"/>
                  <a:gd name="connsiteY71" fmla="*/ 169964 h 474746"/>
                  <a:gd name="connsiteX0" fmla="*/ 854308 w 949492"/>
                  <a:gd name="connsiteY0" fmla="*/ 284490 h 474746"/>
                  <a:gd name="connsiteX1" fmla="*/ 778556 w 949492"/>
                  <a:gd name="connsiteY1" fmla="*/ 284490 h 474746"/>
                  <a:gd name="connsiteX2" fmla="*/ 778114 w 949492"/>
                  <a:gd name="connsiteY2" fmla="*/ 284400 h 474746"/>
                  <a:gd name="connsiteX3" fmla="*/ 774575 w 949492"/>
                  <a:gd name="connsiteY3" fmla="*/ 284400 h 474746"/>
                  <a:gd name="connsiteX4" fmla="*/ 748942 w 949492"/>
                  <a:gd name="connsiteY4" fmla="*/ 273193 h 474746"/>
                  <a:gd name="connsiteX5" fmla="*/ 629174 w 949492"/>
                  <a:gd name="connsiteY5" fmla="*/ 154353 h 474746"/>
                  <a:gd name="connsiteX6" fmla="*/ 574996 w 949492"/>
                  <a:gd name="connsiteY6" fmla="*/ 132487 h 474746"/>
                  <a:gd name="connsiteX7" fmla="*/ 313484 w 949492"/>
                  <a:gd name="connsiteY7" fmla="*/ 132487 h 474746"/>
                  <a:gd name="connsiteX8" fmla="*/ 259305 w 949492"/>
                  <a:gd name="connsiteY8" fmla="*/ 154348 h 474746"/>
                  <a:gd name="connsiteX9" fmla="*/ 141443 w 949492"/>
                  <a:gd name="connsiteY9" fmla="*/ 273193 h 474746"/>
                  <a:gd name="connsiteX10" fmla="*/ 130037 w 949492"/>
                  <a:gd name="connsiteY10" fmla="*/ 300765 h 474746"/>
                  <a:gd name="connsiteX11" fmla="*/ 130037 w 949492"/>
                  <a:gd name="connsiteY11" fmla="*/ 375381 h 474746"/>
                  <a:gd name="connsiteX12" fmla="*/ 99365 w 949492"/>
                  <a:gd name="connsiteY12" fmla="*/ 375381 h 474746"/>
                  <a:gd name="connsiteX13" fmla="*/ 66244 w 949492"/>
                  <a:gd name="connsiteY13" fmla="*/ 342259 h 474746"/>
                  <a:gd name="connsiteX14" fmla="*/ 66244 w 949492"/>
                  <a:gd name="connsiteY14" fmla="*/ 153452 h 474746"/>
                  <a:gd name="connsiteX15" fmla="*/ 110406 w 949492"/>
                  <a:gd name="connsiteY15" fmla="*/ 99365 h 474746"/>
                  <a:gd name="connsiteX16" fmla="*/ 110406 w 949492"/>
                  <a:gd name="connsiteY16" fmla="*/ 55203 h 474746"/>
                  <a:gd name="connsiteX17" fmla="*/ 93845 w 949492"/>
                  <a:gd name="connsiteY17" fmla="*/ 55203 h 474746"/>
                  <a:gd name="connsiteX18" fmla="*/ 71764 w 949492"/>
                  <a:gd name="connsiteY18" fmla="*/ 55203 h 474746"/>
                  <a:gd name="connsiteX19" fmla="*/ 38642 w 949492"/>
                  <a:gd name="connsiteY19" fmla="*/ 55203 h 474746"/>
                  <a:gd name="connsiteX20" fmla="*/ 38642 w 949492"/>
                  <a:gd name="connsiteY20" fmla="*/ 11041 h 474746"/>
                  <a:gd name="connsiteX21" fmla="*/ 27602 w 949492"/>
                  <a:gd name="connsiteY21" fmla="*/ 0 h 474746"/>
                  <a:gd name="connsiteX22" fmla="*/ 16561 w 949492"/>
                  <a:gd name="connsiteY22" fmla="*/ 11041 h 474746"/>
                  <a:gd name="connsiteX23" fmla="*/ 16561 w 949492"/>
                  <a:gd name="connsiteY23" fmla="*/ 55203 h 474746"/>
                  <a:gd name="connsiteX24" fmla="*/ 0 w 949492"/>
                  <a:gd name="connsiteY24" fmla="*/ 55203 h 474746"/>
                  <a:gd name="connsiteX25" fmla="*/ 0 w 949492"/>
                  <a:gd name="connsiteY25" fmla="*/ 99365 h 474746"/>
                  <a:gd name="connsiteX26" fmla="*/ 44162 w 949492"/>
                  <a:gd name="connsiteY26" fmla="*/ 153452 h 474746"/>
                  <a:gd name="connsiteX27" fmla="*/ 44162 w 949492"/>
                  <a:gd name="connsiteY27" fmla="*/ 342259 h 474746"/>
                  <a:gd name="connsiteX28" fmla="*/ 99365 w 949492"/>
                  <a:gd name="connsiteY28" fmla="*/ 397462 h 474746"/>
                  <a:gd name="connsiteX29" fmla="*/ 130037 w 949492"/>
                  <a:gd name="connsiteY29" fmla="*/ 397462 h 474746"/>
                  <a:gd name="connsiteX30" fmla="*/ 130037 w 949492"/>
                  <a:gd name="connsiteY30" fmla="*/ 398688 h 474746"/>
                  <a:gd name="connsiteX31" fmla="*/ 206095 w 949492"/>
                  <a:gd name="connsiteY31" fmla="*/ 474746 h 474746"/>
                  <a:gd name="connsiteX32" fmla="*/ 219298 w 949492"/>
                  <a:gd name="connsiteY32" fmla="*/ 474746 h 474746"/>
                  <a:gd name="connsiteX33" fmla="*/ 218445 w 949492"/>
                  <a:gd name="connsiteY33" fmla="*/ 461781 h 474746"/>
                  <a:gd name="connsiteX34" fmla="*/ 218908 w 949492"/>
                  <a:gd name="connsiteY34" fmla="*/ 452665 h 474746"/>
                  <a:gd name="connsiteX35" fmla="*/ 206075 w 949492"/>
                  <a:gd name="connsiteY35" fmla="*/ 452665 h 474746"/>
                  <a:gd name="connsiteX36" fmla="*/ 152117 w 949492"/>
                  <a:gd name="connsiteY36" fmla="*/ 398706 h 474746"/>
                  <a:gd name="connsiteX37" fmla="*/ 152117 w 949492"/>
                  <a:gd name="connsiteY37" fmla="*/ 306487 h 474746"/>
                  <a:gd name="connsiteX38" fmla="*/ 774631 w 949492"/>
                  <a:gd name="connsiteY38" fmla="*/ 306487 h 474746"/>
                  <a:gd name="connsiteX39" fmla="*/ 775551 w 949492"/>
                  <a:gd name="connsiteY39" fmla="*/ 306577 h 474746"/>
                  <a:gd name="connsiteX40" fmla="*/ 854442 w 949492"/>
                  <a:gd name="connsiteY40" fmla="*/ 306577 h 474746"/>
                  <a:gd name="connsiteX41" fmla="*/ 927411 w 949492"/>
                  <a:gd name="connsiteY41" fmla="*/ 379544 h 474746"/>
                  <a:gd name="connsiteX42" fmla="*/ 927411 w 949492"/>
                  <a:gd name="connsiteY42" fmla="*/ 436724 h 474746"/>
                  <a:gd name="connsiteX43" fmla="*/ 911465 w 949492"/>
                  <a:gd name="connsiteY43" fmla="*/ 452665 h 474746"/>
                  <a:gd name="connsiteX44" fmla="*/ 857126 w 949492"/>
                  <a:gd name="connsiteY44" fmla="*/ 452665 h 474746"/>
                  <a:gd name="connsiteX45" fmla="*/ 857588 w 949492"/>
                  <a:gd name="connsiteY45" fmla="*/ 461781 h 474746"/>
                  <a:gd name="connsiteX46" fmla="*/ 856735 w 949492"/>
                  <a:gd name="connsiteY46" fmla="*/ 474746 h 474746"/>
                  <a:gd name="connsiteX47" fmla="*/ 911473 w 949492"/>
                  <a:gd name="connsiteY47" fmla="*/ 474746 h 474746"/>
                  <a:gd name="connsiteX48" fmla="*/ 949492 w 949492"/>
                  <a:gd name="connsiteY48" fmla="*/ 436727 h 474746"/>
                  <a:gd name="connsiteX49" fmla="*/ 949492 w 949492"/>
                  <a:gd name="connsiteY49" fmla="*/ 379674 h 474746"/>
                  <a:gd name="connsiteX50" fmla="*/ 854308 w 949492"/>
                  <a:gd name="connsiteY50" fmla="*/ 284490 h 474746"/>
                  <a:gd name="connsiteX51" fmla="*/ 22081 w 949492"/>
                  <a:gd name="connsiteY51" fmla="*/ 98058 h 474746"/>
                  <a:gd name="connsiteX52" fmla="*/ 22081 w 949492"/>
                  <a:gd name="connsiteY52" fmla="*/ 77284 h 474746"/>
                  <a:gd name="connsiteX53" fmla="*/ 88325 w 949492"/>
                  <a:gd name="connsiteY53" fmla="*/ 77284 h 474746"/>
                  <a:gd name="connsiteX54" fmla="*/ 88325 w 949492"/>
                  <a:gd name="connsiteY54" fmla="*/ 99365 h 474746"/>
                  <a:gd name="connsiteX55" fmla="*/ 55107 w 949492"/>
                  <a:gd name="connsiteY55" fmla="*/ 132497 h 474746"/>
                  <a:gd name="connsiteX56" fmla="*/ 48602 w 949492"/>
                  <a:gd name="connsiteY56" fmla="*/ 131845 h 474746"/>
                  <a:gd name="connsiteX57" fmla="*/ 22081 w 949492"/>
                  <a:gd name="connsiteY57" fmla="*/ 98058 h 474746"/>
                  <a:gd name="connsiteX58" fmla="*/ 613621 w 949492"/>
                  <a:gd name="connsiteY58" fmla="*/ 170025 h 474746"/>
                  <a:gd name="connsiteX59" fmla="*/ 728881 w 949492"/>
                  <a:gd name="connsiteY59" fmla="*/ 284406 h 474746"/>
                  <a:gd name="connsiteX60" fmla="*/ 441624 w 949492"/>
                  <a:gd name="connsiteY60" fmla="*/ 284406 h 474746"/>
                  <a:gd name="connsiteX61" fmla="*/ 441624 w 949492"/>
                  <a:gd name="connsiteY61" fmla="*/ 154568 h 474746"/>
                  <a:gd name="connsiteX62" fmla="*/ 574995 w 949492"/>
                  <a:gd name="connsiteY62" fmla="*/ 154568 h 474746"/>
                  <a:gd name="connsiteX63" fmla="*/ 613621 w 949492"/>
                  <a:gd name="connsiteY63" fmla="*/ 170025 h 474746"/>
                  <a:gd name="connsiteX64" fmla="*/ 274920 w 949492"/>
                  <a:gd name="connsiteY64" fmla="*/ 169964 h 474746"/>
                  <a:gd name="connsiteX65" fmla="*/ 313484 w 949492"/>
                  <a:gd name="connsiteY65" fmla="*/ 154568 h 474746"/>
                  <a:gd name="connsiteX66" fmla="*/ 419543 w 949492"/>
                  <a:gd name="connsiteY66" fmla="*/ 154568 h 474746"/>
                  <a:gd name="connsiteX67" fmla="*/ 419543 w 949492"/>
                  <a:gd name="connsiteY67" fmla="*/ 284406 h 474746"/>
                  <a:gd name="connsiteX68" fmla="*/ 161692 w 949492"/>
                  <a:gd name="connsiteY68" fmla="*/ 284406 h 474746"/>
                  <a:gd name="connsiteX69" fmla="*/ 161613 w 949492"/>
                  <a:gd name="connsiteY69" fmla="*/ 284218 h 474746"/>
                  <a:gd name="connsiteX70" fmla="*/ 274920 w 949492"/>
                  <a:gd name="connsiteY70" fmla="*/ 169964 h 474746"/>
                  <a:gd name="connsiteX0" fmla="*/ 854308 w 949492"/>
                  <a:gd name="connsiteY0" fmla="*/ 286768 h 477024"/>
                  <a:gd name="connsiteX1" fmla="*/ 778556 w 949492"/>
                  <a:gd name="connsiteY1" fmla="*/ 286768 h 477024"/>
                  <a:gd name="connsiteX2" fmla="*/ 778114 w 949492"/>
                  <a:gd name="connsiteY2" fmla="*/ 286678 h 477024"/>
                  <a:gd name="connsiteX3" fmla="*/ 774575 w 949492"/>
                  <a:gd name="connsiteY3" fmla="*/ 286678 h 477024"/>
                  <a:gd name="connsiteX4" fmla="*/ 748942 w 949492"/>
                  <a:gd name="connsiteY4" fmla="*/ 275471 h 477024"/>
                  <a:gd name="connsiteX5" fmla="*/ 629174 w 949492"/>
                  <a:gd name="connsiteY5" fmla="*/ 156631 h 477024"/>
                  <a:gd name="connsiteX6" fmla="*/ 574996 w 949492"/>
                  <a:gd name="connsiteY6" fmla="*/ 134765 h 477024"/>
                  <a:gd name="connsiteX7" fmla="*/ 313484 w 949492"/>
                  <a:gd name="connsiteY7" fmla="*/ 134765 h 477024"/>
                  <a:gd name="connsiteX8" fmla="*/ 259305 w 949492"/>
                  <a:gd name="connsiteY8" fmla="*/ 156626 h 477024"/>
                  <a:gd name="connsiteX9" fmla="*/ 141443 w 949492"/>
                  <a:gd name="connsiteY9" fmla="*/ 275471 h 477024"/>
                  <a:gd name="connsiteX10" fmla="*/ 130037 w 949492"/>
                  <a:gd name="connsiteY10" fmla="*/ 303043 h 477024"/>
                  <a:gd name="connsiteX11" fmla="*/ 130037 w 949492"/>
                  <a:gd name="connsiteY11" fmla="*/ 377659 h 477024"/>
                  <a:gd name="connsiteX12" fmla="*/ 99365 w 949492"/>
                  <a:gd name="connsiteY12" fmla="*/ 377659 h 477024"/>
                  <a:gd name="connsiteX13" fmla="*/ 66244 w 949492"/>
                  <a:gd name="connsiteY13" fmla="*/ 344537 h 477024"/>
                  <a:gd name="connsiteX14" fmla="*/ 66244 w 949492"/>
                  <a:gd name="connsiteY14" fmla="*/ 155730 h 477024"/>
                  <a:gd name="connsiteX15" fmla="*/ 110406 w 949492"/>
                  <a:gd name="connsiteY15" fmla="*/ 101643 h 477024"/>
                  <a:gd name="connsiteX16" fmla="*/ 110406 w 949492"/>
                  <a:gd name="connsiteY16" fmla="*/ 57481 h 477024"/>
                  <a:gd name="connsiteX17" fmla="*/ 93845 w 949492"/>
                  <a:gd name="connsiteY17" fmla="*/ 57481 h 477024"/>
                  <a:gd name="connsiteX18" fmla="*/ 71764 w 949492"/>
                  <a:gd name="connsiteY18" fmla="*/ 57481 h 477024"/>
                  <a:gd name="connsiteX19" fmla="*/ 38642 w 949492"/>
                  <a:gd name="connsiteY19" fmla="*/ 57481 h 477024"/>
                  <a:gd name="connsiteX20" fmla="*/ 38642 w 949492"/>
                  <a:gd name="connsiteY20" fmla="*/ 13319 h 477024"/>
                  <a:gd name="connsiteX21" fmla="*/ 27602 w 949492"/>
                  <a:gd name="connsiteY21" fmla="*/ 2278 h 477024"/>
                  <a:gd name="connsiteX22" fmla="*/ 16561 w 949492"/>
                  <a:gd name="connsiteY22" fmla="*/ 57481 h 477024"/>
                  <a:gd name="connsiteX23" fmla="*/ 0 w 949492"/>
                  <a:gd name="connsiteY23" fmla="*/ 57481 h 477024"/>
                  <a:gd name="connsiteX24" fmla="*/ 0 w 949492"/>
                  <a:gd name="connsiteY24" fmla="*/ 101643 h 477024"/>
                  <a:gd name="connsiteX25" fmla="*/ 44162 w 949492"/>
                  <a:gd name="connsiteY25" fmla="*/ 155730 h 477024"/>
                  <a:gd name="connsiteX26" fmla="*/ 44162 w 949492"/>
                  <a:gd name="connsiteY26" fmla="*/ 344537 h 477024"/>
                  <a:gd name="connsiteX27" fmla="*/ 99365 w 949492"/>
                  <a:gd name="connsiteY27" fmla="*/ 399740 h 477024"/>
                  <a:gd name="connsiteX28" fmla="*/ 130037 w 949492"/>
                  <a:gd name="connsiteY28" fmla="*/ 399740 h 477024"/>
                  <a:gd name="connsiteX29" fmla="*/ 130037 w 949492"/>
                  <a:gd name="connsiteY29" fmla="*/ 400966 h 477024"/>
                  <a:gd name="connsiteX30" fmla="*/ 206095 w 949492"/>
                  <a:gd name="connsiteY30" fmla="*/ 477024 h 477024"/>
                  <a:gd name="connsiteX31" fmla="*/ 219298 w 949492"/>
                  <a:gd name="connsiteY31" fmla="*/ 477024 h 477024"/>
                  <a:gd name="connsiteX32" fmla="*/ 218445 w 949492"/>
                  <a:gd name="connsiteY32" fmla="*/ 464059 h 477024"/>
                  <a:gd name="connsiteX33" fmla="*/ 218908 w 949492"/>
                  <a:gd name="connsiteY33" fmla="*/ 454943 h 477024"/>
                  <a:gd name="connsiteX34" fmla="*/ 206075 w 949492"/>
                  <a:gd name="connsiteY34" fmla="*/ 454943 h 477024"/>
                  <a:gd name="connsiteX35" fmla="*/ 152117 w 949492"/>
                  <a:gd name="connsiteY35" fmla="*/ 400984 h 477024"/>
                  <a:gd name="connsiteX36" fmla="*/ 152117 w 949492"/>
                  <a:gd name="connsiteY36" fmla="*/ 308765 h 477024"/>
                  <a:gd name="connsiteX37" fmla="*/ 774631 w 949492"/>
                  <a:gd name="connsiteY37" fmla="*/ 308765 h 477024"/>
                  <a:gd name="connsiteX38" fmla="*/ 775551 w 949492"/>
                  <a:gd name="connsiteY38" fmla="*/ 308855 h 477024"/>
                  <a:gd name="connsiteX39" fmla="*/ 854442 w 949492"/>
                  <a:gd name="connsiteY39" fmla="*/ 308855 h 477024"/>
                  <a:gd name="connsiteX40" fmla="*/ 927411 w 949492"/>
                  <a:gd name="connsiteY40" fmla="*/ 381822 h 477024"/>
                  <a:gd name="connsiteX41" fmla="*/ 927411 w 949492"/>
                  <a:gd name="connsiteY41" fmla="*/ 439002 h 477024"/>
                  <a:gd name="connsiteX42" fmla="*/ 911465 w 949492"/>
                  <a:gd name="connsiteY42" fmla="*/ 454943 h 477024"/>
                  <a:gd name="connsiteX43" fmla="*/ 857126 w 949492"/>
                  <a:gd name="connsiteY43" fmla="*/ 454943 h 477024"/>
                  <a:gd name="connsiteX44" fmla="*/ 857588 w 949492"/>
                  <a:gd name="connsiteY44" fmla="*/ 464059 h 477024"/>
                  <a:gd name="connsiteX45" fmla="*/ 856735 w 949492"/>
                  <a:gd name="connsiteY45" fmla="*/ 477024 h 477024"/>
                  <a:gd name="connsiteX46" fmla="*/ 911473 w 949492"/>
                  <a:gd name="connsiteY46" fmla="*/ 477024 h 477024"/>
                  <a:gd name="connsiteX47" fmla="*/ 949492 w 949492"/>
                  <a:gd name="connsiteY47" fmla="*/ 439005 h 477024"/>
                  <a:gd name="connsiteX48" fmla="*/ 949492 w 949492"/>
                  <a:gd name="connsiteY48" fmla="*/ 381952 h 477024"/>
                  <a:gd name="connsiteX49" fmla="*/ 854308 w 949492"/>
                  <a:gd name="connsiteY49" fmla="*/ 286768 h 477024"/>
                  <a:gd name="connsiteX50" fmla="*/ 22081 w 949492"/>
                  <a:gd name="connsiteY50" fmla="*/ 100336 h 477024"/>
                  <a:gd name="connsiteX51" fmla="*/ 22081 w 949492"/>
                  <a:gd name="connsiteY51" fmla="*/ 79562 h 477024"/>
                  <a:gd name="connsiteX52" fmla="*/ 88325 w 949492"/>
                  <a:gd name="connsiteY52" fmla="*/ 79562 h 477024"/>
                  <a:gd name="connsiteX53" fmla="*/ 88325 w 949492"/>
                  <a:gd name="connsiteY53" fmla="*/ 101643 h 477024"/>
                  <a:gd name="connsiteX54" fmla="*/ 55107 w 949492"/>
                  <a:gd name="connsiteY54" fmla="*/ 134775 h 477024"/>
                  <a:gd name="connsiteX55" fmla="*/ 48602 w 949492"/>
                  <a:gd name="connsiteY55" fmla="*/ 134123 h 477024"/>
                  <a:gd name="connsiteX56" fmla="*/ 22081 w 949492"/>
                  <a:gd name="connsiteY56" fmla="*/ 100336 h 477024"/>
                  <a:gd name="connsiteX57" fmla="*/ 613621 w 949492"/>
                  <a:gd name="connsiteY57" fmla="*/ 172303 h 477024"/>
                  <a:gd name="connsiteX58" fmla="*/ 728881 w 949492"/>
                  <a:gd name="connsiteY58" fmla="*/ 286684 h 477024"/>
                  <a:gd name="connsiteX59" fmla="*/ 441624 w 949492"/>
                  <a:gd name="connsiteY59" fmla="*/ 286684 h 477024"/>
                  <a:gd name="connsiteX60" fmla="*/ 441624 w 949492"/>
                  <a:gd name="connsiteY60" fmla="*/ 156846 h 477024"/>
                  <a:gd name="connsiteX61" fmla="*/ 574995 w 949492"/>
                  <a:gd name="connsiteY61" fmla="*/ 156846 h 477024"/>
                  <a:gd name="connsiteX62" fmla="*/ 613621 w 949492"/>
                  <a:gd name="connsiteY62" fmla="*/ 172303 h 477024"/>
                  <a:gd name="connsiteX63" fmla="*/ 274920 w 949492"/>
                  <a:gd name="connsiteY63" fmla="*/ 172242 h 477024"/>
                  <a:gd name="connsiteX64" fmla="*/ 313484 w 949492"/>
                  <a:gd name="connsiteY64" fmla="*/ 156846 h 477024"/>
                  <a:gd name="connsiteX65" fmla="*/ 419543 w 949492"/>
                  <a:gd name="connsiteY65" fmla="*/ 156846 h 477024"/>
                  <a:gd name="connsiteX66" fmla="*/ 419543 w 949492"/>
                  <a:gd name="connsiteY66" fmla="*/ 286684 h 477024"/>
                  <a:gd name="connsiteX67" fmla="*/ 161692 w 949492"/>
                  <a:gd name="connsiteY67" fmla="*/ 286684 h 477024"/>
                  <a:gd name="connsiteX68" fmla="*/ 161613 w 949492"/>
                  <a:gd name="connsiteY68" fmla="*/ 286496 h 477024"/>
                  <a:gd name="connsiteX69" fmla="*/ 274920 w 949492"/>
                  <a:gd name="connsiteY69" fmla="*/ 172242 h 477024"/>
                  <a:gd name="connsiteX0" fmla="*/ 854308 w 949492"/>
                  <a:gd name="connsiteY0" fmla="*/ 286768 h 477024"/>
                  <a:gd name="connsiteX1" fmla="*/ 778556 w 949492"/>
                  <a:gd name="connsiteY1" fmla="*/ 286768 h 477024"/>
                  <a:gd name="connsiteX2" fmla="*/ 778114 w 949492"/>
                  <a:gd name="connsiteY2" fmla="*/ 286678 h 477024"/>
                  <a:gd name="connsiteX3" fmla="*/ 774575 w 949492"/>
                  <a:gd name="connsiteY3" fmla="*/ 286678 h 477024"/>
                  <a:gd name="connsiteX4" fmla="*/ 748942 w 949492"/>
                  <a:gd name="connsiteY4" fmla="*/ 275471 h 477024"/>
                  <a:gd name="connsiteX5" fmla="*/ 629174 w 949492"/>
                  <a:gd name="connsiteY5" fmla="*/ 156631 h 477024"/>
                  <a:gd name="connsiteX6" fmla="*/ 574996 w 949492"/>
                  <a:gd name="connsiteY6" fmla="*/ 134765 h 477024"/>
                  <a:gd name="connsiteX7" fmla="*/ 313484 w 949492"/>
                  <a:gd name="connsiteY7" fmla="*/ 134765 h 477024"/>
                  <a:gd name="connsiteX8" fmla="*/ 259305 w 949492"/>
                  <a:gd name="connsiteY8" fmla="*/ 156626 h 477024"/>
                  <a:gd name="connsiteX9" fmla="*/ 141443 w 949492"/>
                  <a:gd name="connsiteY9" fmla="*/ 275471 h 477024"/>
                  <a:gd name="connsiteX10" fmla="*/ 130037 w 949492"/>
                  <a:gd name="connsiteY10" fmla="*/ 303043 h 477024"/>
                  <a:gd name="connsiteX11" fmla="*/ 130037 w 949492"/>
                  <a:gd name="connsiteY11" fmla="*/ 377659 h 477024"/>
                  <a:gd name="connsiteX12" fmla="*/ 99365 w 949492"/>
                  <a:gd name="connsiteY12" fmla="*/ 377659 h 477024"/>
                  <a:gd name="connsiteX13" fmla="*/ 66244 w 949492"/>
                  <a:gd name="connsiteY13" fmla="*/ 344537 h 477024"/>
                  <a:gd name="connsiteX14" fmla="*/ 66244 w 949492"/>
                  <a:gd name="connsiteY14" fmla="*/ 155730 h 477024"/>
                  <a:gd name="connsiteX15" fmla="*/ 110406 w 949492"/>
                  <a:gd name="connsiteY15" fmla="*/ 101643 h 477024"/>
                  <a:gd name="connsiteX16" fmla="*/ 110406 w 949492"/>
                  <a:gd name="connsiteY16" fmla="*/ 57481 h 477024"/>
                  <a:gd name="connsiteX17" fmla="*/ 93845 w 949492"/>
                  <a:gd name="connsiteY17" fmla="*/ 57481 h 477024"/>
                  <a:gd name="connsiteX18" fmla="*/ 71764 w 949492"/>
                  <a:gd name="connsiteY18" fmla="*/ 57481 h 477024"/>
                  <a:gd name="connsiteX19" fmla="*/ 38642 w 949492"/>
                  <a:gd name="connsiteY19" fmla="*/ 57481 h 477024"/>
                  <a:gd name="connsiteX20" fmla="*/ 38642 w 949492"/>
                  <a:gd name="connsiteY20" fmla="*/ 13319 h 477024"/>
                  <a:gd name="connsiteX21" fmla="*/ 27602 w 949492"/>
                  <a:gd name="connsiteY21" fmla="*/ 2278 h 477024"/>
                  <a:gd name="connsiteX22" fmla="*/ 20455 w 949492"/>
                  <a:gd name="connsiteY22" fmla="*/ 28453 h 477024"/>
                  <a:gd name="connsiteX23" fmla="*/ 16561 w 949492"/>
                  <a:gd name="connsiteY23" fmla="*/ 57481 h 477024"/>
                  <a:gd name="connsiteX24" fmla="*/ 0 w 949492"/>
                  <a:gd name="connsiteY24" fmla="*/ 57481 h 477024"/>
                  <a:gd name="connsiteX25" fmla="*/ 0 w 949492"/>
                  <a:gd name="connsiteY25" fmla="*/ 101643 h 477024"/>
                  <a:gd name="connsiteX26" fmla="*/ 44162 w 949492"/>
                  <a:gd name="connsiteY26" fmla="*/ 155730 h 477024"/>
                  <a:gd name="connsiteX27" fmla="*/ 44162 w 949492"/>
                  <a:gd name="connsiteY27" fmla="*/ 344537 h 477024"/>
                  <a:gd name="connsiteX28" fmla="*/ 99365 w 949492"/>
                  <a:gd name="connsiteY28" fmla="*/ 399740 h 477024"/>
                  <a:gd name="connsiteX29" fmla="*/ 130037 w 949492"/>
                  <a:gd name="connsiteY29" fmla="*/ 399740 h 477024"/>
                  <a:gd name="connsiteX30" fmla="*/ 130037 w 949492"/>
                  <a:gd name="connsiteY30" fmla="*/ 400966 h 477024"/>
                  <a:gd name="connsiteX31" fmla="*/ 206095 w 949492"/>
                  <a:gd name="connsiteY31" fmla="*/ 477024 h 477024"/>
                  <a:gd name="connsiteX32" fmla="*/ 219298 w 949492"/>
                  <a:gd name="connsiteY32" fmla="*/ 477024 h 477024"/>
                  <a:gd name="connsiteX33" fmla="*/ 218445 w 949492"/>
                  <a:gd name="connsiteY33" fmla="*/ 464059 h 477024"/>
                  <a:gd name="connsiteX34" fmla="*/ 218908 w 949492"/>
                  <a:gd name="connsiteY34" fmla="*/ 454943 h 477024"/>
                  <a:gd name="connsiteX35" fmla="*/ 206075 w 949492"/>
                  <a:gd name="connsiteY35" fmla="*/ 454943 h 477024"/>
                  <a:gd name="connsiteX36" fmla="*/ 152117 w 949492"/>
                  <a:gd name="connsiteY36" fmla="*/ 400984 h 477024"/>
                  <a:gd name="connsiteX37" fmla="*/ 152117 w 949492"/>
                  <a:gd name="connsiteY37" fmla="*/ 308765 h 477024"/>
                  <a:gd name="connsiteX38" fmla="*/ 774631 w 949492"/>
                  <a:gd name="connsiteY38" fmla="*/ 308765 h 477024"/>
                  <a:gd name="connsiteX39" fmla="*/ 775551 w 949492"/>
                  <a:gd name="connsiteY39" fmla="*/ 308855 h 477024"/>
                  <a:gd name="connsiteX40" fmla="*/ 854442 w 949492"/>
                  <a:gd name="connsiteY40" fmla="*/ 308855 h 477024"/>
                  <a:gd name="connsiteX41" fmla="*/ 927411 w 949492"/>
                  <a:gd name="connsiteY41" fmla="*/ 381822 h 477024"/>
                  <a:gd name="connsiteX42" fmla="*/ 927411 w 949492"/>
                  <a:gd name="connsiteY42" fmla="*/ 439002 h 477024"/>
                  <a:gd name="connsiteX43" fmla="*/ 911465 w 949492"/>
                  <a:gd name="connsiteY43" fmla="*/ 454943 h 477024"/>
                  <a:gd name="connsiteX44" fmla="*/ 857126 w 949492"/>
                  <a:gd name="connsiteY44" fmla="*/ 454943 h 477024"/>
                  <a:gd name="connsiteX45" fmla="*/ 857588 w 949492"/>
                  <a:gd name="connsiteY45" fmla="*/ 464059 h 477024"/>
                  <a:gd name="connsiteX46" fmla="*/ 856735 w 949492"/>
                  <a:gd name="connsiteY46" fmla="*/ 477024 h 477024"/>
                  <a:gd name="connsiteX47" fmla="*/ 911473 w 949492"/>
                  <a:gd name="connsiteY47" fmla="*/ 477024 h 477024"/>
                  <a:gd name="connsiteX48" fmla="*/ 949492 w 949492"/>
                  <a:gd name="connsiteY48" fmla="*/ 439005 h 477024"/>
                  <a:gd name="connsiteX49" fmla="*/ 949492 w 949492"/>
                  <a:gd name="connsiteY49" fmla="*/ 381952 h 477024"/>
                  <a:gd name="connsiteX50" fmla="*/ 854308 w 949492"/>
                  <a:gd name="connsiteY50" fmla="*/ 286768 h 477024"/>
                  <a:gd name="connsiteX51" fmla="*/ 22081 w 949492"/>
                  <a:gd name="connsiteY51" fmla="*/ 100336 h 477024"/>
                  <a:gd name="connsiteX52" fmla="*/ 22081 w 949492"/>
                  <a:gd name="connsiteY52" fmla="*/ 79562 h 477024"/>
                  <a:gd name="connsiteX53" fmla="*/ 88325 w 949492"/>
                  <a:gd name="connsiteY53" fmla="*/ 79562 h 477024"/>
                  <a:gd name="connsiteX54" fmla="*/ 88325 w 949492"/>
                  <a:gd name="connsiteY54" fmla="*/ 101643 h 477024"/>
                  <a:gd name="connsiteX55" fmla="*/ 55107 w 949492"/>
                  <a:gd name="connsiteY55" fmla="*/ 134775 h 477024"/>
                  <a:gd name="connsiteX56" fmla="*/ 48602 w 949492"/>
                  <a:gd name="connsiteY56" fmla="*/ 134123 h 477024"/>
                  <a:gd name="connsiteX57" fmla="*/ 22081 w 949492"/>
                  <a:gd name="connsiteY57" fmla="*/ 100336 h 477024"/>
                  <a:gd name="connsiteX58" fmla="*/ 613621 w 949492"/>
                  <a:gd name="connsiteY58" fmla="*/ 172303 h 477024"/>
                  <a:gd name="connsiteX59" fmla="*/ 728881 w 949492"/>
                  <a:gd name="connsiteY59" fmla="*/ 286684 h 477024"/>
                  <a:gd name="connsiteX60" fmla="*/ 441624 w 949492"/>
                  <a:gd name="connsiteY60" fmla="*/ 286684 h 477024"/>
                  <a:gd name="connsiteX61" fmla="*/ 441624 w 949492"/>
                  <a:gd name="connsiteY61" fmla="*/ 156846 h 477024"/>
                  <a:gd name="connsiteX62" fmla="*/ 574995 w 949492"/>
                  <a:gd name="connsiteY62" fmla="*/ 156846 h 477024"/>
                  <a:gd name="connsiteX63" fmla="*/ 613621 w 949492"/>
                  <a:gd name="connsiteY63" fmla="*/ 172303 h 477024"/>
                  <a:gd name="connsiteX64" fmla="*/ 274920 w 949492"/>
                  <a:gd name="connsiteY64" fmla="*/ 172242 h 477024"/>
                  <a:gd name="connsiteX65" fmla="*/ 313484 w 949492"/>
                  <a:gd name="connsiteY65" fmla="*/ 156846 h 477024"/>
                  <a:gd name="connsiteX66" fmla="*/ 419543 w 949492"/>
                  <a:gd name="connsiteY66" fmla="*/ 156846 h 477024"/>
                  <a:gd name="connsiteX67" fmla="*/ 419543 w 949492"/>
                  <a:gd name="connsiteY67" fmla="*/ 286684 h 477024"/>
                  <a:gd name="connsiteX68" fmla="*/ 161692 w 949492"/>
                  <a:gd name="connsiteY68" fmla="*/ 286684 h 477024"/>
                  <a:gd name="connsiteX69" fmla="*/ 161613 w 949492"/>
                  <a:gd name="connsiteY69" fmla="*/ 286496 h 477024"/>
                  <a:gd name="connsiteX70" fmla="*/ 274920 w 949492"/>
                  <a:gd name="connsiteY70" fmla="*/ 172242 h 477024"/>
                  <a:gd name="connsiteX0" fmla="*/ 854308 w 949492"/>
                  <a:gd name="connsiteY0" fmla="*/ 274526 h 464782"/>
                  <a:gd name="connsiteX1" fmla="*/ 778556 w 949492"/>
                  <a:gd name="connsiteY1" fmla="*/ 274526 h 464782"/>
                  <a:gd name="connsiteX2" fmla="*/ 778114 w 949492"/>
                  <a:gd name="connsiteY2" fmla="*/ 274436 h 464782"/>
                  <a:gd name="connsiteX3" fmla="*/ 774575 w 949492"/>
                  <a:gd name="connsiteY3" fmla="*/ 274436 h 464782"/>
                  <a:gd name="connsiteX4" fmla="*/ 748942 w 949492"/>
                  <a:gd name="connsiteY4" fmla="*/ 263229 h 464782"/>
                  <a:gd name="connsiteX5" fmla="*/ 629174 w 949492"/>
                  <a:gd name="connsiteY5" fmla="*/ 144389 h 464782"/>
                  <a:gd name="connsiteX6" fmla="*/ 574996 w 949492"/>
                  <a:gd name="connsiteY6" fmla="*/ 122523 h 464782"/>
                  <a:gd name="connsiteX7" fmla="*/ 313484 w 949492"/>
                  <a:gd name="connsiteY7" fmla="*/ 122523 h 464782"/>
                  <a:gd name="connsiteX8" fmla="*/ 259305 w 949492"/>
                  <a:gd name="connsiteY8" fmla="*/ 144384 h 464782"/>
                  <a:gd name="connsiteX9" fmla="*/ 141443 w 949492"/>
                  <a:gd name="connsiteY9" fmla="*/ 263229 h 464782"/>
                  <a:gd name="connsiteX10" fmla="*/ 130037 w 949492"/>
                  <a:gd name="connsiteY10" fmla="*/ 290801 h 464782"/>
                  <a:gd name="connsiteX11" fmla="*/ 130037 w 949492"/>
                  <a:gd name="connsiteY11" fmla="*/ 365417 h 464782"/>
                  <a:gd name="connsiteX12" fmla="*/ 99365 w 949492"/>
                  <a:gd name="connsiteY12" fmla="*/ 365417 h 464782"/>
                  <a:gd name="connsiteX13" fmla="*/ 66244 w 949492"/>
                  <a:gd name="connsiteY13" fmla="*/ 332295 h 464782"/>
                  <a:gd name="connsiteX14" fmla="*/ 66244 w 949492"/>
                  <a:gd name="connsiteY14" fmla="*/ 143488 h 464782"/>
                  <a:gd name="connsiteX15" fmla="*/ 110406 w 949492"/>
                  <a:gd name="connsiteY15" fmla="*/ 89401 h 464782"/>
                  <a:gd name="connsiteX16" fmla="*/ 110406 w 949492"/>
                  <a:gd name="connsiteY16" fmla="*/ 45239 h 464782"/>
                  <a:gd name="connsiteX17" fmla="*/ 93845 w 949492"/>
                  <a:gd name="connsiteY17" fmla="*/ 45239 h 464782"/>
                  <a:gd name="connsiteX18" fmla="*/ 71764 w 949492"/>
                  <a:gd name="connsiteY18" fmla="*/ 45239 h 464782"/>
                  <a:gd name="connsiteX19" fmla="*/ 38642 w 949492"/>
                  <a:gd name="connsiteY19" fmla="*/ 45239 h 464782"/>
                  <a:gd name="connsiteX20" fmla="*/ 38642 w 949492"/>
                  <a:gd name="connsiteY20" fmla="*/ 1077 h 464782"/>
                  <a:gd name="connsiteX21" fmla="*/ 20455 w 949492"/>
                  <a:gd name="connsiteY21" fmla="*/ 16211 h 464782"/>
                  <a:gd name="connsiteX22" fmla="*/ 16561 w 949492"/>
                  <a:gd name="connsiteY22" fmla="*/ 45239 h 464782"/>
                  <a:gd name="connsiteX23" fmla="*/ 0 w 949492"/>
                  <a:gd name="connsiteY23" fmla="*/ 45239 h 464782"/>
                  <a:gd name="connsiteX24" fmla="*/ 0 w 949492"/>
                  <a:gd name="connsiteY24" fmla="*/ 89401 h 464782"/>
                  <a:gd name="connsiteX25" fmla="*/ 44162 w 949492"/>
                  <a:gd name="connsiteY25" fmla="*/ 143488 h 464782"/>
                  <a:gd name="connsiteX26" fmla="*/ 44162 w 949492"/>
                  <a:gd name="connsiteY26" fmla="*/ 332295 h 464782"/>
                  <a:gd name="connsiteX27" fmla="*/ 99365 w 949492"/>
                  <a:gd name="connsiteY27" fmla="*/ 387498 h 464782"/>
                  <a:gd name="connsiteX28" fmla="*/ 130037 w 949492"/>
                  <a:gd name="connsiteY28" fmla="*/ 387498 h 464782"/>
                  <a:gd name="connsiteX29" fmla="*/ 130037 w 949492"/>
                  <a:gd name="connsiteY29" fmla="*/ 388724 h 464782"/>
                  <a:gd name="connsiteX30" fmla="*/ 206095 w 949492"/>
                  <a:gd name="connsiteY30" fmla="*/ 464782 h 464782"/>
                  <a:gd name="connsiteX31" fmla="*/ 219298 w 949492"/>
                  <a:gd name="connsiteY31" fmla="*/ 464782 h 464782"/>
                  <a:gd name="connsiteX32" fmla="*/ 218445 w 949492"/>
                  <a:gd name="connsiteY32" fmla="*/ 451817 h 464782"/>
                  <a:gd name="connsiteX33" fmla="*/ 218908 w 949492"/>
                  <a:gd name="connsiteY33" fmla="*/ 442701 h 464782"/>
                  <a:gd name="connsiteX34" fmla="*/ 206075 w 949492"/>
                  <a:gd name="connsiteY34" fmla="*/ 442701 h 464782"/>
                  <a:gd name="connsiteX35" fmla="*/ 152117 w 949492"/>
                  <a:gd name="connsiteY35" fmla="*/ 388742 h 464782"/>
                  <a:gd name="connsiteX36" fmla="*/ 152117 w 949492"/>
                  <a:gd name="connsiteY36" fmla="*/ 296523 h 464782"/>
                  <a:gd name="connsiteX37" fmla="*/ 774631 w 949492"/>
                  <a:gd name="connsiteY37" fmla="*/ 296523 h 464782"/>
                  <a:gd name="connsiteX38" fmla="*/ 775551 w 949492"/>
                  <a:gd name="connsiteY38" fmla="*/ 296613 h 464782"/>
                  <a:gd name="connsiteX39" fmla="*/ 854442 w 949492"/>
                  <a:gd name="connsiteY39" fmla="*/ 296613 h 464782"/>
                  <a:gd name="connsiteX40" fmla="*/ 927411 w 949492"/>
                  <a:gd name="connsiteY40" fmla="*/ 369580 h 464782"/>
                  <a:gd name="connsiteX41" fmla="*/ 927411 w 949492"/>
                  <a:gd name="connsiteY41" fmla="*/ 426760 h 464782"/>
                  <a:gd name="connsiteX42" fmla="*/ 911465 w 949492"/>
                  <a:gd name="connsiteY42" fmla="*/ 442701 h 464782"/>
                  <a:gd name="connsiteX43" fmla="*/ 857126 w 949492"/>
                  <a:gd name="connsiteY43" fmla="*/ 442701 h 464782"/>
                  <a:gd name="connsiteX44" fmla="*/ 857588 w 949492"/>
                  <a:gd name="connsiteY44" fmla="*/ 451817 h 464782"/>
                  <a:gd name="connsiteX45" fmla="*/ 856735 w 949492"/>
                  <a:gd name="connsiteY45" fmla="*/ 464782 h 464782"/>
                  <a:gd name="connsiteX46" fmla="*/ 911473 w 949492"/>
                  <a:gd name="connsiteY46" fmla="*/ 464782 h 464782"/>
                  <a:gd name="connsiteX47" fmla="*/ 949492 w 949492"/>
                  <a:gd name="connsiteY47" fmla="*/ 426763 h 464782"/>
                  <a:gd name="connsiteX48" fmla="*/ 949492 w 949492"/>
                  <a:gd name="connsiteY48" fmla="*/ 369710 h 464782"/>
                  <a:gd name="connsiteX49" fmla="*/ 854308 w 949492"/>
                  <a:gd name="connsiteY49" fmla="*/ 274526 h 464782"/>
                  <a:gd name="connsiteX50" fmla="*/ 22081 w 949492"/>
                  <a:gd name="connsiteY50" fmla="*/ 88094 h 464782"/>
                  <a:gd name="connsiteX51" fmla="*/ 22081 w 949492"/>
                  <a:gd name="connsiteY51" fmla="*/ 67320 h 464782"/>
                  <a:gd name="connsiteX52" fmla="*/ 88325 w 949492"/>
                  <a:gd name="connsiteY52" fmla="*/ 67320 h 464782"/>
                  <a:gd name="connsiteX53" fmla="*/ 88325 w 949492"/>
                  <a:gd name="connsiteY53" fmla="*/ 89401 h 464782"/>
                  <a:gd name="connsiteX54" fmla="*/ 55107 w 949492"/>
                  <a:gd name="connsiteY54" fmla="*/ 122533 h 464782"/>
                  <a:gd name="connsiteX55" fmla="*/ 48602 w 949492"/>
                  <a:gd name="connsiteY55" fmla="*/ 121881 h 464782"/>
                  <a:gd name="connsiteX56" fmla="*/ 22081 w 949492"/>
                  <a:gd name="connsiteY56" fmla="*/ 88094 h 464782"/>
                  <a:gd name="connsiteX57" fmla="*/ 613621 w 949492"/>
                  <a:gd name="connsiteY57" fmla="*/ 160061 h 464782"/>
                  <a:gd name="connsiteX58" fmla="*/ 728881 w 949492"/>
                  <a:gd name="connsiteY58" fmla="*/ 274442 h 464782"/>
                  <a:gd name="connsiteX59" fmla="*/ 441624 w 949492"/>
                  <a:gd name="connsiteY59" fmla="*/ 274442 h 464782"/>
                  <a:gd name="connsiteX60" fmla="*/ 441624 w 949492"/>
                  <a:gd name="connsiteY60" fmla="*/ 144604 h 464782"/>
                  <a:gd name="connsiteX61" fmla="*/ 574995 w 949492"/>
                  <a:gd name="connsiteY61" fmla="*/ 144604 h 464782"/>
                  <a:gd name="connsiteX62" fmla="*/ 613621 w 949492"/>
                  <a:gd name="connsiteY62" fmla="*/ 160061 h 464782"/>
                  <a:gd name="connsiteX63" fmla="*/ 274920 w 949492"/>
                  <a:gd name="connsiteY63" fmla="*/ 160000 h 464782"/>
                  <a:gd name="connsiteX64" fmla="*/ 313484 w 949492"/>
                  <a:gd name="connsiteY64" fmla="*/ 144604 h 464782"/>
                  <a:gd name="connsiteX65" fmla="*/ 419543 w 949492"/>
                  <a:gd name="connsiteY65" fmla="*/ 144604 h 464782"/>
                  <a:gd name="connsiteX66" fmla="*/ 419543 w 949492"/>
                  <a:gd name="connsiteY66" fmla="*/ 274442 h 464782"/>
                  <a:gd name="connsiteX67" fmla="*/ 161692 w 949492"/>
                  <a:gd name="connsiteY67" fmla="*/ 274442 h 464782"/>
                  <a:gd name="connsiteX68" fmla="*/ 161613 w 949492"/>
                  <a:gd name="connsiteY68" fmla="*/ 274254 h 464782"/>
                  <a:gd name="connsiteX69" fmla="*/ 274920 w 949492"/>
                  <a:gd name="connsiteY69" fmla="*/ 160000 h 464782"/>
                  <a:gd name="connsiteX0" fmla="*/ 854308 w 949492"/>
                  <a:gd name="connsiteY0" fmla="*/ 273449 h 463705"/>
                  <a:gd name="connsiteX1" fmla="*/ 778556 w 949492"/>
                  <a:gd name="connsiteY1" fmla="*/ 273449 h 463705"/>
                  <a:gd name="connsiteX2" fmla="*/ 778114 w 949492"/>
                  <a:gd name="connsiteY2" fmla="*/ 273359 h 463705"/>
                  <a:gd name="connsiteX3" fmla="*/ 774575 w 949492"/>
                  <a:gd name="connsiteY3" fmla="*/ 273359 h 463705"/>
                  <a:gd name="connsiteX4" fmla="*/ 748942 w 949492"/>
                  <a:gd name="connsiteY4" fmla="*/ 262152 h 463705"/>
                  <a:gd name="connsiteX5" fmla="*/ 629174 w 949492"/>
                  <a:gd name="connsiteY5" fmla="*/ 143312 h 463705"/>
                  <a:gd name="connsiteX6" fmla="*/ 574996 w 949492"/>
                  <a:gd name="connsiteY6" fmla="*/ 121446 h 463705"/>
                  <a:gd name="connsiteX7" fmla="*/ 313484 w 949492"/>
                  <a:gd name="connsiteY7" fmla="*/ 121446 h 463705"/>
                  <a:gd name="connsiteX8" fmla="*/ 259305 w 949492"/>
                  <a:gd name="connsiteY8" fmla="*/ 143307 h 463705"/>
                  <a:gd name="connsiteX9" fmla="*/ 141443 w 949492"/>
                  <a:gd name="connsiteY9" fmla="*/ 262152 h 463705"/>
                  <a:gd name="connsiteX10" fmla="*/ 130037 w 949492"/>
                  <a:gd name="connsiteY10" fmla="*/ 289724 h 463705"/>
                  <a:gd name="connsiteX11" fmla="*/ 130037 w 949492"/>
                  <a:gd name="connsiteY11" fmla="*/ 364340 h 463705"/>
                  <a:gd name="connsiteX12" fmla="*/ 99365 w 949492"/>
                  <a:gd name="connsiteY12" fmla="*/ 364340 h 463705"/>
                  <a:gd name="connsiteX13" fmla="*/ 66244 w 949492"/>
                  <a:gd name="connsiteY13" fmla="*/ 331218 h 463705"/>
                  <a:gd name="connsiteX14" fmla="*/ 66244 w 949492"/>
                  <a:gd name="connsiteY14" fmla="*/ 142411 h 463705"/>
                  <a:gd name="connsiteX15" fmla="*/ 110406 w 949492"/>
                  <a:gd name="connsiteY15" fmla="*/ 88324 h 463705"/>
                  <a:gd name="connsiteX16" fmla="*/ 110406 w 949492"/>
                  <a:gd name="connsiteY16" fmla="*/ 44162 h 463705"/>
                  <a:gd name="connsiteX17" fmla="*/ 93845 w 949492"/>
                  <a:gd name="connsiteY17" fmla="*/ 44162 h 463705"/>
                  <a:gd name="connsiteX18" fmla="*/ 71764 w 949492"/>
                  <a:gd name="connsiteY18" fmla="*/ 44162 h 463705"/>
                  <a:gd name="connsiteX19" fmla="*/ 38642 w 949492"/>
                  <a:gd name="connsiteY19" fmla="*/ 44162 h 463705"/>
                  <a:gd name="connsiteX20" fmla="*/ 38642 w 949492"/>
                  <a:gd name="connsiteY20" fmla="*/ 0 h 463705"/>
                  <a:gd name="connsiteX21" fmla="*/ 16561 w 949492"/>
                  <a:gd name="connsiteY21" fmla="*/ 44162 h 463705"/>
                  <a:gd name="connsiteX22" fmla="*/ 0 w 949492"/>
                  <a:gd name="connsiteY22" fmla="*/ 44162 h 463705"/>
                  <a:gd name="connsiteX23" fmla="*/ 0 w 949492"/>
                  <a:gd name="connsiteY23" fmla="*/ 88324 h 463705"/>
                  <a:gd name="connsiteX24" fmla="*/ 44162 w 949492"/>
                  <a:gd name="connsiteY24" fmla="*/ 142411 h 463705"/>
                  <a:gd name="connsiteX25" fmla="*/ 44162 w 949492"/>
                  <a:gd name="connsiteY25" fmla="*/ 331218 h 463705"/>
                  <a:gd name="connsiteX26" fmla="*/ 99365 w 949492"/>
                  <a:gd name="connsiteY26" fmla="*/ 386421 h 463705"/>
                  <a:gd name="connsiteX27" fmla="*/ 130037 w 949492"/>
                  <a:gd name="connsiteY27" fmla="*/ 386421 h 463705"/>
                  <a:gd name="connsiteX28" fmla="*/ 130037 w 949492"/>
                  <a:gd name="connsiteY28" fmla="*/ 387647 h 463705"/>
                  <a:gd name="connsiteX29" fmla="*/ 206095 w 949492"/>
                  <a:gd name="connsiteY29" fmla="*/ 463705 h 463705"/>
                  <a:gd name="connsiteX30" fmla="*/ 219298 w 949492"/>
                  <a:gd name="connsiteY30" fmla="*/ 463705 h 463705"/>
                  <a:gd name="connsiteX31" fmla="*/ 218445 w 949492"/>
                  <a:gd name="connsiteY31" fmla="*/ 450740 h 463705"/>
                  <a:gd name="connsiteX32" fmla="*/ 218908 w 949492"/>
                  <a:gd name="connsiteY32" fmla="*/ 441624 h 463705"/>
                  <a:gd name="connsiteX33" fmla="*/ 206075 w 949492"/>
                  <a:gd name="connsiteY33" fmla="*/ 441624 h 463705"/>
                  <a:gd name="connsiteX34" fmla="*/ 152117 w 949492"/>
                  <a:gd name="connsiteY34" fmla="*/ 387665 h 463705"/>
                  <a:gd name="connsiteX35" fmla="*/ 152117 w 949492"/>
                  <a:gd name="connsiteY35" fmla="*/ 295446 h 463705"/>
                  <a:gd name="connsiteX36" fmla="*/ 774631 w 949492"/>
                  <a:gd name="connsiteY36" fmla="*/ 295446 h 463705"/>
                  <a:gd name="connsiteX37" fmla="*/ 775551 w 949492"/>
                  <a:gd name="connsiteY37" fmla="*/ 295536 h 463705"/>
                  <a:gd name="connsiteX38" fmla="*/ 854442 w 949492"/>
                  <a:gd name="connsiteY38" fmla="*/ 295536 h 463705"/>
                  <a:gd name="connsiteX39" fmla="*/ 927411 w 949492"/>
                  <a:gd name="connsiteY39" fmla="*/ 368503 h 463705"/>
                  <a:gd name="connsiteX40" fmla="*/ 927411 w 949492"/>
                  <a:gd name="connsiteY40" fmla="*/ 425683 h 463705"/>
                  <a:gd name="connsiteX41" fmla="*/ 911465 w 949492"/>
                  <a:gd name="connsiteY41" fmla="*/ 441624 h 463705"/>
                  <a:gd name="connsiteX42" fmla="*/ 857126 w 949492"/>
                  <a:gd name="connsiteY42" fmla="*/ 441624 h 463705"/>
                  <a:gd name="connsiteX43" fmla="*/ 857588 w 949492"/>
                  <a:gd name="connsiteY43" fmla="*/ 450740 h 463705"/>
                  <a:gd name="connsiteX44" fmla="*/ 856735 w 949492"/>
                  <a:gd name="connsiteY44" fmla="*/ 463705 h 463705"/>
                  <a:gd name="connsiteX45" fmla="*/ 911473 w 949492"/>
                  <a:gd name="connsiteY45" fmla="*/ 463705 h 463705"/>
                  <a:gd name="connsiteX46" fmla="*/ 949492 w 949492"/>
                  <a:gd name="connsiteY46" fmla="*/ 425686 h 463705"/>
                  <a:gd name="connsiteX47" fmla="*/ 949492 w 949492"/>
                  <a:gd name="connsiteY47" fmla="*/ 368633 h 463705"/>
                  <a:gd name="connsiteX48" fmla="*/ 854308 w 949492"/>
                  <a:gd name="connsiteY48" fmla="*/ 273449 h 463705"/>
                  <a:gd name="connsiteX49" fmla="*/ 22081 w 949492"/>
                  <a:gd name="connsiteY49" fmla="*/ 87017 h 463705"/>
                  <a:gd name="connsiteX50" fmla="*/ 22081 w 949492"/>
                  <a:gd name="connsiteY50" fmla="*/ 66243 h 463705"/>
                  <a:gd name="connsiteX51" fmla="*/ 88325 w 949492"/>
                  <a:gd name="connsiteY51" fmla="*/ 66243 h 463705"/>
                  <a:gd name="connsiteX52" fmla="*/ 88325 w 949492"/>
                  <a:gd name="connsiteY52" fmla="*/ 88324 h 463705"/>
                  <a:gd name="connsiteX53" fmla="*/ 55107 w 949492"/>
                  <a:gd name="connsiteY53" fmla="*/ 121456 h 463705"/>
                  <a:gd name="connsiteX54" fmla="*/ 48602 w 949492"/>
                  <a:gd name="connsiteY54" fmla="*/ 120804 h 463705"/>
                  <a:gd name="connsiteX55" fmla="*/ 22081 w 949492"/>
                  <a:gd name="connsiteY55" fmla="*/ 87017 h 463705"/>
                  <a:gd name="connsiteX56" fmla="*/ 613621 w 949492"/>
                  <a:gd name="connsiteY56" fmla="*/ 158984 h 463705"/>
                  <a:gd name="connsiteX57" fmla="*/ 728881 w 949492"/>
                  <a:gd name="connsiteY57" fmla="*/ 273365 h 463705"/>
                  <a:gd name="connsiteX58" fmla="*/ 441624 w 949492"/>
                  <a:gd name="connsiteY58" fmla="*/ 273365 h 463705"/>
                  <a:gd name="connsiteX59" fmla="*/ 441624 w 949492"/>
                  <a:gd name="connsiteY59" fmla="*/ 143527 h 463705"/>
                  <a:gd name="connsiteX60" fmla="*/ 574995 w 949492"/>
                  <a:gd name="connsiteY60" fmla="*/ 143527 h 463705"/>
                  <a:gd name="connsiteX61" fmla="*/ 613621 w 949492"/>
                  <a:gd name="connsiteY61" fmla="*/ 158984 h 463705"/>
                  <a:gd name="connsiteX62" fmla="*/ 274920 w 949492"/>
                  <a:gd name="connsiteY62" fmla="*/ 158923 h 463705"/>
                  <a:gd name="connsiteX63" fmla="*/ 313484 w 949492"/>
                  <a:gd name="connsiteY63" fmla="*/ 143527 h 463705"/>
                  <a:gd name="connsiteX64" fmla="*/ 419543 w 949492"/>
                  <a:gd name="connsiteY64" fmla="*/ 143527 h 463705"/>
                  <a:gd name="connsiteX65" fmla="*/ 419543 w 949492"/>
                  <a:gd name="connsiteY65" fmla="*/ 273365 h 463705"/>
                  <a:gd name="connsiteX66" fmla="*/ 161692 w 949492"/>
                  <a:gd name="connsiteY66" fmla="*/ 273365 h 463705"/>
                  <a:gd name="connsiteX67" fmla="*/ 161613 w 949492"/>
                  <a:gd name="connsiteY67" fmla="*/ 273177 h 463705"/>
                  <a:gd name="connsiteX68" fmla="*/ 274920 w 949492"/>
                  <a:gd name="connsiteY68" fmla="*/ 158923 h 463705"/>
                  <a:gd name="connsiteX0" fmla="*/ 854308 w 949492"/>
                  <a:gd name="connsiteY0" fmla="*/ 229287 h 419543"/>
                  <a:gd name="connsiteX1" fmla="*/ 778556 w 949492"/>
                  <a:gd name="connsiteY1" fmla="*/ 229287 h 419543"/>
                  <a:gd name="connsiteX2" fmla="*/ 778114 w 949492"/>
                  <a:gd name="connsiteY2" fmla="*/ 229197 h 419543"/>
                  <a:gd name="connsiteX3" fmla="*/ 774575 w 949492"/>
                  <a:gd name="connsiteY3" fmla="*/ 229197 h 419543"/>
                  <a:gd name="connsiteX4" fmla="*/ 748942 w 949492"/>
                  <a:gd name="connsiteY4" fmla="*/ 217990 h 419543"/>
                  <a:gd name="connsiteX5" fmla="*/ 629174 w 949492"/>
                  <a:gd name="connsiteY5" fmla="*/ 99150 h 419543"/>
                  <a:gd name="connsiteX6" fmla="*/ 574996 w 949492"/>
                  <a:gd name="connsiteY6" fmla="*/ 77284 h 419543"/>
                  <a:gd name="connsiteX7" fmla="*/ 313484 w 949492"/>
                  <a:gd name="connsiteY7" fmla="*/ 77284 h 419543"/>
                  <a:gd name="connsiteX8" fmla="*/ 259305 w 949492"/>
                  <a:gd name="connsiteY8" fmla="*/ 99145 h 419543"/>
                  <a:gd name="connsiteX9" fmla="*/ 141443 w 949492"/>
                  <a:gd name="connsiteY9" fmla="*/ 217990 h 419543"/>
                  <a:gd name="connsiteX10" fmla="*/ 130037 w 949492"/>
                  <a:gd name="connsiteY10" fmla="*/ 245562 h 419543"/>
                  <a:gd name="connsiteX11" fmla="*/ 130037 w 949492"/>
                  <a:gd name="connsiteY11" fmla="*/ 320178 h 419543"/>
                  <a:gd name="connsiteX12" fmla="*/ 99365 w 949492"/>
                  <a:gd name="connsiteY12" fmla="*/ 320178 h 419543"/>
                  <a:gd name="connsiteX13" fmla="*/ 66244 w 949492"/>
                  <a:gd name="connsiteY13" fmla="*/ 287056 h 419543"/>
                  <a:gd name="connsiteX14" fmla="*/ 66244 w 949492"/>
                  <a:gd name="connsiteY14" fmla="*/ 98249 h 419543"/>
                  <a:gd name="connsiteX15" fmla="*/ 110406 w 949492"/>
                  <a:gd name="connsiteY15" fmla="*/ 44162 h 419543"/>
                  <a:gd name="connsiteX16" fmla="*/ 110406 w 949492"/>
                  <a:gd name="connsiteY16" fmla="*/ 0 h 419543"/>
                  <a:gd name="connsiteX17" fmla="*/ 93845 w 949492"/>
                  <a:gd name="connsiteY17" fmla="*/ 0 h 419543"/>
                  <a:gd name="connsiteX18" fmla="*/ 71764 w 949492"/>
                  <a:gd name="connsiteY18" fmla="*/ 0 h 419543"/>
                  <a:gd name="connsiteX19" fmla="*/ 38642 w 949492"/>
                  <a:gd name="connsiteY19" fmla="*/ 0 h 419543"/>
                  <a:gd name="connsiteX20" fmla="*/ 16561 w 949492"/>
                  <a:gd name="connsiteY20" fmla="*/ 0 h 419543"/>
                  <a:gd name="connsiteX21" fmla="*/ 0 w 949492"/>
                  <a:gd name="connsiteY21" fmla="*/ 0 h 419543"/>
                  <a:gd name="connsiteX22" fmla="*/ 0 w 949492"/>
                  <a:gd name="connsiteY22" fmla="*/ 44162 h 419543"/>
                  <a:gd name="connsiteX23" fmla="*/ 44162 w 949492"/>
                  <a:gd name="connsiteY23" fmla="*/ 98249 h 419543"/>
                  <a:gd name="connsiteX24" fmla="*/ 44162 w 949492"/>
                  <a:gd name="connsiteY24" fmla="*/ 287056 h 419543"/>
                  <a:gd name="connsiteX25" fmla="*/ 99365 w 949492"/>
                  <a:gd name="connsiteY25" fmla="*/ 342259 h 419543"/>
                  <a:gd name="connsiteX26" fmla="*/ 130037 w 949492"/>
                  <a:gd name="connsiteY26" fmla="*/ 342259 h 419543"/>
                  <a:gd name="connsiteX27" fmla="*/ 130037 w 949492"/>
                  <a:gd name="connsiteY27" fmla="*/ 343485 h 419543"/>
                  <a:gd name="connsiteX28" fmla="*/ 206095 w 949492"/>
                  <a:gd name="connsiteY28" fmla="*/ 419543 h 419543"/>
                  <a:gd name="connsiteX29" fmla="*/ 219298 w 949492"/>
                  <a:gd name="connsiteY29" fmla="*/ 419543 h 419543"/>
                  <a:gd name="connsiteX30" fmla="*/ 218445 w 949492"/>
                  <a:gd name="connsiteY30" fmla="*/ 406578 h 419543"/>
                  <a:gd name="connsiteX31" fmla="*/ 218908 w 949492"/>
                  <a:gd name="connsiteY31" fmla="*/ 397462 h 419543"/>
                  <a:gd name="connsiteX32" fmla="*/ 206075 w 949492"/>
                  <a:gd name="connsiteY32" fmla="*/ 397462 h 419543"/>
                  <a:gd name="connsiteX33" fmla="*/ 152117 w 949492"/>
                  <a:gd name="connsiteY33" fmla="*/ 343503 h 419543"/>
                  <a:gd name="connsiteX34" fmla="*/ 152117 w 949492"/>
                  <a:gd name="connsiteY34" fmla="*/ 251284 h 419543"/>
                  <a:gd name="connsiteX35" fmla="*/ 774631 w 949492"/>
                  <a:gd name="connsiteY35" fmla="*/ 251284 h 419543"/>
                  <a:gd name="connsiteX36" fmla="*/ 775551 w 949492"/>
                  <a:gd name="connsiteY36" fmla="*/ 251374 h 419543"/>
                  <a:gd name="connsiteX37" fmla="*/ 854442 w 949492"/>
                  <a:gd name="connsiteY37" fmla="*/ 251374 h 419543"/>
                  <a:gd name="connsiteX38" fmla="*/ 927411 w 949492"/>
                  <a:gd name="connsiteY38" fmla="*/ 324341 h 419543"/>
                  <a:gd name="connsiteX39" fmla="*/ 927411 w 949492"/>
                  <a:gd name="connsiteY39" fmla="*/ 381521 h 419543"/>
                  <a:gd name="connsiteX40" fmla="*/ 911465 w 949492"/>
                  <a:gd name="connsiteY40" fmla="*/ 397462 h 419543"/>
                  <a:gd name="connsiteX41" fmla="*/ 857126 w 949492"/>
                  <a:gd name="connsiteY41" fmla="*/ 397462 h 419543"/>
                  <a:gd name="connsiteX42" fmla="*/ 857588 w 949492"/>
                  <a:gd name="connsiteY42" fmla="*/ 406578 h 419543"/>
                  <a:gd name="connsiteX43" fmla="*/ 856735 w 949492"/>
                  <a:gd name="connsiteY43" fmla="*/ 419543 h 419543"/>
                  <a:gd name="connsiteX44" fmla="*/ 911473 w 949492"/>
                  <a:gd name="connsiteY44" fmla="*/ 419543 h 419543"/>
                  <a:gd name="connsiteX45" fmla="*/ 949492 w 949492"/>
                  <a:gd name="connsiteY45" fmla="*/ 381524 h 419543"/>
                  <a:gd name="connsiteX46" fmla="*/ 949492 w 949492"/>
                  <a:gd name="connsiteY46" fmla="*/ 324471 h 419543"/>
                  <a:gd name="connsiteX47" fmla="*/ 854308 w 949492"/>
                  <a:gd name="connsiteY47" fmla="*/ 229287 h 419543"/>
                  <a:gd name="connsiteX48" fmla="*/ 22081 w 949492"/>
                  <a:gd name="connsiteY48" fmla="*/ 42855 h 419543"/>
                  <a:gd name="connsiteX49" fmla="*/ 22081 w 949492"/>
                  <a:gd name="connsiteY49" fmla="*/ 22081 h 419543"/>
                  <a:gd name="connsiteX50" fmla="*/ 88325 w 949492"/>
                  <a:gd name="connsiteY50" fmla="*/ 22081 h 419543"/>
                  <a:gd name="connsiteX51" fmla="*/ 88325 w 949492"/>
                  <a:gd name="connsiteY51" fmla="*/ 44162 h 419543"/>
                  <a:gd name="connsiteX52" fmla="*/ 55107 w 949492"/>
                  <a:gd name="connsiteY52" fmla="*/ 77294 h 419543"/>
                  <a:gd name="connsiteX53" fmla="*/ 48602 w 949492"/>
                  <a:gd name="connsiteY53" fmla="*/ 76642 h 419543"/>
                  <a:gd name="connsiteX54" fmla="*/ 22081 w 949492"/>
                  <a:gd name="connsiteY54" fmla="*/ 42855 h 419543"/>
                  <a:gd name="connsiteX55" fmla="*/ 613621 w 949492"/>
                  <a:gd name="connsiteY55" fmla="*/ 114822 h 419543"/>
                  <a:gd name="connsiteX56" fmla="*/ 728881 w 949492"/>
                  <a:gd name="connsiteY56" fmla="*/ 229203 h 419543"/>
                  <a:gd name="connsiteX57" fmla="*/ 441624 w 949492"/>
                  <a:gd name="connsiteY57" fmla="*/ 229203 h 419543"/>
                  <a:gd name="connsiteX58" fmla="*/ 441624 w 949492"/>
                  <a:gd name="connsiteY58" fmla="*/ 99365 h 419543"/>
                  <a:gd name="connsiteX59" fmla="*/ 574995 w 949492"/>
                  <a:gd name="connsiteY59" fmla="*/ 99365 h 419543"/>
                  <a:gd name="connsiteX60" fmla="*/ 613621 w 949492"/>
                  <a:gd name="connsiteY60" fmla="*/ 114822 h 419543"/>
                  <a:gd name="connsiteX61" fmla="*/ 274920 w 949492"/>
                  <a:gd name="connsiteY61" fmla="*/ 114761 h 419543"/>
                  <a:gd name="connsiteX62" fmla="*/ 313484 w 949492"/>
                  <a:gd name="connsiteY62" fmla="*/ 99365 h 419543"/>
                  <a:gd name="connsiteX63" fmla="*/ 419543 w 949492"/>
                  <a:gd name="connsiteY63" fmla="*/ 99365 h 419543"/>
                  <a:gd name="connsiteX64" fmla="*/ 419543 w 949492"/>
                  <a:gd name="connsiteY64" fmla="*/ 229203 h 419543"/>
                  <a:gd name="connsiteX65" fmla="*/ 161692 w 949492"/>
                  <a:gd name="connsiteY65" fmla="*/ 229203 h 419543"/>
                  <a:gd name="connsiteX66" fmla="*/ 161613 w 949492"/>
                  <a:gd name="connsiteY66" fmla="*/ 229015 h 419543"/>
                  <a:gd name="connsiteX67" fmla="*/ 274920 w 949492"/>
                  <a:gd name="connsiteY67" fmla="*/ 114761 h 419543"/>
                  <a:gd name="connsiteX0" fmla="*/ 854308 w 949492"/>
                  <a:gd name="connsiteY0" fmla="*/ 229287 h 419543"/>
                  <a:gd name="connsiteX1" fmla="*/ 778556 w 949492"/>
                  <a:gd name="connsiteY1" fmla="*/ 229287 h 419543"/>
                  <a:gd name="connsiteX2" fmla="*/ 778114 w 949492"/>
                  <a:gd name="connsiteY2" fmla="*/ 229197 h 419543"/>
                  <a:gd name="connsiteX3" fmla="*/ 774575 w 949492"/>
                  <a:gd name="connsiteY3" fmla="*/ 229197 h 419543"/>
                  <a:gd name="connsiteX4" fmla="*/ 748942 w 949492"/>
                  <a:gd name="connsiteY4" fmla="*/ 217990 h 419543"/>
                  <a:gd name="connsiteX5" fmla="*/ 629174 w 949492"/>
                  <a:gd name="connsiteY5" fmla="*/ 99150 h 419543"/>
                  <a:gd name="connsiteX6" fmla="*/ 574996 w 949492"/>
                  <a:gd name="connsiteY6" fmla="*/ 77284 h 419543"/>
                  <a:gd name="connsiteX7" fmla="*/ 313484 w 949492"/>
                  <a:gd name="connsiteY7" fmla="*/ 77284 h 419543"/>
                  <a:gd name="connsiteX8" fmla="*/ 259305 w 949492"/>
                  <a:gd name="connsiteY8" fmla="*/ 99145 h 419543"/>
                  <a:gd name="connsiteX9" fmla="*/ 141443 w 949492"/>
                  <a:gd name="connsiteY9" fmla="*/ 217990 h 419543"/>
                  <a:gd name="connsiteX10" fmla="*/ 130037 w 949492"/>
                  <a:gd name="connsiteY10" fmla="*/ 245562 h 419543"/>
                  <a:gd name="connsiteX11" fmla="*/ 130037 w 949492"/>
                  <a:gd name="connsiteY11" fmla="*/ 320178 h 419543"/>
                  <a:gd name="connsiteX12" fmla="*/ 99365 w 949492"/>
                  <a:gd name="connsiteY12" fmla="*/ 320178 h 419543"/>
                  <a:gd name="connsiteX13" fmla="*/ 66244 w 949492"/>
                  <a:gd name="connsiteY13" fmla="*/ 287056 h 419543"/>
                  <a:gd name="connsiteX14" fmla="*/ 66244 w 949492"/>
                  <a:gd name="connsiteY14" fmla="*/ 98249 h 419543"/>
                  <a:gd name="connsiteX15" fmla="*/ 110406 w 949492"/>
                  <a:gd name="connsiteY15" fmla="*/ 44162 h 419543"/>
                  <a:gd name="connsiteX16" fmla="*/ 110406 w 949492"/>
                  <a:gd name="connsiteY16" fmla="*/ 0 h 419543"/>
                  <a:gd name="connsiteX17" fmla="*/ 93845 w 949492"/>
                  <a:gd name="connsiteY17" fmla="*/ 0 h 419543"/>
                  <a:gd name="connsiteX18" fmla="*/ 71764 w 949492"/>
                  <a:gd name="connsiteY18" fmla="*/ 0 h 419543"/>
                  <a:gd name="connsiteX19" fmla="*/ 38642 w 949492"/>
                  <a:gd name="connsiteY19" fmla="*/ 0 h 419543"/>
                  <a:gd name="connsiteX20" fmla="*/ 16561 w 949492"/>
                  <a:gd name="connsiteY20" fmla="*/ 0 h 419543"/>
                  <a:gd name="connsiteX21" fmla="*/ 0 w 949492"/>
                  <a:gd name="connsiteY21" fmla="*/ 44162 h 419543"/>
                  <a:gd name="connsiteX22" fmla="*/ 44162 w 949492"/>
                  <a:gd name="connsiteY22" fmla="*/ 98249 h 419543"/>
                  <a:gd name="connsiteX23" fmla="*/ 44162 w 949492"/>
                  <a:gd name="connsiteY23" fmla="*/ 287056 h 419543"/>
                  <a:gd name="connsiteX24" fmla="*/ 99365 w 949492"/>
                  <a:gd name="connsiteY24" fmla="*/ 342259 h 419543"/>
                  <a:gd name="connsiteX25" fmla="*/ 130037 w 949492"/>
                  <a:gd name="connsiteY25" fmla="*/ 342259 h 419543"/>
                  <a:gd name="connsiteX26" fmla="*/ 130037 w 949492"/>
                  <a:gd name="connsiteY26" fmla="*/ 343485 h 419543"/>
                  <a:gd name="connsiteX27" fmla="*/ 206095 w 949492"/>
                  <a:gd name="connsiteY27" fmla="*/ 419543 h 419543"/>
                  <a:gd name="connsiteX28" fmla="*/ 219298 w 949492"/>
                  <a:gd name="connsiteY28" fmla="*/ 419543 h 419543"/>
                  <a:gd name="connsiteX29" fmla="*/ 218445 w 949492"/>
                  <a:gd name="connsiteY29" fmla="*/ 406578 h 419543"/>
                  <a:gd name="connsiteX30" fmla="*/ 218908 w 949492"/>
                  <a:gd name="connsiteY30" fmla="*/ 397462 h 419543"/>
                  <a:gd name="connsiteX31" fmla="*/ 206075 w 949492"/>
                  <a:gd name="connsiteY31" fmla="*/ 397462 h 419543"/>
                  <a:gd name="connsiteX32" fmla="*/ 152117 w 949492"/>
                  <a:gd name="connsiteY32" fmla="*/ 343503 h 419543"/>
                  <a:gd name="connsiteX33" fmla="*/ 152117 w 949492"/>
                  <a:gd name="connsiteY33" fmla="*/ 251284 h 419543"/>
                  <a:gd name="connsiteX34" fmla="*/ 774631 w 949492"/>
                  <a:gd name="connsiteY34" fmla="*/ 251284 h 419543"/>
                  <a:gd name="connsiteX35" fmla="*/ 775551 w 949492"/>
                  <a:gd name="connsiteY35" fmla="*/ 251374 h 419543"/>
                  <a:gd name="connsiteX36" fmla="*/ 854442 w 949492"/>
                  <a:gd name="connsiteY36" fmla="*/ 251374 h 419543"/>
                  <a:gd name="connsiteX37" fmla="*/ 927411 w 949492"/>
                  <a:gd name="connsiteY37" fmla="*/ 324341 h 419543"/>
                  <a:gd name="connsiteX38" fmla="*/ 927411 w 949492"/>
                  <a:gd name="connsiteY38" fmla="*/ 381521 h 419543"/>
                  <a:gd name="connsiteX39" fmla="*/ 911465 w 949492"/>
                  <a:gd name="connsiteY39" fmla="*/ 397462 h 419543"/>
                  <a:gd name="connsiteX40" fmla="*/ 857126 w 949492"/>
                  <a:gd name="connsiteY40" fmla="*/ 397462 h 419543"/>
                  <a:gd name="connsiteX41" fmla="*/ 857588 w 949492"/>
                  <a:gd name="connsiteY41" fmla="*/ 406578 h 419543"/>
                  <a:gd name="connsiteX42" fmla="*/ 856735 w 949492"/>
                  <a:gd name="connsiteY42" fmla="*/ 419543 h 419543"/>
                  <a:gd name="connsiteX43" fmla="*/ 911473 w 949492"/>
                  <a:gd name="connsiteY43" fmla="*/ 419543 h 419543"/>
                  <a:gd name="connsiteX44" fmla="*/ 949492 w 949492"/>
                  <a:gd name="connsiteY44" fmla="*/ 381524 h 419543"/>
                  <a:gd name="connsiteX45" fmla="*/ 949492 w 949492"/>
                  <a:gd name="connsiteY45" fmla="*/ 324471 h 419543"/>
                  <a:gd name="connsiteX46" fmla="*/ 854308 w 949492"/>
                  <a:gd name="connsiteY46" fmla="*/ 229287 h 419543"/>
                  <a:gd name="connsiteX47" fmla="*/ 22081 w 949492"/>
                  <a:gd name="connsiteY47" fmla="*/ 42855 h 419543"/>
                  <a:gd name="connsiteX48" fmla="*/ 22081 w 949492"/>
                  <a:gd name="connsiteY48" fmla="*/ 22081 h 419543"/>
                  <a:gd name="connsiteX49" fmla="*/ 88325 w 949492"/>
                  <a:gd name="connsiteY49" fmla="*/ 22081 h 419543"/>
                  <a:gd name="connsiteX50" fmla="*/ 88325 w 949492"/>
                  <a:gd name="connsiteY50" fmla="*/ 44162 h 419543"/>
                  <a:gd name="connsiteX51" fmla="*/ 55107 w 949492"/>
                  <a:gd name="connsiteY51" fmla="*/ 77294 h 419543"/>
                  <a:gd name="connsiteX52" fmla="*/ 48602 w 949492"/>
                  <a:gd name="connsiteY52" fmla="*/ 76642 h 419543"/>
                  <a:gd name="connsiteX53" fmla="*/ 22081 w 949492"/>
                  <a:gd name="connsiteY53" fmla="*/ 42855 h 419543"/>
                  <a:gd name="connsiteX54" fmla="*/ 613621 w 949492"/>
                  <a:gd name="connsiteY54" fmla="*/ 114822 h 419543"/>
                  <a:gd name="connsiteX55" fmla="*/ 728881 w 949492"/>
                  <a:gd name="connsiteY55" fmla="*/ 229203 h 419543"/>
                  <a:gd name="connsiteX56" fmla="*/ 441624 w 949492"/>
                  <a:gd name="connsiteY56" fmla="*/ 229203 h 419543"/>
                  <a:gd name="connsiteX57" fmla="*/ 441624 w 949492"/>
                  <a:gd name="connsiteY57" fmla="*/ 99365 h 419543"/>
                  <a:gd name="connsiteX58" fmla="*/ 574995 w 949492"/>
                  <a:gd name="connsiteY58" fmla="*/ 99365 h 419543"/>
                  <a:gd name="connsiteX59" fmla="*/ 613621 w 949492"/>
                  <a:gd name="connsiteY59" fmla="*/ 114822 h 419543"/>
                  <a:gd name="connsiteX60" fmla="*/ 274920 w 949492"/>
                  <a:gd name="connsiteY60" fmla="*/ 114761 h 419543"/>
                  <a:gd name="connsiteX61" fmla="*/ 313484 w 949492"/>
                  <a:gd name="connsiteY61" fmla="*/ 99365 h 419543"/>
                  <a:gd name="connsiteX62" fmla="*/ 419543 w 949492"/>
                  <a:gd name="connsiteY62" fmla="*/ 99365 h 419543"/>
                  <a:gd name="connsiteX63" fmla="*/ 419543 w 949492"/>
                  <a:gd name="connsiteY63" fmla="*/ 229203 h 419543"/>
                  <a:gd name="connsiteX64" fmla="*/ 161692 w 949492"/>
                  <a:gd name="connsiteY64" fmla="*/ 229203 h 419543"/>
                  <a:gd name="connsiteX65" fmla="*/ 161613 w 949492"/>
                  <a:gd name="connsiteY65" fmla="*/ 229015 h 419543"/>
                  <a:gd name="connsiteX66" fmla="*/ 274920 w 949492"/>
                  <a:gd name="connsiteY66" fmla="*/ 114761 h 419543"/>
                  <a:gd name="connsiteX0" fmla="*/ 854308 w 949492"/>
                  <a:gd name="connsiteY0" fmla="*/ 229287 h 419543"/>
                  <a:gd name="connsiteX1" fmla="*/ 778556 w 949492"/>
                  <a:gd name="connsiteY1" fmla="*/ 229287 h 419543"/>
                  <a:gd name="connsiteX2" fmla="*/ 778114 w 949492"/>
                  <a:gd name="connsiteY2" fmla="*/ 229197 h 419543"/>
                  <a:gd name="connsiteX3" fmla="*/ 774575 w 949492"/>
                  <a:gd name="connsiteY3" fmla="*/ 229197 h 419543"/>
                  <a:gd name="connsiteX4" fmla="*/ 748942 w 949492"/>
                  <a:gd name="connsiteY4" fmla="*/ 217990 h 419543"/>
                  <a:gd name="connsiteX5" fmla="*/ 629174 w 949492"/>
                  <a:gd name="connsiteY5" fmla="*/ 99150 h 419543"/>
                  <a:gd name="connsiteX6" fmla="*/ 574996 w 949492"/>
                  <a:gd name="connsiteY6" fmla="*/ 77284 h 419543"/>
                  <a:gd name="connsiteX7" fmla="*/ 313484 w 949492"/>
                  <a:gd name="connsiteY7" fmla="*/ 77284 h 419543"/>
                  <a:gd name="connsiteX8" fmla="*/ 259305 w 949492"/>
                  <a:gd name="connsiteY8" fmla="*/ 99145 h 419543"/>
                  <a:gd name="connsiteX9" fmla="*/ 141443 w 949492"/>
                  <a:gd name="connsiteY9" fmla="*/ 217990 h 419543"/>
                  <a:gd name="connsiteX10" fmla="*/ 130037 w 949492"/>
                  <a:gd name="connsiteY10" fmla="*/ 245562 h 419543"/>
                  <a:gd name="connsiteX11" fmla="*/ 130037 w 949492"/>
                  <a:gd name="connsiteY11" fmla="*/ 320178 h 419543"/>
                  <a:gd name="connsiteX12" fmla="*/ 99365 w 949492"/>
                  <a:gd name="connsiteY12" fmla="*/ 320178 h 419543"/>
                  <a:gd name="connsiteX13" fmla="*/ 66244 w 949492"/>
                  <a:gd name="connsiteY13" fmla="*/ 287056 h 419543"/>
                  <a:gd name="connsiteX14" fmla="*/ 66244 w 949492"/>
                  <a:gd name="connsiteY14" fmla="*/ 98249 h 419543"/>
                  <a:gd name="connsiteX15" fmla="*/ 110406 w 949492"/>
                  <a:gd name="connsiteY15" fmla="*/ 44162 h 419543"/>
                  <a:gd name="connsiteX16" fmla="*/ 110406 w 949492"/>
                  <a:gd name="connsiteY16" fmla="*/ 0 h 419543"/>
                  <a:gd name="connsiteX17" fmla="*/ 93845 w 949492"/>
                  <a:gd name="connsiteY17" fmla="*/ 0 h 419543"/>
                  <a:gd name="connsiteX18" fmla="*/ 71764 w 949492"/>
                  <a:gd name="connsiteY18" fmla="*/ 0 h 419543"/>
                  <a:gd name="connsiteX19" fmla="*/ 38642 w 949492"/>
                  <a:gd name="connsiteY19" fmla="*/ 0 h 419543"/>
                  <a:gd name="connsiteX20" fmla="*/ 0 w 949492"/>
                  <a:gd name="connsiteY20" fmla="*/ 44162 h 419543"/>
                  <a:gd name="connsiteX21" fmla="*/ 44162 w 949492"/>
                  <a:gd name="connsiteY21" fmla="*/ 98249 h 419543"/>
                  <a:gd name="connsiteX22" fmla="*/ 44162 w 949492"/>
                  <a:gd name="connsiteY22" fmla="*/ 287056 h 419543"/>
                  <a:gd name="connsiteX23" fmla="*/ 99365 w 949492"/>
                  <a:gd name="connsiteY23" fmla="*/ 342259 h 419543"/>
                  <a:gd name="connsiteX24" fmla="*/ 130037 w 949492"/>
                  <a:gd name="connsiteY24" fmla="*/ 342259 h 419543"/>
                  <a:gd name="connsiteX25" fmla="*/ 130037 w 949492"/>
                  <a:gd name="connsiteY25" fmla="*/ 343485 h 419543"/>
                  <a:gd name="connsiteX26" fmla="*/ 206095 w 949492"/>
                  <a:gd name="connsiteY26" fmla="*/ 419543 h 419543"/>
                  <a:gd name="connsiteX27" fmla="*/ 219298 w 949492"/>
                  <a:gd name="connsiteY27" fmla="*/ 419543 h 419543"/>
                  <a:gd name="connsiteX28" fmla="*/ 218445 w 949492"/>
                  <a:gd name="connsiteY28" fmla="*/ 406578 h 419543"/>
                  <a:gd name="connsiteX29" fmla="*/ 218908 w 949492"/>
                  <a:gd name="connsiteY29" fmla="*/ 397462 h 419543"/>
                  <a:gd name="connsiteX30" fmla="*/ 206075 w 949492"/>
                  <a:gd name="connsiteY30" fmla="*/ 397462 h 419543"/>
                  <a:gd name="connsiteX31" fmla="*/ 152117 w 949492"/>
                  <a:gd name="connsiteY31" fmla="*/ 343503 h 419543"/>
                  <a:gd name="connsiteX32" fmla="*/ 152117 w 949492"/>
                  <a:gd name="connsiteY32" fmla="*/ 251284 h 419543"/>
                  <a:gd name="connsiteX33" fmla="*/ 774631 w 949492"/>
                  <a:gd name="connsiteY33" fmla="*/ 251284 h 419543"/>
                  <a:gd name="connsiteX34" fmla="*/ 775551 w 949492"/>
                  <a:gd name="connsiteY34" fmla="*/ 251374 h 419543"/>
                  <a:gd name="connsiteX35" fmla="*/ 854442 w 949492"/>
                  <a:gd name="connsiteY35" fmla="*/ 251374 h 419543"/>
                  <a:gd name="connsiteX36" fmla="*/ 927411 w 949492"/>
                  <a:gd name="connsiteY36" fmla="*/ 324341 h 419543"/>
                  <a:gd name="connsiteX37" fmla="*/ 927411 w 949492"/>
                  <a:gd name="connsiteY37" fmla="*/ 381521 h 419543"/>
                  <a:gd name="connsiteX38" fmla="*/ 911465 w 949492"/>
                  <a:gd name="connsiteY38" fmla="*/ 397462 h 419543"/>
                  <a:gd name="connsiteX39" fmla="*/ 857126 w 949492"/>
                  <a:gd name="connsiteY39" fmla="*/ 397462 h 419543"/>
                  <a:gd name="connsiteX40" fmla="*/ 857588 w 949492"/>
                  <a:gd name="connsiteY40" fmla="*/ 406578 h 419543"/>
                  <a:gd name="connsiteX41" fmla="*/ 856735 w 949492"/>
                  <a:gd name="connsiteY41" fmla="*/ 419543 h 419543"/>
                  <a:gd name="connsiteX42" fmla="*/ 911473 w 949492"/>
                  <a:gd name="connsiteY42" fmla="*/ 419543 h 419543"/>
                  <a:gd name="connsiteX43" fmla="*/ 949492 w 949492"/>
                  <a:gd name="connsiteY43" fmla="*/ 381524 h 419543"/>
                  <a:gd name="connsiteX44" fmla="*/ 949492 w 949492"/>
                  <a:gd name="connsiteY44" fmla="*/ 324471 h 419543"/>
                  <a:gd name="connsiteX45" fmla="*/ 854308 w 949492"/>
                  <a:gd name="connsiteY45" fmla="*/ 229287 h 419543"/>
                  <a:gd name="connsiteX46" fmla="*/ 22081 w 949492"/>
                  <a:gd name="connsiteY46" fmla="*/ 42855 h 419543"/>
                  <a:gd name="connsiteX47" fmla="*/ 22081 w 949492"/>
                  <a:gd name="connsiteY47" fmla="*/ 22081 h 419543"/>
                  <a:gd name="connsiteX48" fmla="*/ 88325 w 949492"/>
                  <a:gd name="connsiteY48" fmla="*/ 22081 h 419543"/>
                  <a:gd name="connsiteX49" fmla="*/ 88325 w 949492"/>
                  <a:gd name="connsiteY49" fmla="*/ 44162 h 419543"/>
                  <a:gd name="connsiteX50" fmla="*/ 55107 w 949492"/>
                  <a:gd name="connsiteY50" fmla="*/ 77294 h 419543"/>
                  <a:gd name="connsiteX51" fmla="*/ 48602 w 949492"/>
                  <a:gd name="connsiteY51" fmla="*/ 76642 h 419543"/>
                  <a:gd name="connsiteX52" fmla="*/ 22081 w 949492"/>
                  <a:gd name="connsiteY52" fmla="*/ 42855 h 419543"/>
                  <a:gd name="connsiteX53" fmla="*/ 613621 w 949492"/>
                  <a:gd name="connsiteY53" fmla="*/ 114822 h 419543"/>
                  <a:gd name="connsiteX54" fmla="*/ 728881 w 949492"/>
                  <a:gd name="connsiteY54" fmla="*/ 229203 h 419543"/>
                  <a:gd name="connsiteX55" fmla="*/ 441624 w 949492"/>
                  <a:gd name="connsiteY55" fmla="*/ 229203 h 419543"/>
                  <a:gd name="connsiteX56" fmla="*/ 441624 w 949492"/>
                  <a:gd name="connsiteY56" fmla="*/ 99365 h 419543"/>
                  <a:gd name="connsiteX57" fmla="*/ 574995 w 949492"/>
                  <a:gd name="connsiteY57" fmla="*/ 99365 h 419543"/>
                  <a:gd name="connsiteX58" fmla="*/ 613621 w 949492"/>
                  <a:gd name="connsiteY58" fmla="*/ 114822 h 419543"/>
                  <a:gd name="connsiteX59" fmla="*/ 274920 w 949492"/>
                  <a:gd name="connsiteY59" fmla="*/ 114761 h 419543"/>
                  <a:gd name="connsiteX60" fmla="*/ 313484 w 949492"/>
                  <a:gd name="connsiteY60" fmla="*/ 99365 h 419543"/>
                  <a:gd name="connsiteX61" fmla="*/ 419543 w 949492"/>
                  <a:gd name="connsiteY61" fmla="*/ 99365 h 419543"/>
                  <a:gd name="connsiteX62" fmla="*/ 419543 w 949492"/>
                  <a:gd name="connsiteY62" fmla="*/ 229203 h 419543"/>
                  <a:gd name="connsiteX63" fmla="*/ 161692 w 949492"/>
                  <a:gd name="connsiteY63" fmla="*/ 229203 h 419543"/>
                  <a:gd name="connsiteX64" fmla="*/ 161613 w 949492"/>
                  <a:gd name="connsiteY64" fmla="*/ 229015 h 419543"/>
                  <a:gd name="connsiteX65" fmla="*/ 274920 w 949492"/>
                  <a:gd name="connsiteY65" fmla="*/ 114761 h 419543"/>
                  <a:gd name="connsiteX0" fmla="*/ 854308 w 949492"/>
                  <a:gd name="connsiteY0" fmla="*/ 229287 h 419543"/>
                  <a:gd name="connsiteX1" fmla="*/ 778556 w 949492"/>
                  <a:gd name="connsiteY1" fmla="*/ 229287 h 419543"/>
                  <a:gd name="connsiteX2" fmla="*/ 778114 w 949492"/>
                  <a:gd name="connsiteY2" fmla="*/ 229197 h 419543"/>
                  <a:gd name="connsiteX3" fmla="*/ 774575 w 949492"/>
                  <a:gd name="connsiteY3" fmla="*/ 229197 h 419543"/>
                  <a:gd name="connsiteX4" fmla="*/ 748942 w 949492"/>
                  <a:gd name="connsiteY4" fmla="*/ 217990 h 419543"/>
                  <a:gd name="connsiteX5" fmla="*/ 629174 w 949492"/>
                  <a:gd name="connsiteY5" fmla="*/ 99150 h 419543"/>
                  <a:gd name="connsiteX6" fmla="*/ 574996 w 949492"/>
                  <a:gd name="connsiteY6" fmla="*/ 77284 h 419543"/>
                  <a:gd name="connsiteX7" fmla="*/ 313484 w 949492"/>
                  <a:gd name="connsiteY7" fmla="*/ 77284 h 419543"/>
                  <a:gd name="connsiteX8" fmla="*/ 259305 w 949492"/>
                  <a:gd name="connsiteY8" fmla="*/ 99145 h 419543"/>
                  <a:gd name="connsiteX9" fmla="*/ 141443 w 949492"/>
                  <a:gd name="connsiteY9" fmla="*/ 217990 h 419543"/>
                  <a:gd name="connsiteX10" fmla="*/ 130037 w 949492"/>
                  <a:gd name="connsiteY10" fmla="*/ 245562 h 419543"/>
                  <a:gd name="connsiteX11" fmla="*/ 130037 w 949492"/>
                  <a:gd name="connsiteY11" fmla="*/ 320178 h 419543"/>
                  <a:gd name="connsiteX12" fmla="*/ 99365 w 949492"/>
                  <a:gd name="connsiteY12" fmla="*/ 320178 h 419543"/>
                  <a:gd name="connsiteX13" fmla="*/ 66244 w 949492"/>
                  <a:gd name="connsiteY13" fmla="*/ 287056 h 419543"/>
                  <a:gd name="connsiteX14" fmla="*/ 66244 w 949492"/>
                  <a:gd name="connsiteY14" fmla="*/ 98249 h 419543"/>
                  <a:gd name="connsiteX15" fmla="*/ 110406 w 949492"/>
                  <a:gd name="connsiteY15" fmla="*/ 44162 h 419543"/>
                  <a:gd name="connsiteX16" fmla="*/ 110406 w 949492"/>
                  <a:gd name="connsiteY16" fmla="*/ 0 h 419543"/>
                  <a:gd name="connsiteX17" fmla="*/ 93845 w 949492"/>
                  <a:gd name="connsiteY17" fmla="*/ 0 h 419543"/>
                  <a:gd name="connsiteX18" fmla="*/ 71764 w 949492"/>
                  <a:gd name="connsiteY18" fmla="*/ 0 h 419543"/>
                  <a:gd name="connsiteX19" fmla="*/ 0 w 949492"/>
                  <a:gd name="connsiteY19" fmla="*/ 44162 h 419543"/>
                  <a:gd name="connsiteX20" fmla="*/ 44162 w 949492"/>
                  <a:gd name="connsiteY20" fmla="*/ 98249 h 419543"/>
                  <a:gd name="connsiteX21" fmla="*/ 44162 w 949492"/>
                  <a:gd name="connsiteY21" fmla="*/ 287056 h 419543"/>
                  <a:gd name="connsiteX22" fmla="*/ 99365 w 949492"/>
                  <a:gd name="connsiteY22" fmla="*/ 342259 h 419543"/>
                  <a:gd name="connsiteX23" fmla="*/ 130037 w 949492"/>
                  <a:gd name="connsiteY23" fmla="*/ 342259 h 419543"/>
                  <a:gd name="connsiteX24" fmla="*/ 130037 w 949492"/>
                  <a:gd name="connsiteY24" fmla="*/ 343485 h 419543"/>
                  <a:gd name="connsiteX25" fmla="*/ 206095 w 949492"/>
                  <a:gd name="connsiteY25" fmla="*/ 419543 h 419543"/>
                  <a:gd name="connsiteX26" fmla="*/ 219298 w 949492"/>
                  <a:gd name="connsiteY26" fmla="*/ 419543 h 419543"/>
                  <a:gd name="connsiteX27" fmla="*/ 218445 w 949492"/>
                  <a:gd name="connsiteY27" fmla="*/ 406578 h 419543"/>
                  <a:gd name="connsiteX28" fmla="*/ 218908 w 949492"/>
                  <a:gd name="connsiteY28" fmla="*/ 397462 h 419543"/>
                  <a:gd name="connsiteX29" fmla="*/ 206075 w 949492"/>
                  <a:gd name="connsiteY29" fmla="*/ 397462 h 419543"/>
                  <a:gd name="connsiteX30" fmla="*/ 152117 w 949492"/>
                  <a:gd name="connsiteY30" fmla="*/ 343503 h 419543"/>
                  <a:gd name="connsiteX31" fmla="*/ 152117 w 949492"/>
                  <a:gd name="connsiteY31" fmla="*/ 251284 h 419543"/>
                  <a:gd name="connsiteX32" fmla="*/ 774631 w 949492"/>
                  <a:gd name="connsiteY32" fmla="*/ 251284 h 419543"/>
                  <a:gd name="connsiteX33" fmla="*/ 775551 w 949492"/>
                  <a:gd name="connsiteY33" fmla="*/ 251374 h 419543"/>
                  <a:gd name="connsiteX34" fmla="*/ 854442 w 949492"/>
                  <a:gd name="connsiteY34" fmla="*/ 251374 h 419543"/>
                  <a:gd name="connsiteX35" fmla="*/ 927411 w 949492"/>
                  <a:gd name="connsiteY35" fmla="*/ 324341 h 419543"/>
                  <a:gd name="connsiteX36" fmla="*/ 927411 w 949492"/>
                  <a:gd name="connsiteY36" fmla="*/ 381521 h 419543"/>
                  <a:gd name="connsiteX37" fmla="*/ 911465 w 949492"/>
                  <a:gd name="connsiteY37" fmla="*/ 397462 h 419543"/>
                  <a:gd name="connsiteX38" fmla="*/ 857126 w 949492"/>
                  <a:gd name="connsiteY38" fmla="*/ 397462 h 419543"/>
                  <a:gd name="connsiteX39" fmla="*/ 857588 w 949492"/>
                  <a:gd name="connsiteY39" fmla="*/ 406578 h 419543"/>
                  <a:gd name="connsiteX40" fmla="*/ 856735 w 949492"/>
                  <a:gd name="connsiteY40" fmla="*/ 419543 h 419543"/>
                  <a:gd name="connsiteX41" fmla="*/ 911473 w 949492"/>
                  <a:gd name="connsiteY41" fmla="*/ 419543 h 419543"/>
                  <a:gd name="connsiteX42" fmla="*/ 949492 w 949492"/>
                  <a:gd name="connsiteY42" fmla="*/ 381524 h 419543"/>
                  <a:gd name="connsiteX43" fmla="*/ 949492 w 949492"/>
                  <a:gd name="connsiteY43" fmla="*/ 324471 h 419543"/>
                  <a:gd name="connsiteX44" fmla="*/ 854308 w 949492"/>
                  <a:gd name="connsiteY44" fmla="*/ 229287 h 419543"/>
                  <a:gd name="connsiteX45" fmla="*/ 22081 w 949492"/>
                  <a:gd name="connsiteY45" fmla="*/ 42855 h 419543"/>
                  <a:gd name="connsiteX46" fmla="*/ 22081 w 949492"/>
                  <a:gd name="connsiteY46" fmla="*/ 22081 h 419543"/>
                  <a:gd name="connsiteX47" fmla="*/ 88325 w 949492"/>
                  <a:gd name="connsiteY47" fmla="*/ 22081 h 419543"/>
                  <a:gd name="connsiteX48" fmla="*/ 88325 w 949492"/>
                  <a:gd name="connsiteY48" fmla="*/ 44162 h 419543"/>
                  <a:gd name="connsiteX49" fmla="*/ 55107 w 949492"/>
                  <a:gd name="connsiteY49" fmla="*/ 77294 h 419543"/>
                  <a:gd name="connsiteX50" fmla="*/ 48602 w 949492"/>
                  <a:gd name="connsiteY50" fmla="*/ 76642 h 419543"/>
                  <a:gd name="connsiteX51" fmla="*/ 22081 w 949492"/>
                  <a:gd name="connsiteY51" fmla="*/ 42855 h 419543"/>
                  <a:gd name="connsiteX52" fmla="*/ 613621 w 949492"/>
                  <a:gd name="connsiteY52" fmla="*/ 114822 h 419543"/>
                  <a:gd name="connsiteX53" fmla="*/ 728881 w 949492"/>
                  <a:gd name="connsiteY53" fmla="*/ 229203 h 419543"/>
                  <a:gd name="connsiteX54" fmla="*/ 441624 w 949492"/>
                  <a:gd name="connsiteY54" fmla="*/ 229203 h 419543"/>
                  <a:gd name="connsiteX55" fmla="*/ 441624 w 949492"/>
                  <a:gd name="connsiteY55" fmla="*/ 99365 h 419543"/>
                  <a:gd name="connsiteX56" fmla="*/ 574995 w 949492"/>
                  <a:gd name="connsiteY56" fmla="*/ 99365 h 419543"/>
                  <a:gd name="connsiteX57" fmla="*/ 613621 w 949492"/>
                  <a:gd name="connsiteY57" fmla="*/ 114822 h 419543"/>
                  <a:gd name="connsiteX58" fmla="*/ 274920 w 949492"/>
                  <a:gd name="connsiteY58" fmla="*/ 114761 h 419543"/>
                  <a:gd name="connsiteX59" fmla="*/ 313484 w 949492"/>
                  <a:gd name="connsiteY59" fmla="*/ 99365 h 419543"/>
                  <a:gd name="connsiteX60" fmla="*/ 419543 w 949492"/>
                  <a:gd name="connsiteY60" fmla="*/ 99365 h 419543"/>
                  <a:gd name="connsiteX61" fmla="*/ 419543 w 949492"/>
                  <a:gd name="connsiteY61" fmla="*/ 229203 h 419543"/>
                  <a:gd name="connsiteX62" fmla="*/ 161692 w 949492"/>
                  <a:gd name="connsiteY62" fmla="*/ 229203 h 419543"/>
                  <a:gd name="connsiteX63" fmla="*/ 161613 w 949492"/>
                  <a:gd name="connsiteY63" fmla="*/ 229015 h 419543"/>
                  <a:gd name="connsiteX64" fmla="*/ 274920 w 949492"/>
                  <a:gd name="connsiteY64" fmla="*/ 114761 h 419543"/>
                  <a:gd name="connsiteX0" fmla="*/ 854308 w 949492"/>
                  <a:gd name="connsiteY0" fmla="*/ 229287 h 419543"/>
                  <a:gd name="connsiteX1" fmla="*/ 778556 w 949492"/>
                  <a:gd name="connsiteY1" fmla="*/ 229287 h 419543"/>
                  <a:gd name="connsiteX2" fmla="*/ 778114 w 949492"/>
                  <a:gd name="connsiteY2" fmla="*/ 229197 h 419543"/>
                  <a:gd name="connsiteX3" fmla="*/ 774575 w 949492"/>
                  <a:gd name="connsiteY3" fmla="*/ 229197 h 419543"/>
                  <a:gd name="connsiteX4" fmla="*/ 748942 w 949492"/>
                  <a:gd name="connsiteY4" fmla="*/ 217990 h 419543"/>
                  <a:gd name="connsiteX5" fmla="*/ 629174 w 949492"/>
                  <a:gd name="connsiteY5" fmla="*/ 99150 h 419543"/>
                  <a:gd name="connsiteX6" fmla="*/ 574996 w 949492"/>
                  <a:gd name="connsiteY6" fmla="*/ 77284 h 419543"/>
                  <a:gd name="connsiteX7" fmla="*/ 313484 w 949492"/>
                  <a:gd name="connsiteY7" fmla="*/ 77284 h 419543"/>
                  <a:gd name="connsiteX8" fmla="*/ 259305 w 949492"/>
                  <a:gd name="connsiteY8" fmla="*/ 99145 h 419543"/>
                  <a:gd name="connsiteX9" fmla="*/ 141443 w 949492"/>
                  <a:gd name="connsiteY9" fmla="*/ 217990 h 419543"/>
                  <a:gd name="connsiteX10" fmla="*/ 130037 w 949492"/>
                  <a:gd name="connsiteY10" fmla="*/ 245562 h 419543"/>
                  <a:gd name="connsiteX11" fmla="*/ 130037 w 949492"/>
                  <a:gd name="connsiteY11" fmla="*/ 320178 h 419543"/>
                  <a:gd name="connsiteX12" fmla="*/ 99365 w 949492"/>
                  <a:gd name="connsiteY12" fmla="*/ 320178 h 419543"/>
                  <a:gd name="connsiteX13" fmla="*/ 66244 w 949492"/>
                  <a:gd name="connsiteY13" fmla="*/ 287056 h 419543"/>
                  <a:gd name="connsiteX14" fmla="*/ 66244 w 949492"/>
                  <a:gd name="connsiteY14" fmla="*/ 98249 h 419543"/>
                  <a:gd name="connsiteX15" fmla="*/ 110406 w 949492"/>
                  <a:gd name="connsiteY15" fmla="*/ 44162 h 419543"/>
                  <a:gd name="connsiteX16" fmla="*/ 110406 w 949492"/>
                  <a:gd name="connsiteY16" fmla="*/ 0 h 419543"/>
                  <a:gd name="connsiteX17" fmla="*/ 93845 w 949492"/>
                  <a:gd name="connsiteY17" fmla="*/ 0 h 419543"/>
                  <a:gd name="connsiteX18" fmla="*/ 0 w 949492"/>
                  <a:gd name="connsiteY18" fmla="*/ 44162 h 419543"/>
                  <a:gd name="connsiteX19" fmla="*/ 44162 w 949492"/>
                  <a:gd name="connsiteY19" fmla="*/ 98249 h 419543"/>
                  <a:gd name="connsiteX20" fmla="*/ 44162 w 949492"/>
                  <a:gd name="connsiteY20" fmla="*/ 287056 h 419543"/>
                  <a:gd name="connsiteX21" fmla="*/ 99365 w 949492"/>
                  <a:gd name="connsiteY21" fmla="*/ 342259 h 419543"/>
                  <a:gd name="connsiteX22" fmla="*/ 130037 w 949492"/>
                  <a:gd name="connsiteY22" fmla="*/ 342259 h 419543"/>
                  <a:gd name="connsiteX23" fmla="*/ 130037 w 949492"/>
                  <a:gd name="connsiteY23" fmla="*/ 343485 h 419543"/>
                  <a:gd name="connsiteX24" fmla="*/ 206095 w 949492"/>
                  <a:gd name="connsiteY24" fmla="*/ 419543 h 419543"/>
                  <a:gd name="connsiteX25" fmla="*/ 219298 w 949492"/>
                  <a:gd name="connsiteY25" fmla="*/ 419543 h 419543"/>
                  <a:gd name="connsiteX26" fmla="*/ 218445 w 949492"/>
                  <a:gd name="connsiteY26" fmla="*/ 406578 h 419543"/>
                  <a:gd name="connsiteX27" fmla="*/ 218908 w 949492"/>
                  <a:gd name="connsiteY27" fmla="*/ 397462 h 419543"/>
                  <a:gd name="connsiteX28" fmla="*/ 206075 w 949492"/>
                  <a:gd name="connsiteY28" fmla="*/ 397462 h 419543"/>
                  <a:gd name="connsiteX29" fmla="*/ 152117 w 949492"/>
                  <a:gd name="connsiteY29" fmla="*/ 343503 h 419543"/>
                  <a:gd name="connsiteX30" fmla="*/ 152117 w 949492"/>
                  <a:gd name="connsiteY30" fmla="*/ 251284 h 419543"/>
                  <a:gd name="connsiteX31" fmla="*/ 774631 w 949492"/>
                  <a:gd name="connsiteY31" fmla="*/ 251284 h 419543"/>
                  <a:gd name="connsiteX32" fmla="*/ 775551 w 949492"/>
                  <a:gd name="connsiteY32" fmla="*/ 251374 h 419543"/>
                  <a:gd name="connsiteX33" fmla="*/ 854442 w 949492"/>
                  <a:gd name="connsiteY33" fmla="*/ 251374 h 419543"/>
                  <a:gd name="connsiteX34" fmla="*/ 927411 w 949492"/>
                  <a:gd name="connsiteY34" fmla="*/ 324341 h 419543"/>
                  <a:gd name="connsiteX35" fmla="*/ 927411 w 949492"/>
                  <a:gd name="connsiteY35" fmla="*/ 381521 h 419543"/>
                  <a:gd name="connsiteX36" fmla="*/ 911465 w 949492"/>
                  <a:gd name="connsiteY36" fmla="*/ 397462 h 419543"/>
                  <a:gd name="connsiteX37" fmla="*/ 857126 w 949492"/>
                  <a:gd name="connsiteY37" fmla="*/ 397462 h 419543"/>
                  <a:gd name="connsiteX38" fmla="*/ 857588 w 949492"/>
                  <a:gd name="connsiteY38" fmla="*/ 406578 h 419543"/>
                  <a:gd name="connsiteX39" fmla="*/ 856735 w 949492"/>
                  <a:gd name="connsiteY39" fmla="*/ 419543 h 419543"/>
                  <a:gd name="connsiteX40" fmla="*/ 911473 w 949492"/>
                  <a:gd name="connsiteY40" fmla="*/ 419543 h 419543"/>
                  <a:gd name="connsiteX41" fmla="*/ 949492 w 949492"/>
                  <a:gd name="connsiteY41" fmla="*/ 381524 h 419543"/>
                  <a:gd name="connsiteX42" fmla="*/ 949492 w 949492"/>
                  <a:gd name="connsiteY42" fmla="*/ 324471 h 419543"/>
                  <a:gd name="connsiteX43" fmla="*/ 854308 w 949492"/>
                  <a:gd name="connsiteY43" fmla="*/ 229287 h 419543"/>
                  <a:gd name="connsiteX44" fmla="*/ 22081 w 949492"/>
                  <a:gd name="connsiteY44" fmla="*/ 42855 h 419543"/>
                  <a:gd name="connsiteX45" fmla="*/ 22081 w 949492"/>
                  <a:gd name="connsiteY45" fmla="*/ 22081 h 419543"/>
                  <a:gd name="connsiteX46" fmla="*/ 88325 w 949492"/>
                  <a:gd name="connsiteY46" fmla="*/ 22081 h 419543"/>
                  <a:gd name="connsiteX47" fmla="*/ 88325 w 949492"/>
                  <a:gd name="connsiteY47" fmla="*/ 44162 h 419543"/>
                  <a:gd name="connsiteX48" fmla="*/ 55107 w 949492"/>
                  <a:gd name="connsiteY48" fmla="*/ 77294 h 419543"/>
                  <a:gd name="connsiteX49" fmla="*/ 48602 w 949492"/>
                  <a:gd name="connsiteY49" fmla="*/ 76642 h 419543"/>
                  <a:gd name="connsiteX50" fmla="*/ 22081 w 949492"/>
                  <a:gd name="connsiteY50" fmla="*/ 42855 h 419543"/>
                  <a:gd name="connsiteX51" fmla="*/ 613621 w 949492"/>
                  <a:gd name="connsiteY51" fmla="*/ 114822 h 419543"/>
                  <a:gd name="connsiteX52" fmla="*/ 728881 w 949492"/>
                  <a:gd name="connsiteY52" fmla="*/ 229203 h 419543"/>
                  <a:gd name="connsiteX53" fmla="*/ 441624 w 949492"/>
                  <a:gd name="connsiteY53" fmla="*/ 229203 h 419543"/>
                  <a:gd name="connsiteX54" fmla="*/ 441624 w 949492"/>
                  <a:gd name="connsiteY54" fmla="*/ 99365 h 419543"/>
                  <a:gd name="connsiteX55" fmla="*/ 574995 w 949492"/>
                  <a:gd name="connsiteY55" fmla="*/ 99365 h 419543"/>
                  <a:gd name="connsiteX56" fmla="*/ 613621 w 949492"/>
                  <a:gd name="connsiteY56" fmla="*/ 114822 h 419543"/>
                  <a:gd name="connsiteX57" fmla="*/ 274920 w 949492"/>
                  <a:gd name="connsiteY57" fmla="*/ 114761 h 419543"/>
                  <a:gd name="connsiteX58" fmla="*/ 313484 w 949492"/>
                  <a:gd name="connsiteY58" fmla="*/ 99365 h 419543"/>
                  <a:gd name="connsiteX59" fmla="*/ 419543 w 949492"/>
                  <a:gd name="connsiteY59" fmla="*/ 99365 h 419543"/>
                  <a:gd name="connsiteX60" fmla="*/ 419543 w 949492"/>
                  <a:gd name="connsiteY60" fmla="*/ 229203 h 419543"/>
                  <a:gd name="connsiteX61" fmla="*/ 161692 w 949492"/>
                  <a:gd name="connsiteY61" fmla="*/ 229203 h 419543"/>
                  <a:gd name="connsiteX62" fmla="*/ 161613 w 949492"/>
                  <a:gd name="connsiteY62" fmla="*/ 229015 h 419543"/>
                  <a:gd name="connsiteX63" fmla="*/ 274920 w 949492"/>
                  <a:gd name="connsiteY63" fmla="*/ 114761 h 419543"/>
                  <a:gd name="connsiteX0" fmla="*/ 854308 w 949492"/>
                  <a:gd name="connsiteY0" fmla="*/ 229287 h 419543"/>
                  <a:gd name="connsiteX1" fmla="*/ 778556 w 949492"/>
                  <a:gd name="connsiteY1" fmla="*/ 229287 h 419543"/>
                  <a:gd name="connsiteX2" fmla="*/ 778114 w 949492"/>
                  <a:gd name="connsiteY2" fmla="*/ 229197 h 419543"/>
                  <a:gd name="connsiteX3" fmla="*/ 774575 w 949492"/>
                  <a:gd name="connsiteY3" fmla="*/ 229197 h 419543"/>
                  <a:gd name="connsiteX4" fmla="*/ 748942 w 949492"/>
                  <a:gd name="connsiteY4" fmla="*/ 217990 h 419543"/>
                  <a:gd name="connsiteX5" fmla="*/ 629174 w 949492"/>
                  <a:gd name="connsiteY5" fmla="*/ 99150 h 419543"/>
                  <a:gd name="connsiteX6" fmla="*/ 574996 w 949492"/>
                  <a:gd name="connsiteY6" fmla="*/ 77284 h 419543"/>
                  <a:gd name="connsiteX7" fmla="*/ 313484 w 949492"/>
                  <a:gd name="connsiteY7" fmla="*/ 77284 h 419543"/>
                  <a:gd name="connsiteX8" fmla="*/ 259305 w 949492"/>
                  <a:gd name="connsiteY8" fmla="*/ 99145 h 419543"/>
                  <a:gd name="connsiteX9" fmla="*/ 141443 w 949492"/>
                  <a:gd name="connsiteY9" fmla="*/ 217990 h 419543"/>
                  <a:gd name="connsiteX10" fmla="*/ 130037 w 949492"/>
                  <a:gd name="connsiteY10" fmla="*/ 245562 h 419543"/>
                  <a:gd name="connsiteX11" fmla="*/ 130037 w 949492"/>
                  <a:gd name="connsiteY11" fmla="*/ 320178 h 419543"/>
                  <a:gd name="connsiteX12" fmla="*/ 99365 w 949492"/>
                  <a:gd name="connsiteY12" fmla="*/ 320178 h 419543"/>
                  <a:gd name="connsiteX13" fmla="*/ 66244 w 949492"/>
                  <a:gd name="connsiteY13" fmla="*/ 287056 h 419543"/>
                  <a:gd name="connsiteX14" fmla="*/ 66244 w 949492"/>
                  <a:gd name="connsiteY14" fmla="*/ 98249 h 419543"/>
                  <a:gd name="connsiteX15" fmla="*/ 110406 w 949492"/>
                  <a:gd name="connsiteY15" fmla="*/ 44162 h 419543"/>
                  <a:gd name="connsiteX16" fmla="*/ 110406 w 949492"/>
                  <a:gd name="connsiteY16" fmla="*/ 0 h 419543"/>
                  <a:gd name="connsiteX17" fmla="*/ 0 w 949492"/>
                  <a:gd name="connsiteY17" fmla="*/ 44162 h 419543"/>
                  <a:gd name="connsiteX18" fmla="*/ 44162 w 949492"/>
                  <a:gd name="connsiteY18" fmla="*/ 98249 h 419543"/>
                  <a:gd name="connsiteX19" fmla="*/ 44162 w 949492"/>
                  <a:gd name="connsiteY19" fmla="*/ 287056 h 419543"/>
                  <a:gd name="connsiteX20" fmla="*/ 99365 w 949492"/>
                  <a:gd name="connsiteY20" fmla="*/ 342259 h 419543"/>
                  <a:gd name="connsiteX21" fmla="*/ 130037 w 949492"/>
                  <a:gd name="connsiteY21" fmla="*/ 342259 h 419543"/>
                  <a:gd name="connsiteX22" fmla="*/ 130037 w 949492"/>
                  <a:gd name="connsiteY22" fmla="*/ 343485 h 419543"/>
                  <a:gd name="connsiteX23" fmla="*/ 206095 w 949492"/>
                  <a:gd name="connsiteY23" fmla="*/ 419543 h 419543"/>
                  <a:gd name="connsiteX24" fmla="*/ 219298 w 949492"/>
                  <a:gd name="connsiteY24" fmla="*/ 419543 h 419543"/>
                  <a:gd name="connsiteX25" fmla="*/ 218445 w 949492"/>
                  <a:gd name="connsiteY25" fmla="*/ 406578 h 419543"/>
                  <a:gd name="connsiteX26" fmla="*/ 218908 w 949492"/>
                  <a:gd name="connsiteY26" fmla="*/ 397462 h 419543"/>
                  <a:gd name="connsiteX27" fmla="*/ 206075 w 949492"/>
                  <a:gd name="connsiteY27" fmla="*/ 397462 h 419543"/>
                  <a:gd name="connsiteX28" fmla="*/ 152117 w 949492"/>
                  <a:gd name="connsiteY28" fmla="*/ 343503 h 419543"/>
                  <a:gd name="connsiteX29" fmla="*/ 152117 w 949492"/>
                  <a:gd name="connsiteY29" fmla="*/ 251284 h 419543"/>
                  <a:gd name="connsiteX30" fmla="*/ 774631 w 949492"/>
                  <a:gd name="connsiteY30" fmla="*/ 251284 h 419543"/>
                  <a:gd name="connsiteX31" fmla="*/ 775551 w 949492"/>
                  <a:gd name="connsiteY31" fmla="*/ 251374 h 419543"/>
                  <a:gd name="connsiteX32" fmla="*/ 854442 w 949492"/>
                  <a:gd name="connsiteY32" fmla="*/ 251374 h 419543"/>
                  <a:gd name="connsiteX33" fmla="*/ 927411 w 949492"/>
                  <a:gd name="connsiteY33" fmla="*/ 324341 h 419543"/>
                  <a:gd name="connsiteX34" fmla="*/ 927411 w 949492"/>
                  <a:gd name="connsiteY34" fmla="*/ 381521 h 419543"/>
                  <a:gd name="connsiteX35" fmla="*/ 911465 w 949492"/>
                  <a:gd name="connsiteY35" fmla="*/ 397462 h 419543"/>
                  <a:gd name="connsiteX36" fmla="*/ 857126 w 949492"/>
                  <a:gd name="connsiteY36" fmla="*/ 397462 h 419543"/>
                  <a:gd name="connsiteX37" fmla="*/ 857588 w 949492"/>
                  <a:gd name="connsiteY37" fmla="*/ 406578 h 419543"/>
                  <a:gd name="connsiteX38" fmla="*/ 856735 w 949492"/>
                  <a:gd name="connsiteY38" fmla="*/ 419543 h 419543"/>
                  <a:gd name="connsiteX39" fmla="*/ 911473 w 949492"/>
                  <a:gd name="connsiteY39" fmla="*/ 419543 h 419543"/>
                  <a:gd name="connsiteX40" fmla="*/ 949492 w 949492"/>
                  <a:gd name="connsiteY40" fmla="*/ 381524 h 419543"/>
                  <a:gd name="connsiteX41" fmla="*/ 949492 w 949492"/>
                  <a:gd name="connsiteY41" fmla="*/ 324471 h 419543"/>
                  <a:gd name="connsiteX42" fmla="*/ 854308 w 949492"/>
                  <a:gd name="connsiteY42" fmla="*/ 229287 h 419543"/>
                  <a:gd name="connsiteX43" fmla="*/ 22081 w 949492"/>
                  <a:gd name="connsiteY43" fmla="*/ 42855 h 419543"/>
                  <a:gd name="connsiteX44" fmla="*/ 22081 w 949492"/>
                  <a:gd name="connsiteY44" fmla="*/ 22081 h 419543"/>
                  <a:gd name="connsiteX45" fmla="*/ 88325 w 949492"/>
                  <a:gd name="connsiteY45" fmla="*/ 22081 h 419543"/>
                  <a:gd name="connsiteX46" fmla="*/ 88325 w 949492"/>
                  <a:gd name="connsiteY46" fmla="*/ 44162 h 419543"/>
                  <a:gd name="connsiteX47" fmla="*/ 55107 w 949492"/>
                  <a:gd name="connsiteY47" fmla="*/ 77294 h 419543"/>
                  <a:gd name="connsiteX48" fmla="*/ 48602 w 949492"/>
                  <a:gd name="connsiteY48" fmla="*/ 76642 h 419543"/>
                  <a:gd name="connsiteX49" fmla="*/ 22081 w 949492"/>
                  <a:gd name="connsiteY49" fmla="*/ 42855 h 419543"/>
                  <a:gd name="connsiteX50" fmla="*/ 613621 w 949492"/>
                  <a:gd name="connsiteY50" fmla="*/ 114822 h 419543"/>
                  <a:gd name="connsiteX51" fmla="*/ 728881 w 949492"/>
                  <a:gd name="connsiteY51" fmla="*/ 229203 h 419543"/>
                  <a:gd name="connsiteX52" fmla="*/ 441624 w 949492"/>
                  <a:gd name="connsiteY52" fmla="*/ 229203 h 419543"/>
                  <a:gd name="connsiteX53" fmla="*/ 441624 w 949492"/>
                  <a:gd name="connsiteY53" fmla="*/ 99365 h 419543"/>
                  <a:gd name="connsiteX54" fmla="*/ 574995 w 949492"/>
                  <a:gd name="connsiteY54" fmla="*/ 99365 h 419543"/>
                  <a:gd name="connsiteX55" fmla="*/ 613621 w 949492"/>
                  <a:gd name="connsiteY55" fmla="*/ 114822 h 419543"/>
                  <a:gd name="connsiteX56" fmla="*/ 274920 w 949492"/>
                  <a:gd name="connsiteY56" fmla="*/ 114761 h 419543"/>
                  <a:gd name="connsiteX57" fmla="*/ 313484 w 949492"/>
                  <a:gd name="connsiteY57" fmla="*/ 99365 h 419543"/>
                  <a:gd name="connsiteX58" fmla="*/ 419543 w 949492"/>
                  <a:gd name="connsiteY58" fmla="*/ 99365 h 419543"/>
                  <a:gd name="connsiteX59" fmla="*/ 419543 w 949492"/>
                  <a:gd name="connsiteY59" fmla="*/ 229203 h 419543"/>
                  <a:gd name="connsiteX60" fmla="*/ 161692 w 949492"/>
                  <a:gd name="connsiteY60" fmla="*/ 229203 h 419543"/>
                  <a:gd name="connsiteX61" fmla="*/ 161613 w 949492"/>
                  <a:gd name="connsiteY61" fmla="*/ 229015 h 419543"/>
                  <a:gd name="connsiteX62" fmla="*/ 274920 w 949492"/>
                  <a:gd name="connsiteY62" fmla="*/ 114761 h 419543"/>
                  <a:gd name="connsiteX0" fmla="*/ 854308 w 949492"/>
                  <a:gd name="connsiteY0" fmla="*/ 207206 h 397462"/>
                  <a:gd name="connsiteX1" fmla="*/ 778556 w 949492"/>
                  <a:gd name="connsiteY1" fmla="*/ 207206 h 397462"/>
                  <a:gd name="connsiteX2" fmla="*/ 778114 w 949492"/>
                  <a:gd name="connsiteY2" fmla="*/ 207116 h 397462"/>
                  <a:gd name="connsiteX3" fmla="*/ 774575 w 949492"/>
                  <a:gd name="connsiteY3" fmla="*/ 207116 h 397462"/>
                  <a:gd name="connsiteX4" fmla="*/ 748942 w 949492"/>
                  <a:gd name="connsiteY4" fmla="*/ 195909 h 397462"/>
                  <a:gd name="connsiteX5" fmla="*/ 629174 w 949492"/>
                  <a:gd name="connsiteY5" fmla="*/ 77069 h 397462"/>
                  <a:gd name="connsiteX6" fmla="*/ 574996 w 949492"/>
                  <a:gd name="connsiteY6" fmla="*/ 55203 h 397462"/>
                  <a:gd name="connsiteX7" fmla="*/ 313484 w 949492"/>
                  <a:gd name="connsiteY7" fmla="*/ 55203 h 397462"/>
                  <a:gd name="connsiteX8" fmla="*/ 259305 w 949492"/>
                  <a:gd name="connsiteY8" fmla="*/ 77064 h 397462"/>
                  <a:gd name="connsiteX9" fmla="*/ 141443 w 949492"/>
                  <a:gd name="connsiteY9" fmla="*/ 195909 h 397462"/>
                  <a:gd name="connsiteX10" fmla="*/ 130037 w 949492"/>
                  <a:gd name="connsiteY10" fmla="*/ 223481 h 397462"/>
                  <a:gd name="connsiteX11" fmla="*/ 130037 w 949492"/>
                  <a:gd name="connsiteY11" fmla="*/ 298097 h 397462"/>
                  <a:gd name="connsiteX12" fmla="*/ 99365 w 949492"/>
                  <a:gd name="connsiteY12" fmla="*/ 298097 h 397462"/>
                  <a:gd name="connsiteX13" fmla="*/ 66244 w 949492"/>
                  <a:gd name="connsiteY13" fmla="*/ 264975 h 397462"/>
                  <a:gd name="connsiteX14" fmla="*/ 66244 w 949492"/>
                  <a:gd name="connsiteY14" fmla="*/ 76168 h 397462"/>
                  <a:gd name="connsiteX15" fmla="*/ 110406 w 949492"/>
                  <a:gd name="connsiteY15" fmla="*/ 22081 h 397462"/>
                  <a:gd name="connsiteX16" fmla="*/ 0 w 949492"/>
                  <a:gd name="connsiteY16" fmla="*/ 22081 h 397462"/>
                  <a:gd name="connsiteX17" fmla="*/ 44162 w 949492"/>
                  <a:gd name="connsiteY17" fmla="*/ 76168 h 397462"/>
                  <a:gd name="connsiteX18" fmla="*/ 44162 w 949492"/>
                  <a:gd name="connsiteY18" fmla="*/ 264975 h 397462"/>
                  <a:gd name="connsiteX19" fmla="*/ 99365 w 949492"/>
                  <a:gd name="connsiteY19" fmla="*/ 320178 h 397462"/>
                  <a:gd name="connsiteX20" fmla="*/ 130037 w 949492"/>
                  <a:gd name="connsiteY20" fmla="*/ 320178 h 397462"/>
                  <a:gd name="connsiteX21" fmla="*/ 130037 w 949492"/>
                  <a:gd name="connsiteY21" fmla="*/ 321404 h 397462"/>
                  <a:gd name="connsiteX22" fmla="*/ 206095 w 949492"/>
                  <a:gd name="connsiteY22" fmla="*/ 397462 h 397462"/>
                  <a:gd name="connsiteX23" fmla="*/ 219298 w 949492"/>
                  <a:gd name="connsiteY23" fmla="*/ 397462 h 397462"/>
                  <a:gd name="connsiteX24" fmla="*/ 218445 w 949492"/>
                  <a:gd name="connsiteY24" fmla="*/ 384497 h 397462"/>
                  <a:gd name="connsiteX25" fmla="*/ 218908 w 949492"/>
                  <a:gd name="connsiteY25" fmla="*/ 375381 h 397462"/>
                  <a:gd name="connsiteX26" fmla="*/ 206075 w 949492"/>
                  <a:gd name="connsiteY26" fmla="*/ 375381 h 397462"/>
                  <a:gd name="connsiteX27" fmla="*/ 152117 w 949492"/>
                  <a:gd name="connsiteY27" fmla="*/ 321422 h 397462"/>
                  <a:gd name="connsiteX28" fmla="*/ 152117 w 949492"/>
                  <a:gd name="connsiteY28" fmla="*/ 229203 h 397462"/>
                  <a:gd name="connsiteX29" fmla="*/ 774631 w 949492"/>
                  <a:gd name="connsiteY29" fmla="*/ 229203 h 397462"/>
                  <a:gd name="connsiteX30" fmla="*/ 775551 w 949492"/>
                  <a:gd name="connsiteY30" fmla="*/ 229293 h 397462"/>
                  <a:gd name="connsiteX31" fmla="*/ 854442 w 949492"/>
                  <a:gd name="connsiteY31" fmla="*/ 229293 h 397462"/>
                  <a:gd name="connsiteX32" fmla="*/ 927411 w 949492"/>
                  <a:gd name="connsiteY32" fmla="*/ 302260 h 397462"/>
                  <a:gd name="connsiteX33" fmla="*/ 927411 w 949492"/>
                  <a:gd name="connsiteY33" fmla="*/ 359440 h 397462"/>
                  <a:gd name="connsiteX34" fmla="*/ 911465 w 949492"/>
                  <a:gd name="connsiteY34" fmla="*/ 375381 h 397462"/>
                  <a:gd name="connsiteX35" fmla="*/ 857126 w 949492"/>
                  <a:gd name="connsiteY35" fmla="*/ 375381 h 397462"/>
                  <a:gd name="connsiteX36" fmla="*/ 857588 w 949492"/>
                  <a:gd name="connsiteY36" fmla="*/ 384497 h 397462"/>
                  <a:gd name="connsiteX37" fmla="*/ 856735 w 949492"/>
                  <a:gd name="connsiteY37" fmla="*/ 397462 h 397462"/>
                  <a:gd name="connsiteX38" fmla="*/ 911473 w 949492"/>
                  <a:gd name="connsiteY38" fmla="*/ 397462 h 397462"/>
                  <a:gd name="connsiteX39" fmla="*/ 949492 w 949492"/>
                  <a:gd name="connsiteY39" fmla="*/ 359443 h 397462"/>
                  <a:gd name="connsiteX40" fmla="*/ 949492 w 949492"/>
                  <a:gd name="connsiteY40" fmla="*/ 302390 h 397462"/>
                  <a:gd name="connsiteX41" fmla="*/ 854308 w 949492"/>
                  <a:gd name="connsiteY41" fmla="*/ 207206 h 397462"/>
                  <a:gd name="connsiteX42" fmla="*/ 22081 w 949492"/>
                  <a:gd name="connsiteY42" fmla="*/ 20774 h 397462"/>
                  <a:gd name="connsiteX43" fmla="*/ 22081 w 949492"/>
                  <a:gd name="connsiteY43" fmla="*/ 0 h 397462"/>
                  <a:gd name="connsiteX44" fmla="*/ 88325 w 949492"/>
                  <a:gd name="connsiteY44" fmla="*/ 0 h 397462"/>
                  <a:gd name="connsiteX45" fmla="*/ 88325 w 949492"/>
                  <a:gd name="connsiteY45" fmla="*/ 22081 h 397462"/>
                  <a:gd name="connsiteX46" fmla="*/ 55107 w 949492"/>
                  <a:gd name="connsiteY46" fmla="*/ 55213 h 397462"/>
                  <a:gd name="connsiteX47" fmla="*/ 48602 w 949492"/>
                  <a:gd name="connsiteY47" fmla="*/ 54561 h 397462"/>
                  <a:gd name="connsiteX48" fmla="*/ 22081 w 949492"/>
                  <a:gd name="connsiteY48" fmla="*/ 20774 h 397462"/>
                  <a:gd name="connsiteX49" fmla="*/ 613621 w 949492"/>
                  <a:gd name="connsiteY49" fmla="*/ 92741 h 397462"/>
                  <a:gd name="connsiteX50" fmla="*/ 728881 w 949492"/>
                  <a:gd name="connsiteY50" fmla="*/ 207122 h 397462"/>
                  <a:gd name="connsiteX51" fmla="*/ 441624 w 949492"/>
                  <a:gd name="connsiteY51" fmla="*/ 207122 h 397462"/>
                  <a:gd name="connsiteX52" fmla="*/ 441624 w 949492"/>
                  <a:gd name="connsiteY52" fmla="*/ 77284 h 397462"/>
                  <a:gd name="connsiteX53" fmla="*/ 574995 w 949492"/>
                  <a:gd name="connsiteY53" fmla="*/ 77284 h 397462"/>
                  <a:gd name="connsiteX54" fmla="*/ 613621 w 949492"/>
                  <a:gd name="connsiteY54" fmla="*/ 92741 h 397462"/>
                  <a:gd name="connsiteX55" fmla="*/ 274920 w 949492"/>
                  <a:gd name="connsiteY55" fmla="*/ 92680 h 397462"/>
                  <a:gd name="connsiteX56" fmla="*/ 313484 w 949492"/>
                  <a:gd name="connsiteY56" fmla="*/ 77284 h 397462"/>
                  <a:gd name="connsiteX57" fmla="*/ 419543 w 949492"/>
                  <a:gd name="connsiteY57" fmla="*/ 77284 h 397462"/>
                  <a:gd name="connsiteX58" fmla="*/ 419543 w 949492"/>
                  <a:gd name="connsiteY58" fmla="*/ 207122 h 397462"/>
                  <a:gd name="connsiteX59" fmla="*/ 161692 w 949492"/>
                  <a:gd name="connsiteY59" fmla="*/ 207122 h 397462"/>
                  <a:gd name="connsiteX60" fmla="*/ 161613 w 949492"/>
                  <a:gd name="connsiteY60" fmla="*/ 206934 h 397462"/>
                  <a:gd name="connsiteX61" fmla="*/ 274920 w 949492"/>
                  <a:gd name="connsiteY61" fmla="*/ 92680 h 397462"/>
                  <a:gd name="connsiteX0" fmla="*/ 854308 w 949492"/>
                  <a:gd name="connsiteY0" fmla="*/ 207206 h 397462"/>
                  <a:gd name="connsiteX1" fmla="*/ 778556 w 949492"/>
                  <a:gd name="connsiteY1" fmla="*/ 207206 h 397462"/>
                  <a:gd name="connsiteX2" fmla="*/ 778114 w 949492"/>
                  <a:gd name="connsiteY2" fmla="*/ 207116 h 397462"/>
                  <a:gd name="connsiteX3" fmla="*/ 774575 w 949492"/>
                  <a:gd name="connsiteY3" fmla="*/ 207116 h 397462"/>
                  <a:gd name="connsiteX4" fmla="*/ 748942 w 949492"/>
                  <a:gd name="connsiteY4" fmla="*/ 195909 h 397462"/>
                  <a:gd name="connsiteX5" fmla="*/ 629174 w 949492"/>
                  <a:gd name="connsiteY5" fmla="*/ 77069 h 397462"/>
                  <a:gd name="connsiteX6" fmla="*/ 574996 w 949492"/>
                  <a:gd name="connsiteY6" fmla="*/ 55203 h 397462"/>
                  <a:gd name="connsiteX7" fmla="*/ 313484 w 949492"/>
                  <a:gd name="connsiteY7" fmla="*/ 55203 h 397462"/>
                  <a:gd name="connsiteX8" fmla="*/ 259305 w 949492"/>
                  <a:gd name="connsiteY8" fmla="*/ 77064 h 397462"/>
                  <a:gd name="connsiteX9" fmla="*/ 141443 w 949492"/>
                  <a:gd name="connsiteY9" fmla="*/ 195909 h 397462"/>
                  <a:gd name="connsiteX10" fmla="*/ 130037 w 949492"/>
                  <a:gd name="connsiteY10" fmla="*/ 223481 h 397462"/>
                  <a:gd name="connsiteX11" fmla="*/ 130037 w 949492"/>
                  <a:gd name="connsiteY11" fmla="*/ 298097 h 397462"/>
                  <a:gd name="connsiteX12" fmla="*/ 99365 w 949492"/>
                  <a:gd name="connsiteY12" fmla="*/ 298097 h 397462"/>
                  <a:gd name="connsiteX13" fmla="*/ 66244 w 949492"/>
                  <a:gd name="connsiteY13" fmla="*/ 264975 h 397462"/>
                  <a:gd name="connsiteX14" fmla="*/ 66244 w 949492"/>
                  <a:gd name="connsiteY14" fmla="*/ 76168 h 397462"/>
                  <a:gd name="connsiteX15" fmla="*/ 0 w 949492"/>
                  <a:gd name="connsiteY15" fmla="*/ 22081 h 397462"/>
                  <a:gd name="connsiteX16" fmla="*/ 44162 w 949492"/>
                  <a:gd name="connsiteY16" fmla="*/ 76168 h 397462"/>
                  <a:gd name="connsiteX17" fmla="*/ 44162 w 949492"/>
                  <a:gd name="connsiteY17" fmla="*/ 264975 h 397462"/>
                  <a:gd name="connsiteX18" fmla="*/ 99365 w 949492"/>
                  <a:gd name="connsiteY18" fmla="*/ 320178 h 397462"/>
                  <a:gd name="connsiteX19" fmla="*/ 130037 w 949492"/>
                  <a:gd name="connsiteY19" fmla="*/ 320178 h 397462"/>
                  <a:gd name="connsiteX20" fmla="*/ 130037 w 949492"/>
                  <a:gd name="connsiteY20" fmla="*/ 321404 h 397462"/>
                  <a:gd name="connsiteX21" fmla="*/ 206095 w 949492"/>
                  <a:gd name="connsiteY21" fmla="*/ 397462 h 397462"/>
                  <a:gd name="connsiteX22" fmla="*/ 219298 w 949492"/>
                  <a:gd name="connsiteY22" fmla="*/ 397462 h 397462"/>
                  <a:gd name="connsiteX23" fmla="*/ 218445 w 949492"/>
                  <a:gd name="connsiteY23" fmla="*/ 384497 h 397462"/>
                  <a:gd name="connsiteX24" fmla="*/ 218908 w 949492"/>
                  <a:gd name="connsiteY24" fmla="*/ 375381 h 397462"/>
                  <a:gd name="connsiteX25" fmla="*/ 206075 w 949492"/>
                  <a:gd name="connsiteY25" fmla="*/ 375381 h 397462"/>
                  <a:gd name="connsiteX26" fmla="*/ 152117 w 949492"/>
                  <a:gd name="connsiteY26" fmla="*/ 321422 h 397462"/>
                  <a:gd name="connsiteX27" fmla="*/ 152117 w 949492"/>
                  <a:gd name="connsiteY27" fmla="*/ 229203 h 397462"/>
                  <a:gd name="connsiteX28" fmla="*/ 774631 w 949492"/>
                  <a:gd name="connsiteY28" fmla="*/ 229203 h 397462"/>
                  <a:gd name="connsiteX29" fmla="*/ 775551 w 949492"/>
                  <a:gd name="connsiteY29" fmla="*/ 229293 h 397462"/>
                  <a:gd name="connsiteX30" fmla="*/ 854442 w 949492"/>
                  <a:gd name="connsiteY30" fmla="*/ 229293 h 397462"/>
                  <a:gd name="connsiteX31" fmla="*/ 927411 w 949492"/>
                  <a:gd name="connsiteY31" fmla="*/ 302260 h 397462"/>
                  <a:gd name="connsiteX32" fmla="*/ 927411 w 949492"/>
                  <a:gd name="connsiteY32" fmla="*/ 359440 h 397462"/>
                  <a:gd name="connsiteX33" fmla="*/ 911465 w 949492"/>
                  <a:gd name="connsiteY33" fmla="*/ 375381 h 397462"/>
                  <a:gd name="connsiteX34" fmla="*/ 857126 w 949492"/>
                  <a:gd name="connsiteY34" fmla="*/ 375381 h 397462"/>
                  <a:gd name="connsiteX35" fmla="*/ 857588 w 949492"/>
                  <a:gd name="connsiteY35" fmla="*/ 384497 h 397462"/>
                  <a:gd name="connsiteX36" fmla="*/ 856735 w 949492"/>
                  <a:gd name="connsiteY36" fmla="*/ 397462 h 397462"/>
                  <a:gd name="connsiteX37" fmla="*/ 911473 w 949492"/>
                  <a:gd name="connsiteY37" fmla="*/ 397462 h 397462"/>
                  <a:gd name="connsiteX38" fmla="*/ 949492 w 949492"/>
                  <a:gd name="connsiteY38" fmla="*/ 359443 h 397462"/>
                  <a:gd name="connsiteX39" fmla="*/ 949492 w 949492"/>
                  <a:gd name="connsiteY39" fmla="*/ 302390 h 397462"/>
                  <a:gd name="connsiteX40" fmla="*/ 854308 w 949492"/>
                  <a:gd name="connsiteY40" fmla="*/ 207206 h 397462"/>
                  <a:gd name="connsiteX41" fmla="*/ 22081 w 949492"/>
                  <a:gd name="connsiteY41" fmla="*/ 20774 h 397462"/>
                  <a:gd name="connsiteX42" fmla="*/ 22081 w 949492"/>
                  <a:gd name="connsiteY42" fmla="*/ 0 h 397462"/>
                  <a:gd name="connsiteX43" fmla="*/ 88325 w 949492"/>
                  <a:gd name="connsiteY43" fmla="*/ 0 h 397462"/>
                  <a:gd name="connsiteX44" fmla="*/ 88325 w 949492"/>
                  <a:gd name="connsiteY44" fmla="*/ 22081 h 397462"/>
                  <a:gd name="connsiteX45" fmla="*/ 55107 w 949492"/>
                  <a:gd name="connsiteY45" fmla="*/ 55213 h 397462"/>
                  <a:gd name="connsiteX46" fmla="*/ 48602 w 949492"/>
                  <a:gd name="connsiteY46" fmla="*/ 54561 h 397462"/>
                  <a:gd name="connsiteX47" fmla="*/ 22081 w 949492"/>
                  <a:gd name="connsiteY47" fmla="*/ 20774 h 397462"/>
                  <a:gd name="connsiteX48" fmla="*/ 613621 w 949492"/>
                  <a:gd name="connsiteY48" fmla="*/ 92741 h 397462"/>
                  <a:gd name="connsiteX49" fmla="*/ 728881 w 949492"/>
                  <a:gd name="connsiteY49" fmla="*/ 207122 h 397462"/>
                  <a:gd name="connsiteX50" fmla="*/ 441624 w 949492"/>
                  <a:gd name="connsiteY50" fmla="*/ 207122 h 397462"/>
                  <a:gd name="connsiteX51" fmla="*/ 441624 w 949492"/>
                  <a:gd name="connsiteY51" fmla="*/ 77284 h 397462"/>
                  <a:gd name="connsiteX52" fmla="*/ 574995 w 949492"/>
                  <a:gd name="connsiteY52" fmla="*/ 77284 h 397462"/>
                  <a:gd name="connsiteX53" fmla="*/ 613621 w 949492"/>
                  <a:gd name="connsiteY53" fmla="*/ 92741 h 397462"/>
                  <a:gd name="connsiteX54" fmla="*/ 274920 w 949492"/>
                  <a:gd name="connsiteY54" fmla="*/ 92680 h 397462"/>
                  <a:gd name="connsiteX55" fmla="*/ 313484 w 949492"/>
                  <a:gd name="connsiteY55" fmla="*/ 77284 h 397462"/>
                  <a:gd name="connsiteX56" fmla="*/ 419543 w 949492"/>
                  <a:gd name="connsiteY56" fmla="*/ 77284 h 397462"/>
                  <a:gd name="connsiteX57" fmla="*/ 419543 w 949492"/>
                  <a:gd name="connsiteY57" fmla="*/ 207122 h 397462"/>
                  <a:gd name="connsiteX58" fmla="*/ 161692 w 949492"/>
                  <a:gd name="connsiteY58" fmla="*/ 207122 h 397462"/>
                  <a:gd name="connsiteX59" fmla="*/ 161613 w 949492"/>
                  <a:gd name="connsiteY59" fmla="*/ 206934 h 397462"/>
                  <a:gd name="connsiteX60" fmla="*/ 274920 w 949492"/>
                  <a:gd name="connsiteY60" fmla="*/ 92680 h 397462"/>
                  <a:gd name="connsiteX0" fmla="*/ 832233 w 927417"/>
                  <a:gd name="connsiteY0" fmla="*/ 207206 h 397462"/>
                  <a:gd name="connsiteX1" fmla="*/ 756481 w 927417"/>
                  <a:gd name="connsiteY1" fmla="*/ 207206 h 397462"/>
                  <a:gd name="connsiteX2" fmla="*/ 756039 w 927417"/>
                  <a:gd name="connsiteY2" fmla="*/ 207116 h 397462"/>
                  <a:gd name="connsiteX3" fmla="*/ 752500 w 927417"/>
                  <a:gd name="connsiteY3" fmla="*/ 207116 h 397462"/>
                  <a:gd name="connsiteX4" fmla="*/ 726867 w 927417"/>
                  <a:gd name="connsiteY4" fmla="*/ 195909 h 397462"/>
                  <a:gd name="connsiteX5" fmla="*/ 607099 w 927417"/>
                  <a:gd name="connsiteY5" fmla="*/ 77069 h 397462"/>
                  <a:gd name="connsiteX6" fmla="*/ 552921 w 927417"/>
                  <a:gd name="connsiteY6" fmla="*/ 55203 h 397462"/>
                  <a:gd name="connsiteX7" fmla="*/ 291409 w 927417"/>
                  <a:gd name="connsiteY7" fmla="*/ 55203 h 397462"/>
                  <a:gd name="connsiteX8" fmla="*/ 237230 w 927417"/>
                  <a:gd name="connsiteY8" fmla="*/ 77064 h 397462"/>
                  <a:gd name="connsiteX9" fmla="*/ 119368 w 927417"/>
                  <a:gd name="connsiteY9" fmla="*/ 195909 h 397462"/>
                  <a:gd name="connsiteX10" fmla="*/ 107962 w 927417"/>
                  <a:gd name="connsiteY10" fmla="*/ 223481 h 397462"/>
                  <a:gd name="connsiteX11" fmla="*/ 107962 w 927417"/>
                  <a:gd name="connsiteY11" fmla="*/ 298097 h 397462"/>
                  <a:gd name="connsiteX12" fmla="*/ 77290 w 927417"/>
                  <a:gd name="connsiteY12" fmla="*/ 298097 h 397462"/>
                  <a:gd name="connsiteX13" fmla="*/ 44169 w 927417"/>
                  <a:gd name="connsiteY13" fmla="*/ 264975 h 397462"/>
                  <a:gd name="connsiteX14" fmla="*/ 44169 w 927417"/>
                  <a:gd name="connsiteY14" fmla="*/ 76168 h 397462"/>
                  <a:gd name="connsiteX15" fmla="*/ 22087 w 927417"/>
                  <a:gd name="connsiteY15" fmla="*/ 76168 h 397462"/>
                  <a:gd name="connsiteX16" fmla="*/ 22087 w 927417"/>
                  <a:gd name="connsiteY16" fmla="*/ 264975 h 397462"/>
                  <a:gd name="connsiteX17" fmla="*/ 77290 w 927417"/>
                  <a:gd name="connsiteY17" fmla="*/ 320178 h 397462"/>
                  <a:gd name="connsiteX18" fmla="*/ 107962 w 927417"/>
                  <a:gd name="connsiteY18" fmla="*/ 320178 h 397462"/>
                  <a:gd name="connsiteX19" fmla="*/ 107962 w 927417"/>
                  <a:gd name="connsiteY19" fmla="*/ 321404 h 397462"/>
                  <a:gd name="connsiteX20" fmla="*/ 184020 w 927417"/>
                  <a:gd name="connsiteY20" fmla="*/ 397462 h 397462"/>
                  <a:gd name="connsiteX21" fmla="*/ 197223 w 927417"/>
                  <a:gd name="connsiteY21" fmla="*/ 397462 h 397462"/>
                  <a:gd name="connsiteX22" fmla="*/ 196370 w 927417"/>
                  <a:gd name="connsiteY22" fmla="*/ 384497 h 397462"/>
                  <a:gd name="connsiteX23" fmla="*/ 196833 w 927417"/>
                  <a:gd name="connsiteY23" fmla="*/ 375381 h 397462"/>
                  <a:gd name="connsiteX24" fmla="*/ 184000 w 927417"/>
                  <a:gd name="connsiteY24" fmla="*/ 375381 h 397462"/>
                  <a:gd name="connsiteX25" fmla="*/ 130042 w 927417"/>
                  <a:gd name="connsiteY25" fmla="*/ 321422 h 397462"/>
                  <a:gd name="connsiteX26" fmla="*/ 130042 w 927417"/>
                  <a:gd name="connsiteY26" fmla="*/ 229203 h 397462"/>
                  <a:gd name="connsiteX27" fmla="*/ 752556 w 927417"/>
                  <a:gd name="connsiteY27" fmla="*/ 229203 h 397462"/>
                  <a:gd name="connsiteX28" fmla="*/ 753476 w 927417"/>
                  <a:gd name="connsiteY28" fmla="*/ 229293 h 397462"/>
                  <a:gd name="connsiteX29" fmla="*/ 832367 w 927417"/>
                  <a:gd name="connsiteY29" fmla="*/ 229293 h 397462"/>
                  <a:gd name="connsiteX30" fmla="*/ 905336 w 927417"/>
                  <a:gd name="connsiteY30" fmla="*/ 302260 h 397462"/>
                  <a:gd name="connsiteX31" fmla="*/ 905336 w 927417"/>
                  <a:gd name="connsiteY31" fmla="*/ 359440 h 397462"/>
                  <a:gd name="connsiteX32" fmla="*/ 889390 w 927417"/>
                  <a:gd name="connsiteY32" fmla="*/ 375381 h 397462"/>
                  <a:gd name="connsiteX33" fmla="*/ 835051 w 927417"/>
                  <a:gd name="connsiteY33" fmla="*/ 375381 h 397462"/>
                  <a:gd name="connsiteX34" fmla="*/ 835513 w 927417"/>
                  <a:gd name="connsiteY34" fmla="*/ 384497 h 397462"/>
                  <a:gd name="connsiteX35" fmla="*/ 834660 w 927417"/>
                  <a:gd name="connsiteY35" fmla="*/ 397462 h 397462"/>
                  <a:gd name="connsiteX36" fmla="*/ 889398 w 927417"/>
                  <a:gd name="connsiteY36" fmla="*/ 397462 h 397462"/>
                  <a:gd name="connsiteX37" fmla="*/ 927417 w 927417"/>
                  <a:gd name="connsiteY37" fmla="*/ 359443 h 397462"/>
                  <a:gd name="connsiteX38" fmla="*/ 927417 w 927417"/>
                  <a:gd name="connsiteY38" fmla="*/ 302390 h 397462"/>
                  <a:gd name="connsiteX39" fmla="*/ 832233 w 927417"/>
                  <a:gd name="connsiteY39" fmla="*/ 207206 h 397462"/>
                  <a:gd name="connsiteX40" fmla="*/ 6 w 927417"/>
                  <a:gd name="connsiteY40" fmla="*/ 20774 h 397462"/>
                  <a:gd name="connsiteX41" fmla="*/ 6 w 927417"/>
                  <a:gd name="connsiteY41" fmla="*/ 0 h 397462"/>
                  <a:gd name="connsiteX42" fmla="*/ 66250 w 927417"/>
                  <a:gd name="connsiteY42" fmla="*/ 0 h 397462"/>
                  <a:gd name="connsiteX43" fmla="*/ 66250 w 927417"/>
                  <a:gd name="connsiteY43" fmla="*/ 22081 h 397462"/>
                  <a:gd name="connsiteX44" fmla="*/ 33032 w 927417"/>
                  <a:gd name="connsiteY44" fmla="*/ 55213 h 397462"/>
                  <a:gd name="connsiteX45" fmla="*/ 26527 w 927417"/>
                  <a:gd name="connsiteY45" fmla="*/ 54561 h 397462"/>
                  <a:gd name="connsiteX46" fmla="*/ 6 w 927417"/>
                  <a:gd name="connsiteY46" fmla="*/ 20774 h 397462"/>
                  <a:gd name="connsiteX47" fmla="*/ 591546 w 927417"/>
                  <a:gd name="connsiteY47" fmla="*/ 92741 h 397462"/>
                  <a:gd name="connsiteX48" fmla="*/ 706806 w 927417"/>
                  <a:gd name="connsiteY48" fmla="*/ 207122 h 397462"/>
                  <a:gd name="connsiteX49" fmla="*/ 419549 w 927417"/>
                  <a:gd name="connsiteY49" fmla="*/ 207122 h 397462"/>
                  <a:gd name="connsiteX50" fmla="*/ 419549 w 927417"/>
                  <a:gd name="connsiteY50" fmla="*/ 77284 h 397462"/>
                  <a:gd name="connsiteX51" fmla="*/ 552920 w 927417"/>
                  <a:gd name="connsiteY51" fmla="*/ 77284 h 397462"/>
                  <a:gd name="connsiteX52" fmla="*/ 591546 w 927417"/>
                  <a:gd name="connsiteY52" fmla="*/ 92741 h 397462"/>
                  <a:gd name="connsiteX53" fmla="*/ 252845 w 927417"/>
                  <a:gd name="connsiteY53" fmla="*/ 92680 h 397462"/>
                  <a:gd name="connsiteX54" fmla="*/ 291409 w 927417"/>
                  <a:gd name="connsiteY54" fmla="*/ 77284 h 397462"/>
                  <a:gd name="connsiteX55" fmla="*/ 397468 w 927417"/>
                  <a:gd name="connsiteY55" fmla="*/ 77284 h 397462"/>
                  <a:gd name="connsiteX56" fmla="*/ 397468 w 927417"/>
                  <a:gd name="connsiteY56" fmla="*/ 207122 h 397462"/>
                  <a:gd name="connsiteX57" fmla="*/ 139617 w 927417"/>
                  <a:gd name="connsiteY57" fmla="*/ 207122 h 397462"/>
                  <a:gd name="connsiteX58" fmla="*/ 139538 w 927417"/>
                  <a:gd name="connsiteY58" fmla="*/ 206934 h 397462"/>
                  <a:gd name="connsiteX59" fmla="*/ 252845 w 927417"/>
                  <a:gd name="connsiteY59" fmla="*/ 92680 h 397462"/>
                  <a:gd name="connsiteX0" fmla="*/ 832233 w 927417"/>
                  <a:gd name="connsiteY0" fmla="*/ 207206 h 397462"/>
                  <a:gd name="connsiteX1" fmla="*/ 756481 w 927417"/>
                  <a:gd name="connsiteY1" fmla="*/ 207206 h 397462"/>
                  <a:gd name="connsiteX2" fmla="*/ 756039 w 927417"/>
                  <a:gd name="connsiteY2" fmla="*/ 207116 h 397462"/>
                  <a:gd name="connsiteX3" fmla="*/ 752500 w 927417"/>
                  <a:gd name="connsiteY3" fmla="*/ 207116 h 397462"/>
                  <a:gd name="connsiteX4" fmla="*/ 726867 w 927417"/>
                  <a:gd name="connsiteY4" fmla="*/ 195909 h 397462"/>
                  <a:gd name="connsiteX5" fmla="*/ 607099 w 927417"/>
                  <a:gd name="connsiteY5" fmla="*/ 77069 h 397462"/>
                  <a:gd name="connsiteX6" fmla="*/ 552921 w 927417"/>
                  <a:gd name="connsiteY6" fmla="*/ 55203 h 397462"/>
                  <a:gd name="connsiteX7" fmla="*/ 291409 w 927417"/>
                  <a:gd name="connsiteY7" fmla="*/ 55203 h 397462"/>
                  <a:gd name="connsiteX8" fmla="*/ 237230 w 927417"/>
                  <a:gd name="connsiteY8" fmla="*/ 77064 h 397462"/>
                  <a:gd name="connsiteX9" fmla="*/ 119368 w 927417"/>
                  <a:gd name="connsiteY9" fmla="*/ 195909 h 397462"/>
                  <a:gd name="connsiteX10" fmla="*/ 107962 w 927417"/>
                  <a:gd name="connsiteY10" fmla="*/ 223481 h 397462"/>
                  <a:gd name="connsiteX11" fmla="*/ 107962 w 927417"/>
                  <a:gd name="connsiteY11" fmla="*/ 298097 h 397462"/>
                  <a:gd name="connsiteX12" fmla="*/ 77290 w 927417"/>
                  <a:gd name="connsiteY12" fmla="*/ 298097 h 397462"/>
                  <a:gd name="connsiteX13" fmla="*/ 44169 w 927417"/>
                  <a:gd name="connsiteY13" fmla="*/ 264975 h 397462"/>
                  <a:gd name="connsiteX14" fmla="*/ 44169 w 927417"/>
                  <a:gd name="connsiteY14" fmla="*/ 76168 h 397462"/>
                  <a:gd name="connsiteX15" fmla="*/ 22087 w 927417"/>
                  <a:gd name="connsiteY15" fmla="*/ 264975 h 397462"/>
                  <a:gd name="connsiteX16" fmla="*/ 77290 w 927417"/>
                  <a:gd name="connsiteY16" fmla="*/ 320178 h 397462"/>
                  <a:gd name="connsiteX17" fmla="*/ 107962 w 927417"/>
                  <a:gd name="connsiteY17" fmla="*/ 320178 h 397462"/>
                  <a:gd name="connsiteX18" fmla="*/ 107962 w 927417"/>
                  <a:gd name="connsiteY18" fmla="*/ 321404 h 397462"/>
                  <a:gd name="connsiteX19" fmla="*/ 184020 w 927417"/>
                  <a:gd name="connsiteY19" fmla="*/ 397462 h 397462"/>
                  <a:gd name="connsiteX20" fmla="*/ 197223 w 927417"/>
                  <a:gd name="connsiteY20" fmla="*/ 397462 h 397462"/>
                  <a:gd name="connsiteX21" fmla="*/ 196370 w 927417"/>
                  <a:gd name="connsiteY21" fmla="*/ 384497 h 397462"/>
                  <a:gd name="connsiteX22" fmla="*/ 196833 w 927417"/>
                  <a:gd name="connsiteY22" fmla="*/ 375381 h 397462"/>
                  <a:gd name="connsiteX23" fmla="*/ 184000 w 927417"/>
                  <a:gd name="connsiteY23" fmla="*/ 375381 h 397462"/>
                  <a:gd name="connsiteX24" fmla="*/ 130042 w 927417"/>
                  <a:gd name="connsiteY24" fmla="*/ 321422 h 397462"/>
                  <a:gd name="connsiteX25" fmla="*/ 130042 w 927417"/>
                  <a:gd name="connsiteY25" fmla="*/ 229203 h 397462"/>
                  <a:gd name="connsiteX26" fmla="*/ 752556 w 927417"/>
                  <a:gd name="connsiteY26" fmla="*/ 229203 h 397462"/>
                  <a:gd name="connsiteX27" fmla="*/ 753476 w 927417"/>
                  <a:gd name="connsiteY27" fmla="*/ 229293 h 397462"/>
                  <a:gd name="connsiteX28" fmla="*/ 832367 w 927417"/>
                  <a:gd name="connsiteY28" fmla="*/ 229293 h 397462"/>
                  <a:gd name="connsiteX29" fmla="*/ 905336 w 927417"/>
                  <a:gd name="connsiteY29" fmla="*/ 302260 h 397462"/>
                  <a:gd name="connsiteX30" fmla="*/ 905336 w 927417"/>
                  <a:gd name="connsiteY30" fmla="*/ 359440 h 397462"/>
                  <a:gd name="connsiteX31" fmla="*/ 889390 w 927417"/>
                  <a:gd name="connsiteY31" fmla="*/ 375381 h 397462"/>
                  <a:gd name="connsiteX32" fmla="*/ 835051 w 927417"/>
                  <a:gd name="connsiteY32" fmla="*/ 375381 h 397462"/>
                  <a:gd name="connsiteX33" fmla="*/ 835513 w 927417"/>
                  <a:gd name="connsiteY33" fmla="*/ 384497 h 397462"/>
                  <a:gd name="connsiteX34" fmla="*/ 834660 w 927417"/>
                  <a:gd name="connsiteY34" fmla="*/ 397462 h 397462"/>
                  <a:gd name="connsiteX35" fmla="*/ 889398 w 927417"/>
                  <a:gd name="connsiteY35" fmla="*/ 397462 h 397462"/>
                  <a:gd name="connsiteX36" fmla="*/ 927417 w 927417"/>
                  <a:gd name="connsiteY36" fmla="*/ 359443 h 397462"/>
                  <a:gd name="connsiteX37" fmla="*/ 927417 w 927417"/>
                  <a:gd name="connsiteY37" fmla="*/ 302390 h 397462"/>
                  <a:gd name="connsiteX38" fmla="*/ 832233 w 927417"/>
                  <a:gd name="connsiteY38" fmla="*/ 207206 h 397462"/>
                  <a:gd name="connsiteX39" fmla="*/ 6 w 927417"/>
                  <a:gd name="connsiteY39" fmla="*/ 20774 h 397462"/>
                  <a:gd name="connsiteX40" fmla="*/ 6 w 927417"/>
                  <a:gd name="connsiteY40" fmla="*/ 0 h 397462"/>
                  <a:gd name="connsiteX41" fmla="*/ 66250 w 927417"/>
                  <a:gd name="connsiteY41" fmla="*/ 0 h 397462"/>
                  <a:gd name="connsiteX42" fmla="*/ 66250 w 927417"/>
                  <a:gd name="connsiteY42" fmla="*/ 22081 h 397462"/>
                  <a:gd name="connsiteX43" fmla="*/ 33032 w 927417"/>
                  <a:gd name="connsiteY43" fmla="*/ 55213 h 397462"/>
                  <a:gd name="connsiteX44" fmla="*/ 26527 w 927417"/>
                  <a:gd name="connsiteY44" fmla="*/ 54561 h 397462"/>
                  <a:gd name="connsiteX45" fmla="*/ 6 w 927417"/>
                  <a:gd name="connsiteY45" fmla="*/ 20774 h 397462"/>
                  <a:gd name="connsiteX46" fmla="*/ 591546 w 927417"/>
                  <a:gd name="connsiteY46" fmla="*/ 92741 h 397462"/>
                  <a:gd name="connsiteX47" fmla="*/ 706806 w 927417"/>
                  <a:gd name="connsiteY47" fmla="*/ 207122 h 397462"/>
                  <a:gd name="connsiteX48" fmla="*/ 419549 w 927417"/>
                  <a:gd name="connsiteY48" fmla="*/ 207122 h 397462"/>
                  <a:gd name="connsiteX49" fmla="*/ 419549 w 927417"/>
                  <a:gd name="connsiteY49" fmla="*/ 77284 h 397462"/>
                  <a:gd name="connsiteX50" fmla="*/ 552920 w 927417"/>
                  <a:gd name="connsiteY50" fmla="*/ 77284 h 397462"/>
                  <a:gd name="connsiteX51" fmla="*/ 591546 w 927417"/>
                  <a:gd name="connsiteY51" fmla="*/ 92741 h 397462"/>
                  <a:gd name="connsiteX52" fmla="*/ 252845 w 927417"/>
                  <a:gd name="connsiteY52" fmla="*/ 92680 h 397462"/>
                  <a:gd name="connsiteX53" fmla="*/ 291409 w 927417"/>
                  <a:gd name="connsiteY53" fmla="*/ 77284 h 397462"/>
                  <a:gd name="connsiteX54" fmla="*/ 397468 w 927417"/>
                  <a:gd name="connsiteY54" fmla="*/ 77284 h 397462"/>
                  <a:gd name="connsiteX55" fmla="*/ 397468 w 927417"/>
                  <a:gd name="connsiteY55" fmla="*/ 207122 h 397462"/>
                  <a:gd name="connsiteX56" fmla="*/ 139617 w 927417"/>
                  <a:gd name="connsiteY56" fmla="*/ 207122 h 397462"/>
                  <a:gd name="connsiteX57" fmla="*/ 139538 w 927417"/>
                  <a:gd name="connsiteY57" fmla="*/ 206934 h 397462"/>
                  <a:gd name="connsiteX58" fmla="*/ 252845 w 927417"/>
                  <a:gd name="connsiteY58" fmla="*/ 92680 h 397462"/>
                  <a:gd name="connsiteX0" fmla="*/ 832233 w 927417"/>
                  <a:gd name="connsiteY0" fmla="*/ 207206 h 397462"/>
                  <a:gd name="connsiteX1" fmla="*/ 756481 w 927417"/>
                  <a:gd name="connsiteY1" fmla="*/ 207206 h 397462"/>
                  <a:gd name="connsiteX2" fmla="*/ 756039 w 927417"/>
                  <a:gd name="connsiteY2" fmla="*/ 207116 h 397462"/>
                  <a:gd name="connsiteX3" fmla="*/ 752500 w 927417"/>
                  <a:gd name="connsiteY3" fmla="*/ 207116 h 397462"/>
                  <a:gd name="connsiteX4" fmla="*/ 726867 w 927417"/>
                  <a:gd name="connsiteY4" fmla="*/ 195909 h 397462"/>
                  <a:gd name="connsiteX5" fmla="*/ 607099 w 927417"/>
                  <a:gd name="connsiteY5" fmla="*/ 77069 h 397462"/>
                  <a:gd name="connsiteX6" fmla="*/ 552921 w 927417"/>
                  <a:gd name="connsiteY6" fmla="*/ 55203 h 397462"/>
                  <a:gd name="connsiteX7" fmla="*/ 291409 w 927417"/>
                  <a:gd name="connsiteY7" fmla="*/ 55203 h 397462"/>
                  <a:gd name="connsiteX8" fmla="*/ 237230 w 927417"/>
                  <a:gd name="connsiteY8" fmla="*/ 77064 h 397462"/>
                  <a:gd name="connsiteX9" fmla="*/ 119368 w 927417"/>
                  <a:gd name="connsiteY9" fmla="*/ 195909 h 397462"/>
                  <a:gd name="connsiteX10" fmla="*/ 107962 w 927417"/>
                  <a:gd name="connsiteY10" fmla="*/ 223481 h 397462"/>
                  <a:gd name="connsiteX11" fmla="*/ 107962 w 927417"/>
                  <a:gd name="connsiteY11" fmla="*/ 298097 h 397462"/>
                  <a:gd name="connsiteX12" fmla="*/ 77290 w 927417"/>
                  <a:gd name="connsiteY12" fmla="*/ 298097 h 397462"/>
                  <a:gd name="connsiteX13" fmla="*/ 44169 w 927417"/>
                  <a:gd name="connsiteY13" fmla="*/ 264975 h 397462"/>
                  <a:gd name="connsiteX14" fmla="*/ 22087 w 927417"/>
                  <a:gd name="connsiteY14" fmla="*/ 264975 h 397462"/>
                  <a:gd name="connsiteX15" fmla="*/ 77290 w 927417"/>
                  <a:gd name="connsiteY15" fmla="*/ 320178 h 397462"/>
                  <a:gd name="connsiteX16" fmla="*/ 107962 w 927417"/>
                  <a:gd name="connsiteY16" fmla="*/ 320178 h 397462"/>
                  <a:gd name="connsiteX17" fmla="*/ 107962 w 927417"/>
                  <a:gd name="connsiteY17" fmla="*/ 321404 h 397462"/>
                  <a:gd name="connsiteX18" fmla="*/ 184020 w 927417"/>
                  <a:gd name="connsiteY18" fmla="*/ 397462 h 397462"/>
                  <a:gd name="connsiteX19" fmla="*/ 197223 w 927417"/>
                  <a:gd name="connsiteY19" fmla="*/ 397462 h 397462"/>
                  <a:gd name="connsiteX20" fmla="*/ 196370 w 927417"/>
                  <a:gd name="connsiteY20" fmla="*/ 384497 h 397462"/>
                  <a:gd name="connsiteX21" fmla="*/ 196833 w 927417"/>
                  <a:gd name="connsiteY21" fmla="*/ 375381 h 397462"/>
                  <a:gd name="connsiteX22" fmla="*/ 184000 w 927417"/>
                  <a:gd name="connsiteY22" fmla="*/ 375381 h 397462"/>
                  <a:gd name="connsiteX23" fmla="*/ 130042 w 927417"/>
                  <a:gd name="connsiteY23" fmla="*/ 321422 h 397462"/>
                  <a:gd name="connsiteX24" fmla="*/ 130042 w 927417"/>
                  <a:gd name="connsiteY24" fmla="*/ 229203 h 397462"/>
                  <a:gd name="connsiteX25" fmla="*/ 752556 w 927417"/>
                  <a:gd name="connsiteY25" fmla="*/ 229203 h 397462"/>
                  <a:gd name="connsiteX26" fmla="*/ 753476 w 927417"/>
                  <a:gd name="connsiteY26" fmla="*/ 229293 h 397462"/>
                  <a:gd name="connsiteX27" fmla="*/ 832367 w 927417"/>
                  <a:gd name="connsiteY27" fmla="*/ 229293 h 397462"/>
                  <a:gd name="connsiteX28" fmla="*/ 905336 w 927417"/>
                  <a:gd name="connsiteY28" fmla="*/ 302260 h 397462"/>
                  <a:gd name="connsiteX29" fmla="*/ 905336 w 927417"/>
                  <a:gd name="connsiteY29" fmla="*/ 359440 h 397462"/>
                  <a:gd name="connsiteX30" fmla="*/ 889390 w 927417"/>
                  <a:gd name="connsiteY30" fmla="*/ 375381 h 397462"/>
                  <a:gd name="connsiteX31" fmla="*/ 835051 w 927417"/>
                  <a:gd name="connsiteY31" fmla="*/ 375381 h 397462"/>
                  <a:gd name="connsiteX32" fmla="*/ 835513 w 927417"/>
                  <a:gd name="connsiteY32" fmla="*/ 384497 h 397462"/>
                  <a:gd name="connsiteX33" fmla="*/ 834660 w 927417"/>
                  <a:gd name="connsiteY33" fmla="*/ 397462 h 397462"/>
                  <a:gd name="connsiteX34" fmla="*/ 889398 w 927417"/>
                  <a:gd name="connsiteY34" fmla="*/ 397462 h 397462"/>
                  <a:gd name="connsiteX35" fmla="*/ 927417 w 927417"/>
                  <a:gd name="connsiteY35" fmla="*/ 359443 h 397462"/>
                  <a:gd name="connsiteX36" fmla="*/ 927417 w 927417"/>
                  <a:gd name="connsiteY36" fmla="*/ 302390 h 397462"/>
                  <a:gd name="connsiteX37" fmla="*/ 832233 w 927417"/>
                  <a:gd name="connsiteY37" fmla="*/ 207206 h 397462"/>
                  <a:gd name="connsiteX38" fmla="*/ 6 w 927417"/>
                  <a:gd name="connsiteY38" fmla="*/ 20774 h 397462"/>
                  <a:gd name="connsiteX39" fmla="*/ 6 w 927417"/>
                  <a:gd name="connsiteY39" fmla="*/ 0 h 397462"/>
                  <a:gd name="connsiteX40" fmla="*/ 66250 w 927417"/>
                  <a:gd name="connsiteY40" fmla="*/ 0 h 397462"/>
                  <a:gd name="connsiteX41" fmla="*/ 66250 w 927417"/>
                  <a:gd name="connsiteY41" fmla="*/ 22081 h 397462"/>
                  <a:gd name="connsiteX42" fmla="*/ 33032 w 927417"/>
                  <a:gd name="connsiteY42" fmla="*/ 55213 h 397462"/>
                  <a:gd name="connsiteX43" fmla="*/ 26527 w 927417"/>
                  <a:gd name="connsiteY43" fmla="*/ 54561 h 397462"/>
                  <a:gd name="connsiteX44" fmla="*/ 6 w 927417"/>
                  <a:gd name="connsiteY44" fmla="*/ 20774 h 397462"/>
                  <a:gd name="connsiteX45" fmla="*/ 591546 w 927417"/>
                  <a:gd name="connsiteY45" fmla="*/ 92741 h 397462"/>
                  <a:gd name="connsiteX46" fmla="*/ 706806 w 927417"/>
                  <a:gd name="connsiteY46" fmla="*/ 207122 h 397462"/>
                  <a:gd name="connsiteX47" fmla="*/ 419549 w 927417"/>
                  <a:gd name="connsiteY47" fmla="*/ 207122 h 397462"/>
                  <a:gd name="connsiteX48" fmla="*/ 419549 w 927417"/>
                  <a:gd name="connsiteY48" fmla="*/ 77284 h 397462"/>
                  <a:gd name="connsiteX49" fmla="*/ 552920 w 927417"/>
                  <a:gd name="connsiteY49" fmla="*/ 77284 h 397462"/>
                  <a:gd name="connsiteX50" fmla="*/ 591546 w 927417"/>
                  <a:gd name="connsiteY50" fmla="*/ 92741 h 397462"/>
                  <a:gd name="connsiteX51" fmla="*/ 252845 w 927417"/>
                  <a:gd name="connsiteY51" fmla="*/ 92680 h 397462"/>
                  <a:gd name="connsiteX52" fmla="*/ 291409 w 927417"/>
                  <a:gd name="connsiteY52" fmla="*/ 77284 h 397462"/>
                  <a:gd name="connsiteX53" fmla="*/ 397468 w 927417"/>
                  <a:gd name="connsiteY53" fmla="*/ 77284 h 397462"/>
                  <a:gd name="connsiteX54" fmla="*/ 397468 w 927417"/>
                  <a:gd name="connsiteY54" fmla="*/ 207122 h 397462"/>
                  <a:gd name="connsiteX55" fmla="*/ 139617 w 927417"/>
                  <a:gd name="connsiteY55" fmla="*/ 207122 h 397462"/>
                  <a:gd name="connsiteX56" fmla="*/ 139538 w 927417"/>
                  <a:gd name="connsiteY56" fmla="*/ 206934 h 397462"/>
                  <a:gd name="connsiteX57" fmla="*/ 252845 w 927417"/>
                  <a:gd name="connsiteY57" fmla="*/ 92680 h 397462"/>
                  <a:gd name="connsiteX0" fmla="*/ 832227 w 927411"/>
                  <a:gd name="connsiteY0" fmla="*/ 207206 h 397462"/>
                  <a:gd name="connsiteX1" fmla="*/ 756475 w 927411"/>
                  <a:gd name="connsiteY1" fmla="*/ 207206 h 397462"/>
                  <a:gd name="connsiteX2" fmla="*/ 756033 w 927411"/>
                  <a:gd name="connsiteY2" fmla="*/ 207116 h 397462"/>
                  <a:gd name="connsiteX3" fmla="*/ 752494 w 927411"/>
                  <a:gd name="connsiteY3" fmla="*/ 207116 h 397462"/>
                  <a:gd name="connsiteX4" fmla="*/ 726861 w 927411"/>
                  <a:gd name="connsiteY4" fmla="*/ 195909 h 397462"/>
                  <a:gd name="connsiteX5" fmla="*/ 607093 w 927411"/>
                  <a:gd name="connsiteY5" fmla="*/ 77069 h 397462"/>
                  <a:gd name="connsiteX6" fmla="*/ 552915 w 927411"/>
                  <a:gd name="connsiteY6" fmla="*/ 55203 h 397462"/>
                  <a:gd name="connsiteX7" fmla="*/ 291403 w 927411"/>
                  <a:gd name="connsiteY7" fmla="*/ 55203 h 397462"/>
                  <a:gd name="connsiteX8" fmla="*/ 237224 w 927411"/>
                  <a:gd name="connsiteY8" fmla="*/ 77064 h 397462"/>
                  <a:gd name="connsiteX9" fmla="*/ 119362 w 927411"/>
                  <a:gd name="connsiteY9" fmla="*/ 195909 h 397462"/>
                  <a:gd name="connsiteX10" fmla="*/ 107956 w 927411"/>
                  <a:gd name="connsiteY10" fmla="*/ 223481 h 397462"/>
                  <a:gd name="connsiteX11" fmla="*/ 107956 w 927411"/>
                  <a:gd name="connsiteY11" fmla="*/ 298097 h 397462"/>
                  <a:gd name="connsiteX12" fmla="*/ 77284 w 927411"/>
                  <a:gd name="connsiteY12" fmla="*/ 298097 h 397462"/>
                  <a:gd name="connsiteX13" fmla="*/ 44163 w 927411"/>
                  <a:gd name="connsiteY13" fmla="*/ 264975 h 397462"/>
                  <a:gd name="connsiteX14" fmla="*/ 22081 w 927411"/>
                  <a:gd name="connsiteY14" fmla="*/ 264975 h 397462"/>
                  <a:gd name="connsiteX15" fmla="*/ 77284 w 927411"/>
                  <a:gd name="connsiteY15" fmla="*/ 320178 h 397462"/>
                  <a:gd name="connsiteX16" fmla="*/ 107956 w 927411"/>
                  <a:gd name="connsiteY16" fmla="*/ 320178 h 397462"/>
                  <a:gd name="connsiteX17" fmla="*/ 107956 w 927411"/>
                  <a:gd name="connsiteY17" fmla="*/ 321404 h 397462"/>
                  <a:gd name="connsiteX18" fmla="*/ 184014 w 927411"/>
                  <a:gd name="connsiteY18" fmla="*/ 397462 h 397462"/>
                  <a:gd name="connsiteX19" fmla="*/ 197217 w 927411"/>
                  <a:gd name="connsiteY19" fmla="*/ 397462 h 397462"/>
                  <a:gd name="connsiteX20" fmla="*/ 196364 w 927411"/>
                  <a:gd name="connsiteY20" fmla="*/ 384497 h 397462"/>
                  <a:gd name="connsiteX21" fmla="*/ 196827 w 927411"/>
                  <a:gd name="connsiteY21" fmla="*/ 375381 h 397462"/>
                  <a:gd name="connsiteX22" fmla="*/ 183994 w 927411"/>
                  <a:gd name="connsiteY22" fmla="*/ 375381 h 397462"/>
                  <a:gd name="connsiteX23" fmla="*/ 130036 w 927411"/>
                  <a:gd name="connsiteY23" fmla="*/ 321422 h 397462"/>
                  <a:gd name="connsiteX24" fmla="*/ 130036 w 927411"/>
                  <a:gd name="connsiteY24" fmla="*/ 229203 h 397462"/>
                  <a:gd name="connsiteX25" fmla="*/ 752550 w 927411"/>
                  <a:gd name="connsiteY25" fmla="*/ 229203 h 397462"/>
                  <a:gd name="connsiteX26" fmla="*/ 753470 w 927411"/>
                  <a:gd name="connsiteY26" fmla="*/ 229293 h 397462"/>
                  <a:gd name="connsiteX27" fmla="*/ 832361 w 927411"/>
                  <a:gd name="connsiteY27" fmla="*/ 229293 h 397462"/>
                  <a:gd name="connsiteX28" fmla="*/ 905330 w 927411"/>
                  <a:gd name="connsiteY28" fmla="*/ 302260 h 397462"/>
                  <a:gd name="connsiteX29" fmla="*/ 905330 w 927411"/>
                  <a:gd name="connsiteY29" fmla="*/ 359440 h 397462"/>
                  <a:gd name="connsiteX30" fmla="*/ 889384 w 927411"/>
                  <a:gd name="connsiteY30" fmla="*/ 375381 h 397462"/>
                  <a:gd name="connsiteX31" fmla="*/ 835045 w 927411"/>
                  <a:gd name="connsiteY31" fmla="*/ 375381 h 397462"/>
                  <a:gd name="connsiteX32" fmla="*/ 835507 w 927411"/>
                  <a:gd name="connsiteY32" fmla="*/ 384497 h 397462"/>
                  <a:gd name="connsiteX33" fmla="*/ 834654 w 927411"/>
                  <a:gd name="connsiteY33" fmla="*/ 397462 h 397462"/>
                  <a:gd name="connsiteX34" fmla="*/ 889392 w 927411"/>
                  <a:gd name="connsiteY34" fmla="*/ 397462 h 397462"/>
                  <a:gd name="connsiteX35" fmla="*/ 927411 w 927411"/>
                  <a:gd name="connsiteY35" fmla="*/ 359443 h 397462"/>
                  <a:gd name="connsiteX36" fmla="*/ 927411 w 927411"/>
                  <a:gd name="connsiteY36" fmla="*/ 302390 h 397462"/>
                  <a:gd name="connsiteX37" fmla="*/ 832227 w 927411"/>
                  <a:gd name="connsiteY37" fmla="*/ 207206 h 397462"/>
                  <a:gd name="connsiteX38" fmla="*/ 0 w 927411"/>
                  <a:gd name="connsiteY38" fmla="*/ 20774 h 397462"/>
                  <a:gd name="connsiteX39" fmla="*/ 0 w 927411"/>
                  <a:gd name="connsiteY39" fmla="*/ 0 h 397462"/>
                  <a:gd name="connsiteX40" fmla="*/ 66244 w 927411"/>
                  <a:gd name="connsiteY40" fmla="*/ 0 h 397462"/>
                  <a:gd name="connsiteX41" fmla="*/ 66244 w 927411"/>
                  <a:gd name="connsiteY41" fmla="*/ 22081 h 397462"/>
                  <a:gd name="connsiteX42" fmla="*/ 33026 w 927411"/>
                  <a:gd name="connsiteY42" fmla="*/ 55213 h 397462"/>
                  <a:gd name="connsiteX43" fmla="*/ 0 w 927411"/>
                  <a:gd name="connsiteY43" fmla="*/ 20774 h 397462"/>
                  <a:gd name="connsiteX44" fmla="*/ 591540 w 927411"/>
                  <a:gd name="connsiteY44" fmla="*/ 92741 h 397462"/>
                  <a:gd name="connsiteX45" fmla="*/ 706800 w 927411"/>
                  <a:gd name="connsiteY45" fmla="*/ 207122 h 397462"/>
                  <a:gd name="connsiteX46" fmla="*/ 419543 w 927411"/>
                  <a:gd name="connsiteY46" fmla="*/ 207122 h 397462"/>
                  <a:gd name="connsiteX47" fmla="*/ 419543 w 927411"/>
                  <a:gd name="connsiteY47" fmla="*/ 77284 h 397462"/>
                  <a:gd name="connsiteX48" fmla="*/ 552914 w 927411"/>
                  <a:gd name="connsiteY48" fmla="*/ 77284 h 397462"/>
                  <a:gd name="connsiteX49" fmla="*/ 591540 w 927411"/>
                  <a:gd name="connsiteY49" fmla="*/ 92741 h 397462"/>
                  <a:gd name="connsiteX50" fmla="*/ 252839 w 927411"/>
                  <a:gd name="connsiteY50" fmla="*/ 92680 h 397462"/>
                  <a:gd name="connsiteX51" fmla="*/ 291403 w 927411"/>
                  <a:gd name="connsiteY51" fmla="*/ 77284 h 397462"/>
                  <a:gd name="connsiteX52" fmla="*/ 397462 w 927411"/>
                  <a:gd name="connsiteY52" fmla="*/ 77284 h 397462"/>
                  <a:gd name="connsiteX53" fmla="*/ 397462 w 927411"/>
                  <a:gd name="connsiteY53" fmla="*/ 207122 h 397462"/>
                  <a:gd name="connsiteX54" fmla="*/ 139611 w 927411"/>
                  <a:gd name="connsiteY54" fmla="*/ 207122 h 397462"/>
                  <a:gd name="connsiteX55" fmla="*/ 139532 w 927411"/>
                  <a:gd name="connsiteY55" fmla="*/ 206934 h 397462"/>
                  <a:gd name="connsiteX56" fmla="*/ 252839 w 927411"/>
                  <a:gd name="connsiteY56" fmla="*/ 92680 h 397462"/>
                  <a:gd name="connsiteX0" fmla="*/ 832954 w 928138"/>
                  <a:gd name="connsiteY0" fmla="*/ 207206 h 397462"/>
                  <a:gd name="connsiteX1" fmla="*/ 757202 w 928138"/>
                  <a:gd name="connsiteY1" fmla="*/ 207206 h 397462"/>
                  <a:gd name="connsiteX2" fmla="*/ 756760 w 928138"/>
                  <a:gd name="connsiteY2" fmla="*/ 207116 h 397462"/>
                  <a:gd name="connsiteX3" fmla="*/ 753221 w 928138"/>
                  <a:gd name="connsiteY3" fmla="*/ 207116 h 397462"/>
                  <a:gd name="connsiteX4" fmla="*/ 727588 w 928138"/>
                  <a:gd name="connsiteY4" fmla="*/ 195909 h 397462"/>
                  <a:gd name="connsiteX5" fmla="*/ 607820 w 928138"/>
                  <a:gd name="connsiteY5" fmla="*/ 77069 h 397462"/>
                  <a:gd name="connsiteX6" fmla="*/ 553642 w 928138"/>
                  <a:gd name="connsiteY6" fmla="*/ 55203 h 397462"/>
                  <a:gd name="connsiteX7" fmla="*/ 292130 w 928138"/>
                  <a:gd name="connsiteY7" fmla="*/ 55203 h 397462"/>
                  <a:gd name="connsiteX8" fmla="*/ 237951 w 928138"/>
                  <a:gd name="connsiteY8" fmla="*/ 77064 h 397462"/>
                  <a:gd name="connsiteX9" fmla="*/ 120089 w 928138"/>
                  <a:gd name="connsiteY9" fmla="*/ 195909 h 397462"/>
                  <a:gd name="connsiteX10" fmla="*/ 108683 w 928138"/>
                  <a:gd name="connsiteY10" fmla="*/ 223481 h 397462"/>
                  <a:gd name="connsiteX11" fmla="*/ 108683 w 928138"/>
                  <a:gd name="connsiteY11" fmla="*/ 298097 h 397462"/>
                  <a:gd name="connsiteX12" fmla="*/ 78011 w 928138"/>
                  <a:gd name="connsiteY12" fmla="*/ 298097 h 397462"/>
                  <a:gd name="connsiteX13" fmla="*/ 44890 w 928138"/>
                  <a:gd name="connsiteY13" fmla="*/ 264975 h 397462"/>
                  <a:gd name="connsiteX14" fmla="*/ 22808 w 928138"/>
                  <a:gd name="connsiteY14" fmla="*/ 264975 h 397462"/>
                  <a:gd name="connsiteX15" fmla="*/ 78011 w 928138"/>
                  <a:gd name="connsiteY15" fmla="*/ 320178 h 397462"/>
                  <a:gd name="connsiteX16" fmla="*/ 108683 w 928138"/>
                  <a:gd name="connsiteY16" fmla="*/ 320178 h 397462"/>
                  <a:gd name="connsiteX17" fmla="*/ 108683 w 928138"/>
                  <a:gd name="connsiteY17" fmla="*/ 321404 h 397462"/>
                  <a:gd name="connsiteX18" fmla="*/ 184741 w 928138"/>
                  <a:gd name="connsiteY18" fmla="*/ 397462 h 397462"/>
                  <a:gd name="connsiteX19" fmla="*/ 197944 w 928138"/>
                  <a:gd name="connsiteY19" fmla="*/ 397462 h 397462"/>
                  <a:gd name="connsiteX20" fmla="*/ 197091 w 928138"/>
                  <a:gd name="connsiteY20" fmla="*/ 384497 h 397462"/>
                  <a:gd name="connsiteX21" fmla="*/ 197554 w 928138"/>
                  <a:gd name="connsiteY21" fmla="*/ 375381 h 397462"/>
                  <a:gd name="connsiteX22" fmla="*/ 184721 w 928138"/>
                  <a:gd name="connsiteY22" fmla="*/ 375381 h 397462"/>
                  <a:gd name="connsiteX23" fmla="*/ 130763 w 928138"/>
                  <a:gd name="connsiteY23" fmla="*/ 321422 h 397462"/>
                  <a:gd name="connsiteX24" fmla="*/ 130763 w 928138"/>
                  <a:gd name="connsiteY24" fmla="*/ 229203 h 397462"/>
                  <a:gd name="connsiteX25" fmla="*/ 753277 w 928138"/>
                  <a:gd name="connsiteY25" fmla="*/ 229203 h 397462"/>
                  <a:gd name="connsiteX26" fmla="*/ 754197 w 928138"/>
                  <a:gd name="connsiteY26" fmla="*/ 229293 h 397462"/>
                  <a:gd name="connsiteX27" fmla="*/ 833088 w 928138"/>
                  <a:gd name="connsiteY27" fmla="*/ 229293 h 397462"/>
                  <a:gd name="connsiteX28" fmla="*/ 906057 w 928138"/>
                  <a:gd name="connsiteY28" fmla="*/ 302260 h 397462"/>
                  <a:gd name="connsiteX29" fmla="*/ 906057 w 928138"/>
                  <a:gd name="connsiteY29" fmla="*/ 359440 h 397462"/>
                  <a:gd name="connsiteX30" fmla="*/ 890111 w 928138"/>
                  <a:gd name="connsiteY30" fmla="*/ 375381 h 397462"/>
                  <a:gd name="connsiteX31" fmla="*/ 835772 w 928138"/>
                  <a:gd name="connsiteY31" fmla="*/ 375381 h 397462"/>
                  <a:gd name="connsiteX32" fmla="*/ 836234 w 928138"/>
                  <a:gd name="connsiteY32" fmla="*/ 384497 h 397462"/>
                  <a:gd name="connsiteX33" fmla="*/ 835381 w 928138"/>
                  <a:gd name="connsiteY33" fmla="*/ 397462 h 397462"/>
                  <a:gd name="connsiteX34" fmla="*/ 890119 w 928138"/>
                  <a:gd name="connsiteY34" fmla="*/ 397462 h 397462"/>
                  <a:gd name="connsiteX35" fmla="*/ 928138 w 928138"/>
                  <a:gd name="connsiteY35" fmla="*/ 359443 h 397462"/>
                  <a:gd name="connsiteX36" fmla="*/ 928138 w 928138"/>
                  <a:gd name="connsiteY36" fmla="*/ 302390 h 397462"/>
                  <a:gd name="connsiteX37" fmla="*/ 832954 w 928138"/>
                  <a:gd name="connsiteY37" fmla="*/ 207206 h 397462"/>
                  <a:gd name="connsiteX38" fmla="*/ 33753 w 928138"/>
                  <a:gd name="connsiteY38" fmla="*/ 55213 h 397462"/>
                  <a:gd name="connsiteX39" fmla="*/ 727 w 928138"/>
                  <a:gd name="connsiteY39" fmla="*/ 0 h 397462"/>
                  <a:gd name="connsiteX40" fmla="*/ 66971 w 928138"/>
                  <a:gd name="connsiteY40" fmla="*/ 0 h 397462"/>
                  <a:gd name="connsiteX41" fmla="*/ 66971 w 928138"/>
                  <a:gd name="connsiteY41" fmla="*/ 22081 h 397462"/>
                  <a:gd name="connsiteX42" fmla="*/ 33753 w 928138"/>
                  <a:gd name="connsiteY42" fmla="*/ 55213 h 397462"/>
                  <a:gd name="connsiteX43" fmla="*/ 592267 w 928138"/>
                  <a:gd name="connsiteY43" fmla="*/ 92741 h 397462"/>
                  <a:gd name="connsiteX44" fmla="*/ 707527 w 928138"/>
                  <a:gd name="connsiteY44" fmla="*/ 207122 h 397462"/>
                  <a:gd name="connsiteX45" fmla="*/ 420270 w 928138"/>
                  <a:gd name="connsiteY45" fmla="*/ 207122 h 397462"/>
                  <a:gd name="connsiteX46" fmla="*/ 420270 w 928138"/>
                  <a:gd name="connsiteY46" fmla="*/ 77284 h 397462"/>
                  <a:gd name="connsiteX47" fmla="*/ 553641 w 928138"/>
                  <a:gd name="connsiteY47" fmla="*/ 77284 h 397462"/>
                  <a:gd name="connsiteX48" fmla="*/ 592267 w 928138"/>
                  <a:gd name="connsiteY48" fmla="*/ 92741 h 397462"/>
                  <a:gd name="connsiteX49" fmla="*/ 253566 w 928138"/>
                  <a:gd name="connsiteY49" fmla="*/ 92680 h 397462"/>
                  <a:gd name="connsiteX50" fmla="*/ 292130 w 928138"/>
                  <a:gd name="connsiteY50" fmla="*/ 77284 h 397462"/>
                  <a:gd name="connsiteX51" fmla="*/ 398189 w 928138"/>
                  <a:gd name="connsiteY51" fmla="*/ 77284 h 397462"/>
                  <a:gd name="connsiteX52" fmla="*/ 398189 w 928138"/>
                  <a:gd name="connsiteY52" fmla="*/ 207122 h 397462"/>
                  <a:gd name="connsiteX53" fmla="*/ 140338 w 928138"/>
                  <a:gd name="connsiteY53" fmla="*/ 207122 h 397462"/>
                  <a:gd name="connsiteX54" fmla="*/ 140259 w 928138"/>
                  <a:gd name="connsiteY54" fmla="*/ 206934 h 397462"/>
                  <a:gd name="connsiteX55" fmla="*/ 253566 w 928138"/>
                  <a:gd name="connsiteY55" fmla="*/ 92680 h 397462"/>
                  <a:gd name="connsiteX0" fmla="*/ 810146 w 905330"/>
                  <a:gd name="connsiteY0" fmla="*/ 207206 h 397462"/>
                  <a:gd name="connsiteX1" fmla="*/ 734394 w 905330"/>
                  <a:gd name="connsiteY1" fmla="*/ 207206 h 397462"/>
                  <a:gd name="connsiteX2" fmla="*/ 733952 w 905330"/>
                  <a:gd name="connsiteY2" fmla="*/ 207116 h 397462"/>
                  <a:gd name="connsiteX3" fmla="*/ 730413 w 905330"/>
                  <a:gd name="connsiteY3" fmla="*/ 207116 h 397462"/>
                  <a:gd name="connsiteX4" fmla="*/ 704780 w 905330"/>
                  <a:gd name="connsiteY4" fmla="*/ 195909 h 397462"/>
                  <a:gd name="connsiteX5" fmla="*/ 585012 w 905330"/>
                  <a:gd name="connsiteY5" fmla="*/ 77069 h 397462"/>
                  <a:gd name="connsiteX6" fmla="*/ 530834 w 905330"/>
                  <a:gd name="connsiteY6" fmla="*/ 55203 h 397462"/>
                  <a:gd name="connsiteX7" fmla="*/ 269322 w 905330"/>
                  <a:gd name="connsiteY7" fmla="*/ 55203 h 397462"/>
                  <a:gd name="connsiteX8" fmla="*/ 215143 w 905330"/>
                  <a:gd name="connsiteY8" fmla="*/ 77064 h 397462"/>
                  <a:gd name="connsiteX9" fmla="*/ 97281 w 905330"/>
                  <a:gd name="connsiteY9" fmla="*/ 195909 h 397462"/>
                  <a:gd name="connsiteX10" fmla="*/ 85875 w 905330"/>
                  <a:gd name="connsiteY10" fmla="*/ 223481 h 397462"/>
                  <a:gd name="connsiteX11" fmla="*/ 85875 w 905330"/>
                  <a:gd name="connsiteY11" fmla="*/ 298097 h 397462"/>
                  <a:gd name="connsiteX12" fmla="*/ 55203 w 905330"/>
                  <a:gd name="connsiteY12" fmla="*/ 298097 h 397462"/>
                  <a:gd name="connsiteX13" fmla="*/ 22082 w 905330"/>
                  <a:gd name="connsiteY13" fmla="*/ 264975 h 397462"/>
                  <a:gd name="connsiteX14" fmla="*/ 0 w 905330"/>
                  <a:gd name="connsiteY14" fmla="*/ 264975 h 397462"/>
                  <a:gd name="connsiteX15" fmla="*/ 55203 w 905330"/>
                  <a:gd name="connsiteY15" fmla="*/ 320178 h 397462"/>
                  <a:gd name="connsiteX16" fmla="*/ 85875 w 905330"/>
                  <a:gd name="connsiteY16" fmla="*/ 320178 h 397462"/>
                  <a:gd name="connsiteX17" fmla="*/ 85875 w 905330"/>
                  <a:gd name="connsiteY17" fmla="*/ 321404 h 397462"/>
                  <a:gd name="connsiteX18" fmla="*/ 161933 w 905330"/>
                  <a:gd name="connsiteY18" fmla="*/ 397462 h 397462"/>
                  <a:gd name="connsiteX19" fmla="*/ 175136 w 905330"/>
                  <a:gd name="connsiteY19" fmla="*/ 397462 h 397462"/>
                  <a:gd name="connsiteX20" fmla="*/ 174283 w 905330"/>
                  <a:gd name="connsiteY20" fmla="*/ 384497 h 397462"/>
                  <a:gd name="connsiteX21" fmla="*/ 174746 w 905330"/>
                  <a:gd name="connsiteY21" fmla="*/ 375381 h 397462"/>
                  <a:gd name="connsiteX22" fmla="*/ 161913 w 905330"/>
                  <a:gd name="connsiteY22" fmla="*/ 375381 h 397462"/>
                  <a:gd name="connsiteX23" fmla="*/ 107955 w 905330"/>
                  <a:gd name="connsiteY23" fmla="*/ 321422 h 397462"/>
                  <a:gd name="connsiteX24" fmla="*/ 107955 w 905330"/>
                  <a:gd name="connsiteY24" fmla="*/ 229203 h 397462"/>
                  <a:gd name="connsiteX25" fmla="*/ 730469 w 905330"/>
                  <a:gd name="connsiteY25" fmla="*/ 229203 h 397462"/>
                  <a:gd name="connsiteX26" fmla="*/ 731389 w 905330"/>
                  <a:gd name="connsiteY26" fmla="*/ 229293 h 397462"/>
                  <a:gd name="connsiteX27" fmla="*/ 810280 w 905330"/>
                  <a:gd name="connsiteY27" fmla="*/ 229293 h 397462"/>
                  <a:gd name="connsiteX28" fmla="*/ 883249 w 905330"/>
                  <a:gd name="connsiteY28" fmla="*/ 302260 h 397462"/>
                  <a:gd name="connsiteX29" fmla="*/ 883249 w 905330"/>
                  <a:gd name="connsiteY29" fmla="*/ 359440 h 397462"/>
                  <a:gd name="connsiteX30" fmla="*/ 867303 w 905330"/>
                  <a:gd name="connsiteY30" fmla="*/ 375381 h 397462"/>
                  <a:gd name="connsiteX31" fmla="*/ 812964 w 905330"/>
                  <a:gd name="connsiteY31" fmla="*/ 375381 h 397462"/>
                  <a:gd name="connsiteX32" fmla="*/ 813426 w 905330"/>
                  <a:gd name="connsiteY32" fmla="*/ 384497 h 397462"/>
                  <a:gd name="connsiteX33" fmla="*/ 812573 w 905330"/>
                  <a:gd name="connsiteY33" fmla="*/ 397462 h 397462"/>
                  <a:gd name="connsiteX34" fmla="*/ 867311 w 905330"/>
                  <a:gd name="connsiteY34" fmla="*/ 397462 h 397462"/>
                  <a:gd name="connsiteX35" fmla="*/ 905330 w 905330"/>
                  <a:gd name="connsiteY35" fmla="*/ 359443 h 397462"/>
                  <a:gd name="connsiteX36" fmla="*/ 905330 w 905330"/>
                  <a:gd name="connsiteY36" fmla="*/ 302390 h 397462"/>
                  <a:gd name="connsiteX37" fmla="*/ 810146 w 905330"/>
                  <a:gd name="connsiteY37" fmla="*/ 207206 h 397462"/>
                  <a:gd name="connsiteX38" fmla="*/ 10945 w 905330"/>
                  <a:gd name="connsiteY38" fmla="*/ 55213 h 397462"/>
                  <a:gd name="connsiteX39" fmla="*/ 44163 w 905330"/>
                  <a:gd name="connsiteY39" fmla="*/ 0 h 397462"/>
                  <a:gd name="connsiteX40" fmla="*/ 44163 w 905330"/>
                  <a:gd name="connsiteY40" fmla="*/ 22081 h 397462"/>
                  <a:gd name="connsiteX41" fmla="*/ 10945 w 905330"/>
                  <a:gd name="connsiteY41" fmla="*/ 55213 h 397462"/>
                  <a:gd name="connsiteX42" fmla="*/ 569459 w 905330"/>
                  <a:gd name="connsiteY42" fmla="*/ 92741 h 397462"/>
                  <a:gd name="connsiteX43" fmla="*/ 684719 w 905330"/>
                  <a:gd name="connsiteY43" fmla="*/ 207122 h 397462"/>
                  <a:gd name="connsiteX44" fmla="*/ 397462 w 905330"/>
                  <a:gd name="connsiteY44" fmla="*/ 207122 h 397462"/>
                  <a:gd name="connsiteX45" fmla="*/ 397462 w 905330"/>
                  <a:gd name="connsiteY45" fmla="*/ 77284 h 397462"/>
                  <a:gd name="connsiteX46" fmla="*/ 530833 w 905330"/>
                  <a:gd name="connsiteY46" fmla="*/ 77284 h 397462"/>
                  <a:gd name="connsiteX47" fmla="*/ 569459 w 905330"/>
                  <a:gd name="connsiteY47" fmla="*/ 92741 h 397462"/>
                  <a:gd name="connsiteX48" fmla="*/ 230758 w 905330"/>
                  <a:gd name="connsiteY48" fmla="*/ 92680 h 397462"/>
                  <a:gd name="connsiteX49" fmla="*/ 269322 w 905330"/>
                  <a:gd name="connsiteY49" fmla="*/ 77284 h 397462"/>
                  <a:gd name="connsiteX50" fmla="*/ 375381 w 905330"/>
                  <a:gd name="connsiteY50" fmla="*/ 77284 h 397462"/>
                  <a:gd name="connsiteX51" fmla="*/ 375381 w 905330"/>
                  <a:gd name="connsiteY51" fmla="*/ 207122 h 397462"/>
                  <a:gd name="connsiteX52" fmla="*/ 117530 w 905330"/>
                  <a:gd name="connsiteY52" fmla="*/ 207122 h 397462"/>
                  <a:gd name="connsiteX53" fmla="*/ 117451 w 905330"/>
                  <a:gd name="connsiteY53" fmla="*/ 206934 h 397462"/>
                  <a:gd name="connsiteX54" fmla="*/ 230758 w 905330"/>
                  <a:gd name="connsiteY54" fmla="*/ 92680 h 397462"/>
                  <a:gd name="connsiteX0" fmla="*/ 810146 w 905330"/>
                  <a:gd name="connsiteY0" fmla="*/ 207206 h 397462"/>
                  <a:gd name="connsiteX1" fmla="*/ 734394 w 905330"/>
                  <a:gd name="connsiteY1" fmla="*/ 207206 h 397462"/>
                  <a:gd name="connsiteX2" fmla="*/ 733952 w 905330"/>
                  <a:gd name="connsiteY2" fmla="*/ 207116 h 397462"/>
                  <a:gd name="connsiteX3" fmla="*/ 730413 w 905330"/>
                  <a:gd name="connsiteY3" fmla="*/ 207116 h 397462"/>
                  <a:gd name="connsiteX4" fmla="*/ 704780 w 905330"/>
                  <a:gd name="connsiteY4" fmla="*/ 195909 h 397462"/>
                  <a:gd name="connsiteX5" fmla="*/ 585012 w 905330"/>
                  <a:gd name="connsiteY5" fmla="*/ 77069 h 397462"/>
                  <a:gd name="connsiteX6" fmla="*/ 530834 w 905330"/>
                  <a:gd name="connsiteY6" fmla="*/ 55203 h 397462"/>
                  <a:gd name="connsiteX7" fmla="*/ 269322 w 905330"/>
                  <a:gd name="connsiteY7" fmla="*/ 55203 h 397462"/>
                  <a:gd name="connsiteX8" fmla="*/ 215143 w 905330"/>
                  <a:gd name="connsiteY8" fmla="*/ 77064 h 397462"/>
                  <a:gd name="connsiteX9" fmla="*/ 97281 w 905330"/>
                  <a:gd name="connsiteY9" fmla="*/ 195909 h 397462"/>
                  <a:gd name="connsiteX10" fmla="*/ 85875 w 905330"/>
                  <a:gd name="connsiteY10" fmla="*/ 223481 h 397462"/>
                  <a:gd name="connsiteX11" fmla="*/ 85875 w 905330"/>
                  <a:gd name="connsiteY11" fmla="*/ 298097 h 397462"/>
                  <a:gd name="connsiteX12" fmla="*/ 55203 w 905330"/>
                  <a:gd name="connsiteY12" fmla="*/ 298097 h 397462"/>
                  <a:gd name="connsiteX13" fmla="*/ 22082 w 905330"/>
                  <a:gd name="connsiteY13" fmla="*/ 264975 h 397462"/>
                  <a:gd name="connsiteX14" fmla="*/ 0 w 905330"/>
                  <a:gd name="connsiteY14" fmla="*/ 264975 h 397462"/>
                  <a:gd name="connsiteX15" fmla="*/ 55203 w 905330"/>
                  <a:gd name="connsiteY15" fmla="*/ 320178 h 397462"/>
                  <a:gd name="connsiteX16" fmla="*/ 85875 w 905330"/>
                  <a:gd name="connsiteY16" fmla="*/ 320178 h 397462"/>
                  <a:gd name="connsiteX17" fmla="*/ 85875 w 905330"/>
                  <a:gd name="connsiteY17" fmla="*/ 321404 h 397462"/>
                  <a:gd name="connsiteX18" fmla="*/ 161933 w 905330"/>
                  <a:gd name="connsiteY18" fmla="*/ 397462 h 397462"/>
                  <a:gd name="connsiteX19" fmla="*/ 175136 w 905330"/>
                  <a:gd name="connsiteY19" fmla="*/ 397462 h 397462"/>
                  <a:gd name="connsiteX20" fmla="*/ 174283 w 905330"/>
                  <a:gd name="connsiteY20" fmla="*/ 384497 h 397462"/>
                  <a:gd name="connsiteX21" fmla="*/ 174746 w 905330"/>
                  <a:gd name="connsiteY21" fmla="*/ 375381 h 397462"/>
                  <a:gd name="connsiteX22" fmla="*/ 161913 w 905330"/>
                  <a:gd name="connsiteY22" fmla="*/ 375381 h 397462"/>
                  <a:gd name="connsiteX23" fmla="*/ 107955 w 905330"/>
                  <a:gd name="connsiteY23" fmla="*/ 321422 h 397462"/>
                  <a:gd name="connsiteX24" fmla="*/ 107955 w 905330"/>
                  <a:gd name="connsiteY24" fmla="*/ 229203 h 397462"/>
                  <a:gd name="connsiteX25" fmla="*/ 730469 w 905330"/>
                  <a:gd name="connsiteY25" fmla="*/ 229203 h 397462"/>
                  <a:gd name="connsiteX26" fmla="*/ 731389 w 905330"/>
                  <a:gd name="connsiteY26" fmla="*/ 229293 h 397462"/>
                  <a:gd name="connsiteX27" fmla="*/ 810280 w 905330"/>
                  <a:gd name="connsiteY27" fmla="*/ 229293 h 397462"/>
                  <a:gd name="connsiteX28" fmla="*/ 883249 w 905330"/>
                  <a:gd name="connsiteY28" fmla="*/ 302260 h 397462"/>
                  <a:gd name="connsiteX29" fmla="*/ 883249 w 905330"/>
                  <a:gd name="connsiteY29" fmla="*/ 359440 h 397462"/>
                  <a:gd name="connsiteX30" fmla="*/ 867303 w 905330"/>
                  <a:gd name="connsiteY30" fmla="*/ 375381 h 397462"/>
                  <a:gd name="connsiteX31" fmla="*/ 812964 w 905330"/>
                  <a:gd name="connsiteY31" fmla="*/ 375381 h 397462"/>
                  <a:gd name="connsiteX32" fmla="*/ 813426 w 905330"/>
                  <a:gd name="connsiteY32" fmla="*/ 384497 h 397462"/>
                  <a:gd name="connsiteX33" fmla="*/ 812573 w 905330"/>
                  <a:gd name="connsiteY33" fmla="*/ 397462 h 397462"/>
                  <a:gd name="connsiteX34" fmla="*/ 867311 w 905330"/>
                  <a:gd name="connsiteY34" fmla="*/ 397462 h 397462"/>
                  <a:gd name="connsiteX35" fmla="*/ 905330 w 905330"/>
                  <a:gd name="connsiteY35" fmla="*/ 359443 h 397462"/>
                  <a:gd name="connsiteX36" fmla="*/ 905330 w 905330"/>
                  <a:gd name="connsiteY36" fmla="*/ 302390 h 397462"/>
                  <a:gd name="connsiteX37" fmla="*/ 810146 w 905330"/>
                  <a:gd name="connsiteY37" fmla="*/ 207206 h 397462"/>
                  <a:gd name="connsiteX38" fmla="*/ 10945 w 905330"/>
                  <a:gd name="connsiteY38" fmla="*/ 55213 h 397462"/>
                  <a:gd name="connsiteX39" fmla="*/ 44163 w 905330"/>
                  <a:gd name="connsiteY39" fmla="*/ 0 h 397462"/>
                  <a:gd name="connsiteX40" fmla="*/ 10945 w 905330"/>
                  <a:gd name="connsiteY40" fmla="*/ 55213 h 397462"/>
                  <a:gd name="connsiteX41" fmla="*/ 569459 w 905330"/>
                  <a:gd name="connsiteY41" fmla="*/ 92741 h 397462"/>
                  <a:gd name="connsiteX42" fmla="*/ 684719 w 905330"/>
                  <a:gd name="connsiteY42" fmla="*/ 207122 h 397462"/>
                  <a:gd name="connsiteX43" fmla="*/ 397462 w 905330"/>
                  <a:gd name="connsiteY43" fmla="*/ 207122 h 397462"/>
                  <a:gd name="connsiteX44" fmla="*/ 397462 w 905330"/>
                  <a:gd name="connsiteY44" fmla="*/ 77284 h 397462"/>
                  <a:gd name="connsiteX45" fmla="*/ 530833 w 905330"/>
                  <a:gd name="connsiteY45" fmla="*/ 77284 h 397462"/>
                  <a:gd name="connsiteX46" fmla="*/ 569459 w 905330"/>
                  <a:gd name="connsiteY46" fmla="*/ 92741 h 397462"/>
                  <a:gd name="connsiteX47" fmla="*/ 230758 w 905330"/>
                  <a:gd name="connsiteY47" fmla="*/ 92680 h 397462"/>
                  <a:gd name="connsiteX48" fmla="*/ 269322 w 905330"/>
                  <a:gd name="connsiteY48" fmla="*/ 77284 h 397462"/>
                  <a:gd name="connsiteX49" fmla="*/ 375381 w 905330"/>
                  <a:gd name="connsiteY49" fmla="*/ 77284 h 397462"/>
                  <a:gd name="connsiteX50" fmla="*/ 375381 w 905330"/>
                  <a:gd name="connsiteY50" fmla="*/ 207122 h 397462"/>
                  <a:gd name="connsiteX51" fmla="*/ 117530 w 905330"/>
                  <a:gd name="connsiteY51" fmla="*/ 207122 h 397462"/>
                  <a:gd name="connsiteX52" fmla="*/ 117451 w 905330"/>
                  <a:gd name="connsiteY52" fmla="*/ 206934 h 397462"/>
                  <a:gd name="connsiteX53" fmla="*/ 230758 w 905330"/>
                  <a:gd name="connsiteY53" fmla="*/ 92680 h 397462"/>
                  <a:gd name="connsiteX0" fmla="*/ 810146 w 905330"/>
                  <a:gd name="connsiteY0" fmla="*/ 152011 h 342267"/>
                  <a:gd name="connsiteX1" fmla="*/ 734394 w 905330"/>
                  <a:gd name="connsiteY1" fmla="*/ 152011 h 342267"/>
                  <a:gd name="connsiteX2" fmla="*/ 733952 w 905330"/>
                  <a:gd name="connsiteY2" fmla="*/ 151921 h 342267"/>
                  <a:gd name="connsiteX3" fmla="*/ 730413 w 905330"/>
                  <a:gd name="connsiteY3" fmla="*/ 151921 h 342267"/>
                  <a:gd name="connsiteX4" fmla="*/ 704780 w 905330"/>
                  <a:gd name="connsiteY4" fmla="*/ 140714 h 342267"/>
                  <a:gd name="connsiteX5" fmla="*/ 585012 w 905330"/>
                  <a:gd name="connsiteY5" fmla="*/ 21874 h 342267"/>
                  <a:gd name="connsiteX6" fmla="*/ 530834 w 905330"/>
                  <a:gd name="connsiteY6" fmla="*/ 8 h 342267"/>
                  <a:gd name="connsiteX7" fmla="*/ 269322 w 905330"/>
                  <a:gd name="connsiteY7" fmla="*/ 8 h 342267"/>
                  <a:gd name="connsiteX8" fmla="*/ 215143 w 905330"/>
                  <a:gd name="connsiteY8" fmla="*/ 21869 h 342267"/>
                  <a:gd name="connsiteX9" fmla="*/ 97281 w 905330"/>
                  <a:gd name="connsiteY9" fmla="*/ 140714 h 342267"/>
                  <a:gd name="connsiteX10" fmla="*/ 85875 w 905330"/>
                  <a:gd name="connsiteY10" fmla="*/ 168286 h 342267"/>
                  <a:gd name="connsiteX11" fmla="*/ 85875 w 905330"/>
                  <a:gd name="connsiteY11" fmla="*/ 242902 h 342267"/>
                  <a:gd name="connsiteX12" fmla="*/ 55203 w 905330"/>
                  <a:gd name="connsiteY12" fmla="*/ 242902 h 342267"/>
                  <a:gd name="connsiteX13" fmla="*/ 22082 w 905330"/>
                  <a:gd name="connsiteY13" fmla="*/ 209780 h 342267"/>
                  <a:gd name="connsiteX14" fmla="*/ 0 w 905330"/>
                  <a:gd name="connsiteY14" fmla="*/ 209780 h 342267"/>
                  <a:gd name="connsiteX15" fmla="*/ 55203 w 905330"/>
                  <a:gd name="connsiteY15" fmla="*/ 264983 h 342267"/>
                  <a:gd name="connsiteX16" fmla="*/ 85875 w 905330"/>
                  <a:gd name="connsiteY16" fmla="*/ 264983 h 342267"/>
                  <a:gd name="connsiteX17" fmla="*/ 85875 w 905330"/>
                  <a:gd name="connsiteY17" fmla="*/ 266209 h 342267"/>
                  <a:gd name="connsiteX18" fmla="*/ 161933 w 905330"/>
                  <a:gd name="connsiteY18" fmla="*/ 342267 h 342267"/>
                  <a:gd name="connsiteX19" fmla="*/ 175136 w 905330"/>
                  <a:gd name="connsiteY19" fmla="*/ 342267 h 342267"/>
                  <a:gd name="connsiteX20" fmla="*/ 174283 w 905330"/>
                  <a:gd name="connsiteY20" fmla="*/ 329302 h 342267"/>
                  <a:gd name="connsiteX21" fmla="*/ 174746 w 905330"/>
                  <a:gd name="connsiteY21" fmla="*/ 320186 h 342267"/>
                  <a:gd name="connsiteX22" fmla="*/ 161913 w 905330"/>
                  <a:gd name="connsiteY22" fmla="*/ 320186 h 342267"/>
                  <a:gd name="connsiteX23" fmla="*/ 107955 w 905330"/>
                  <a:gd name="connsiteY23" fmla="*/ 266227 h 342267"/>
                  <a:gd name="connsiteX24" fmla="*/ 107955 w 905330"/>
                  <a:gd name="connsiteY24" fmla="*/ 174008 h 342267"/>
                  <a:gd name="connsiteX25" fmla="*/ 730469 w 905330"/>
                  <a:gd name="connsiteY25" fmla="*/ 174008 h 342267"/>
                  <a:gd name="connsiteX26" fmla="*/ 731389 w 905330"/>
                  <a:gd name="connsiteY26" fmla="*/ 174098 h 342267"/>
                  <a:gd name="connsiteX27" fmla="*/ 810280 w 905330"/>
                  <a:gd name="connsiteY27" fmla="*/ 174098 h 342267"/>
                  <a:gd name="connsiteX28" fmla="*/ 883249 w 905330"/>
                  <a:gd name="connsiteY28" fmla="*/ 247065 h 342267"/>
                  <a:gd name="connsiteX29" fmla="*/ 883249 w 905330"/>
                  <a:gd name="connsiteY29" fmla="*/ 304245 h 342267"/>
                  <a:gd name="connsiteX30" fmla="*/ 867303 w 905330"/>
                  <a:gd name="connsiteY30" fmla="*/ 320186 h 342267"/>
                  <a:gd name="connsiteX31" fmla="*/ 812964 w 905330"/>
                  <a:gd name="connsiteY31" fmla="*/ 320186 h 342267"/>
                  <a:gd name="connsiteX32" fmla="*/ 813426 w 905330"/>
                  <a:gd name="connsiteY32" fmla="*/ 329302 h 342267"/>
                  <a:gd name="connsiteX33" fmla="*/ 812573 w 905330"/>
                  <a:gd name="connsiteY33" fmla="*/ 342267 h 342267"/>
                  <a:gd name="connsiteX34" fmla="*/ 867311 w 905330"/>
                  <a:gd name="connsiteY34" fmla="*/ 342267 h 342267"/>
                  <a:gd name="connsiteX35" fmla="*/ 905330 w 905330"/>
                  <a:gd name="connsiteY35" fmla="*/ 304248 h 342267"/>
                  <a:gd name="connsiteX36" fmla="*/ 905330 w 905330"/>
                  <a:gd name="connsiteY36" fmla="*/ 247195 h 342267"/>
                  <a:gd name="connsiteX37" fmla="*/ 810146 w 905330"/>
                  <a:gd name="connsiteY37" fmla="*/ 152011 h 342267"/>
                  <a:gd name="connsiteX38" fmla="*/ 569459 w 905330"/>
                  <a:gd name="connsiteY38" fmla="*/ 37546 h 342267"/>
                  <a:gd name="connsiteX39" fmla="*/ 684719 w 905330"/>
                  <a:gd name="connsiteY39" fmla="*/ 151927 h 342267"/>
                  <a:gd name="connsiteX40" fmla="*/ 397462 w 905330"/>
                  <a:gd name="connsiteY40" fmla="*/ 151927 h 342267"/>
                  <a:gd name="connsiteX41" fmla="*/ 397462 w 905330"/>
                  <a:gd name="connsiteY41" fmla="*/ 22089 h 342267"/>
                  <a:gd name="connsiteX42" fmla="*/ 530833 w 905330"/>
                  <a:gd name="connsiteY42" fmla="*/ 22089 h 342267"/>
                  <a:gd name="connsiteX43" fmla="*/ 569459 w 905330"/>
                  <a:gd name="connsiteY43" fmla="*/ 37546 h 342267"/>
                  <a:gd name="connsiteX44" fmla="*/ 230758 w 905330"/>
                  <a:gd name="connsiteY44" fmla="*/ 37485 h 342267"/>
                  <a:gd name="connsiteX45" fmla="*/ 269322 w 905330"/>
                  <a:gd name="connsiteY45" fmla="*/ 22089 h 342267"/>
                  <a:gd name="connsiteX46" fmla="*/ 375381 w 905330"/>
                  <a:gd name="connsiteY46" fmla="*/ 22089 h 342267"/>
                  <a:gd name="connsiteX47" fmla="*/ 375381 w 905330"/>
                  <a:gd name="connsiteY47" fmla="*/ 151927 h 342267"/>
                  <a:gd name="connsiteX48" fmla="*/ 117530 w 905330"/>
                  <a:gd name="connsiteY48" fmla="*/ 151927 h 342267"/>
                  <a:gd name="connsiteX49" fmla="*/ 117451 w 905330"/>
                  <a:gd name="connsiteY49" fmla="*/ 151739 h 342267"/>
                  <a:gd name="connsiteX50" fmla="*/ 230758 w 905330"/>
                  <a:gd name="connsiteY50" fmla="*/ 37485 h 342267"/>
                  <a:gd name="connsiteX0" fmla="*/ 810146 w 905330"/>
                  <a:gd name="connsiteY0" fmla="*/ 152011 h 342267"/>
                  <a:gd name="connsiteX1" fmla="*/ 734394 w 905330"/>
                  <a:gd name="connsiteY1" fmla="*/ 152011 h 342267"/>
                  <a:gd name="connsiteX2" fmla="*/ 733952 w 905330"/>
                  <a:gd name="connsiteY2" fmla="*/ 151921 h 342267"/>
                  <a:gd name="connsiteX3" fmla="*/ 730413 w 905330"/>
                  <a:gd name="connsiteY3" fmla="*/ 151921 h 342267"/>
                  <a:gd name="connsiteX4" fmla="*/ 704780 w 905330"/>
                  <a:gd name="connsiteY4" fmla="*/ 140714 h 342267"/>
                  <a:gd name="connsiteX5" fmla="*/ 585012 w 905330"/>
                  <a:gd name="connsiteY5" fmla="*/ 21874 h 342267"/>
                  <a:gd name="connsiteX6" fmla="*/ 530834 w 905330"/>
                  <a:gd name="connsiteY6" fmla="*/ 8 h 342267"/>
                  <a:gd name="connsiteX7" fmla="*/ 269322 w 905330"/>
                  <a:gd name="connsiteY7" fmla="*/ 8 h 342267"/>
                  <a:gd name="connsiteX8" fmla="*/ 215143 w 905330"/>
                  <a:gd name="connsiteY8" fmla="*/ 21869 h 342267"/>
                  <a:gd name="connsiteX9" fmla="*/ 97281 w 905330"/>
                  <a:gd name="connsiteY9" fmla="*/ 140714 h 342267"/>
                  <a:gd name="connsiteX10" fmla="*/ 85875 w 905330"/>
                  <a:gd name="connsiteY10" fmla="*/ 168286 h 342267"/>
                  <a:gd name="connsiteX11" fmla="*/ 85875 w 905330"/>
                  <a:gd name="connsiteY11" fmla="*/ 242902 h 342267"/>
                  <a:gd name="connsiteX12" fmla="*/ 55203 w 905330"/>
                  <a:gd name="connsiteY12" fmla="*/ 242902 h 342267"/>
                  <a:gd name="connsiteX13" fmla="*/ 0 w 905330"/>
                  <a:gd name="connsiteY13" fmla="*/ 209780 h 342267"/>
                  <a:gd name="connsiteX14" fmla="*/ 55203 w 905330"/>
                  <a:gd name="connsiteY14" fmla="*/ 264983 h 342267"/>
                  <a:gd name="connsiteX15" fmla="*/ 85875 w 905330"/>
                  <a:gd name="connsiteY15" fmla="*/ 264983 h 342267"/>
                  <a:gd name="connsiteX16" fmla="*/ 85875 w 905330"/>
                  <a:gd name="connsiteY16" fmla="*/ 266209 h 342267"/>
                  <a:gd name="connsiteX17" fmla="*/ 161933 w 905330"/>
                  <a:gd name="connsiteY17" fmla="*/ 342267 h 342267"/>
                  <a:gd name="connsiteX18" fmla="*/ 175136 w 905330"/>
                  <a:gd name="connsiteY18" fmla="*/ 342267 h 342267"/>
                  <a:gd name="connsiteX19" fmla="*/ 174283 w 905330"/>
                  <a:gd name="connsiteY19" fmla="*/ 329302 h 342267"/>
                  <a:gd name="connsiteX20" fmla="*/ 174746 w 905330"/>
                  <a:gd name="connsiteY20" fmla="*/ 320186 h 342267"/>
                  <a:gd name="connsiteX21" fmla="*/ 161913 w 905330"/>
                  <a:gd name="connsiteY21" fmla="*/ 320186 h 342267"/>
                  <a:gd name="connsiteX22" fmla="*/ 107955 w 905330"/>
                  <a:gd name="connsiteY22" fmla="*/ 266227 h 342267"/>
                  <a:gd name="connsiteX23" fmla="*/ 107955 w 905330"/>
                  <a:gd name="connsiteY23" fmla="*/ 174008 h 342267"/>
                  <a:gd name="connsiteX24" fmla="*/ 730469 w 905330"/>
                  <a:gd name="connsiteY24" fmla="*/ 174008 h 342267"/>
                  <a:gd name="connsiteX25" fmla="*/ 731389 w 905330"/>
                  <a:gd name="connsiteY25" fmla="*/ 174098 h 342267"/>
                  <a:gd name="connsiteX26" fmla="*/ 810280 w 905330"/>
                  <a:gd name="connsiteY26" fmla="*/ 174098 h 342267"/>
                  <a:gd name="connsiteX27" fmla="*/ 883249 w 905330"/>
                  <a:gd name="connsiteY27" fmla="*/ 247065 h 342267"/>
                  <a:gd name="connsiteX28" fmla="*/ 883249 w 905330"/>
                  <a:gd name="connsiteY28" fmla="*/ 304245 h 342267"/>
                  <a:gd name="connsiteX29" fmla="*/ 867303 w 905330"/>
                  <a:gd name="connsiteY29" fmla="*/ 320186 h 342267"/>
                  <a:gd name="connsiteX30" fmla="*/ 812964 w 905330"/>
                  <a:gd name="connsiteY30" fmla="*/ 320186 h 342267"/>
                  <a:gd name="connsiteX31" fmla="*/ 813426 w 905330"/>
                  <a:gd name="connsiteY31" fmla="*/ 329302 h 342267"/>
                  <a:gd name="connsiteX32" fmla="*/ 812573 w 905330"/>
                  <a:gd name="connsiteY32" fmla="*/ 342267 h 342267"/>
                  <a:gd name="connsiteX33" fmla="*/ 867311 w 905330"/>
                  <a:gd name="connsiteY33" fmla="*/ 342267 h 342267"/>
                  <a:gd name="connsiteX34" fmla="*/ 905330 w 905330"/>
                  <a:gd name="connsiteY34" fmla="*/ 304248 h 342267"/>
                  <a:gd name="connsiteX35" fmla="*/ 905330 w 905330"/>
                  <a:gd name="connsiteY35" fmla="*/ 247195 h 342267"/>
                  <a:gd name="connsiteX36" fmla="*/ 810146 w 905330"/>
                  <a:gd name="connsiteY36" fmla="*/ 152011 h 342267"/>
                  <a:gd name="connsiteX37" fmla="*/ 569459 w 905330"/>
                  <a:gd name="connsiteY37" fmla="*/ 37546 h 342267"/>
                  <a:gd name="connsiteX38" fmla="*/ 684719 w 905330"/>
                  <a:gd name="connsiteY38" fmla="*/ 151927 h 342267"/>
                  <a:gd name="connsiteX39" fmla="*/ 397462 w 905330"/>
                  <a:gd name="connsiteY39" fmla="*/ 151927 h 342267"/>
                  <a:gd name="connsiteX40" fmla="*/ 397462 w 905330"/>
                  <a:gd name="connsiteY40" fmla="*/ 22089 h 342267"/>
                  <a:gd name="connsiteX41" fmla="*/ 530833 w 905330"/>
                  <a:gd name="connsiteY41" fmla="*/ 22089 h 342267"/>
                  <a:gd name="connsiteX42" fmla="*/ 569459 w 905330"/>
                  <a:gd name="connsiteY42" fmla="*/ 37546 h 342267"/>
                  <a:gd name="connsiteX43" fmla="*/ 230758 w 905330"/>
                  <a:gd name="connsiteY43" fmla="*/ 37485 h 342267"/>
                  <a:gd name="connsiteX44" fmla="*/ 269322 w 905330"/>
                  <a:gd name="connsiteY44" fmla="*/ 22089 h 342267"/>
                  <a:gd name="connsiteX45" fmla="*/ 375381 w 905330"/>
                  <a:gd name="connsiteY45" fmla="*/ 22089 h 342267"/>
                  <a:gd name="connsiteX46" fmla="*/ 375381 w 905330"/>
                  <a:gd name="connsiteY46" fmla="*/ 151927 h 342267"/>
                  <a:gd name="connsiteX47" fmla="*/ 117530 w 905330"/>
                  <a:gd name="connsiteY47" fmla="*/ 151927 h 342267"/>
                  <a:gd name="connsiteX48" fmla="*/ 117451 w 905330"/>
                  <a:gd name="connsiteY48" fmla="*/ 151739 h 342267"/>
                  <a:gd name="connsiteX49" fmla="*/ 230758 w 905330"/>
                  <a:gd name="connsiteY49" fmla="*/ 37485 h 342267"/>
                  <a:gd name="connsiteX0" fmla="*/ 758777 w 853961"/>
                  <a:gd name="connsiteY0" fmla="*/ 152011 h 342267"/>
                  <a:gd name="connsiteX1" fmla="*/ 683025 w 853961"/>
                  <a:gd name="connsiteY1" fmla="*/ 152011 h 342267"/>
                  <a:gd name="connsiteX2" fmla="*/ 682583 w 853961"/>
                  <a:gd name="connsiteY2" fmla="*/ 151921 h 342267"/>
                  <a:gd name="connsiteX3" fmla="*/ 679044 w 853961"/>
                  <a:gd name="connsiteY3" fmla="*/ 151921 h 342267"/>
                  <a:gd name="connsiteX4" fmla="*/ 653411 w 853961"/>
                  <a:gd name="connsiteY4" fmla="*/ 140714 h 342267"/>
                  <a:gd name="connsiteX5" fmla="*/ 533643 w 853961"/>
                  <a:gd name="connsiteY5" fmla="*/ 21874 h 342267"/>
                  <a:gd name="connsiteX6" fmla="*/ 479465 w 853961"/>
                  <a:gd name="connsiteY6" fmla="*/ 8 h 342267"/>
                  <a:gd name="connsiteX7" fmla="*/ 217953 w 853961"/>
                  <a:gd name="connsiteY7" fmla="*/ 8 h 342267"/>
                  <a:gd name="connsiteX8" fmla="*/ 163774 w 853961"/>
                  <a:gd name="connsiteY8" fmla="*/ 21869 h 342267"/>
                  <a:gd name="connsiteX9" fmla="*/ 45912 w 853961"/>
                  <a:gd name="connsiteY9" fmla="*/ 140714 h 342267"/>
                  <a:gd name="connsiteX10" fmla="*/ 34506 w 853961"/>
                  <a:gd name="connsiteY10" fmla="*/ 168286 h 342267"/>
                  <a:gd name="connsiteX11" fmla="*/ 34506 w 853961"/>
                  <a:gd name="connsiteY11" fmla="*/ 242902 h 342267"/>
                  <a:gd name="connsiteX12" fmla="*/ 3834 w 853961"/>
                  <a:gd name="connsiteY12" fmla="*/ 242902 h 342267"/>
                  <a:gd name="connsiteX13" fmla="*/ 3834 w 853961"/>
                  <a:gd name="connsiteY13" fmla="*/ 264983 h 342267"/>
                  <a:gd name="connsiteX14" fmla="*/ 34506 w 853961"/>
                  <a:gd name="connsiteY14" fmla="*/ 264983 h 342267"/>
                  <a:gd name="connsiteX15" fmla="*/ 34506 w 853961"/>
                  <a:gd name="connsiteY15" fmla="*/ 266209 h 342267"/>
                  <a:gd name="connsiteX16" fmla="*/ 110564 w 853961"/>
                  <a:gd name="connsiteY16" fmla="*/ 342267 h 342267"/>
                  <a:gd name="connsiteX17" fmla="*/ 123767 w 853961"/>
                  <a:gd name="connsiteY17" fmla="*/ 342267 h 342267"/>
                  <a:gd name="connsiteX18" fmla="*/ 122914 w 853961"/>
                  <a:gd name="connsiteY18" fmla="*/ 329302 h 342267"/>
                  <a:gd name="connsiteX19" fmla="*/ 123377 w 853961"/>
                  <a:gd name="connsiteY19" fmla="*/ 320186 h 342267"/>
                  <a:gd name="connsiteX20" fmla="*/ 110544 w 853961"/>
                  <a:gd name="connsiteY20" fmla="*/ 320186 h 342267"/>
                  <a:gd name="connsiteX21" fmla="*/ 56586 w 853961"/>
                  <a:gd name="connsiteY21" fmla="*/ 266227 h 342267"/>
                  <a:gd name="connsiteX22" fmla="*/ 56586 w 853961"/>
                  <a:gd name="connsiteY22" fmla="*/ 174008 h 342267"/>
                  <a:gd name="connsiteX23" fmla="*/ 679100 w 853961"/>
                  <a:gd name="connsiteY23" fmla="*/ 174008 h 342267"/>
                  <a:gd name="connsiteX24" fmla="*/ 680020 w 853961"/>
                  <a:gd name="connsiteY24" fmla="*/ 174098 h 342267"/>
                  <a:gd name="connsiteX25" fmla="*/ 758911 w 853961"/>
                  <a:gd name="connsiteY25" fmla="*/ 174098 h 342267"/>
                  <a:gd name="connsiteX26" fmla="*/ 831880 w 853961"/>
                  <a:gd name="connsiteY26" fmla="*/ 247065 h 342267"/>
                  <a:gd name="connsiteX27" fmla="*/ 831880 w 853961"/>
                  <a:gd name="connsiteY27" fmla="*/ 304245 h 342267"/>
                  <a:gd name="connsiteX28" fmla="*/ 815934 w 853961"/>
                  <a:gd name="connsiteY28" fmla="*/ 320186 h 342267"/>
                  <a:gd name="connsiteX29" fmla="*/ 761595 w 853961"/>
                  <a:gd name="connsiteY29" fmla="*/ 320186 h 342267"/>
                  <a:gd name="connsiteX30" fmla="*/ 762057 w 853961"/>
                  <a:gd name="connsiteY30" fmla="*/ 329302 h 342267"/>
                  <a:gd name="connsiteX31" fmla="*/ 761204 w 853961"/>
                  <a:gd name="connsiteY31" fmla="*/ 342267 h 342267"/>
                  <a:gd name="connsiteX32" fmla="*/ 815942 w 853961"/>
                  <a:gd name="connsiteY32" fmla="*/ 342267 h 342267"/>
                  <a:gd name="connsiteX33" fmla="*/ 853961 w 853961"/>
                  <a:gd name="connsiteY33" fmla="*/ 304248 h 342267"/>
                  <a:gd name="connsiteX34" fmla="*/ 853961 w 853961"/>
                  <a:gd name="connsiteY34" fmla="*/ 247195 h 342267"/>
                  <a:gd name="connsiteX35" fmla="*/ 758777 w 853961"/>
                  <a:gd name="connsiteY35" fmla="*/ 152011 h 342267"/>
                  <a:gd name="connsiteX36" fmla="*/ 518090 w 853961"/>
                  <a:gd name="connsiteY36" fmla="*/ 37546 h 342267"/>
                  <a:gd name="connsiteX37" fmla="*/ 633350 w 853961"/>
                  <a:gd name="connsiteY37" fmla="*/ 151927 h 342267"/>
                  <a:gd name="connsiteX38" fmla="*/ 346093 w 853961"/>
                  <a:gd name="connsiteY38" fmla="*/ 151927 h 342267"/>
                  <a:gd name="connsiteX39" fmla="*/ 346093 w 853961"/>
                  <a:gd name="connsiteY39" fmla="*/ 22089 h 342267"/>
                  <a:gd name="connsiteX40" fmla="*/ 479464 w 853961"/>
                  <a:gd name="connsiteY40" fmla="*/ 22089 h 342267"/>
                  <a:gd name="connsiteX41" fmla="*/ 518090 w 853961"/>
                  <a:gd name="connsiteY41" fmla="*/ 37546 h 342267"/>
                  <a:gd name="connsiteX42" fmla="*/ 179389 w 853961"/>
                  <a:gd name="connsiteY42" fmla="*/ 37485 h 342267"/>
                  <a:gd name="connsiteX43" fmla="*/ 217953 w 853961"/>
                  <a:gd name="connsiteY43" fmla="*/ 22089 h 342267"/>
                  <a:gd name="connsiteX44" fmla="*/ 324012 w 853961"/>
                  <a:gd name="connsiteY44" fmla="*/ 22089 h 342267"/>
                  <a:gd name="connsiteX45" fmla="*/ 324012 w 853961"/>
                  <a:gd name="connsiteY45" fmla="*/ 151927 h 342267"/>
                  <a:gd name="connsiteX46" fmla="*/ 66161 w 853961"/>
                  <a:gd name="connsiteY46" fmla="*/ 151927 h 342267"/>
                  <a:gd name="connsiteX47" fmla="*/ 66082 w 853961"/>
                  <a:gd name="connsiteY47" fmla="*/ 151739 h 342267"/>
                  <a:gd name="connsiteX48" fmla="*/ 179389 w 853961"/>
                  <a:gd name="connsiteY48" fmla="*/ 37485 h 342267"/>
                  <a:gd name="connsiteX0" fmla="*/ 754943 w 850127"/>
                  <a:gd name="connsiteY0" fmla="*/ 152011 h 342267"/>
                  <a:gd name="connsiteX1" fmla="*/ 679191 w 850127"/>
                  <a:gd name="connsiteY1" fmla="*/ 152011 h 342267"/>
                  <a:gd name="connsiteX2" fmla="*/ 678749 w 850127"/>
                  <a:gd name="connsiteY2" fmla="*/ 151921 h 342267"/>
                  <a:gd name="connsiteX3" fmla="*/ 675210 w 850127"/>
                  <a:gd name="connsiteY3" fmla="*/ 151921 h 342267"/>
                  <a:gd name="connsiteX4" fmla="*/ 649577 w 850127"/>
                  <a:gd name="connsiteY4" fmla="*/ 140714 h 342267"/>
                  <a:gd name="connsiteX5" fmla="*/ 529809 w 850127"/>
                  <a:gd name="connsiteY5" fmla="*/ 21874 h 342267"/>
                  <a:gd name="connsiteX6" fmla="*/ 475631 w 850127"/>
                  <a:gd name="connsiteY6" fmla="*/ 8 h 342267"/>
                  <a:gd name="connsiteX7" fmla="*/ 214119 w 850127"/>
                  <a:gd name="connsiteY7" fmla="*/ 8 h 342267"/>
                  <a:gd name="connsiteX8" fmla="*/ 159940 w 850127"/>
                  <a:gd name="connsiteY8" fmla="*/ 21869 h 342267"/>
                  <a:gd name="connsiteX9" fmla="*/ 42078 w 850127"/>
                  <a:gd name="connsiteY9" fmla="*/ 140714 h 342267"/>
                  <a:gd name="connsiteX10" fmla="*/ 30672 w 850127"/>
                  <a:gd name="connsiteY10" fmla="*/ 168286 h 342267"/>
                  <a:gd name="connsiteX11" fmla="*/ 30672 w 850127"/>
                  <a:gd name="connsiteY11" fmla="*/ 242902 h 342267"/>
                  <a:gd name="connsiteX12" fmla="*/ 0 w 850127"/>
                  <a:gd name="connsiteY12" fmla="*/ 264983 h 342267"/>
                  <a:gd name="connsiteX13" fmla="*/ 30672 w 850127"/>
                  <a:gd name="connsiteY13" fmla="*/ 264983 h 342267"/>
                  <a:gd name="connsiteX14" fmla="*/ 30672 w 850127"/>
                  <a:gd name="connsiteY14" fmla="*/ 266209 h 342267"/>
                  <a:gd name="connsiteX15" fmla="*/ 106730 w 850127"/>
                  <a:gd name="connsiteY15" fmla="*/ 342267 h 342267"/>
                  <a:gd name="connsiteX16" fmla="*/ 119933 w 850127"/>
                  <a:gd name="connsiteY16" fmla="*/ 342267 h 342267"/>
                  <a:gd name="connsiteX17" fmla="*/ 119080 w 850127"/>
                  <a:gd name="connsiteY17" fmla="*/ 329302 h 342267"/>
                  <a:gd name="connsiteX18" fmla="*/ 119543 w 850127"/>
                  <a:gd name="connsiteY18" fmla="*/ 320186 h 342267"/>
                  <a:gd name="connsiteX19" fmla="*/ 106710 w 850127"/>
                  <a:gd name="connsiteY19" fmla="*/ 320186 h 342267"/>
                  <a:gd name="connsiteX20" fmla="*/ 52752 w 850127"/>
                  <a:gd name="connsiteY20" fmla="*/ 266227 h 342267"/>
                  <a:gd name="connsiteX21" fmla="*/ 52752 w 850127"/>
                  <a:gd name="connsiteY21" fmla="*/ 174008 h 342267"/>
                  <a:gd name="connsiteX22" fmla="*/ 675266 w 850127"/>
                  <a:gd name="connsiteY22" fmla="*/ 174008 h 342267"/>
                  <a:gd name="connsiteX23" fmla="*/ 676186 w 850127"/>
                  <a:gd name="connsiteY23" fmla="*/ 174098 h 342267"/>
                  <a:gd name="connsiteX24" fmla="*/ 755077 w 850127"/>
                  <a:gd name="connsiteY24" fmla="*/ 174098 h 342267"/>
                  <a:gd name="connsiteX25" fmla="*/ 828046 w 850127"/>
                  <a:gd name="connsiteY25" fmla="*/ 247065 h 342267"/>
                  <a:gd name="connsiteX26" fmla="*/ 828046 w 850127"/>
                  <a:gd name="connsiteY26" fmla="*/ 304245 h 342267"/>
                  <a:gd name="connsiteX27" fmla="*/ 812100 w 850127"/>
                  <a:gd name="connsiteY27" fmla="*/ 320186 h 342267"/>
                  <a:gd name="connsiteX28" fmla="*/ 757761 w 850127"/>
                  <a:gd name="connsiteY28" fmla="*/ 320186 h 342267"/>
                  <a:gd name="connsiteX29" fmla="*/ 758223 w 850127"/>
                  <a:gd name="connsiteY29" fmla="*/ 329302 h 342267"/>
                  <a:gd name="connsiteX30" fmla="*/ 757370 w 850127"/>
                  <a:gd name="connsiteY30" fmla="*/ 342267 h 342267"/>
                  <a:gd name="connsiteX31" fmla="*/ 812108 w 850127"/>
                  <a:gd name="connsiteY31" fmla="*/ 342267 h 342267"/>
                  <a:gd name="connsiteX32" fmla="*/ 850127 w 850127"/>
                  <a:gd name="connsiteY32" fmla="*/ 304248 h 342267"/>
                  <a:gd name="connsiteX33" fmla="*/ 850127 w 850127"/>
                  <a:gd name="connsiteY33" fmla="*/ 247195 h 342267"/>
                  <a:gd name="connsiteX34" fmla="*/ 754943 w 850127"/>
                  <a:gd name="connsiteY34" fmla="*/ 152011 h 342267"/>
                  <a:gd name="connsiteX35" fmla="*/ 514256 w 850127"/>
                  <a:gd name="connsiteY35" fmla="*/ 37546 h 342267"/>
                  <a:gd name="connsiteX36" fmla="*/ 629516 w 850127"/>
                  <a:gd name="connsiteY36" fmla="*/ 151927 h 342267"/>
                  <a:gd name="connsiteX37" fmla="*/ 342259 w 850127"/>
                  <a:gd name="connsiteY37" fmla="*/ 151927 h 342267"/>
                  <a:gd name="connsiteX38" fmla="*/ 342259 w 850127"/>
                  <a:gd name="connsiteY38" fmla="*/ 22089 h 342267"/>
                  <a:gd name="connsiteX39" fmla="*/ 475630 w 850127"/>
                  <a:gd name="connsiteY39" fmla="*/ 22089 h 342267"/>
                  <a:gd name="connsiteX40" fmla="*/ 514256 w 850127"/>
                  <a:gd name="connsiteY40" fmla="*/ 37546 h 342267"/>
                  <a:gd name="connsiteX41" fmla="*/ 175555 w 850127"/>
                  <a:gd name="connsiteY41" fmla="*/ 37485 h 342267"/>
                  <a:gd name="connsiteX42" fmla="*/ 214119 w 850127"/>
                  <a:gd name="connsiteY42" fmla="*/ 22089 h 342267"/>
                  <a:gd name="connsiteX43" fmla="*/ 320178 w 850127"/>
                  <a:gd name="connsiteY43" fmla="*/ 22089 h 342267"/>
                  <a:gd name="connsiteX44" fmla="*/ 320178 w 850127"/>
                  <a:gd name="connsiteY44" fmla="*/ 151927 h 342267"/>
                  <a:gd name="connsiteX45" fmla="*/ 62327 w 850127"/>
                  <a:gd name="connsiteY45" fmla="*/ 151927 h 342267"/>
                  <a:gd name="connsiteX46" fmla="*/ 62248 w 850127"/>
                  <a:gd name="connsiteY46" fmla="*/ 151739 h 342267"/>
                  <a:gd name="connsiteX47" fmla="*/ 175555 w 850127"/>
                  <a:gd name="connsiteY47" fmla="*/ 37485 h 342267"/>
                  <a:gd name="connsiteX0" fmla="*/ 724274 w 819458"/>
                  <a:gd name="connsiteY0" fmla="*/ 152011 h 342267"/>
                  <a:gd name="connsiteX1" fmla="*/ 648522 w 819458"/>
                  <a:gd name="connsiteY1" fmla="*/ 152011 h 342267"/>
                  <a:gd name="connsiteX2" fmla="*/ 648080 w 819458"/>
                  <a:gd name="connsiteY2" fmla="*/ 151921 h 342267"/>
                  <a:gd name="connsiteX3" fmla="*/ 644541 w 819458"/>
                  <a:gd name="connsiteY3" fmla="*/ 151921 h 342267"/>
                  <a:gd name="connsiteX4" fmla="*/ 618908 w 819458"/>
                  <a:gd name="connsiteY4" fmla="*/ 140714 h 342267"/>
                  <a:gd name="connsiteX5" fmla="*/ 499140 w 819458"/>
                  <a:gd name="connsiteY5" fmla="*/ 21874 h 342267"/>
                  <a:gd name="connsiteX6" fmla="*/ 444962 w 819458"/>
                  <a:gd name="connsiteY6" fmla="*/ 8 h 342267"/>
                  <a:gd name="connsiteX7" fmla="*/ 183450 w 819458"/>
                  <a:gd name="connsiteY7" fmla="*/ 8 h 342267"/>
                  <a:gd name="connsiteX8" fmla="*/ 129271 w 819458"/>
                  <a:gd name="connsiteY8" fmla="*/ 21869 h 342267"/>
                  <a:gd name="connsiteX9" fmla="*/ 11409 w 819458"/>
                  <a:gd name="connsiteY9" fmla="*/ 140714 h 342267"/>
                  <a:gd name="connsiteX10" fmla="*/ 3 w 819458"/>
                  <a:gd name="connsiteY10" fmla="*/ 168286 h 342267"/>
                  <a:gd name="connsiteX11" fmla="*/ 3 w 819458"/>
                  <a:gd name="connsiteY11" fmla="*/ 242902 h 342267"/>
                  <a:gd name="connsiteX12" fmla="*/ 3 w 819458"/>
                  <a:gd name="connsiteY12" fmla="*/ 264983 h 342267"/>
                  <a:gd name="connsiteX13" fmla="*/ 3 w 819458"/>
                  <a:gd name="connsiteY13" fmla="*/ 266209 h 342267"/>
                  <a:gd name="connsiteX14" fmla="*/ 76061 w 819458"/>
                  <a:gd name="connsiteY14" fmla="*/ 342267 h 342267"/>
                  <a:gd name="connsiteX15" fmla="*/ 89264 w 819458"/>
                  <a:gd name="connsiteY15" fmla="*/ 342267 h 342267"/>
                  <a:gd name="connsiteX16" fmla="*/ 88411 w 819458"/>
                  <a:gd name="connsiteY16" fmla="*/ 329302 h 342267"/>
                  <a:gd name="connsiteX17" fmla="*/ 88874 w 819458"/>
                  <a:gd name="connsiteY17" fmla="*/ 320186 h 342267"/>
                  <a:gd name="connsiteX18" fmla="*/ 76041 w 819458"/>
                  <a:gd name="connsiteY18" fmla="*/ 320186 h 342267"/>
                  <a:gd name="connsiteX19" fmla="*/ 22083 w 819458"/>
                  <a:gd name="connsiteY19" fmla="*/ 266227 h 342267"/>
                  <a:gd name="connsiteX20" fmla="*/ 22083 w 819458"/>
                  <a:gd name="connsiteY20" fmla="*/ 174008 h 342267"/>
                  <a:gd name="connsiteX21" fmla="*/ 644597 w 819458"/>
                  <a:gd name="connsiteY21" fmla="*/ 174008 h 342267"/>
                  <a:gd name="connsiteX22" fmla="*/ 645517 w 819458"/>
                  <a:gd name="connsiteY22" fmla="*/ 174098 h 342267"/>
                  <a:gd name="connsiteX23" fmla="*/ 724408 w 819458"/>
                  <a:gd name="connsiteY23" fmla="*/ 174098 h 342267"/>
                  <a:gd name="connsiteX24" fmla="*/ 797377 w 819458"/>
                  <a:gd name="connsiteY24" fmla="*/ 247065 h 342267"/>
                  <a:gd name="connsiteX25" fmla="*/ 797377 w 819458"/>
                  <a:gd name="connsiteY25" fmla="*/ 304245 h 342267"/>
                  <a:gd name="connsiteX26" fmla="*/ 781431 w 819458"/>
                  <a:gd name="connsiteY26" fmla="*/ 320186 h 342267"/>
                  <a:gd name="connsiteX27" fmla="*/ 727092 w 819458"/>
                  <a:gd name="connsiteY27" fmla="*/ 320186 h 342267"/>
                  <a:gd name="connsiteX28" fmla="*/ 727554 w 819458"/>
                  <a:gd name="connsiteY28" fmla="*/ 329302 h 342267"/>
                  <a:gd name="connsiteX29" fmla="*/ 726701 w 819458"/>
                  <a:gd name="connsiteY29" fmla="*/ 342267 h 342267"/>
                  <a:gd name="connsiteX30" fmla="*/ 781439 w 819458"/>
                  <a:gd name="connsiteY30" fmla="*/ 342267 h 342267"/>
                  <a:gd name="connsiteX31" fmla="*/ 819458 w 819458"/>
                  <a:gd name="connsiteY31" fmla="*/ 304248 h 342267"/>
                  <a:gd name="connsiteX32" fmla="*/ 819458 w 819458"/>
                  <a:gd name="connsiteY32" fmla="*/ 247195 h 342267"/>
                  <a:gd name="connsiteX33" fmla="*/ 724274 w 819458"/>
                  <a:gd name="connsiteY33" fmla="*/ 152011 h 342267"/>
                  <a:gd name="connsiteX34" fmla="*/ 483587 w 819458"/>
                  <a:gd name="connsiteY34" fmla="*/ 37546 h 342267"/>
                  <a:gd name="connsiteX35" fmla="*/ 598847 w 819458"/>
                  <a:gd name="connsiteY35" fmla="*/ 151927 h 342267"/>
                  <a:gd name="connsiteX36" fmla="*/ 311590 w 819458"/>
                  <a:gd name="connsiteY36" fmla="*/ 151927 h 342267"/>
                  <a:gd name="connsiteX37" fmla="*/ 311590 w 819458"/>
                  <a:gd name="connsiteY37" fmla="*/ 22089 h 342267"/>
                  <a:gd name="connsiteX38" fmla="*/ 444961 w 819458"/>
                  <a:gd name="connsiteY38" fmla="*/ 22089 h 342267"/>
                  <a:gd name="connsiteX39" fmla="*/ 483587 w 819458"/>
                  <a:gd name="connsiteY39" fmla="*/ 37546 h 342267"/>
                  <a:gd name="connsiteX40" fmla="*/ 144886 w 819458"/>
                  <a:gd name="connsiteY40" fmla="*/ 37485 h 342267"/>
                  <a:gd name="connsiteX41" fmla="*/ 183450 w 819458"/>
                  <a:gd name="connsiteY41" fmla="*/ 22089 h 342267"/>
                  <a:gd name="connsiteX42" fmla="*/ 289509 w 819458"/>
                  <a:gd name="connsiteY42" fmla="*/ 22089 h 342267"/>
                  <a:gd name="connsiteX43" fmla="*/ 289509 w 819458"/>
                  <a:gd name="connsiteY43" fmla="*/ 151927 h 342267"/>
                  <a:gd name="connsiteX44" fmla="*/ 31658 w 819458"/>
                  <a:gd name="connsiteY44" fmla="*/ 151927 h 342267"/>
                  <a:gd name="connsiteX45" fmla="*/ 31579 w 819458"/>
                  <a:gd name="connsiteY45" fmla="*/ 151739 h 342267"/>
                  <a:gd name="connsiteX46" fmla="*/ 144886 w 819458"/>
                  <a:gd name="connsiteY46" fmla="*/ 37485 h 342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19458" h="342267">
                    <a:moveTo>
                      <a:pt x="724274" y="152011"/>
                    </a:moveTo>
                    <a:lnTo>
                      <a:pt x="648522" y="152011"/>
                    </a:lnTo>
                    <a:cubicBezTo>
                      <a:pt x="648367" y="152005"/>
                      <a:pt x="648237" y="151921"/>
                      <a:pt x="648080" y="151921"/>
                    </a:cubicBezTo>
                    <a:lnTo>
                      <a:pt x="644541" y="151921"/>
                    </a:lnTo>
                    <a:cubicBezTo>
                      <a:pt x="634788" y="152015"/>
                      <a:pt x="625460" y="147938"/>
                      <a:pt x="618908" y="140714"/>
                    </a:cubicBezTo>
                    <a:lnTo>
                      <a:pt x="499140" y="21874"/>
                    </a:lnTo>
                    <a:cubicBezTo>
                      <a:pt x="484757" y="7596"/>
                      <a:pt x="465227" y="-285"/>
                      <a:pt x="444962" y="8"/>
                    </a:cubicBezTo>
                    <a:lnTo>
                      <a:pt x="183450" y="8"/>
                    </a:lnTo>
                    <a:cubicBezTo>
                      <a:pt x="163219" y="-109"/>
                      <a:pt x="143755" y="7744"/>
                      <a:pt x="129271" y="21869"/>
                    </a:cubicBezTo>
                    <a:lnTo>
                      <a:pt x="11409" y="140714"/>
                    </a:lnTo>
                    <a:cubicBezTo>
                      <a:pt x="4014" y="147970"/>
                      <a:pt x="-104" y="157926"/>
                      <a:pt x="3" y="168286"/>
                    </a:cubicBezTo>
                    <a:lnTo>
                      <a:pt x="3" y="242902"/>
                    </a:lnTo>
                    <a:lnTo>
                      <a:pt x="3" y="264983"/>
                    </a:lnTo>
                    <a:lnTo>
                      <a:pt x="3" y="266209"/>
                    </a:lnTo>
                    <a:cubicBezTo>
                      <a:pt x="126" y="308164"/>
                      <a:pt x="34107" y="342144"/>
                      <a:pt x="76061" y="342267"/>
                    </a:cubicBezTo>
                    <a:lnTo>
                      <a:pt x="89264" y="342267"/>
                    </a:lnTo>
                    <a:cubicBezTo>
                      <a:pt x="88721" y="337967"/>
                      <a:pt x="88435" y="333637"/>
                      <a:pt x="88411" y="329302"/>
                    </a:cubicBezTo>
                    <a:cubicBezTo>
                      <a:pt x="88411" y="326224"/>
                      <a:pt x="88621" y="323199"/>
                      <a:pt x="88874" y="320186"/>
                    </a:cubicBezTo>
                    <a:lnTo>
                      <a:pt x="76041" y="320186"/>
                    </a:lnTo>
                    <a:cubicBezTo>
                      <a:pt x="46241" y="320185"/>
                      <a:pt x="22083" y="296027"/>
                      <a:pt x="22083" y="266227"/>
                    </a:cubicBezTo>
                    <a:lnTo>
                      <a:pt x="22083" y="174008"/>
                    </a:lnTo>
                    <a:lnTo>
                      <a:pt x="644597" y="174008"/>
                    </a:lnTo>
                    <a:cubicBezTo>
                      <a:pt x="644912" y="174008"/>
                      <a:pt x="645201" y="174098"/>
                      <a:pt x="645517" y="174098"/>
                    </a:cubicBezTo>
                    <a:lnTo>
                      <a:pt x="724408" y="174098"/>
                    </a:lnTo>
                    <a:cubicBezTo>
                      <a:pt x="764708" y="174098"/>
                      <a:pt x="797376" y="206766"/>
                      <a:pt x="797377" y="247065"/>
                    </a:cubicBezTo>
                    <a:lnTo>
                      <a:pt x="797377" y="304245"/>
                    </a:lnTo>
                    <a:cubicBezTo>
                      <a:pt x="797373" y="313049"/>
                      <a:pt x="790235" y="320185"/>
                      <a:pt x="781431" y="320186"/>
                    </a:cubicBezTo>
                    <a:lnTo>
                      <a:pt x="727092" y="320186"/>
                    </a:lnTo>
                    <a:cubicBezTo>
                      <a:pt x="727345" y="323199"/>
                      <a:pt x="727554" y="326224"/>
                      <a:pt x="727554" y="329302"/>
                    </a:cubicBezTo>
                    <a:cubicBezTo>
                      <a:pt x="727528" y="333637"/>
                      <a:pt x="727245" y="337967"/>
                      <a:pt x="726701" y="342267"/>
                    </a:cubicBezTo>
                    <a:lnTo>
                      <a:pt x="781439" y="342267"/>
                    </a:lnTo>
                    <a:cubicBezTo>
                      <a:pt x="802410" y="342206"/>
                      <a:pt x="819397" y="325219"/>
                      <a:pt x="819458" y="304248"/>
                    </a:cubicBezTo>
                    <a:lnTo>
                      <a:pt x="819458" y="247195"/>
                    </a:lnTo>
                    <a:cubicBezTo>
                      <a:pt x="819305" y="194691"/>
                      <a:pt x="776778" y="152165"/>
                      <a:pt x="724274" y="152011"/>
                    </a:cubicBezTo>
                    <a:close/>
                    <a:moveTo>
                      <a:pt x="483587" y="37546"/>
                    </a:moveTo>
                    <a:lnTo>
                      <a:pt x="598847" y="151927"/>
                    </a:lnTo>
                    <a:lnTo>
                      <a:pt x="311590" y="151927"/>
                    </a:lnTo>
                    <a:lnTo>
                      <a:pt x="311590" y="22089"/>
                    </a:lnTo>
                    <a:lnTo>
                      <a:pt x="444961" y="22089"/>
                    </a:lnTo>
                    <a:cubicBezTo>
                      <a:pt x="459400" y="21794"/>
                      <a:pt x="473339" y="27371"/>
                      <a:pt x="483587" y="37546"/>
                    </a:cubicBezTo>
                    <a:close/>
                    <a:moveTo>
                      <a:pt x="144886" y="37485"/>
                    </a:moveTo>
                    <a:cubicBezTo>
                      <a:pt x="155215" y="27481"/>
                      <a:pt x="169070" y="21950"/>
                      <a:pt x="183450" y="22089"/>
                    </a:cubicBezTo>
                    <a:lnTo>
                      <a:pt x="289509" y="22089"/>
                    </a:lnTo>
                    <a:lnTo>
                      <a:pt x="289509" y="151927"/>
                    </a:lnTo>
                    <a:lnTo>
                      <a:pt x="31658" y="151927"/>
                    </a:lnTo>
                    <a:cubicBezTo>
                      <a:pt x="31512" y="151927"/>
                      <a:pt x="31477" y="151843"/>
                      <a:pt x="31579" y="151739"/>
                    </a:cubicBezTo>
                    <a:lnTo>
                      <a:pt x="144886" y="37485"/>
                    </a:lnTo>
                    <a:close/>
                  </a:path>
                </a:pathLst>
              </a:custGeom>
              <a:grpFill/>
              <a:ln w="11013" cap="flat">
                <a:noFill/>
                <a:prstDash val="solid"/>
                <a:miter/>
              </a:ln>
            </p:spPr>
            <p:txBody>
              <a:bodyPr rtlCol="0" anchor="ctr"/>
              <a:lstStyle/>
              <a:p>
                <a:endParaRPr lang="en-GB" dirty="0"/>
              </a:p>
            </p:txBody>
          </p:sp>
          <p:sp>
            <p:nvSpPr>
              <p:cNvPr id="27" name="Freeform: Shape 49">
                <a:extLst>
                  <a:ext uri="{FF2B5EF4-FFF2-40B4-BE49-F238E27FC236}">
                    <a16:creationId xmlns:a16="http://schemas.microsoft.com/office/drawing/2014/main" id="{A5CF06E7-6F48-2441-9D5F-CFAC179B7AA1}"/>
                  </a:ext>
                </a:extLst>
              </p:cNvPr>
              <p:cNvSpPr/>
              <p:nvPr/>
            </p:nvSpPr>
            <p:spPr>
              <a:xfrm>
                <a:off x="8385275" y="5583332"/>
                <a:ext cx="172504" cy="172521"/>
              </a:xfrm>
              <a:custGeom>
                <a:avLst/>
                <a:gdLst>
                  <a:gd name="connsiteX0" fmla="*/ 103165 w 172504"/>
                  <a:gd name="connsiteY0" fmla="*/ 1689 h 172521"/>
                  <a:gd name="connsiteX1" fmla="*/ 1689 w 172504"/>
                  <a:gd name="connsiteY1" fmla="*/ 69356 h 172521"/>
                  <a:gd name="connsiteX2" fmla="*/ 69356 w 172504"/>
                  <a:gd name="connsiteY2" fmla="*/ 170832 h 172521"/>
                  <a:gd name="connsiteX3" fmla="*/ 170832 w 172504"/>
                  <a:gd name="connsiteY3" fmla="*/ 103165 h 172521"/>
                  <a:gd name="connsiteX4" fmla="*/ 170834 w 172504"/>
                  <a:gd name="connsiteY4" fmla="*/ 69368 h 172521"/>
                  <a:gd name="connsiteX5" fmla="*/ 103165 w 172504"/>
                  <a:gd name="connsiteY5" fmla="*/ 1689 h 172521"/>
                  <a:gd name="connsiteX6" fmla="*/ 100938 w 172504"/>
                  <a:gd name="connsiteY6" fmla="*/ 148744 h 172521"/>
                  <a:gd name="connsiteX7" fmla="*/ 23805 w 172504"/>
                  <a:gd name="connsiteY7" fmla="*/ 100701 h 172521"/>
                  <a:gd name="connsiteX8" fmla="*/ 23808 w 172504"/>
                  <a:gd name="connsiteY8" fmla="*/ 71594 h 172521"/>
                  <a:gd name="connsiteX9" fmla="*/ 71601 w 172504"/>
                  <a:gd name="connsiteY9" fmla="*/ 23788 h 172521"/>
                  <a:gd name="connsiteX10" fmla="*/ 148742 w 172504"/>
                  <a:gd name="connsiteY10" fmla="*/ 71819 h 172521"/>
                  <a:gd name="connsiteX11" fmla="*/ 148737 w 172504"/>
                  <a:gd name="connsiteY11" fmla="*/ 100950 h 172521"/>
                  <a:gd name="connsiteX12" fmla="*/ 100938 w 172504"/>
                  <a:gd name="connsiteY12" fmla="*/ 148744 h 172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2504" h="172521">
                    <a:moveTo>
                      <a:pt x="103165" y="1689"/>
                    </a:moveTo>
                    <a:cubicBezTo>
                      <a:pt x="56458" y="-7646"/>
                      <a:pt x="11025" y="22649"/>
                      <a:pt x="1689" y="69356"/>
                    </a:cubicBezTo>
                    <a:cubicBezTo>
                      <a:pt x="-7646" y="116064"/>
                      <a:pt x="22649" y="161496"/>
                      <a:pt x="69356" y="170832"/>
                    </a:cubicBezTo>
                    <a:cubicBezTo>
                      <a:pt x="116064" y="180167"/>
                      <a:pt x="161496" y="149872"/>
                      <a:pt x="170832" y="103165"/>
                    </a:cubicBezTo>
                    <a:cubicBezTo>
                      <a:pt x="173061" y="92009"/>
                      <a:pt x="173062" y="80524"/>
                      <a:pt x="170834" y="69368"/>
                    </a:cubicBezTo>
                    <a:cubicBezTo>
                      <a:pt x="163984" y="35230"/>
                      <a:pt x="137302" y="8544"/>
                      <a:pt x="103165" y="1689"/>
                    </a:cubicBezTo>
                    <a:close/>
                    <a:moveTo>
                      <a:pt x="100938" y="148744"/>
                    </a:moveTo>
                    <a:cubicBezTo>
                      <a:pt x="66371" y="156777"/>
                      <a:pt x="31837" y="135266"/>
                      <a:pt x="23805" y="100701"/>
                    </a:cubicBezTo>
                    <a:cubicBezTo>
                      <a:pt x="21579" y="91126"/>
                      <a:pt x="21580" y="81169"/>
                      <a:pt x="23808" y="71594"/>
                    </a:cubicBezTo>
                    <a:cubicBezTo>
                      <a:pt x="29249" y="47811"/>
                      <a:pt x="47818" y="29236"/>
                      <a:pt x="71601" y="23788"/>
                    </a:cubicBezTo>
                    <a:cubicBezTo>
                      <a:pt x="106167" y="15750"/>
                      <a:pt x="140704" y="37255"/>
                      <a:pt x="148742" y="71819"/>
                    </a:cubicBezTo>
                    <a:cubicBezTo>
                      <a:pt x="150971" y="81403"/>
                      <a:pt x="150968" y="91368"/>
                      <a:pt x="148737" y="100950"/>
                    </a:cubicBezTo>
                    <a:cubicBezTo>
                      <a:pt x="143289" y="124730"/>
                      <a:pt x="124718" y="143298"/>
                      <a:pt x="100938" y="148744"/>
                    </a:cubicBezTo>
                    <a:close/>
                  </a:path>
                </a:pathLst>
              </a:custGeom>
              <a:grpFill/>
              <a:ln w="11013" cap="flat">
                <a:noFill/>
                <a:prstDash val="solid"/>
                <a:miter/>
              </a:ln>
            </p:spPr>
            <p:txBody>
              <a:bodyPr rtlCol="0" anchor="ctr"/>
              <a:lstStyle/>
              <a:p>
                <a:endParaRPr lang="en-GB"/>
              </a:p>
            </p:txBody>
          </p:sp>
          <p:sp>
            <p:nvSpPr>
              <p:cNvPr id="28" name="Oval 27">
                <a:extLst>
                  <a:ext uri="{FF2B5EF4-FFF2-40B4-BE49-F238E27FC236}">
                    <a16:creationId xmlns:a16="http://schemas.microsoft.com/office/drawing/2014/main" id="{4C73194E-42C6-834F-9ACA-7FEACF2A268C}"/>
                  </a:ext>
                </a:extLst>
              </p:cNvPr>
              <p:cNvSpPr/>
              <p:nvPr/>
            </p:nvSpPr>
            <p:spPr>
              <a:xfrm>
                <a:off x="8320655" y="5530764"/>
                <a:ext cx="52567" cy="5256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lstStyle/>
              <a:p>
                <a:pPr algn="ctr"/>
                <a:endParaRPr lang="en-GB" sz="1000" dirty="0" err="1">
                  <a:solidFill>
                    <a:schemeClr val="bg1"/>
                  </a:solidFill>
                </a:endParaRPr>
              </a:p>
            </p:txBody>
          </p:sp>
        </p:grpSp>
      </p:grpSp>
      <p:pic>
        <p:nvPicPr>
          <p:cNvPr id="38" name="Graphic 37" descr="Sustainability outline">
            <a:extLst>
              <a:ext uri="{FF2B5EF4-FFF2-40B4-BE49-F238E27FC236}">
                <a16:creationId xmlns:a16="http://schemas.microsoft.com/office/drawing/2014/main" id="{200BAD8D-3A35-4649-864F-6044DB1E7113}"/>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95586" y="4345667"/>
            <a:ext cx="688071" cy="688071"/>
          </a:xfrm>
          <a:prstGeom prst="rect">
            <a:avLst/>
          </a:prstGeom>
        </p:spPr>
      </p:pic>
      <p:grpSp>
        <p:nvGrpSpPr>
          <p:cNvPr id="39" name="Group 38">
            <a:extLst>
              <a:ext uri="{FF2B5EF4-FFF2-40B4-BE49-F238E27FC236}">
                <a16:creationId xmlns:a16="http://schemas.microsoft.com/office/drawing/2014/main" id="{6E9F5228-3140-6649-AD54-5A9FF9F75039}"/>
              </a:ext>
            </a:extLst>
          </p:cNvPr>
          <p:cNvGrpSpPr/>
          <p:nvPr/>
        </p:nvGrpSpPr>
        <p:grpSpPr>
          <a:xfrm flipH="1">
            <a:off x="1133588" y="4359846"/>
            <a:ext cx="729820" cy="539675"/>
            <a:chOff x="-1903142" y="1521197"/>
            <a:chExt cx="1484065" cy="1097412"/>
          </a:xfrm>
        </p:grpSpPr>
        <p:pic>
          <p:nvPicPr>
            <p:cNvPr id="40" name="Graphic 39" descr="Open hand outline">
              <a:extLst>
                <a:ext uri="{FF2B5EF4-FFF2-40B4-BE49-F238E27FC236}">
                  <a16:creationId xmlns:a16="http://schemas.microsoft.com/office/drawing/2014/main" id="{BF66B150-A5C2-C943-8C51-62D09672510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rot="1075123">
              <a:off x="-1903142" y="1704209"/>
              <a:ext cx="914399" cy="914400"/>
            </a:xfrm>
            <a:prstGeom prst="rect">
              <a:avLst/>
            </a:prstGeom>
          </p:spPr>
        </p:pic>
        <p:pic>
          <p:nvPicPr>
            <p:cNvPr id="41" name="Graphic 40" descr="Open hand outline">
              <a:extLst>
                <a:ext uri="{FF2B5EF4-FFF2-40B4-BE49-F238E27FC236}">
                  <a16:creationId xmlns:a16="http://schemas.microsoft.com/office/drawing/2014/main" id="{C1C0BF90-52C4-4744-B9C6-13DE282C3D14}"/>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rot="12263644">
              <a:off x="-1333476" y="1521197"/>
              <a:ext cx="914399" cy="914400"/>
            </a:xfrm>
            <a:prstGeom prst="rect">
              <a:avLst/>
            </a:prstGeom>
          </p:spPr>
        </p:pic>
      </p:grpSp>
      <p:sp>
        <p:nvSpPr>
          <p:cNvPr id="42" name="Freeform 41">
            <a:extLst>
              <a:ext uri="{FF2B5EF4-FFF2-40B4-BE49-F238E27FC236}">
                <a16:creationId xmlns:a16="http://schemas.microsoft.com/office/drawing/2014/main" id="{A0CB0482-9BA0-0448-A1AF-293B0FAF76D6}"/>
              </a:ext>
            </a:extLst>
          </p:cNvPr>
          <p:cNvSpPr/>
          <p:nvPr/>
        </p:nvSpPr>
        <p:spPr>
          <a:xfrm>
            <a:off x="2208028" y="4332634"/>
            <a:ext cx="566215" cy="652778"/>
          </a:xfrm>
          <a:custGeom>
            <a:avLst/>
            <a:gdLst>
              <a:gd name="connsiteX0" fmla="*/ 350639 w 704850"/>
              <a:gd name="connsiteY0" fmla="*/ 10 h 812607"/>
              <a:gd name="connsiteX1" fmla="*/ 342900 w 704850"/>
              <a:gd name="connsiteY1" fmla="*/ 9459 h 812607"/>
              <a:gd name="connsiteX2" fmla="*/ 342900 w 704850"/>
              <a:gd name="connsiteY2" fmla="*/ 227076 h 812607"/>
              <a:gd name="connsiteX3" fmla="*/ 58043 w 704850"/>
              <a:gd name="connsiteY3" fmla="*/ 421663 h 812607"/>
              <a:gd name="connsiteX4" fmla="*/ 63300 w 704850"/>
              <a:gd name="connsiteY4" fmla="*/ 433967 h 812607"/>
              <a:gd name="connsiteX5" fmla="*/ 66675 w 704850"/>
              <a:gd name="connsiteY5" fmla="*/ 434655 h 812607"/>
              <a:gd name="connsiteX6" fmla="*/ 123825 w 704850"/>
              <a:gd name="connsiteY6" fmla="*/ 434655 h 812607"/>
              <a:gd name="connsiteX7" fmla="*/ 123825 w 704850"/>
              <a:gd name="connsiteY7" fmla="*/ 642529 h 812607"/>
              <a:gd name="connsiteX8" fmla="*/ 66675 w 704850"/>
              <a:gd name="connsiteY8" fmla="*/ 642529 h 812607"/>
              <a:gd name="connsiteX9" fmla="*/ 65782 w 704850"/>
              <a:gd name="connsiteY9" fmla="*/ 642529 h 812607"/>
              <a:gd name="connsiteX10" fmla="*/ 57150 w 704850"/>
              <a:gd name="connsiteY10" fmla="*/ 651978 h 812607"/>
              <a:gd name="connsiteX11" fmla="*/ 57150 w 704850"/>
              <a:gd name="connsiteY11" fmla="*/ 708670 h 812607"/>
              <a:gd name="connsiteX12" fmla="*/ 9525 w 704850"/>
              <a:gd name="connsiteY12" fmla="*/ 708670 h 812607"/>
              <a:gd name="connsiteX13" fmla="*/ 0 w 704850"/>
              <a:gd name="connsiteY13" fmla="*/ 718119 h 812607"/>
              <a:gd name="connsiteX14" fmla="*/ 0 w 704850"/>
              <a:gd name="connsiteY14" fmla="*/ 803158 h 812607"/>
              <a:gd name="connsiteX15" fmla="*/ 9525 w 704850"/>
              <a:gd name="connsiteY15" fmla="*/ 812607 h 812607"/>
              <a:gd name="connsiteX16" fmla="*/ 695325 w 704850"/>
              <a:gd name="connsiteY16" fmla="*/ 812607 h 812607"/>
              <a:gd name="connsiteX17" fmla="*/ 704850 w 704850"/>
              <a:gd name="connsiteY17" fmla="*/ 803158 h 812607"/>
              <a:gd name="connsiteX18" fmla="*/ 704850 w 704850"/>
              <a:gd name="connsiteY18" fmla="*/ 718119 h 812607"/>
              <a:gd name="connsiteX19" fmla="*/ 695325 w 704850"/>
              <a:gd name="connsiteY19" fmla="*/ 708670 h 812607"/>
              <a:gd name="connsiteX20" fmla="*/ 647700 w 704850"/>
              <a:gd name="connsiteY20" fmla="*/ 708670 h 812607"/>
              <a:gd name="connsiteX21" fmla="*/ 647700 w 704850"/>
              <a:gd name="connsiteY21" fmla="*/ 651978 h 812607"/>
              <a:gd name="connsiteX22" fmla="*/ 638175 w 704850"/>
              <a:gd name="connsiteY22" fmla="*/ 642529 h 812607"/>
              <a:gd name="connsiteX23" fmla="*/ 581025 w 704850"/>
              <a:gd name="connsiteY23" fmla="*/ 642529 h 812607"/>
              <a:gd name="connsiteX24" fmla="*/ 581025 w 704850"/>
              <a:gd name="connsiteY24" fmla="*/ 481899 h 812607"/>
              <a:gd name="connsiteX25" fmla="*/ 571732 w 704850"/>
              <a:gd name="connsiteY25" fmla="*/ 472224 h 812607"/>
              <a:gd name="connsiteX26" fmla="*/ 569416 w 704850"/>
              <a:gd name="connsiteY26" fmla="*/ 472450 h 812607"/>
              <a:gd name="connsiteX27" fmla="*/ 561975 w 704850"/>
              <a:gd name="connsiteY27" fmla="*/ 481899 h 812607"/>
              <a:gd name="connsiteX28" fmla="*/ 561975 w 704850"/>
              <a:gd name="connsiteY28" fmla="*/ 642529 h 812607"/>
              <a:gd name="connsiteX29" fmla="*/ 504825 w 704850"/>
              <a:gd name="connsiteY29" fmla="*/ 642529 h 812607"/>
              <a:gd name="connsiteX30" fmla="*/ 504825 w 704850"/>
              <a:gd name="connsiteY30" fmla="*/ 434655 h 812607"/>
              <a:gd name="connsiteX31" fmla="*/ 638175 w 704850"/>
              <a:gd name="connsiteY31" fmla="*/ 434655 h 812607"/>
              <a:gd name="connsiteX32" fmla="*/ 647500 w 704850"/>
              <a:gd name="connsiteY32" fmla="*/ 425011 h 812607"/>
              <a:gd name="connsiteX33" fmla="*/ 646807 w 704850"/>
              <a:gd name="connsiteY33" fmla="*/ 421663 h 812607"/>
              <a:gd name="connsiteX34" fmla="*/ 361950 w 704850"/>
              <a:gd name="connsiteY34" fmla="*/ 227076 h 812607"/>
              <a:gd name="connsiteX35" fmla="*/ 361950 w 704850"/>
              <a:gd name="connsiteY35" fmla="*/ 132588 h 812607"/>
              <a:gd name="connsiteX36" fmla="*/ 443508 w 704850"/>
              <a:gd name="connsiteY36" fmla="*/ 159754 h 812607"/>
              <a:gd name="connsiteX37" fmla="*/ 542925 w 704850"/>
              <a:gd name="connsiteY37" fmla="*/ 188986 h 812607"/>
              <a:gd name="connsiteX38" fmla="*/ 552450 w 704850"/>
              <a:gd name="connsiteY38" fmla="*/ 179538 h 812607"/>
              <a:gd name="connsiteX39" fmla="*/ 552450 w 704850"/>
              <a:gd name="connsiteY39" fmla="*/ 66152 h 812607"/>
              <a:gd name="connsiteX40" fmla="*/ 542925 w 704850"/>
              <a:gd name="connsiteY40" fmla="*/ 56703 h 812607"/>
              <a:gd name="connsiteX41" fmla="*/ 456605 w 704850"/>
              <a:gd name="connsiteY41" fmla="*/ 30128 h 812607"/>
              <a:gd name="connsiteX42" fmla="*/ 352425 w 704850"/>
              <a:gd name="connsiteY42" fmla="*/ 10 h 812607"/>
              <a:gd name="connsiteX43" fmla="*/ 351532 w 704850"/>
              <a:gd name="connsiteY43" fmla="*/ 10 h 812607"/>
              <a:gd name="connsiteX44" fmla="*/ 350639 w 704850"/>
              <a:gd name="connsiteY44" fmla="*/ 10 h 812607"/>
              <a:gd name="connsiteX45" fmla="*/ 361950 w 704850"/>
              <a:gd name="connsiteY45" fmla="*/ 19499 h 812607"/>
              <a:gd name="connsiteX46" fmla="*/ 445889 w 704850"/>
              <a:gd name="connsiteY46" fmla="*/ 45483 h 812607"/>
              <a:gd name="connsiteX47" fmla="*/ 533400 w 704850"/>
              <a:gd name="connsiteY47" fmla="*/ 75010 h 812607"/>
              <a:gd name="connsiteX48" fmla="*/ 533400 w 704850"/>
              <a:gd name="connsiteY48" fmla="*/ 169498 h 812607"/>
              <a:gd name="connsiteX49" fmla="*/ 453925 w 704850"/>
              <a:gd name="connsiteY49" fmla="*/ 144105 h 812607"/>
              <a:gd name="connsiteX50" fmla="*/ 361950 w 704850"/>
              <a:gd name="connsiteY50" fmla="*/ 113691 h 812607"/>
              <a:gd name="connsiteX51" fmla="*/ 361950 w 704850"/>
              <a:gd name="connsiteY51" fmla="*/ 19499 h 812607"/>
              <a:gd name="connsiteX52" fmla="*/ 352425 w 704850"/>
              <a:gd name="connsiteY52" fmla="*/ 245679 h 812607"/>
              <a:gd name="connsiteX53" fmla="*/ 622697 w 704850"/>
              <a:gd name="connsiteY53" fmla="*/ 415758 h 812607"/>
              <a:gd name="connsiteX54" fmla="*/ 82153 w 704850"/>
              <a:gd name="connsiteY54" fmla="*/ 415758 h 812607"/>
              <a:gd name="connsiteX55" fmla="*/ 352425 w 704850"/>
              <a:gd name="connsiteY55" fmla="*/ 245679 h 812607"/>
              <a:gd name="connsiteX56" fmla="*/ 142875 w 704850"/>
              <a:gd name="connsiteY56" fmla="*/ 434655 h 812607"/>
              <a:gd name="connsiteX57" fmla="*/ 200025 w 704850"/>
              <a:gd name="connsiteY57" fmla="*/ 434655 h 812607"/>
              <a:gd name="connsiteX58" fmla="*/ 200025 w 704850"/>
              <a:gd name="connsiteY58" fmla="*/ 642529 h 812607"/>
              <a:gd name="connsiteX59" fmla="*/ 142875 w 704850"/>
              <a:gd name="connsiteY59" fmla="*/ 642529 h 812607"/>
              <a:gd name="connsiteX60" fmla="*/ 142875 w 704850"/>
              <a:gd name="connsiteY60" fmla="*/ 434655 h 812607"/>
              <a:gd name="connsiteX61" fmla="*/ 219075 w 704850"/>
              <a:gd name="connsiteY61" fmla="*/ 434655 h 812607"/>
              <a:gd name="connsiteX62" fmla="*/ 304800 w 704850"/>
              <a:gd name="connsiteY62" fmla="*/ 434655 h 812607"/>
              <a:gd name="connsiteX63" fmla="*/ 304800 w 704850"/>
              <a:gd name="connsiteY63" fmla="*/ 642529 h 812607"/>
              <a:gd name="connsiteX64" fmla="*/ 219075 w 704850"/>
              <a:gd name="connsiteY64" fmla="*/ 642529 h 812607"/>
              <a:gd name="connsiteX65" fmla="*/ 219075 w 704850"/>
              <a:gd name="connsiteY65" fmla="*/ 434655 h 812607"/>
              <a:gd name="connsiteX66" fmla="*/ 323850 w 704850"/>
              <a:gd name="connsiteY66" fmla="*/ 434655 h 812607"/>
              <a:gd name="connsiteX67" fmla="*/ 381000 w 704850"/>
              <a:gd name="connsiteY67" fmla="*/ 434655 h 812607"/>
              <a:gd name="connsiteX68" fmla="*/ 381000 w 704850"/>
              <a:gd name="connsiteY68" fmla="*/ 642529 h 812607"/>
              <a:gd name="connsiteX69" fmla="*/ 323850 w 704850"/>
              <a:gd name="connsiteY69" fmla="*/ 642529 h 812607"/>
              <a:gd name="connsiteX70" fmla="*/ 323850 w 704850"/>
              <a:gd name="connsiteY70" fmla="*/ 434655 h 812607"/>
              <a:gd name="connsiteX71" fmla="*/ 400050 w 704850"/>
              <a:gd name="connsiteY71" fmla="*/ 434655 h 812607"/>
              <a:gd name="connsiteX72" fmla="*/ 485775 w 704850"/>
              <a:gd name="connsiteY72" fmla="*/ 434655 h 812607"/>
              <a:gd name="connsiteX73" fmla="*/ 485775 w 704850"/>
              <a:gd name="connsiteY73" fmla="*/ 642529 h 812607"/>
              <a:gd name="connsiteX74" fmla="*/ 400050 w 704850"/>
              <a:gd name="connsiteY74" fmla="*/ 642529 h 812607"/>
              <a:gd name="connsiteX75" fmla="*/ 400050 w 704850"/>
              <a:gd name="connsiteY75" fmla="*/ 434655 h 812607"/>
              <a:gd name="connsiteX76" fmla="*/ 76200 w 704850"/>
              <a:gd name="connsiteY76" fmla="*/ 661426 h 812607"/>
              <a:gd name="connsiteX77" fmla="*/ 628650 w 704850"/>
              <a:gd name="connsiteY77" fmla="*/ 661426 h 812607"/>
              <a:gd name="connsiteX78" fmla="*/ 628650 w 704850"/>
              <a:gd name="connsiteY78" fmla="*/ 718119 h 812607"/>
              <a:gd name="connsiteX79" fmla="*/ 638175 w 704850"/>
              <a:gd name="connsiteY79" fmla="*/ 727568 h 812607"/>
              <a:gd name="connsiteX80" fmla="*/ 685800 w 704850"/>
              <a:gd name="connsiteY80" fmla="*/ 727568 h 812607"/>
              <a:gd name="connsiteX81" fmla="*/ 685800 w 704850"/>
              <a:gd name="connsiteY81" fmla="*/ 793710 h 812607"/>
              <a:gd name="connsiteX82" fmla="*/ 19050 w 704850"/>
              <a:gd name="connsiteY82" fmla="*/ 793710 h 812607"/>
              <a:gd name="connsiteX83" fmla="*/ 19050 w 704850"/>
              <a:gd name="connsiteY83" fmla="*/ 727568 h 812607"/>
              <a:gd name="connsiteX84" fmla="*/ 66675 w 704850"/>
              <a:gd name="connsiteY84" fmla="*/ 727568 h 812607"/>
              <a:gd name="connsiteX85" fmla="*/ 76200 w 704850"/>
              <a:gd name="connsiteY85" fmla="*/ 718119 h 812607"/>
              <a:gd name="connsiteX86" fmla="*/ 76200 w 704850"/>
              <a:gd name="connsiteY86" fmla="*/ 661426 h 812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704850" h="812607">
                <a:moveTo>
                  <a:pt x="350639" y="10"/>
                </a:moveTo>
                <a:cubicBezTo>
                  <a:pt x="346085" y="872"/>
                  <a:pt x="342818" y="4861"/>
                  <a:pt x="342900" y="9459"/>
                </a:cubicBezTo>
                <a:lnTo>
                  <a:pt x="342900" y="227076"/>
                </a:lnTo>
                <a:cubicBezTo>
                  <a:pt x="214744" y="230833"/>
                  <a:pt x="105619" y="309980"/>
                  <a:pt x="58043" y="421663"/>
                </a:cubicBezTo>
                <a:cubicBezTo>
                  <a:pt x="56070" y="426501"/>
                  <a:pt x="58423" y="432010"/>
                  <a:pt x="63300" y="433967"/>
                </a:cubicBezTo>
                <a:cubicBezTo>
                  <a:pt x="64374" y="434398"/>
                  <a:pt x="65518" y="434632"/>
                  <a:pt x="66675" y="434655"/>
                </a:cubicBezTo>
                <a:lnTo>
                  <a:pt x="123825" y="434655"/>
                </a:lnTo>
                <a:lnTo>
                  <a:pt x="123825" y="642529"/>
                </a:lnTo>
                <a:lnTo>
                  <a:pt x="66675" y="642529"/>
                </a:lnTo>
                <a:cubicBezTo>
                  <a:pt x="66378" y="642515"/>
                  <a:pt x="66080" y="642515"/>
                  <a:pt x="65782" y="642529"/>
                </a:cubicBezTo>
                <a:cubicBezTo>
                  <a:pt x="60873" y="642988"/>
                  <a:pt x="57129" y="647087"/>
                  <a:pt x="57150" y="651978"/>
                </a:cubicBezTo>
                <a:lnTo>
                  <a:pt x="57150" y="708670"/>
                </a:lnTo>
                <a:lnTo>
                  <a:pt x="9525" y="708670"/>
                </a:lnTo>
                <a:cubicBezTo>
                  <a:pt x="4264" y="708671"/>
                  <a:pt x="1" y="712901"/>
                  <a:pt x="0" y="718119"/>
                </a:cubicBezTo>
                <a:lnTo>
                  <a:pt x="0" y="803158"/>
                </a:lnTo>
                <a:cubicBezTo>
                  <a:pt x="1" y="808377"/>
                  <a:pt x="4264" y="812606"/>
                  <a:pt x="9525" y="812607"/>
                </a:cubicBezTo>
                <a:lnTo>
                  <a:pt x="695325" y="812607"/>
                </a:lnTo>
                <a:cubicBezTo>
                  <a:pt x="700586" y="812606"/>
                  <a:pt x="704849" y="808377"/>
                  <a:pt x="704850" y="803158"/>
                </a:cubicBezTo>
                <a:lnTo>
                  <a:pt x="704850" y="718119"/>
                </a:lnTo>
                <a:cubicBezTo>
                  <a:pt x="704849" y="712901"/>
                  <a:pt x="700586" y="708671"/>
                  <a:pt x="695325" y="708670"/>
                </a:cubicBezTo>
                <a:lnTo>
                  <a:pt x="647700" y="708670"/>
                </a:lnTo>
                <a:lnTo>
                  <a:pt x="647700" y="651978"/>
                </a:lnTo>
                <a:cubicBezTo>
                  <a:pt x="647699" y="646759"/>
                  <a:pt x="643436" y="642530"/>
                  <a:pt x="638175" y="642529"/>
                </a:cubicBezTo>
                <a:lnTo>
                  <a:pt x="581025" y="642529"/>
                </a:lnTo>
                <a:lnTo>
                  <a:pt x="581025" y="481899"/>
                </a:lnTo>
                <a:cubicBezTo>
                  <a:pt x="581152" y="476682"/>
                  <a:pt x="576991" y="472350"/>
                  <a:pt x="571732" y="472224"/>
                </a:cubicBezTo>
                <a:cubicBezTo>
                  <a:pt x="570953" y="472206"/>
                  <a:pt x="570176" y="472281"/>
                  <a:pt x="569416" y="472450"/>
                </a:cubicBezTo>
                <a:cubicBezTo>
                  <a:pt x="564981" y="473436"/>
                  <a:pt x="561866" y="477392"/>
                  <a:pt x="561975" y="481899"/>
                </a:cubicBezTo>
                <a:lnTo>
                  <a:pt x="561975" y="642529"/>
                </a:lnTo>
                <a:lnTo>
                  <a:pt x="504825" y="642529"/>
                </a:lnTo>
                <a:lnTo>
                  <a:pt x="504825" y="434655"/>
                </a:lnTo>
                <a:lnTo>
                  <a:pt x="638175" y="434655"/>
                </a:lnTo>
                <a:cubicBezTo>
                  <a:pt x="643435" y="434547"/>
                  <a:pt x="647611" y="430228"/>
                  <a:pt x="647500" y="425011"/>
                </a:cubicBezTo>
                <a:cubicBezTo>
                  <a:pt x="647476" y="423862"/>
                  <a:pt x="647242" y="422728"/>
                  <a:pt x="646807" y="421663"/>
                </a:cubicBezTo>
                <a:cubicBezTo>
                  <a:pt x="599232" y="309980"/>
                  <a:pt x="490107" y="230833"/>
                  <a:pt x="361950" y="227076"/>
                </a:cubicBezTo>
                <a:lnTo>
                  <a:pt x="361950" y="132588"/>
                </a:lnTo>
                <a:cubicBezTo>
                  <a:pt x="405744" y="134274"/>
                  <a:pt x="423107" y="146273"/>
                  <a:pt x="443508" y="159754"/>
                </a:cubicBezTo>
                <a:cubicBezTo>
                  <a:pt x="464677" y="173744"/>
                  <a:pt x="489747" y="188986"/>
                  <a:pt x="542925" y="188986"/>
                </a:cubicBezTo>
                <a:cubicBezTo>
                  <a:pt x="548186" y="188985"/>
                  <a:pt x="552449" y="184756"/>
                  <a:pt x="552450" y="179538"/>
                </a:cubicBezTo>
                <a:lnTo>
                  <a:pt x="552450" y="66152"/>
                </a:lnTo>
                <a:cubicBezTo>
                  <a:pt x="552449" y="60933"/>
                  <a:pt x="548186" y="56704"/>
                  <a:pt x="542925" y="56703"/>
                </a:cubicBezTo>
                <a:cubicBezTo>
                  <a:pt x="492269" y="56703"/>
                  <a:pt x="476989" y="44403"/>
                  <a:pt x="456605" y="30128"/>
                </a:cubicBezTo>
                <a:cubicBezTo>
                  <a:pt x="436220" y="15855"/>
                  <a:pt x="411163" y="10"/>
                  <a:pt x="352425" y="10"/>
                </a:cubicBezTo>
                <a:cubicBezTo>
                  <a:pt x="352128" y="-3"/>
                  <a:pt x="351830" y="-3"/>
                  <a:pt x="351532" y="10"/>
                </a:cubicBezTo>
                <a:cubicBezTo>
                  <a:pt x="351234" y="-3"/>
                  <a:pt x="350936" y="-3"/>
                  <a:pt x="350639" y="10"/>
                </a:cubicBezTo>
                <a:close/>
                <a:moveTo>
                  <a:pt x="361950" y="19499"/>
                </a:moveTo>
                <a:cubicBezTo>
                  <a:pt x="409127" y="21037"/>
                  <a:pt x="427155" y="32364"/>
                  <a:pt x="445889" y="45483"/>
                </a:cubicBezTo>
                <a:cubicBezTo>
                  <a:pt x="464625" y="58602"/>
                  <a:pt x="486760" y="73066"/>
                  <a:pt x="533400" y="75010"/>
                </a:cubicBezTo>
                <a:lnTo>
                  <a:pt x="533400" y="169498"/>
                </a:lnTo>
                <a:cubicBezTo>
                  <a:pt x="491547" y="167869"/>
                  <a:pt x="473325" y="156924"/>
                  <a:pt x="453925" y="144105"/>
                </a:cubicBezTo>
                <a:cubicBezTo>
                  <a:pt x="433562" y="130647"/>
                  <a:pt x="410164" y="115461"/>
                  <a:pt x="361950" y="113691"/>
                </a:cubicBezTo>
                <a:lnTo>
                  <a:pt x="361950" y="19499"/>
                </a:lnTo>
                <a:close/>
                <a:moveTo>
                  <a:pt x="352425" y="245679"/>
                </a:moveTo>
                <a:cubicBezTo>
                  <a:pt x="471677" y="245679"/>
                  <a:pt x="573935" y="315271"/>
                  <a:pt x="622697" y="415758"/>
                </a:cubicBezTo>
                <a:lnTo>
                  <a:pt x="82153" y="415758"/>
                </a:lnTo>
                <a:cubicBezTo>
                  <a:pt x="130915" y="315271"/>
                  <a:pt x="233173" y="245679"/>
                  <a:pt x="352425" y="245679"/>
                </a:cubicBezTo>
                <a:close/>
                <a:moveTo>
                  <a:pt x="142875" y="434655"/>
                </a:moveTo>
                <a:lnTo>
                  <a:pt x="200025" y="434655"/>
                </a:lnTo>
                <a:lnTo>
                  <a:pt x="200025" y="642529"/>
                </a:lnTo>
                <a:lnTo>
                  <a:pt x="142875" y="642529"/>
                </a:lnTo>
                <a:lnTo>
                  <a:pt x="142875" y="434655"/>
                </a:lnTo>
                <a:close/>
                <a:moveTo>
                  <a:pt x="219075" y="434655"/>
                </a:moveTo>
                <a:lnTo>
                  <a:pt x="304800" y="434655"/>
                </a:lnTo>
                <a:lnTo>
                  <a:pt x="304800" y="642529"/>
                </a:lnTo>
                <a:lnTo>
                  <a:pt x="219075" y="642529"/>
                </a:lnTo>
                <a:lnTo>
                  <a:pt x="219075" y="434655"/>
                </a:lnTo>
                <a:close/>
                <a:moveTo>
                  <a:pt x="323850" y="434655"/>
                </a:moveTo>
                <a:lnTo>
                  <a:pt x="381000" y="434655"/>
                </a:lnTo>
                <a:lnTo>
                  <a:pt x="381000" y="642529"/>
                </a:lnTo>
                <a:lnTo>
                  <a:pt x="323850" y="642529"/>
                </a:lnTo>
                <a:lnTo>
                  <a:pt x="323850" y="434655"/>
                </a:lnTo>
                <a:close/>
                <a:moveTo>
                  <a:pt x="400050" y="434655"/>
                </a:moveTo>
                <a:lnTo>
                  <a:pt x="485775" y="434655"/>
                </a:lnTo>
                <a:lnTo>
                  <a:pt x="485775" y="642529"/>
                </a:lnTo>
                <a:lnTo>
                  <a:pt x="400050" y="642529"/>
                </a:lnTo>
                <a:lnTo>
                  <a:pt x="400050" y="434655"/>
                </a:lnTo>
                <a:close/>
                <a:moveTo>
                  <a:pt x="76200" y="661426"/>
                </a:moveTo>
                <a:lnTo>
                  <a:pt x="628650" y="661426"/>
                </a:lnTo>
                <a:lnTo>
                  <a:pt x="628650" y="718119"/>
                </a:lnTo>
                <a:cubicBezTo>
                  <a:pt x="628651" y="723338"/>
                  <a:pt x="632914" y="727567"/>
                  <a:pt x="638175" y="727568"/>
                </a:cubicBezTo>
                <a:lnTo>
                  <a:pt x="685800" y="727568"/>
                </a:lnTo>
                <a:lnTo>
                  <a:pt x="685800" y="793710"/>
                </a:lnTo>
                <a:lnTo>
                  <a:pt x="19050" y="793710"/>
                </a:lnTo>
                <a:lnTo>
                  <a:pt x="19050" y="727568"/>
                </a:lnTo>
                <a:lnTo>
                  <a:pt x="66675" y="727568"/>
                </a:lnTo>
                <a:cubicBezTo>
                  <a:pt x="71936" y="727567"/>
                  <a:pt x="76199" y="723338"/>
                  <a:pt x="76200" y="718119"/>
                </a:cubicBezTo>
                <a:lnTo>
                  <a:pt x="76200" y="661426"/>
                </a:lnTo>
                <a:close/>
              </a:path>
            </a:pathLst>
          </a:custGeom>
          <a:solidFill>
            <a:schemeClr val="accent1"/>
          </a:solidFill>
          <a:ln w="19050" cap="flat">
            <a:noFill/>
            <a:prstDash val="solid"/>
            <a:miter/>
          </a:ln>
        </p:spPr>
        <p:txBody>
          <a:bodyPr rtlCol="0" anchor="ctr"/>
          <a:lstStyle/>
          <a:p>
            <a:endParaRPr lang="en-US"/>
          </a:p>
        </p:txBody>
      </p:sp>
      <p:pic>
        <p:nvPicPr>
          <p:cNvPr id="43" name="Graphic 42" descr="Electric car outline">
            <a:extLst>
              <a:ext uri="{FF2B5EF4-FFF2-40B4-BE49-F238E27FC236}">
                <a16:creationId xmlns:a16="http://schemas.microsoft.com/office/drawing/2014/main" id="{EC499355-579A-D54E-81E1-6314901BE6F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953177" y="1776918"/>
            <a:ext cx="858011" cy="858011"/>
          </a:xfrm>
          <a:prstGeom prst="rect">
            <a:avLst/>
          </a:prstGeom>
        </p:spPr>
      </p:pic>
      <p:pic>
        <p:nvPicPr>
          <p:cNvPr id="37" name="Picture 36" descr="Shape&#10;&#10;Description automatically generated with medium confidence">
            <a:extLst>
              <a:ext uri="{FF2B5EF4-FFF2-40B4-BE49-F238E27FC236}">
                <a16:creationId xmlns:a16="http://schemas.microsoft.com/office/drawing/2014/main" id="{3C4E8D20-EDF7-AE45-98E6-731FCBA8CED1}"/>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225517" y="2041469"/>
            <a:ext cx="1244958" cy="233046"/>
          </a:xfrm>
          <a:prstGeom prst="rect">
            <a:avLst/>
          </a:prstGeom>
        </p:spPr>
      </p:pic>
      <p:pic>
        <p:nvPicPr>
          <p:cNvPr id="44" name="Picture 43" descr="Logo&#10;&#10;Description automatically generated">
            <a:extLst>
              <a:ext uri="{FF2B5EF4-FFF2-40B4-BE49-F238E27FC236}">
                <a16:creationId xmlns:a16="http://schemas.microsoft.com/office/drawing/2014/main" id="{66E5E888-739A-D543-B086-21224614121E}"/>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8756934" y="3522014"/>
            <a:ext cx="713541" cy="402431"/>
          </a:xfrm>
          <a:prstGeom prst="rect">
            <a:avLst/>
          </a:prstGeom>
        </p:spPr>
      </p:pic>
      <p:pic>
        <p:nvPicPr>
          <p:cNvPr id="45" name="Picture 44">
            <a:extLst>
              <a:ext uri="{FF2B5EF4-FFF2-40B4-BE49-F238E27FC236}">
                <a16:creationId xmlns:a16="http://schemas.microsoft.com/office/drawing/2014/main" id="{5960D165-A270-7E44-A490-8C9C590AE753}"/>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8219287" y="2539684"/>
            <a:ext cx="1251188" cy="233046"/>
          </a:xfrm>
          <a:prstGeom prst="rect">
            <a:avLst/>
          </a:prstGeom>
        </p:spPr>
      </p:pic>
      <p:pic>
        <p:nvPicPr>
          <p:cNvPr id="46" name="Picture 45">
            <a:extLst>
              <a:ext uri="{FF2B5EF4-FFF2-40B4-BE49-F238E27FC236}">
                <a16:creationId xmlns:a16="http://schemas.microsoft.com/office/drawing/2014/main" id="{06112238-B6EE-1144-AF4B-91CDDA98F63B}"/>
              </a:ext>
            </a:extLst>
          </p:cNvPr>
          <p:cNvPicPr>
            <a:picLocks noChangeAspect="1"/>
          </p:cNvPicPr>
          <p:nvPr/>
        </p:nvPicPr>
        <p:blipFill>
          <a:blip r:embed="rId30"/>
          <a:stretch>
            <a:fillRect/>
          </a:stretch>
        </p:blipFill>
        <p:spPr>
          <a:xfrm>
            <a:off x="8169324" y="2915602"/>
            <a:ext cx="1301151" cy="468303"/>
          </a:xfrm>
          <a:prstGeom prst="rect">
            <a:avLst/>
          </a:prstGeom>
        </p:spPr>
      </p:pic>
    </p:spTree>
    <p:extLst>
      <p:ext uri="{BB962C8B-B14F-4D97-AF65-F5344CB8AC3E}">
        <p14:creationId xmlns:p14="http://schemas.microsoft.com/office/powerpoint/2010/main" val="33949021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1E2C1D7-A7EB-5F69-81C6-D5EEF843D63F}"/>
              </a:ext>
            </a:extLst>
          </p:cNvPr>
          <p:cNvGraphicFramePr>
            <a:graphicFrameLocks noChangeAspect="1"/>
          </p:cNvGraphicFramePr>
          <p:nvPr>
            <p:custDataLst>
              <p:tags r:id="rId1"/>
            </p:custDataLst>
            <p:extLst>
              <p:ext uri="{D42A27DB-BD31-4B8C-83A1-F6EECF244321}">
                <p14:modId xmlns:p14="http://schemas.microsoft.com/office/powerpoint/2010/main" val="4060226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01E2C1D7-A7EB-5F69-81C6-D5EEF843D6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961457FA-A13B-4A61-965F-DBB994056E15}"/>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98D0D54C-59A1-FAD2-0D1D-780162DCCD85}"/>
              </a:ext>
            </a:extLst>
          </p:cNvPr>
          <p:cNvSpPr>
            <a:spLocks noGrp="1"/>
          </p:cNvSpPr>
          <p:nvPr>
            <p:ph type="title"/>
          </p:nvPr>
        </p:nvSpPr>
        <p:spPr/>
        <p:txBody>
          <a:bodyPr/>
          <a:lstStyle/>
          <a:p>
            <a:endParaRPr lang="nl-NL"/>
          </a:p>
        </p:txBody>
      </p:sp>
      <p:sp>
        <p:nvSpPr>
          <p:cNvPr id="5" name="TextBox 4">
            <a:extLst>
              <a:ext uri="{FF2B5EF4-FFF2-40B4-BE49-F238E27FC236}">
                <a16:creationId xmlns:a16="http://schemas.microsoft.com/office/drawing/2014/main" id="{631874DA-197E-2741-BB8C-D2473E88B00B}"/>
              </a:ext>
            </a:extLst>
          </p:cNvPr>
          <p:cNvSpPr txBox="1"/>
          <p:nvPr/>
        </p:nvSpPr>
        <p:spPr>
          <a:xfrm>
            <a:off x="396000" y="1693352"/>
            <a:ext cx="4752470" cy="4737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3231" tIns="33231" rIns="33231" bIns="33231" rtlCol="0" anchor="t" anchorCtr="0">
            <a:noAutofit/>
          </a:bodyPr>
          <a:lstStyle/>
          <a:p>
            <a:pPr marL="158265" indent="-158265">
              <a:buClr>
                <a:schemeClr val="bg1"/>
              </a:buClr>
              <a:buSzPct val="130000"/>
              <a:buFont typeface="Wingdings" pitchFamily="2" charset="2"/>
              <a:buChar char="§"/>
            </a:pPr>
            <a:r>
              <a:rPr lang="en-US" sz="1050" dirty="0">
                <a:solidFill>
                  <a:schemeClr val="bg1"/>
                </a:solidFill>
                <a:latin typeface="Roboto" panose="02000000000000000000" pitchFamily="2" charset="0"/>
                <a:ea typeface="Roboto" panose="02000000000000000000" pitchFamily="2" charset="0"/>
                <a:cs typeface="Roboto" panose="02000000000000000000" pitchFamily="2" charset="0"/>
              </a:rPr>
              <a:t>[text to come]</a:t>
            </a:r>
          </a:p>
        </p:txBody>
      </p:sp>
    </p:spTree>
    <p:extLst>
      <p:ext uri="{BB962C8B-B14F-4D97-AF65-F5344CB8AC3E}">
        <p14:creationId xmlns:p14="http://schemas.microsoft.com/office/powerpoint/2010/main" val="290984863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person in a suit and tie&#10;&#10;Description automatically generated with medium confidence">
            <a:extLst>
              <a:ext uri="{FF2B5EF4-FFF2-40B4-BE49-F238E27FC236}">
                <a16:creationId xmlns:a16="http://schemas.microsoft.com/office/drawing/2014/main" id="{237EDF46-A48A-964C-A35F-5CE5B6F521B4}"/>
              </a:ext>
            </a:extLst>
          </p:cNvPr>
          <p:cNvPicPr>
            <a:picLocks noGrp="1" noChangeAspect="1"/>
          </p:cNvPicPr>
          <p:nvPr>
            <p:ph type="pic" sz="quarter" idx="10"/>
          </p:nvPr>
        </p:nvPicPr>
        <p:blipFill rotWithShape="1">
          <a:blip r:embed="rId2" cstate="print">
            <a:extLst>
              <a:ext uri="{28A0092B-C50C-407E-A947-70E740481C1C}">
                <a14:useLocalDpi xmlns:a14="http://schemas.microsoft.com/office/drawing/2010/main" val="0"/>
              </a:ext>
            </a:extLst>
          </a:blip>
          <a:srcRect l="12243" r="12243"/>
          <a:stretch/>
        </p:blipFill>
        <p:spPr>
          <a:xfrm>
            <a:off x="6891713" y="1993769"/>
            <a:ext cx="1865313" cy="2470150"/>
          </a:xfrm>
        </p:spPr>
      </p:pic>
      <p:sp>
        <p:nvSpPr>
          <p:cNvPr id="10" name="Text Placeholder 9">
            <a:extLst>
              <a:ext uri="{FF2B5EF4-FFF2-40B4-BE49-F238E27FC236}">
                <a16:creationId xmlns:a16="http://schemas.microsoft.com/office/drawing/2014/main" id="{1A0D825A-F58C-9745-AFAE-37FBCF280891}"/>
              </a:ext>
            </a:extLst>
          </p:cNvPr>
          <p:cNvSpPr>
            <a:spLocks noGrp="1"/>
          </p:cNvSpPr>
          <p:nvPr>
            <p:ph type="body" sz="quarter" idx="11"/>
          </p:nvPr>
        </p:nvSpPr>
        <p:spPr>
          <a:xfrm>
            <a:off x="6891338" y="4516813"/>
            <a:ext cx="2403475" cy="300970"/>
          </a:xfrm>
        </p:spPr>
        <p:txBody>
          <a:bodyPr/>
          <a:lstStyle/>
          <a:p>
            <a:r>
              <a:rPr lang="en-US" dirty="0"/>
              <a:t>Michael W. </a:t>
            </a:r>
            <a:r>
              <a:rPr lang="en-US" dirty="0" err="1"/>
              <a:t>Scherb</a:t>
            </a:r>
            <a:endParaRPr lang="en-US" dirty="0"/>
          </a:p>
        </p:txBody>
      </p:sp>
      <p:sp>
        <p:nvSpPr>
          <p:cNvPr id="11" name="Text Placeholder 10">
            <a:extLst>
              <a:ext uri="{FF2B5EF4-FFF2-40B4-BE49-F238E27FC236}">
                <a16:creationId xmlns:a16="http://schemas.microsoft.com/office/drawing/2014/main" id="{CE2DFB3C-0D5B-494C-A642-94A005096C84}"/>
              </a:ext>
            </a:extLst>
          </p:cNvPr>
          <p:cNvSpPr>
            <a:spLocks noGrp="1"/>
          </p:cNvSpPr>
          <p:nvPr>
            <p:ph type="body" sz="quarter" idx="12"/>
          </p:nvPr>
        </p:nvSpPr>
        <p:spPr>
          <a:xfrm>
            <a:off x="6891338" y="4780075"/>
            <a:ext cx="2403475" cy="300970"/>
          </a:xfrm>
        </p:spPr>
        <p:txBody>
          <a:bodyPr/>
          <a:lstStyle/>
          <a:p>
            <a:r>
              <a:rPr lang="en-US" dirty="0"/>
              <a:t>CEO and Founder Appian Capital</a:t>
            </a:r>
          </a:p>
        </p:txBody>
      </p:sp>
      <p:grpSp>
        <p:nvGrpSpPr>
          <p:cNvPr id="3" name="Group 2">
            <a:extLst>
              <a:ext uri="{FF2B5EF4-FFF2-40B4-BE49-F238E27FC236}">
                <a16:creationId xmlns:a16="http://schemas.microsoft.com/office/drawing/2014/main" id="{A8AA060C-4CC3-CF43-B18C-84B010943F74}"/>
              </a:ext>
            </a:extLst>
          </p:cNvPr>
          <p:cNvGrpSpPr/>
          <p:nvPr/>
        </p:nvGrpSpPr>
        <p:grpSpPr>
          <a:xfrm>
            <a:off x="490194" y="1234911"/>
            <a:ext cx="5326144" cy="4977352"/>
            <a:chOff x="37708" y="1366887"/>
            <a:chExt cx="5326144" cy="4977352"/>
          </a:xfrm>
        </p:grpSpPr>
        <p:sp>
          <p:nvSpPr>
            <p:cNvPr id="4" name="TextBox 3">
              <a:extLst>
                <a:ext uri="{FF2B5EF4-FFF2-40B4-BE49-F238E27FC236}">
                  <a16:creationId xmlns:a16="http://schemas.microsoft.com/office/drawing/2014/main" id="{C4E96575-255F-AE4C-8E17-6ED07CCA143C}"/>
                </a:ext>
              </a:extLst>
            </p:cNvPr>
            <p:cNvSpPr txBox="1"/>
            <p:nvPr userDrawn="1"/>
          </p:nvSpPr>
          <p:spPr>
            <a:xfrm>
              <a:off x="848412" y="1385741"/>
              <a:ext cx="4515440" cy="44871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l">
                <a:lnSpc>
                  <a:spcPts val="2800"/>
                </a:lnSpc>
              </a:pPr>
              <a:r>
                <a:rPr lang="en-US" sz="2000" dirty="0">
                  <a:solidFill>
                    <a:schemeClr val="bg1"/>
                  </a:solidFill>
                  <a:latin typeface="Roboto Thin" panose="02000000000000000000" pitchFamily="2" charset="0"/>
                  <a:ea typeface="Roboto Thin" panose="02000000000000000000" pitchFamily="2" charset="0"/>
                  <a:cs typeface="Roboto Thin" panose="02000000000000000000" pitchFamily="2" charset="0"/>
                </a:rPr>
                <a:t>The mismatch in our sector is driven by a long lead time capital intensive industry being backed by short-term, almost VC-type capital which expects good news every month or quarter. This creates some of the inherent cyclicality and doesn’t provide management teams with enough time to carry out through-the-cycle strategy.</a:t>
              </a:r>
            </a:p>
          </p:txBody>
        </p:sp>
        <p:sp>
          <p:nvSpPr>
            <p:cNvPr id="5" name="TextBox 4">
              <a:extLst>
                <a:ext uri="{FF2B5EF4-FFF2-40B4-BE49-F238E27FC236}">
                  <a16:creationId xmlns:a16="http://schemas.microsoft.com/office/drawing/2014/main" id="{4DBFB3AD-0664-C944-80F2-870E337D2534}"/>
                </a:ext>
              </a:extLst>
            </p:cNvPr>
            <p:cNvSpPr txBox="1"/>
            <p:nvPr userDrawn="1"/>
          </p:nvSpPr>
          <p:spPr>
            <a:xfrm>
              <a:off x="37708" y="1366887"/>
              <a:ext cx="1112363" cy="15177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6600" i="1" dirty="0">
                  <a:solidFill>
                    <a:schemeClr val="bg1"/>
                  </a:solidFill>
                  <a:latin typeface="ROBOTO BLACK" panose="02000000000000000000" pitchFamily="2" charset="0"/>
                  <a:ea typeface="ROBOTO BLACK" panose="02000000000000000000" pitchFamily="2" charset="0"/>
                  <a:cs typeface="ROBOTO BLACK" panose="02000000000000000000" pitchFamily="2" charset="0"/>
                </a:rPr>
                <a:t>”</a:t>
              </a:r>
            </a:p>
          </p:txBody>
        </p:sp>
        <p:sp>
          <p:nvSpPr>
            <p:cNvPr id="6" name="TextBox 5">
              <a:extLst>
                <a:ext uri="{FF2B5EF4-FFF2-40B4-BE49-F238E27FC236}">
                  <a16:creationId xmlns:a16="http://schemas.microsoft.com/office/drawing/2014/main" id="{335B1549-DC84-F843-BF80-A480375485B6}"/>
                </a:ext>
              </a:extLst>
            </p:cNvPr>
            <p:cNvSpPr txBox="1"/>
            <p:nvPr userDrawn="1"/>
          </p:nvSpPr>
          <p:spPr>
            <a:xfrm>
              <a:off x="2699993" y="4826523"/>
              <a:ext cx="1112363" cy="15177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6600" i="1" dirty="0">
                  <a:solidFill>
                    <a:schemeClr val="bg1"/>
                  </a:solidFill>
                  <a:latin typeface="ROBOTO BLACK" panose="02000000000000000000" pitchFamily="2" charset="0"/>
                  <a:ea typeface="ROBOTO BLACK" panose="02000000000000000000" pitchFamily="2" charset="0"/>
                  <a:cs typeface="ROBOTO BLACK" panose="02000000000000000000" pitchFamily="2" charset="0"/>
                </a:rPr>
                <a:t>”</a:t>
              </a:r>
            </a:p>
          </p:txBody>
        </p:sp>
      </p:grpSp>
    </p:spTree>
    <p:extLst>
      <p:ext uri="{BB962C8B-B14F-4D97-AF65-F5344CB8AC3E}">
        <p14:creationId xmlns:p14="http://schemas.microsoft.com/office/powerpoint/2010/main" val="32492429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919ED2A6-6344-D2D9-4EEC-D9832D8AA40B}"/>
              </a:ext>
            </a:extLst>
          </p:cNvPr>
          <p:cNvSpPr>
            <a:spLocks noGrp="1"/>
          </p:cNvSpPr>
          <p:nvPr>
            <p:ph type="pic" sz="quarter" idx="10"/>
          </p:nvPr>
        </p:nvSpPr>
        <p:spPr/>
        <p:txBody>
          <a:bodyPr/>
          <a:lstStyle/>
          <a:p>
            <a:endParaRPr lang="nl-NL"/>
          </a:p>
        </p:txBody>
      </p:sp>
      <p:pic>
        <p:nvPicPr>
          <p:cNvPr id="5" name="Picture 4">
            <a:extLst>
              <a:ext uri="{FF2B5EF4-FFF2-40B4-BE49-F238E27FC236}">
                <a16:creationId xmlns:a16="http://schemas.microsoft.com/office/drawing/2014/main" id="{B71930DA-8A2D-5BAD-55E7-E5D6F3C74AA9}"/>
              </a:ext>
            </a:extLst>
          </p:cNvPr>
          <p:cNvPicPr>
            <a:picLocks noChangeAspect="1"/>
          </p:cNvPicPr>
          <p:nvPr/>
        </p:nvPicPr>
        <p:blipFill>
          <a:blip r:embed="rId3"/>
          <a:srcRect l="34891"/>
          <a:stretch>
            <a:fillRect/>
          </a:stretch>
        </p:blipFill>
        <p:spPr>
          <a:xfrm>
            <a:off x="0" y="0"/>
            <a:ext cx="6693030" cy="6857998"/>
          </a:xfrm>
          <a:custGeom>
            <a:avLst/>
            <a:gdLst>
              <a:gd name="connsiteX0" fmla="*/ 0 w 6693030"/>
              <a:gd name="connsiteY0" fmla="*/ 0 h 6857998"/>
              <a:gd name="connsiteX1" fmla="*/ 6693030 w 6693030"/>
              <a:gd name="connsiteY1" fmla="*/ 0 h 6857998"/>
              <a:gd name="connsiteX2" fmla="*/ 6693030 w 6693030"/>
              <a:gd name="connsiteY2" fmla="*/ 6857998 h 6857998"/>
              <a:gd name="connsiteX3" fmla="*/ 0 w 6693030"/>
              <a:gd name="connsiteY3" fmla="*/ 6857998 h 6857998"/>
            </a:gdLst>
            <a:ahLst/>
            <a:cxnLst>
              <a:cxn ang="0">
                <a:pos x="connsiteX0" y="connsiteY0"/>
              </a:cxn>
              <a:cxn ang="0">
                <a:pos x="connsiteX1" y="connsiteY1"/>
              </a:cxn>
              <a:cxn ang="0">
                <a:pos x="connsiteX2" y="connsiteY2"/>
              </a:cxn>
              <a:cxn ang="0">
                <a:pos x="connsiteX3" y="connsiteY3"/>
              </a:cxn>
            </a:cxnLst>
            <a:rect l="l" t="t" r="r" b="b"/>
            <a:pathLst>
              <a:path w="6693030" h="6857998">
                <a:moveTo>
                  <a:pt x="0" y="0"/>
                </a:moveTo>
                <a:lnTo>
                  <a:pt x="6693030" y="0"/>
                </a:lnTo>
                <a:lnTo>
                  <a:pt x="6693030" y="6857998"/>
                </a:lnTo>
                <a:lnTo>
                  <a:pt x="0" y="6857998"/>
                </a:lnTo>
                <a:close/>
              </a:path>
            </a:pathLst>
          </a:custGeom>
        </p:spPr>
      </p:pic>
      <p:sp>
        <p:nvSpPr>
          <p:cNvPr id="12" name="Text Placeholder 11">
            <a:extLst>
              <a:ext uri="{FF2B5EF4-FFF2-40B4-BE49-F238E27FC236}">
                <a16:creationId xmlns:a16="http://schemas.microsoft.com/office/drawing/2014/main" id="{45CC7CC8-EDA2-2D60-9761-879982CCD379}"/>
              </a:ext>
            </a:extLst>
          </p:cNvPr>
          <p:cNvSpPr>
            <a:spLocks noGrp="1"/>
          </p:cNvSpPr>
          <p:nvPr>
            <p:ph type="body" sz="quarter" idx="11"/>
          </p:nvPr>
        </p:nvSpPr>
        <p:spPr/>
        <p:txBody>
          <a:bodyPr/>
          <a:lstStyle/>
          <a:p>
            <a:endParaRPr lang="nl-NL"/>
          </a:p>
        </p:txBody>
      </p:sp>
      <p:sp>
        <p:nvSpPr>
          <p:cNvPr id="14" name="Text Placeholder 13">
            <a:extLst>
              <a:ext uri="{FF2B5EF4-FFF2-40B4-BE49-F238E27FC236}">
                <a16:creationId xmlns:a16="http://schemas.microsoft.com/office/drawing/2014/main" id="{C85EFF4C-4805-0162-49CA-67EC9FAEA0DA}"/>
              </a:ext>
            </a:extLst>
          </p:cNvPr>
          <p:cNvSpPr>
            <a:spLocks noGrp="1"/>
          </p:cNvSpPr>
          <p:nvPr>
            <p:ph type="body" sz="quarter" idx="13"/>
          </p:nvPr>
        </p:nvSpPr>
        <p:spPr/>
        <p:txBody>
          <a:bodyPr/>
          <a:lstStyle/>
          <a:p>
            <a:endParaRPr lang="nl-NL"/>
          </a:p>
        </p:txBody>
      </p:sp>
    </p:spTree>
    <p:extLst>
      <p:ext uri="{BB962C8B-B14F-4D97-AF65-F5344CB8AC3E}">
        <p14:creationId xmlns:p14="http://schemas.microsoft.com/office/powerpoint/2010/main" val="30144160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4C46002-1C11-334D-88C7-1355DD26D3A8}"/>
              </a:ext>
            </a:extLst>
          </p:cNvPr>
          <p:cNvSpPr>
            <a:spLocks noGrp="1"/>
          </p:cNvSpPr>
          <p:nvPr>
            <p:ph sz="quarter" idx="10"/>
          </p:nvPr>
        </p:nvSpPr>
        <p:spPr/>
        <p:txBody>
          <a:bodyPr/>
          <a:lstStyle/>
          <a:p>
            <a:pPr>
              <a:spcAft>
                <a:spcPts val="1200"/>
              </a:spcAft>
            </a:pPr>
            <a:endParaRPr lang="en-US" dirty="0"/>
          </a:p>
        </p:txBody>
      </p:sp>
    </p:spTree>
    <p:extLst>
      <p:ext uri="{BB962C8B-B14F-4D97-AF65-F5344CB8AC3E}">
        <p14:creationId xmlns:p14="http://schemas.microsoft.com/office/powerpoint/2010/main" val="16554730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70FC5E0-AADB-A24D-8A55-C89B59D26CAA}"/>
              </a:ext>
            </a:extLst>
          </p:cNvPr>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9298279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A984485-0AAD-1A67-AA82-047C01D2F6F3}"/>
              </a:ext>
            </a:extLst>
          </p:cNvPr>
          <p:cNvGraphicFramePr>
            <a:graphicFrameLocks noChangeAspect="1"/>
          </p:cNvGraphicFramePr>
          <p:nvPr>
            <p:custDataLst>
              <p:tags r:id="rId1"/>
            </p:custDataLst>
            <p:extLst>
              <p:ext uri="{D42A27DB-BD31-4B8C-83A1-F6EECF244321}">
                <p14:modId xmlns:p14="http://schemas.microsoft.com/office/powerpoint/2010/main" val="1158924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1A984485-0AAD-1A67-AA82-047C01D2F6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 Placeholder 8">
            <a:extLst>
              <a:ext uri="{FF2B5EF4-FFF2-40B4-BE49-F238E27FC236}">
                <a16:creationId xmlns:a16="http://schemas.microsoft.com/office/drawing/2014/main" id="{EE0D9CBB-8D3B-2C40-B8C5-3DE3ABE202D7}"/>
              </a:ext>
            </a:extLst>
          </p:cNvPr>
          <p:cNvSpPr>
            <a:spLocks noGrp="1"/>
          </p:cNvSpPr>
          <p:nvPr>
            <p:ph type="body" sz="quarter" idx="27"/>
          </p:nvPr>
        </p:nvSpPr>
        <p:spPr/>
        <p:txBody>
          <a:bodyPr/>
          <a:lstStyle/>
          <a:p>
            <a:r>
              <a:rPr lang="en-US" dirty="0"/>
              <a:t>Note:</a:t>
            </a:r>
          </a:p>
          <a:p>
            <a:r>
              <a:rPr lang="en-US" dirty="0"/>
              <a:t>1.  Notes are Roboto Light, 6pt. If no space for more notes underneath, then separate notes by using a semi-colon</a:t>
            </a:r>
          </a:p>
        </p:txBody>
      </p:sp>
      <p:sp>
        <p:nvSpPr>
          <p:cNvPr id="2" name="Content Placeholder 1">
            <a:extLst>
              <a:ext uri="{FF2B5EF4-FFF2-40B4-BE49-F238E27FC236}">
                <a16:creationId xmlns:a16="http://schemas.microsoft.com/office/drawing/2014/main" id="{A0792B82-5431-4CEE-A5DF-ABD5E17D8D1C}"/>
              </a:ext>
            </a:extLst>
          </p:cNvPr>
          <p:cNvSpPr>
            <a:spLocks noGrp="1"/>
          </p:cNvSpPr>
          <p:nvPr>
            <p:ph sz="quarter" idx="31"/>
          </p:nvPr>
        </p:nvSpPr>
        <p:spPr/>
        <p:txBody>
          <a:bodyPr/>
          <a:lstStyle/>
          <a:p>
            <a:r>
              <a:rPr lang="en-US" dirty="0"/>
              <a:t>First bullet</a:t>
            </a:r>
          </a:p>
          <a:p>
            <a:pPr lvl="1"/>
            <a:r>
              <a:rPr lang="en-US" dirty="0"/>
              <a:t>Second bullet</a:t>
            </a:r>
          </a:p>
          <a:p>
            <a:pPr lvl="2"/>
            <a:r>
              <a:rPr lang="en-US" dirty="0"/>
              <a:t>Third bullet</a:t>
            </a:r>
          </a:p>
          <a:p>
            <a:pPr lvl="3"/>
            <a:r>
              <a:rPr lang="en-US" dirty="0"/>
              <a:t>Fourth bullet</a:t>
            </a:r>
          </a:p>
        </p:txBody>
      </p:sp>
      <p:sp>
        <p:nvSpPr>
          <p:cNvPr id="6" name="Text Placeholder 5">
            <a:extLst>
              <a:ext uri="{FF2B5EF4-FFF2-40B4-BE49-F238E27FC236}">
                <a16:creationId xmlns:a16="http://schemas.microsoft.com/office/drawing/2014/main" id="{894930D7-244F-414F-A4E7-2C8BCD7C54F4}"/>
              </a:ext>
            </a:extLst>
          </p:cNvPr>
          <p:cNvSpPr>
            <a:spLocks noGrp="1"/>
          </p:cNvSpPr>
          <p:nvPr>
            <p:ph type="body" sz="quarter" idx="10"/>
          </p:nvPr>
        </p:nvSpPr>
        <p:spPr/>
        <p:txBody>
          <a:bodyPr/>
          <a:lstStyle/>
          <a:p>
            <a:r>
              <a:rPr lang="en-US" dirty="0"/>
              <a:t>Subheading goes here, black, 12pt</a:t>
            </a:r>
          </a:p>
        </p:txBody>
      </p:sp>
      <p:sp>
        <p:nvSpPr>
          <p:cNvPr id="8" name="Text Placeholder 7">
            <a:extLst>
              <a:ext uri="{FF2B5EF4-FFF2-40B4-BE49-F238E27FC236}">
                <a16:creationId xmlns:a16="http://schemas.microsoft.com/office/drawing/2014/main" id="{D07E0246-1442-284B-B913-8245DFF13A41}"/>
              </a:ext>
            </a:extLst>
          </p:cNvPr>
          <p:cNvSpPr>
            <a:spLocks noGrp="1"/>
          </p:cNvSpPr>
          <p:nvPr>
            <p:ph type="body" sz="quarter" idx="24"/>
          </p:nvPr>
        </p:nvSpPr>
        <p:spPr/>
        <p:txBody>
          <a:bodyPr/>
          <a:lstStyle/>
          <a:p>
            <a:r>
              <a:rPr lang="en-US" dirty="0"/>
              <a:t>Heading Roboto Medium, 10pt</a:t>
            </a:r>
          </a:p>
        </p:txBody>
      </p:sp>
      <p:sp>
        <p:nvSpPr>
          <p:cNvPr id="5" name="Title 4">
            <a:extLst>
              <a:ext uri="{FF2B5EF4-FFF2-40B4-BE49-F238E27FC236}">
                <a16:creationId xmlns:a16="http://schemas.microsoft.com/office/drawing/2014/main" id="{AC4453E9-4E8B-094B-8B18-EE2014EB2097}"/>
              </a:ext>
            </a:extLst>
          </p:cNvPr>
          <p:cNvSpPr>
            <a:spLocks noGrp="1"/>
          </p:cNvSpPr>
          <p:nvPr>
            <p:ph type="title"/>
          </p:nvPr>
        </p:nvSpPr>
        <p:spPr/>
        <p:txBody>
          <a:bodyPr vert="horz"/>
          <a:lstStyle/>
          <a:p>
            <a:r>
              <a:rPr lang="en-US" dirty="0"/>
              <a:t>Title goes here</a:t>
            </a:r>
          </a:p>
        </p:txBody>
      </p:sp>
      <p:sp>
        <p:nvSpPr>
          <p:cNvPr id="10" name="Rectangle 9">
            <a:extLst>
              <a:ext uri="{FF2B5EF4-FFF2-40B4-BE49-F238E27FC236}">
                <a16:creationId xmlns:a16="http://schemas.microsoft.com/office/drawing/2014/main" id="{2D1C9E32-2134-FD44-8116-D365B647C635}"/>
              </a:ext>
            </a:extLst>
          </p:cNvPr>
          <p:cNvSpPr/>
          <p:nvPr/>
        </p:nvSpPr>
        <p:spPr>
          <a:xfrm>
            <a:off x="7663858" y="1670882"/>
            <a:ext cx="1962493" cy="4770537"/>
          </a:xfrm>
          <a:prstGeom prst="rect">
            <a:avLst/>
          </a:prstGeom>
        </p:spPr>
        <p:txBody>
          <a:bodyPr wrap="square">
            <a:spAutoFit/>
          </a:bodyPr>
          <a:lstStyle/>
          <a:p>
            <a:pPr marL="12700" marR="5080" lvl="0" algn="r" defTabSz="457200">
              <a:defRPr/>
            </a:pPr>
            <a:r>
              <a:rPr lang="en-US" sz="1600" dirty="0">
                <a:solidFill>
                  <a:schemeClr val="accent6"/>
                </a:solidFill>
                <a:latin typeface="+mj-lt"/>
                <a:ea typeface="Roboto Thin" panose="02000000000000000000" pitchFamily="2" charset="0"/>
                <a:cs typeface="Roboto Thin" panose="02000000000000000000" pitchFamily="2" charset="0"/>
              </a:rPr>
              <a:t>Statement of outcome</a:t>
            </a:r>
          </a:p>
          <a:p>
            <a:pPr marL="12700" marR="5080" algn="r" defTabSz="457200">
              <a:defRPr/>
            </a:pPr>
            <a:r>
              <a:rPr lang="en-US" sz="1600" dirty="0">
                <a:solidFill>
                  <a:schemeClr val="accent6"/>
                </a:solidFill>
                <a:latin typeface="+mj-lt"/>
                <a:ea typeface="Roboto Thin" panose="02000000000000000000" pitchFamily="2" charset="0"/>
                <a:cs typeface="Roboto Thin" panose="02000000000000000000" pitchFamily="2" charset="0"/>
              </a:rPr>
              <a:t>Roboto Thin, </a:t>
            </a:r>
            <a:br>
              <a:rPr lang="en-US" sz="1600" dirty="0">
                <a:solidFill>
                  <a:schemeClr val="accent6"/>
                </a:solidFill>
                <a:latin typeface="+mj-lt"/>
                <a:ea typeface="Roboto Thin" panose="02000000000000000000" pitchFamily="2" charset="0"/>
                <a:cs typeface="Roboto Thin" panose="02000000000000000000" pitchFamily="2" charset="0"/>
              </a:rPr>
            </a:br>
            <a:r>
              <a:rPr lang="en-US" sz="1600" dirty="0">
                <a:solidFill>
                  <a:schemeClr val="accent6"/>
                </a:solidFill>
                <a:latin typeface="+mj-lt"/>
                <a:ea typeface="Roboto Thin" panose="02000000000000000000" pitchFamily="2" charset="0"/>
                <a:cs typeface="Roboto Thin" panose="02000000000000000000" pitchFamily="2" charset="0"/>
              </a:rPr>
              <a:t>Bold, 16pt</a:t>
            </a:r>
          </a:p>
          <a:p>
            <a:pPr marL="12700" marR="5080" lvl="0" algn="r" defTabSz="457200">
              <a:defRPr/>
            </a:pPr>
            <a:r>
              <a:rPr lang="en-US" sz="1600" dirty="0">
                <a:solidFill>
                  <a:schemeClr val="accent6"/>
                </a:solidFill>
                <a:latin typeface="+mj-lt"/>
                <a:ea typeface="Roboto Thin" panose="02000000000000000000" pitchFamily="2" charset="0"/>
                <a:cs typeface="Roboto Thin" panose="02000000000000000000" pitchFamily="2" charset="0"/>
              </a:rPr>
              <a:t>Use this area to highlight your driver / the result of the slide. Keep this statement short </a:t>
            </a:r>
            <a:br>
              <a:rPr lang="en-US" sz="1600" dirty="0">
                <a:solidFill>
                  <a:schemeClr val="accent6"/>
                </a:solidFill>
                <a:latin typeface="+mj-lt"/>
                <a:ea typeface="Roboto Thin" panose="02000000000000000000" pitchFamily="2" charset="0"/>
                <a:cs typeface="Roboto Thin" panose="02000000000000000000" pitchFamily="2" charset="0"/>
              </a:rPr>
            </a:br>
            <a:r>
              <a:rPr lang="en-US" sz="1600" dirty="0">
                <a:solidFill>
                  <a:schemeClr val="accent6"/>
                </a:solidFill>
                <a:latin typeface="+mj-lt"/>
                <a:ea typeface="Roboto Thin" panose="02000000000000000000" pitchFamily="2" charset="0"/>
                <a:cs typeface="Roboto Thin" panose="02000000000000000000" pitchFamily="2" charset="0"/>
              </a:rPr>
              <a:t>and powerful.</a:t>
            </a:r>
          </a:p>
          <a:p>
            <a:pPr marL="12700" marR="5080" lvl="0" algn="r" defTabSz="457200">
              <a:defRPr/>
            </a:pPr>
            <a:r>
              <a:rPr lang="en-US" sz="1600" dirty="0">
                <a:solidFill>
                  <a:schemeClr val="accent6"/>
                </a:solidFill>
                <a:latin typeface="+mj-lt"/>
                <a:ea typeface="Roboto Thin" panose="02000000000000000000" pitchFamily="2" charset="0"/>
                <a:cs typeface="Roboto Thin" panose="02000000000000000000" pitchFamily="2" charset="0"/>
              </a:rPr>
              <a:t>You can copy this box onto any other page. Or move to left hand side of page. Change to left aligned text.</a:t>
            </a:r>
          </a:p>
          <a:p>
            <a:pPr marL="12700" marR="5080" lvl="0" algn="r" defTabSz="457200">
              <a:defRPr/>
            </a:pPr>
            <a:r>
              <a:rPr lang="en-US" sz="1600" dirty="0">
                <a:solidFill>
                  <a:schemeClr val="accent6"/>
                </a:solidFill>
                <a:latin typeface="+mj-lt"/>
                <a:ea typeface="Roboto Thin" panose="02000000000000000000" pitchFamily="2" charset="0"/>
                <a:cs typeface="Roboto Thin" panose="02000000000000000000" pitchFamily="2" charset="0"/>
              </a:rPr>
              <a:t>Delete box if </a:t>
            </a:r>
            <a:br>
              <a:rPr lang="en-US" sz="1600" dirty="0">
                <a:solidFill>
                  <a:schemeClr val="accent6"/>
                </a:solidFill>
                <a:latin typeface="+mj-lt"/>
                <a:ea typeface="Roboto Thin" panose="02000000000000000000" pitchFamily="2" charset="0"/>
                <a:cs typeface="Roboto Thin" panose="02000000000000000000" pitchFamily="2" charset="0"/>
              </a:rPr>
            </a:br>
            <a:r>
              <a:rPr lang="en-US" sz="1600" dirty="0">
                <a:solidFill>
                  <a:schemeClr val="accent6"/>
                </a:solidFill>
                <a:latin typeface="+mj-lt"/>
                <a:ea typeface="Roboto Thin" panose="02000000000000000000" pitchFamily="2" charset="0"/>
                <a:cs typeface="Roboto Thin" panose="02000000000000000000" pitchFamily="2" charset="0"/>
              </a:rPr>
              <a:t>not required</a:t>
            </a:r>
          </a:p>
          <a:p>
            <a:pPr marL="12700" marR="5080" lvl="0" algn="r" defTabSz="457200">
              <a:defRPr/>
            </a:pPr>
            <a:endParaRPr lang="en-US" sz="1600" dirty="0">
              <a:solidFill>
                <a:schemeClr val="accent6"/>
              </a:solidFill>
              <a:latin typeface="+mj-lt"/>
              <a:ea typeface="Roboto Thin" panose="02000000000000000000" pitchFamily="2" charset="0"/>
              <a:cs typeface="Roboto Thin" panose="02000000000000000000" pitchFamily="2" charset="0"/>
            </a:endParaRPr>
          </a:p>
        </p:txBody>
      </p:sp>
    </p:spTree>
    <p:extLst>
      <p:ext uri="{BB962C8B-B14F-4D97-AF65-F5344CB8AC3E}">
        <p14:creationId xmlns:p14="http://schemas.microsoft.com/office/powerpoint/2010/main" val="3346841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70FC5E0-AADB-A24D-8A55-C89B59D26CAA}"/>
              </a:ext>
            </a:extLst>
          </p:cNvPr>
          <p:cNvSpPr>
            <a:spLocks noGrp="1"/>
          </p:cNvSpPr>
          <p:nvPr>
            <p:ph type="body" sz="quarter" idx="10"/>
          </p:nvPr>
        </p:nvSpPr>
        <p:spPr/>
        <p:txBody>
          <a:bodyPr/>
          <a:lstStyle/>
          <a:p>
            <a:r>
              <a:rPr lang="en-US" dirty="0"/>
              <a:t>Chart examples</a:t>
            </a:r>
          </a:p>
        </p:txBody>
      </p:sp>
    </p:spTree>
    <p:extLst>
      <p:ext uri="{BB962C8B-B14F-4D97-AF65-F5344CB8AC3E}">
        <p14:creationId xmlns:p14="http://schemas.microsoft.com/office/powerpoint/2010/main" val="38867843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29EF140-EEBA-85DC-E8B3-CEE6DDBC520F}"/>
              </a:ext>
            </a:extLst>
          </p:cNvPr>
          <p:cNvGraphicFramePr>
            <a:graphicFrameLocks noChangeAspect="1"/>
          </p:cNvGraphicFramePr>
          <p:nvPr>
            <p:custDataLst>
              <p:tags r:id="rId1"/>
            </p:custDataLst>
            <p:extLst>
              <p:ext uri="{D42A27DB-BD31-4B8C-83A1-F6EECF244321}">
                <p14:modId xmlns:p14="http://schemas.microsoft.com/office/powerpoint/2010/main" val="2295695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think-cell data - do not delete" hidden="1">
                        <a:extLst>
                          <a:ext uri="{FF2B5EF4-FFF2-40B4-BE49-F238E27FC236}">
                            <a16:creationId xmlns:a16="http://schemas.microsoft.com/office/drawing/2014/main" id="{F29EF140-EEBA-85DC-E8B3-CEE6DDBC52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Text Placeholder 27">
            <a:extLst>
              <a:ext uri="{FF2B5EF4-FFF2-40B4-BE49-F238E27FC236}">
                <a16:creationId xmlns:a16="http://schemas.microsoft.com/office/drawing/2014/main" id="{209D02C3-536C-C840-BE45-1D815E406FD9}"/>
              </a:ext>
            </a:extLst>
          </p:cNvPr>
          <p:cNvSpPr>
            <a:spLocks noGrp="1"/>
          </p:cNvSpPr>
          <p:nvPr>
            <p:ph type="body" sz="quarter" idx="10"/>
          </p:nvPr>
        </p:nvSpPr>
        <p:spPr/>
        <p:txBody>
          <a:bodyPr/>
          <a:lstStyle/>
          <a:p>
            <a:r>
              <a:rPr lang="en-US" dirty="0"/>
              <a:t>Preferably embed the </a:t>
            </a:r>
            <a:r>
              <a:rPr lang="en-US" dirty="0" err="1"/>
              <a:t>xls</a:t>
            </a:r>
            <a:r>
              <a:rPr lang="en-US" dirty="0"/>
              <a:t> data in the PPT slide</a:t>
            </a:r>
          </a:p>
        </p:txBody>
      </p:sp>
      <p:sp>
        <p:nvSpPr>
          <p:cNvPr id="3" name="Title 2">
            <a:extLst>
              <a:ext uri="{FF2B5EF4-FFF2-40B4-BE49-F238E27FC236}">
                <a16:creationId xmlns:a16="http://schemas.microsoft.com/office/drawing/2014/main" id="{26F52ABF-064E-43AF-A6A2-827750A7CFEC}"/>
              </a:ext>
            </a:extLst>
          </p:cNvPr>
          <p:cNvSpPr>
            <a:spLocks noGrp="1"/>
          </p:cNvSpPr>
          <p:nvPr>
            <p:ph type="title"/>
          </p:nvPr>
        </p:nvSpPr>
        <p:spPr/>
        <p:txBody>
          <a:bodyPr vert="horz"/>
          <a:lstStyle/>
          <a:p>
            <a:r>
              <a:rPr lang="en-US" dirty="0"/>
              <a:t>Column chart</a:t>
            </a:r>
          </a:p>
        </p:txBody>
      </p:sp>
      <p:sp>
        <p:nvSpPr>
          <p:cNvPr id="8" name="Text Placeholder 7">
            <a:extLst>
              <a:ext uri="{FF2B5EF4-FFF2-40B4-BE49-F238E27FC236}">
                <a16:creationId xmlns:a16="http://schemas.microsoft.com/office/drawing/2014/main" id="{FC647A5F-4B7A-9FAB-8216-1C041EEE663E}"/>
              </a:ext>
            </a:extLst>
          </p:cNvPr>
          <p:cNvSpPr>
            <a:spLocks noGrp="1"/>
          </p:cNvSpPr>
          <p:nvPr>
            <p:ph type="body" sz="quarter" idx="27"/>
          </p:nvPr>
        </p:nvSpPr>
        <p:spPr/>
        <p:txBody>
          <a:bodyPr/>
          <a:lstStyle/>
          <a:p>
            <a:endParaRPr lang="nl-NL"/>
          </a:p>
        </p:txBody>
      </p:sp>
      <p:graphicFrame>
        <p:nvGraphicFramePr>
          <p:cNvPr id="6" name="Content Placeholder 8">
            <a:extLst>
              <a:ext uri="{FF2B5EF4-FFF2-40B4-BE49-F238E27FC236}">
                <a16:creationId xmlns:a16="http://schemas.microsoft.com/office/drawing/2014/main" id="{75023A9B-431B-445F-9FE0-EBA3358F9F5D}"/>
              </a:ext>
            </a:extLst>
          </p:cNvPr>
          <p:cNvGraphicFramePr>
            <a:graphicFrameLocks/>
          </p:cNvGraphicFramePr>
          <p:nvPr>
            <p:extLst>
              <p:ext uri="{D42A27DB-BD31-4B8C-83A1-F6EECF244321}">
                <p14:modId xmlns:p14="http://schemas.microsoft.com/office/powerpoint/2010/main" val="3438020279"/>
              </p:ext>
            </p:extLst>
          </p:nvPr>
        </p:nvGraphicFramePr>
        <p:xfrm>
          <a:off x="393700" y="1376363"/>
          <a:ext cx="9131300" cy="4859337"/>
        </p:xfrm>
        <a:graphic>
          <a:graphicData uri="http://schemas.openxmlformats.org/drawingml/2006/chart">
            <c:chart xmlns:c="http://schemas.openxmlformats.org/drawingml/2006/chart" xmlns:r="http://schemas.openxmlformats.org/officeDocument/2006/relationships" r:id="rId6"/>
          </a:graphicData>
        </a:graphic>
      </p:graphicFrame>
      <p:sp>
        <p:nvSpPr>
          <p:cNvPr id="7" name="Rectangle 6">
            <a:extLst>
              <a:ext uri="{FF2B5EF4-FFF2-40B4-BE49-F238E27FC236}">
                <a16:creationId xmlns:a16="http://schemas.microsoft.com/office/drawing/2014/main" id="{1AE60CE8-27B9-FA46-87F2-814FB01F30A5}"/>
              </a:ext>
            </a:extLst>
          </p:cNvPr>
          <p:cNvSpPr/>
          <p:nvPr/>
        </p:nvSpPr>
        <p:spPr>
          <a:xfrm>
            <a:off x="10660965" y="2607501"/>
            <a:ext cx="1385887" cy="923330"/>
          </a:xfrm>
          <a:prstGeom prst="rect">
            <a:avLst/>
          </a:prstGeom>
          <a:solidFill>
            <a:schemeClr val="bg2"/>
          </a:solidFill>
        </p:spPr>
        <p:txBody>
          <a:bodyPr wrap="square">
            <a:spAutoFit/>
          </a:bodyPr>
          <a:lstStyle/>
          <a:p>
            <a:pPr>
              <a:spcAft>
                <a:spcPts val="0"/>
              </a:spcAft>
            </a:pPr>
            <a:r>
              <a:rPr lang="en-GB" sz="900" cap="all" baseline="0" dirty="0">
                <a:solidFill>
                  <a:schemeClr val="accent1"/>
                </a:solidFill>
                <a:latin typeface="Roboto Light" panose="02000000000000000000" pitchFamily="2" charset="0"/>
                <a:ea typeface="Roboto Light" panose="02000000000000000000" pitchFamily="2" charset="0"/>
                <a:cs typeface="Arial" panose="020B0604020202020204" pitchFamily="34" charset="0"/>
              </a:rPr>
              <a:t>NO axis lines</a:t>
            </a:r>
          </a:p>
          <a:p>
            <a:pPr marL="90488" indent="-90488">
              <a:spcAft>
                <a:spcPts val="0"/>
              </a:spcAft>
              <a:buFont typeface="Wingdings" pitchFamily="2" charset="2"/>
              <a:buChar char="§"/>
            </a:pPr>
            <a:r>
              <a:rPr lang="en-GB" sz="900" dirty="0">
                <a:latin typeface="Roboto Light" panose="02000000000000000000" pitchFamily="2" charset="0"/>
                <a:ea typeface="Roboto Light" panose="02000000000000000000" pitchFamily="2" charset="0"/>
                <a:cs typeface="Arial" panose="020B0604020202020204" pitchFamily="34" charset="0"/>
              </a:rPr>
              <a:t>No bar outlines</a:t>
            </a:r>
          </a:p>
          <a:p>
            <a:pPr marL="90488" indent="-90488">
              <a:spcAft>
                <a:spcPts val="0"/>
              </a:spcAft>
              <a:buFont typeface="Wingdings" pitchFamily="2" charset="2"/>
              <a:buChar char="§"/>
            </a:pPr>
            <a:r>
              <a:rPr lang="en-GB" sz="900" dirty="0">
                <a:latin typeface="Roboto Light" panose="02000000000000000000" pitchFamily="2" charset="0"/>
                <a:ea typeface="Roboto Light" panose="02000000000000000000" pitchFamily="2" charset="0"/>
                <a:cs typeface="Arial" panose="020B0604020202020204" pitchFamily="34" charset="0"/>
              </a:rPr>
              <a:t>All fonts Roboto Light, RGB 102-102-102</a:t>
            </a:r>
          </a:p>
          <a:p>
            <a:pPr marL="90488" indent="-90488">
              <a:spcAft>
                <a:spcPts val="0"/>
              </a:spcAft>
              <a:buFont typeface="Wingdings" pitchFamily="2" charset="2"/>
              <a:buChar char="§"/>
            </a:pPr>
            <a:r>
              <a:rPr lang="en-GB" sz="900" dirty="0">
                <a:solidFill>
                  <a:schemeClr val="tx1"/>
                </a:solidFill>
                <a:latin typeface="Roboto Light" panose="02000000000000000000" pitchFamily="2" charset="0"/>
                <a:ea typeface="Roboto Light" panose="02000000000000000000" pitchFamily="2" charset="0"/>
                <a:cs typeface="Arial" panose="020B0604020202020204" pitchFamily="34" charset="0"/>
              </a:rPr>
              <a:t>Legend on top, unless difficult</a:t>
            </a:r>
          </a:p>
        </p:txBody>
      </p:sp>
    </p:spTree>
    <p:extLst>
      <p:ext uri="{BB962C8B-B14F-4D97-AF65-F5344CB8AC3E}">
        <p14:creationId xmlns:p14="http://schemas.microsoft.com/office/powerpoint/2010/main" val="26508541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JPM_OBJECT_NAME" val="jpmStamp"/>
</p:tagLst>
</file>

<file path=ppt/tags/tag100.xml><?xml version="1.0" encoding="utf-8"?>
<p:tagLst xmlns:a="http://schemas.openxmlformats.org/drawingml/2006/main" xmlns:r="http://schemas.openxmlformats.org/officeDocument/2006/relationships" xmlns:p="http://schemas.openxmlformats.org/presentationml/2006/main">
  <p:tag name="MIO_EKGUID" val="a3d997aa-d78d-436c-a420-901342ce4c1c"/>
  <p:tag name="MIO_GUID" val="3e1b56c5-26b3-43c7-b0e9-fe305e512880"/>
  <p:tag name="MIO_UPDATE" val="True"/>
  <p:tag name="MIO_VERSION" val="26.11.2019 13:23:56"/>
  <p:tag name="MIO_DBID" val="B8FCB12D-AF03-49EB-9F79-BB019BE99E1E"/>
  <p:tag name="MIO_LASTDOWNLOADED" val="13.12.2019 09:13:39"/>
  <p:tag name="MIO_OBJECTNAME" val="Clarity cloud devops"/>
  <p:tag name="MIO_LASTEDITORNAME" val="Derrick Waylen"/>
</p:tagLst>
</file>

<file path=ppt/tags/tag101.xml><?xml version="1.0" encoding="utf-8"?>
<p:tagLst xmlns:a="http://schemas.openxmlformats.org/drawingml/2006/main" xmlns:r="http://schemas.openxmlformats.org/officeDocument/2006/relationships" xmlns:p="http://schemas.openxmlformats.org/presentationml/2006/main">
  <p:tag name="MIO_EKGUID" val="826935a8-eb04-4549-88e1-61b2854f7cc0"/>
  <p:tag name="MIO_GUID" val="86b307df-c9a9-4cdf-9b8e-ee507f18b32a"/>
  <p:tag name="MIO_UPDATE" val="True"/>
  <p:tag name="MIO_VERSION" val="26.11.2019 13:26:40"/>
  <p:tag name="MIO_DBID" val="B8FCB12D-AF03-49EB-9F79-BB019BE99E1E"/>
  <p:tag name="MIO_LASTDOWNLOADED" val="13.12.2019 09:13:39"/>
  <p:tag name="MIO_OBJECTNAME" val="Clarity cloud"/>
  <p:tag name="MIO_LASTEDITORNAME" val="Derrick Waylen"/>
</p:tagLst>
</file>

<file path=ppt/tags/tag102.xml><?xml version="1.0" encoding="utf-8"?>
<p:tagLst xmlns:a="http://schemas.openxmlformats.org/drawingml/2006/main" xmlns:r="http://schemas.openxmlformats.org/officeDocument/2006/relationships" xmlns:p="http://schemas.openxmlformats.org/presentationml/2006/main">
  <p:tag name="MIO_EKGUID" val="240bae6c-619c-4f6a-bb3d-656d9b5a13d2"/>
  <p:tag name="MIO_GUID" val="65d58345-8e18-42ab-a114-07772c30a3f8"/>
  <p:tag name="MIO_UPDATE" val="True"/>
  <p:tag name="MIO_VERSION" val="26.11.2019 13:23:36"/>
  <p:tag name="MIO_DBID" val="B8FCB12D-AF03-49EB-9F79-BB019BE99E1E"/>
  <p:tag name="MIO_LASTDOWNLOADED" val="13.12.2019 09:13:39"/>
  <p:tag name="MIO_OBJECTNAME" val="Clarity Careers stay passionate"/>
  <p:tag name="MIO_LASTEDITORNAME" val="Derrick Waylen"/>
</p:tagLst>
</file>

<file path=ppt/tags/tag103.xml><?xml version="1.0" encoding="utf-8"?>
<p:tagLst xmlns:a="http://schemas.openxmlformats.org/drawingml/2006/main" xmlns:r="http://schemas.openxmlformats.org/officeDocument/2006/relationships" xmlns:p="http://schemas.openxmlformats.org/presentationml/2006/main">
  <p:tag name="MIO_EKGUID" val="f24640c8-4b9d-458e-a4b1-d78bae9ee721"/>
  <p:tag name="MIO_GUID" val="afb662d7-0f83-476b-b3bd-8a7c30c00b5e"/>
  <p:tag name="MIO_UPDATE" val="True"/>
  <p:tag name="MIO_VERSION" val="26.11.2019 13:23:31"/>
  <p:tag name="MIO_DBID" val="B8FCB12D-AF03-49EB-9F79-BB019BE99E1E"/>
  <p:tag name="MIO_LASTDOWNLOADED" val="13.12.2019 09:13:39"/>
  <p:tag name="MIO_OBJECTNAME" val="Clarity Careers stay connected"/>
  <p:tag name="MIO_LASTEDITORNAME" val="Derrick Waylen"/>
</p:tagLst>
</file>

<file path=ppt/tags/tag104.xml><?xml version="1.0" encoding="utf-8"?>
<p:tagLst xmlns:a="http://schemas.openxmlformats.org/drawingml/2006/main" xmlns:r="http://schemas.openxmlformats.org/officeDocument/2006/relationships" xmlns:p="http://schemas.openxmlformats.org/presentationml/2006/main">
  <p:tag name="MIO_EKGUID" val="9b8c01d7-fdb5-4542-aee9-f7602aa1f1e9"/>
  <p:tag name="MIO_GUID" val="65ffb8e1-237c-404f-b0dd-847ab52ba89b"/>
  <p:tag name="MIO_UPDATE" val="True"/>
  <p:tag name="MIO_VERSION" val="26.11.2019 13:23:27"/>
  <p:tag name="MIO_DBID" val="B8FCB12D-AF03-49EB-9F79-BB019BE99E1E"/>
  <p:tag name="MIO_LASTDOWNLOADED" val="13.12.2019 09:13:40"/>
  <p:tag name="MIO_OBJECTNAME" val="Clarity Careers skip bureaucracysvg"/>
  <p:tag name="MIO_LASTEDITORNAME" val="Derrick Waylen"/>
</p:tagLst>
</file>

<file path=ppt/tags/tag105.xml><?xml version="1.0" encoding="utf-8"?>
<p:tagLst xmlns:a="http://schemas.openxmlformats.org/drawingml/2006/main" xmlns:r="http://schemas.openxmlformats.org/officeDocument/2006/relationships" xmlns:p="http://schemas.openxmlformats.org/presentationml/2006/main">
  <p:tag name="MIO_EKGUID" val="6505f5d9-e983-4b87-8714-512f4f4d5c7f"/>
  <p:tag name="MIO_GUID" val="1d4add81-dbfa-442f-9121-6727aba7ec58"/>
  <p:tag name="MIO_UPDATE" val="True"/>
  <p:tag name="MIO_VERSION" val="26.11.2019 13:23:23"/>
  <p:tag name="MIO_DBID" val="B8FCB12D-AF03-49EB-9F79-BB019BE99E1E"/>
  <p:tag name="MIO_LASTDOWNLOADED" val="13.12.2019 09:13:40"/>
  <p:tag name="MIO_OBJECTNAME" val="Clarity Careers maintain balance"/>
  <p:tag name="MIO_LASTEDITORNAME" val="Derrick Waylen"/>
</p:tagLst>
</file>

<file path=ppt/tags/tag106.xml><?xml version="1.0" encoding="utf-8"?>
<p:tagLst xmlns:a="http://schemas.openxmlformats.org/drawingml/2006/main" xmlns:r="http://schemas.openxmlformats.org/officeDocument/2006/relationships" xmlns:p="http://schemas.openxmlformats.org/presentationml/2006/main">
  <p:tag name="MIO_EKGUID" val="3c070c46-0fd2-4a7b-ab9a-1d1752f20fb8"/>
  <p:tag name="MIO_GUID" val="bb848442-bb4d-4422-a699-eec1d1d94ca8"/>
  <p:tag name="MIO_UPDATE" val="True"/>
  <p:tag name="MIO_VERSION" val="26.11.2019 13:23:19"/>
  <p:tag name="MIO_DBID" val="B8FCB12D-AF03-49EB-9F79-BB019BE99E1E"/>
  <p:tag name="MIO_LASTDOWNLOADED" val="13.12.2019 09:13:40"/>
  <p:tag name="MIO_OBJECTNAME" val="Clarity Careers Give back"/>
  <p:tag name="MIO_LASTEDITORNAME" val="Derrick Waylen"/>
</p:tagLst>
</file>

<file path=ppt/tags/tag107.xml><?xml version="1.0" encoding="utf-8"?>
<p:tagLst xmlns:a="http://schemas.openxmlformats.org/drawingml/2006/main" xmlns:r="http://schemas.openxmlformats.org/officeDocument/2006/relationships" xmlns:p="http://schemas.openxmlformats.org/presentationml/2006/main">
  <p:tag name="MIO_EKGUID" val="d34d8897-36a8-4b05-80a2-2fed5e720ce3"/>
  <p:tag name="MIO_GUID" val="a654e881-f6a9-4c82-8061-b112e0f1586b"/>
  <p:tag name="MIO_UPDATE" val="True"/>
  <p:tag name="MIO_VERSION" val="26.11.2019 13:23:14"/>
  <p:tag name="MIO_DBID" val="B8FCB12D-AF03-49EB-9F79-BB019BE99E1E"/>
  <p:tag name="MIO_LASTDOWNLOADED" val="13.12.2019 09:13:40"/>
  <p:tag name="MIO_OBJECTNAME" val="Clarity Careers Celebrate Together"/>
  <p:tag name="MIO_LASTEDITORNAME" val="Derrick Waylen"/>
</p:tagLst>
</file>

<file path=ppt/tags/tag108.xml><?xml version="1.0" encoding="utf-8"?>
<p:tagLst xmlns:a="http://schemas.openxmlformats.org/drawingml/2006/main" xmlns:r="http://schemas.openxmlformats.org/officeDocument/2006/relationships" xmlns:p="http://schemas.openxmlformats.org/presentationml/2006/main">
  <p:tag name="MIO_EKGUID" val="469b6f32-af94-44a4-aa05-86012a2f8f73"/>
  <p:tag name="MIO_GUID" val="621e8b99-939b-4107-be7f-f648a85fca6a"/>
  <p:tag name="MIO_UPDATE" val="True"/>
  <p:tag name="MIO_VERSION" val="26.11.2019 13:23:10"/>
  <p:tag name="MIO_DBID" val="B8FCB12D-AF03-49EB-9F79-BB019BE99E1E"/>
  <p:tag name="MIO_LASTDOWNLOADED" val="13.12.2019 09:13:40"/>
  <p:tag name="MIO_OBJECTNAME" val="Clarity Careers Build a future"/>
  <p:tag name="MIO_LASTEDITORNAME" val="Derrick Waylen"/>
</p:tagLst>
</file>

<file path=ppt/tags/tag109.xml><?xml version="1.0" encoding="utf-8"?>
<p:tagLst xmlns:a="http://schemas.openxmlformats.org/drawingml/2006/main" xmlns:r="http://schemas.openxmlformats.org/officeDocument/2006/relationships" xmlns:p="http://schemas.openxmlformats.org/presentationml/2006/main">
  <p:tag name="MIO_EKGUID" val="597193e6-07db-426e-86cd-1435aefa2b68"/>
  <p:tag name="MIO_GUID" val="6b191986-b7bb-412a-9fe3-42081d36ff61"/>
  <p:tag name="MIO_UPDATE" val="True"/>
  <p:tag name="MIO_VERSION" val="26.11.2019 13:23:01"/>
  <p:tag name="MIO_DBID" val="B8FCB12D-AF03-49EB-9F79-BB019BE99E1E"/>
  <p:tag name="MIO_LASTDOWNLOADED" val="13.12.2019 09:13:40"/>
  <p:tag name="MIO_OBJECTNAME" val="Clarity capability maturity assessment"/>
  <p:tag name="MIO_LASTEDITORNAME" val="Derrick Waylen"/>
</p:tagLst>
</file>

<file path=ppt/tags/tag11.xml><?xml version="1.0" encoding="utf-8"?>
<p:tagLst xmlns:a="http://schemas.openxmlformats.org/drawingml/2006/main" xmlns:r="http://schemas.openxmlformats.org/officeDocument/2006/relationships" xmlns:p="http://schemas.openxmlformats.org/presentationml/2006/main">
  <p:tag name="JPM_OBJECT_NAME" val="jpmSlideMasterVerticalRule"/>
</p:tagLst>
</file>

<file path=ppt/tags/tag110.xml><?xml version="1.0" encoding="utf-8"?>
<p:tagLst xmlns:a="http://schemas.openxmlformats.org/drawingml/2006/main" xmlns:r="http://schemas.openxmlformats.org/officeDocument/2006/relationships" xmlns:p="http://schemas.openxmlformats.org/presentationml/2006/main">
  <p:tag name="MIO_EKGUID" val="b0103c7b-2dc8-4118-bc40-85e210e946b4"/>
  <p:tag name="MIO_GUID" val="2010af54-4796-424d-a399-8b5348fa0d32"/>
  <p:tag name="MIO_UPDATE" val="True"/>
  <p:tag name="MIO_VERSION" val="26.11.2019 20:11:13"/>
  <p:tag name="MIO_DBID" val="B8FCB12D-AF03-49EB-9F79-BB019BE99E1E"/>
  <p:tag name="MIO_LASTDOWNLOADED" val="13.12.2019 09:13:40"/>
  <p:tag name="MIO_OBJECTNAME" val="Clarity canvas"/>
  <p:tag name="MIO_LASTEDITORNAME" val="Derrick Waylen"/>
</p:tagLst>
</file>

<file path=ppt/tags/tag111.xml><?xml version="1.0" encoding="utf-8"?>
<p:tagLst xmlns:a="http://schemas.openxmlformats.org/drawingml/2006/main" xmlns:r="http://schemas.openxmlformats.org/officeDocument/2006/relationships" xmlns:p="http://schemas.openxmlformats.org/presentationml/2006/main">
  <p:tag name="MIO_EKGUID" val="d5c0899c-2821-4803-b801-a6a8ab1f60de"/>
  <p:tag name="MIO_GUID" val="05d44bb8-15bd-4c74-bb5f-071b863844b0"/>
  <p:tag name="MIO_UPDATE" val="True"/>
  <p:tag name="MIO_VERSION" val="26.11.2019 13:22:57"/>
  <p:tag name="MIO_DBID" val="B8FCB12D-AF03-49EB-9F79-BB019BE99E1E"/>
  <p:tag name="MIO_LASTDOWNLOADED" val="13.12.2019 09:13:40"/>
  <p:tag name="MIO_OBJECTNAME" val="Clarity call center analytics"/>
  <p:tag name="MIO_LASTEDITORNAME" val="Derrick Waylen"/>
</p:tagLst>
</file>

<file path=ppt/tags/tag112.xml><?xml version="1.0" encoding="utf-8"?>
<p:tagLst xmlns:a="http://schemas.openxmlformats.org/drawingml/2006/main" xmlns:r="http://schemas.openxmlformats.org/officeDocument/2006/relationships" xmlns:p="http://schemas.openxmlformats.org/presentationml/2006/main">
  <p:tag name="MIO_EKGUID" val="cabd3ae7-942f-4a09-b88e-d15afbf8611f"/>
  <p:tag name="MIO_GUID" val="d9270db0-7052-4ac0-9540-48312cc3e00d"/>
  <p:tag name="MIO_UPDATE" val="True"/>
  <p:tag name="MIO_VERSION" val="26.11.2019 13:22:53"/>
  <p:tag name="MIO_DBID" val="B8FCB12D-AF03-49EB-9F79-BB019BE99E1E"/>
  <p:tag name="MIO_LASTDOWNLOADED" val="13.12.2019 09:13:40"/>
  <p:tag name="MIO_OBJECTNAME" val="Clarity business optimization"/>
  <p:tag name="MIO_LASTEDITORNAME" val="Derrick Waylen"/>
</p:tagLst>
</file>

<file path=ppt/tags/tag113.xml><?xml version="1.0" encoding="utf-8"?>
<p:tagLst xmlns:a="http://schemas.openxmlformats.org/drawingml/2006/main" xmlns:r="http://schemas.openxmlformats.org/officeDocument/2006/relationships" xmlns:p="http://schemas.openxmlformats.org/presentationml/2006/main">
  <p:tag name="MIO_EKGUID" val="a360ced6-041d-4e71-abc5-6f7e9dcf5662"/>
  <p:tag name="MIO_GUID" val="6251712e-7cb6-42d8-a149-1f9d151f620a"/>
  <p:tag name="MIO_UPDATE" val="True"/>
  <p:tag name="MIO_VERSION" val="26.11.2019 13:22:48"/>
  <p:tag name="MIO_DBID" val="B8FCB12D-AF03-49EB-9F79-BB019BE99E1E"/>
  <p:tag name="MIO_LASTDOWNLOADED" val="13.12.2019 09:13:40"/>
  <p:tag name="MIO_OBJECTNAME" val="Clarity business analytics"/>
  <p:tag name="MIO_LASTEDITORNAME" val="Derrick Waylen"/>
</p:tagLst>
</file>

<file path=ppt/tags/tag114.xml><?xml version="1.0" encoding="utf-8"?>
<p:tagLst xmlns:a="http://schemas.openxmlformats.org/drawingml/2006/main" xmlns:r="http://schemas.openxmlformats.org/officeDocument/2006/relationships" xmlns:p="http://schemas.openxmlformats.org/presentationml/2006/main">
  <p:tag name="MIO_EKGUID" val="0b376599-bf11-426f-8d9b-72c8713f8279"/>
  <p:tag name="MIO_GUID" val="982e2744-d629-4ecc-93d8-e7dd924b70eb"/>
  <p:tag name="MIO_UPDATE" val="True"/>
  <p:tag name="MIO_VERSION" val="26.11.2019 13:24:23"/>
  <p:tag name="MIO_DBID" val="B8FCB12D-AF03-49EB-9F79-BB019BE99E1E"/>
  <p:tag name="MIO_LASTDOWNLOADED" val="13.12.2019 09:16:40"/>
  <p:tag name="MIO_OBJECTNAME" val="Clarity data lake"/>
  <p:tag name="MIO_LASTEDITORNAME" val="Derrick Waylen"/>
</p:tagLst>
</file>

<file path=ppt/tags/tag115.xml><?xml version="1.0" encoding="utf-8"?>
<p:tagLst xmlns:a="http://schemas.openxmlformats.org/drawingml/2006/main" xmlns:r="http://schemas.openxmlformats.org/officeDocument/2006/relationships" xmlns:p="http://schemas.openxmlformats.org/presentationml/2006/main">
  <p:tag name="MIO_EKGUID" val="8cd46f1e-4d6c-49d3-bb77-df202595236a"/>
  <p:tag name="MIO_GUID" val="d71b2701-dc95-4f42-985d-dd05e7947f79"/>
  <p:tag name="MIO_UPDATE" val="True"/>
  <p:tag name="MIO_VERSION" val="26.11.2019 13:24:55"/>
  <p:tag name="MIO_DBID" val="B8FCB12D-AF03-49EB-9F79-BB019BE99E1E"/>
  <p:tag name="MIO_LASTDOWNLOADED" val="13.12.2019 09:16:41"/>
  <p:tag name="MIO_OBJECTNAME" val="Clarity data"/>
  <p:tag name="MIO_LASTEDITORNAME" val="Derrick Waylen"/>
</p:tagLst>
</file>

<file path=ppt/tags/tag116.xml><?xml version="1.0" encoding="utf-8"?>
<p:tagLst xmlns:a="http://schemas.openxmlformats.org/drawingml/2006/main" xmlns:r="http://schemas.openxmlformats.org/officeDocument/2006/relationships" xmlns:p="http://schemas.openxmlformats.org/presentationml/2006/main">
  <p:tag name="MIO_EKGUID" val="8d2cc7af-ba47-4f7d-8a99-db0fddac732d"/>
  <p:tag name="MIO_GUID" val="5c496aac-d8d1-4038-aec9-87d430284507"/>
  <p:tag name="MIO_UPDATE" val="True"/>
  <p:tag name="MIO_VERSION" val="26.11.2019 13:27:33"/>
  <p:tag name="MIO_DBID" val="B8FCB12D-AF03-49EB-9F79-BB019BE99E1E"/>
  <p:tag name="MIO_LASTDOWNLOADED" val="13.12.2019 09:16:41"/>
  <p:tag name="MIO_OBJECTNAME" val="Clarity customer retention"/>
  <p:tag name="MIO_LASTEDITORNAME" val="Derrick Waylen"/>
</p:tagLst>
</file>

<file path=ppt/tags/tag117.xml><?xml version="1.0" encoding="utf-8"?>
<p:tagLst xmlns:a="http://schemas.openxmlformats.org/drawingml/2006/main" xmlns:r="http://schemas.openxmlformats.org/officeDocument/2006/relationships" xmlns:p="http://schemas.openxmlformats.org/presentationml/2006/main">
  <p:tag name="MIO_EKGUID" val="4d4d1d9b-ca1a-44d9-86cb-f551eb6851ac"/>
  <p:tag name="MIO_GUID" val="20ded7ab-1e1d-41c2-a190-91e558055ab7"/>
  <p:tag name="MIO_UPDATE" val="True"/>
  <p:tag name="MIO_VERSION" val="26.11.2019 13:27:29"/>
  <p:tag name="MIO_DBID" val="B8FCB12D-AF03-49EB-9F79-BB019BE99E1E"/>
  <p:tag name="MIO_LASTDOWNLOADED" val="13.12.2019 09:16:41"/>
  <p:tag name="MIO_OBJECTNAME" val="Clarity customer experience"/>
  <p:tag name="MIO_LASTEDITORNAME" val="Derrick Waylen"/>
</p:tagLst>
</file>

<file path=ppt/tags/tag118.xml><?xml version="1.0" encoding="utf-8"?>
<p:tagLst xmlns:a="http://schemas.openxmlformats.org/drawingml/2006/main" xmlns:r="http://schemas.openxmlformats.org/officeDocument/2006/relationships" xmlns:p="http://schemas.openxmlformats.org/presentationml/2006/main">
  <p:tag name="MIO_EKGUID" val="3e2b2a5e-0771-47f3-85d5-6083712cb616"/>
  <p:tag name="MIO_GUID" val="d4f4cf56-38ef-403b-9a9d-9a6cff160bb4"/>
  <p:tag name="MIO_UPDATE" val="True"/>
  <p:tag name="MIO_VERSION" val="26.11.2019 13:27:17"/>
  <p:tag name="MIO_DBID" val="B8FCB12D-AF03-49EB-9F79-BB019BE99E1E"/>
  <p:tag name="MIO_LASTDOWNLOADED" val="13.12.2019 09:16:42"/>
  <p:tag name="MIO_OBJECTNAME" val="Clarity cross sell"/>
  <p:tag name="MIO_LASTEDITORNAME" val="Derrick Waylen"/>
</p:tagLst>
</file>

<file path=ppt/tags/tag119.xml><?xml version="1.0" encoding="utf-8"?>
<p:tagLst xmlns:a="http://schemas.openxmlformats.org/drawingml/2006/main" xmlns:r="http://schemas.openxmlformats.org/officeDocument/2006/relationships" xmlns:p="http://schemas.openxmlformats.org/presentationml/2006/main">
  <p:tag name="MIO_EKGUID" val="d906bd32-8784-48ef-b77c-0ad82828caab"/>
  <p:tag name="MIO_GUID" val="48575c74-a54b-42c6-ac9d-393ea3d1b5dd"/>
  <p:tag name="MIO_UPDATE" val="True"/>
  <p:tag name="MIO_VERSION" val="26.11.2019 13:25:41"/>
  <p:tag name="MIO_DBID" val="B8FCB12D-AF03-49EB-9F79-BB019BE99E1E"/>
  <p:tag name="MIO_LASTDOWNLOADED" val="13.12.2019 09:17:23"/>
  <p:tag name="MIO_OBJECTNAME" val="Clarity finance payroll"/>
  <p:tag name="MIO_LASTEDITORNAME" val="Derrick Waylen"/>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MIO_EKGUID" val="4d97177c-c212-4547-9308-deb9cdbd5b91"/>
  <p:tag name="MIO_GUID" val="ff36544c-8032-44a3-a15a-4157a5684c41"/>
  <p:tag name="MIO_UPDATE" val="True"/>
  <p:tag name="MIO_VERSION" val="26.11.2019 13:25:37"/>
  <p:tag name="MIO_DBID" val="B8FCB12D-AF03-49EB-9F79-BB019BE99E1E"/>
  <p:tag name="MIO_LASTDOWNLOADED" val="13.12.2019 09:17:23"/>
  <p:tag name="MIO_OBJECTNAME" val="Clarity file"/>
  <p:tag name="MIO_LASTEDITORNAME" val="Derrick Waylen"/>
</p:tagLst>
</file>

<file path=ppt/tags/tag121.xml><?xml version="1.0" encoding="utf-8"?>
<p:tagLst xmlns:a="http://schemas.openxmlformats.org/drawingml/2006/main" xmlns:r="http://schemas.openxmlformats.org/officeDocument/2006/relationships" xmlns:p="http://schemas.openxmlformats.org/presentationml/2006/main">
  <p:tag name="MIO_EKGUID" val="4b3d3eda-55ff-4bc8-96ea-d74a6c814259"/>
  <p:tag name="MIO_GUID" val="2c32d2e8-1395-4c94-a44a-945bec801984"/>
  <p:tag name="MIO_UPDATE" val="True"/>
  <p:tag name="MIO_VERSION" val="26.11.2019 13:25:29"/>
  <p:tag name="MIO_DBID" val="B8FCB12D-AF03-49EB-9F79-BB019BE99E1E"/>
  <p:tag name="MIO_LASTDOWNLOADED" val="13.12.2019 09:17:23"/>
  <p:tag name="MIO_OBJECTNAME" val="Clarity exceptions"/>
  <p:tag name="MIO_LASTEDITORNAME" val="Derrick Waylen"/>
</p:tagLst>
</file>

<file path=ppt/tags/tag122.xml><?xml version="1.0" encoding="utf-8"?>
<p:tagLst xmlns:a="http://schemas.openxmlformats.org/drawingml/2006/main" xmlns:r="http://schemas.openxmlformats.org/officeDocument/2006/relationships" xmlns:p="http://schemas.openxmlformats.org/presentationml/2006/main">
  <p:tag name="MIO_EKGUID" val="bbeec75c-700a-4192-a440-0ec5f8c85328"/>
  <p:tag name="MIO_GUID" val="a541b118-2d09-4563-ae8f-745f9baff194"/>
  <p:tag name="MIO_UPDATE" val="True"/>
  <p:tag name="MIO_VERSION" val="26.11.2019 13:25:12"/>
  <p:tag name="MIO_DBID" val="B8FCB12D-AF03-49EB-9F79-BB019BE99E1E"/>
  <p:tag name="MIO_LASTDOWNLOADED" val="13.12.2019 09:17:24"/>
  <p:tag name="MIO_OBJECTNAME" val="Clarity doughnut"/>
  <p:tag name="MIO_LASTEDITORNAME" val="Derrick Waylen"/>
</p:tagLst>
</file>

<file path=ppt/tags/tag123.xml><?xml version="1.0" encoding="utf-8"?>
<p:tagLst xmlns:a="http://schemas.openxmlformats.org/drawingml/2006/main" xmlns:r="http://schemas.openxmlformats.org/officeDocument/2006/relationships" xmlns:p="http://schemas.openxmlformats.org/presentationml/2006/main">
  <p:tag name="MIO_EKGUID" val="6439c372-cfb6-49f0-b0bf-34d3cc4d65fe"/>
  <p:tag name="MIO_GUID" val="0d4c3916-cd7f-400b-89a2-4743ae8cc740"/>
  <p:tag name="MIO_UPDATE" val="True"/>
  <p:tag name="MIO_VERSION" val="26.11.2019 13:25:08"/>
  <p:tag name="MIO_DBID" val="B8FCB12D-AF03-49EB-9F79-BB019BE99E1E"/>
  <p:tag name="MIO_LASTDOWNLOADED" val="13.12.2019 09:17:24"/>
  <p:tag name="MIO_OBJECTNAME" val="Clarity dollar"/>
  <p:tag name="MIO_LASTEDITORNAME" val="Derrick Waylen"/>
</p:tagLst>
</file>

<file path=ppt/tags/tag124.xml><?xml version="1.0" encoding="utf-8"?>
<p:tagLst xmlns:a="http://schemas.openxmlformats.org/drawingml/2006/main" xmlns:r="http://schemas.openxmlformats.org/officeDocument/2006/relationships" xmlns:p="http://schemas.openxmlformats.org/presentationml/2006/main">
  <p:tag name="MIO_EKGUID" val="9effa41c-2689-40e4-a287-6371fb5bc600"/>
  <p:tag name="MIO_GUID" val="8b7bc9b9-9fc3-4dc8-8307-acece6b6b87f"/>
  <p:tag name="MIO_UPDATE" val="True"/>
  <p:tag name="MIO_VERSION" val="26.11.2019 13:25:03"/>
  <p:tag name="MIO_DBID" val="B8FCB12D-AF03-49EB-9F79-BB019BE99E1E"/>
  <p:tag name="MIO_LASTDOWNLOADED" val="13.12.2019 09:17:24"/>
  <p:tag name="MIO_OBJECTNAME" val="Clarity documents folder"/>
  <p:tag name="MIO_LASTEDITORNAME" val="Derrick Waylen"/>
</p:tagLst>
</file>

<file path=ppt/tags/tag125.xml><?xml version="1.0" encoding="utf-8"?>
<p:tagLst xmlns:a="http://schemas.openxmlformats.org/drawingml/2006/main" xmlns:r="http://schemas.openxmlformats.org/officeDocument/2006/relationships" xmlns:p="http://schemas.openxmlformats.org/presentationml/2006/main">
  <p:tag name="MIO_EKGUID" val="2641bb6e-e0cc-452b-8c93-14d45b4140f1"/>
  <p:tag name="MIO_GUID" val="94b8503d-5710-4b14-b0e0-4ac4f3ab274b"/>
  <p:tag name="MIO_UPDATE" val="True"/>
  <p:tag name="MIO_VERSION" val="26.11.2019 13:24:51"/>
  <p:tag name="MIO_DBID" val="B8FCB12D-AF03-49EB-9F79-BB019BE99E1E"/>
  <p:tag name="MIO_LASTDOWNLOADED" val="13.12.2019 09:17:24"/>
  <p:tag name="MIO_OBJECTNAME" val="Clarity data warehouse"/>
  <p:tag name="MIO_LASTEDITORNAME" val="Derrick Waylen"/>
</p:tagLst>
</file>

<file path=ppt/tags/tag126.xml><?xml version="1.0" encoding="utf-8"?>
<p:tagLst xmlns:a="http://schemas.openxmlformats.org/drawingml/2006/main" xmlns:r="http://schemas.openxmlformats.org/officeDocument/2006/relationships" xmlns:p="http://schemas.openxmlformats.org/presentationml/2006/main">
  <p:tag name="MIO_EKGUID" val="67bd1b4d-eb38-4526-b49e-7e36665ca6aa"/>
  <p:tag name="MIO_GUID" val="bd897cbe-0919-45a0-87ac-f0775f4a8816"/>
  <p:tag name="MIO_UPDATE" val="True"/>
  <p:tag name="MIO_VERSION" val="26.11.2019 13:24:47"/>
  <p:tag name="MIO_DBID" val="B8FCB12D-AF03-49EB-9F79-BB019BE99E1E"/>
  <p:tag name="MIO_LASTDOWNLOADED" val="13.12.2019 09:17:24"/>
  <p:tag name="MIO_OBJECTNAME" val="Clarity data transformation"/>
  <p:tag name="MIO_LASTEDITORNAME" val="Derrick Waylen"/>
</p:tagLst>
</file>

<file path=ppt/tags/tag127.xml><?xml version="1.0" encoding="utf-8"?>
<p:tagLst xmlns:a="http://schemas.openxmlformats.org/drawingml/2006/main" xmlns:r="http://schemas.openxmlformats.org/officeDocument/2006/relationships" xmlns:p="http://schemas.openxmlformats.org/presentationml/2006/main">
  <p:tag name="MIO_EKGUID" val="195a45fc-8994-4004-bcc5-8fade7d45230"/>
  <p:tag name="MIO_GUID" val="42216ab2-df52-4e6e-95e3-08dddbc99f50"/>
  <p:tag name="MIO_UPDATE" val="True"/>
  <p:tag name="MIO_VERSION" val="26.11.2019 13:30:22"/>
  <p:tag name="MIO_DBID" val="B8FCB12D-AF03-49EB-9F79-BB019BE99E1E"/>
  <p:tag name="MIO_LASTDOWNLOADED" val="13.12.2019 09:17:58"/>
  <p:tag name="MIO_OBJECTNAME" val="Clarity glasses"/>
  <p:tag name="MIO_LASTEDITORNAME" val="Derrick Waylen"/>
</p:tagLst>
</file>

<file path=ppt/tags/tag128.xml><?xml version="1.0" encoding="utf-8"?>
<p:tagLst xmlns:a="http://schemas.openxmlformats.org/drawingml/2006/main" xmlns:r="http://schemas.openxmlformats.org/officeDocument/2006/relationships" xmlns:p="http://schemas.openxmlformats.org/presentationml/2006/main">
  <p:tag name="MIO_EKGUID" val="2f2ef1f7-6ad9-472c-9be3-4a798aab6bf9"/>
  <p:tag name="MIO_GUID" val="46915145-5f1a-4293-883d-a01ab043e125"/>
  <p:tag name="MIO_UPDATE" val="True"/>
  <p:tag name="MIO_VERSION" val="26.11.2019 13:30:18"/>
  <p:tag name="MIO_DBID" val="B8FCB12D-AF03-49EB-9F79-BB019BE99E1E"/>
  <p:tag name="MIO_LASTDOWNLOADED" val="13.12.2019 09:17:58"/>
  <p:tag name="MIO_OBJECTNAME" val="Clarity glassdoor"/>
  <p:tag name="MIO_LASTEDITORNAME" val="Derrick Waylen"/>
</p:tagLst>
</file>

<file path=ppt/tags/tag129.xml><?xml version="1.0" encoding="utf-8"?>
<p:tagLst xmlns:a="http://schemas.openxmlformats.org/drawingml/2006/main" xmlns:r="http://schemas.openxmlformats.org/officeDocument/2006/relationships" xmlns:p="http://schemas.openxmlformats.org/presentationml/2006/main">
  <p:tag name="MIO_EKGUID" val="6fc983be-20b3-4e43-a2f6-bb674d6f1307"/>
  <p:tag name="MIO_GUID" val="a404b06d-6a4b-439c-89e1-e94f35dd3b95"/>
  <p:tag name="MIO_UPDATE" val="True"/>
  <p:tag name="MIO_VERSION" val="26.11.2019 13:30:14"/>
  <p:tag name="MIO_DBID" val="B8FCB12D-AF03-49EB-9F79-BB019BE99E1E"/>
  <p:tag name="MIO_LASTDOWNLOADED" val="13.12.2019 09:17:58"/>
  <p:tag name="MIO_OBJECTNAME" val="Clarity funnel"/>
  <p:tag name="MIO_LASTEDITORNAME" val="Derrick Waylen"/>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MIO_EKGUID" val="281ba92b-6f82-4b84-890c-ecb48bc8d775"/>
  <p:tag name="MIO_GUID" val="0a9c29af-20d4-423a-9909-14b2bb0033e8"/>
  <p:tag name="MIO_UPDATE" val="True"/>
  <p:tag name="MIO_VERSION" val="26.11.2019 13:26:28"/>
  <p:tag name="MIO_DBID" val="B8FCB12D-AF03-49EB-9F79-BB019BE99E1E"/>
  <p:tag name="MIO_LASTDOWNLOADED" val="13.12.2019 09:17:58"/>
  <p:tag name="MIO_OBJECTNAME" val="Clarity founded in 2008"/>
  <p:tag name="MIO_LASTEDITORNAME" val="Derrick Waylen"/>
</p:tagLst>
</file>

<file path=ppt/tags/tag131.xml><?xml version="1.0" encoding="utf-8"?>
<p:tagLst xmlns:a="http://schemas.openxmlformats.org/drawingml/2006/main" xmlns:r="http://schemas.openxmlformats.org/officeDocument/2006/relationships" xmlns:p="http://schemas.openxmlformats.org/presentationml/2006/main">
  <p:tag name="MIO_EKGUID" val="66733c95-a117-4664-aea8-205c71a4b168"/>
  <p:tag name="MIO_GUID" val="4078b373-45bd-4c87-bced-eabb439592ff"/>
  <p:tag name="MIO_UPDATE" val="True"/>
  <p:tag name="MIO_VERSION" val="26.11.2019 13:26:19"/>
  <p:tag name="MIO_DBID" val="B8FCB12D-AF03-49EB-9F79-BB019BE99E1E"/>
  <p:tag name="MIO_LASTDOWNLOADED" val="13.12.2019 09:17:58"/>
  <p:tag name="MIO_OBJECTNAME" val="Clarity forensics"/>
  <p:tag name="MIO_LASTEDITORNAME" val="Derrick Waylen"/>
</p:tagLst>
</file>

<file path=ppt/tags/tag132.xml><?xml version="1.0" encoding="utf-8"?>
<p:tagLst xmlns:a="http://schemas.openxmlformats.org/drawingml/2006/main" xmlns:r="http://schemas.openxmlformats.org/officeDocument/2006/relationships" xmlns:p="http://schemas.openxmlformats.org/presentationml/2006/main">
  <p:tag name="MIO_EKGUID" val="7ca082f6-1806-4300-84bd-101a8e469ad3"/>
  <p:tag name="MIO_GUID" val="d03e45e2-3624-420e-a7b1-4171221f7cf2"/>
  <p:tag name="MIO_UPDATE" val="True"/>
  <p:tag name="MIO_VERSION" val="26.11.2019 13:26:15"/>
  <p:tag name="MIO_DBID" val="B8FCB12D-AF03-49EB-9F79-BB019BE99E1E"/>
  <p:tag name="MIO_LASTDOWNLOADED" val="13.12.2019 09:17:59"/>
  <p:tag name="MIO_OBJECTNAME" val="Clarity fine tune visualisation environment"/>
  <p:tag name="MIO_LASTEDITORNAME" val="Derrick Waylen"/>
</p:tagLst>
</file>

<file path=ppt/tags/tag133.xml><?xml version="1.0" encoding="utf-8"?>
<p:tagLst xmlns:a="http://schemas.openxmlformats.org/drawingml/2006/main" xmlns:r="http://schemas.openxmlformats.org/officeDocument/2006/relationships" xmlns:p="http://schemas.openxmlformats.org/presentationml/2006/main">
  <p:tag name="MIO_EKGUID" val="72cd0163-f664-4820-a772-3f8f82467a55"/>
  <p:tag name="MIO_GUID" val="46636ca3-c6da-46ab-8aff-be33a4c14f9b"/>
  <p:tag name="MIO_UPDATE" val="True"/>
  <p:tag name="MIO_VERSION" val="26.11.2019 13:26:07"/>
  <p:tag name="MIO_DBID" val="B8FCB12D-AF03-49EB-9F79-BB019BE99E1E"/>
  <p:tag name="MIO_LASTDOWNLOADED" val="13.12.2019 09:17:59"/>
  <p:tag name="MIO_OBJECTNAME" val="Clarity financial reporting"/>
  <p:tag name="MIO_LASTEDITORNAME" val="Derrick Waylen"/>
</p:tagLst>
</file>

<file path=ppt/tags/tag134.xml><?xml version="1.0" encoding="utf-8"?>
<p:tagLst xmlns:a="http://schemas.openxmlformats.org/drawingml/2006/main" xmlns:r="http://schemas.openxmlformats.org/officeDocument/2006/relationships" xmlns:p="http://schemas.openxmlformats.org/presentationml/2006/main">
  <p:tag name="MIO_EKGUID" val="0bf1530a-6988-4862-8f11-fb4c295bfe52"/>
  <p:tag name="MIO_GUID" val="0a01413b-4984-41fa-b42a-43a93acca450"/>
  <p:tag name="MIO_UPDATE" val="True"/>
  <p:tag name="MIO_VERSION" val="26.11.2019 13:26:02"/>
  <p:tag name="MIO_DBID" val="B8FCB12D-AF03-49EB-9F79-BB019BE99E1E"/>
  <p:tag name="MIO_LASTDOWNLOADED" val="13.12.2019 09:17:59"/>
  <p:tag name="MIO_OBJECTNAME" val="Clarity financial One of the worlds largest pubic companies"/>
  <p:tag name="MIO_LASTEDITORNAME" val="Derrick Waylen"/>
</p:tagLst>
</file>

<file path=ppt/tags/tag135.xml><?xml version="1.0" encoding="utf-8"?>
<p:tagLst xmlns:a="http://schemas.openxmlformats.org/drawingml/2006/main" xmlns:r="http://schemas.openxmlformats.org/officeDocument/2006/relationships" xmlns:p="http://schemas.openxmlformats.org/presentationml/2006/main">
  <p:tag name="MIO_EKGUID" val="d631d50b-ce3d-463f-9c31-79334c5ac609"/>
  <p:tag name="MIO_GUID" val="64ed8fb2-1e2a-4164-a1ef-85e96acebc1d"/>
  <p:tag name="MIO_UPDATE" val="True"/>
  <p:tag name="MIO_VERSION" val="26.11.2019 13:25:58"/>
  <p:tag name="MIO_DBID" val="B8FCB12D-AF03-49EB-9F79-BB019BE99E1E"/>
  <p:tag name="MIO_LASTDOWNLOADED" val="13.12.2019 09:17:59"/>
  <p:tag name="MIO_OBJECTNAME" val="Clarity financial major credit card information company"/>
  <p:tag name="MIO_LASTEDITORNAME" val="Derrick Waylen"/>
</p:tagLst>
</file>

<file path=ppt/tags/tag136.xml><?xml version="1.0" encoding="utf-8"?>
<p:tagLst xmlns:a="http://schemas.openxmlformats.org/drawingml/2006/main" xmlns:r="http://schemas.openxmlformats.org/officeDocument/2006/relationships" xmlns:p="http://schemas.openxmlformats.org/presentationml/2006/main">
  <p:tag name="MIO_EKGUID" val="463ccdd4-0683-4170-b9f6-fce13e2e4e9f"/>
  <p:tag name="MIO_GUID" val="4ebbce21-4676-4b33-9bc0-eb444b486e50"/>
  <p:tag name="MIO_UPDATE" val="True"/>
  <p:tag name="MIO_VERSION" val="26.11.2019 13:25:49"/>
  <p:tag name="MIO_DBID" val="B8FCB12D-AF03-49EB-9F79-BB019BE99E1E"/>
  <p:tag name="MIO_LASTDOWNLOADED" val="13.12.2019 09:17:59"/>
  <p:tag name="MIO_OBJECTNAME" val="Clarity financial banking"/>
  <p:tag name="MIO_LASTEDITORNAME" val="Derrick Waylen"/>
</p:tagLst>
</file>

<file path=ppt/tags/tag137.xml><?xml version="1.0" encoding="utf-8"?>
<p:tagLst xmlns:a="http://schemas.openxmlformats.org/drawingml/2006/main" xmlns:r="http://schemas.openxmlformats.org/officeDocument/2006/relationships" xmlns:p="http://schemas.openxmlformats.org/presentationml/2006/main">
  <p:tag name="MIO_EKGUID" val="4702f0b9-97e2-41dd-b9d5-e444e9c29739"/>
  <p:tag name="MIO_GUID" val="25468d24-ca25-4a85-bbd1-d667ec8d631e"/>
  <p:tag name="MIO_UPDATE" val="True"/>
  <p:tag name="MIO_VERSION" val="26.11.2019 13:25:45"/>
  <p:tag name="MIO_DBID" val="B8FCB12D-AF03-49EB-9F79-BB019BE99E1E"/>
  <p:tag name="MIO_LASTDOWNLOADED" val="13.12.2019 09:17:59"/>
  <p:tag name="MIO_OBJECTNAME" val="Clarity financial automotive"/>
  <p:tag name="MIO_LASTEDITORNAME" val="Derrick Waylen"/>
</p:tagLst>
</file>

<file path=ppt/tags/tag138.xml><?xml version="1.0" encoding="utf-8"?>
<p:tagLst xmlns:a="http://schemas.openxmlformats.org/drawingml/2006/main" xmlns:r="http://schemas.openxmlformats.org/officeDocument/2006/relationships" xmlns:p="http://schemas.openxmlformats.org/presentationml/2006/main">
  <p:tag name="MIO_EKGUID" val="306e10ad-5dba-48f0-9d6f-0b231e89e56e"/>
  <p:tag name="MIO_GUID" val="8525c47c-8a9a-4ba0-bf62-2921c33979cc"/>
  <p:tag name="MIO_UPDATE" val="True"/>
  <p:tag name="MIO_VERSION" val="26.11.2019 13:34:34"/>
  <p:tag name="MIO_DBID" val="B8FCB12D-AF03-49EB-9F79-BB019BE99E1E"/>
  <p:tag name="MIO_LASTDOWNLOADED" val="13.12.2019 09:27:23"/>
  <p:tag name="MIO_OBJECTNAME" val="Clarity retail tools One of the most successful hardware and small tool retail brands"/>
  <p:tag name="MIO_LASTEDITORNAME" val="Derrick Waylen"/>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INLINETEXTSHAPEGUID" val="165e6bcf-e336-4324-8668-0d0629799a49"/>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MIO_EKGUID" val="42c09a51-b80a-4ba4-9d36-82140cd6b9ed"/>
  <p:tag name="MIO_GUID" val="8940e026-df9c-449f-8f79-e5defc16669e"/>
  <p:tag name="MIO_UPDATE" val="True"/>
  <p:tag name="MIO_VERSION" val="26.11.2019 13:35:55"/>
  <p:tag name="MIO_DBID" val="B8FCB12D-AF03-49EB-9F79-BB019BE99E1E"/>
  <p:tag name="MIO_LASTDOWNLOADED" val="13.12.2019 09:29:11"/>
  <p:tag name="MIO_OBJECTNAME" val="Clarity successful media brands"/>
  <p:tag name="MIO_LASTEDITORNAME" val="Derrick Waylen"/>
</p:tagLst>
</file>

<file path=ppt/tags/tag143.xml><?xml version="1.0" encoding="utf-8"?>
<p:tagLst xmlns:a="http://schemas.openxmlformats.org/drawingml/2006/main" xmlns:r="http://schemas.openxmlformats.org/officeDocument/2006/relationships" xmlns:p="http://schemas.openxmlformats.org/presentationml/2006/main">
  <p:tag name="MIO_EKGUID" val="5eefe942-92e5-4bc6-97ad-f2a0f7265bf2"/>
  <p:tag name="MIO_GUID" val="aef4ee25-bfc6-4bc7-80b2-66319d314999"/>
  <p:tag name="MIO_UPDATE" val="True"/>
  <p:tag name="MIO_VERSION" val="26.11.2019 13:35:51"/>
  <p:tag name="MIO_DBID" val="B8FCB12D-AF03-49EB-9F79-BB019BE99E1E"/>
  <p:tag name="MIO_LASTDOWNLOADED" val="13.12.2019 09:29:11"/>
  <p:tag name="MIO_OBJECTNAME" val="Clarity star"/>
  <p:tag name="MIO_LASTEDITORNAME" val="Derrick Waylen"/>
</p:tagLst>
</file>

<file path=ppt/tags/tag144.xml><?xml version="1.0" encoding="utf-8"?>
<p:tagLst xmlns:a="http://schemas.openxmlformats.org/drawingml/2006/main" xmlns:r="http://schemas.openxmlformats.org/officeDocument/2006/relationships" xmlns:p="http://schemas.openxmlformats.org/presentationml/2006/main">
  <p:tag name="MIO_EKGUID" val="70269e60-2bc0-48f6-87cb-8c8980655678"/>
  <p:tag name="MIO_GUID" val="72fd99ea-f7c3-4de6-850e-a3545f22c65e"/>
  <p:tag name="MIO_UPDATE" val="True"/>
  <p:tag name="MIO_VERSION" val="26.11.2019 13:35:47"/>
  <p:tag name="MIO_DBID" val="B8FCB12D-AF03-49EB-9F79-BB019BE99E1E"/>
  <p:tag name="MIO_LASTDOWNLOADED" val="13.12.2019 09:29:11"/>
  <p:tag name="MIO_OBJECTNAME" val="Clarity staff customer client"/>
  <p:tag name="MIO_LASTEDITORNAME" val="Derrick Waylen"/>
</p:tagLst>
</file>

<file path=ppt/tags/tag145.xml><?xml version="1.0" encoding="utf-8"?>
<p:tagLst xmlns:a="http://schemas.openxmlformats.org/drawingml/2006/main" xmlns:r="http://schemas.openxmlformats.org/officeDocument/2006/relationships" xmlns:p="http://schemas.openxmlformats.org/presentationml/2006/main">
  <p:tag name="MIO_EKGUID" val="e3de3646-65ff-438f-a3d5-6c420c7eedb6"/>
  <p:tag name="MIO_GUID" val="0b1ab118-0ccc-440b-a935-ffa6da01db2f"/>
  <p:tag name="MIO_UPDATE" val="True"/>
  <p:tag name="MIO_VERSION" val="26.11.2019 13:35:43"/>
  <p:tag name="MIO_DBID" val="B8FCB12D-AF03-49EB-9F79-BB019BE99E1E"/>
  <p:tag name="MIO_LASTDOWNLOADED" val="13.12.2019 09:29:11"/>
  <p:tag name="MIO_OBJECTNAME" val="Clarity sport entertainment"/>
  <p:tag name="MIO_LASTEDITORNAME" val="Derrick Waylen"/>
</p:tagLst>
</file>

<file path=ppt/tags/tag146.xml><?xml version="1.0" encoding="utf-8"?>
<p:tagLst xmlns:a="http://schemas.openxmlformats.org/drawingml/2006/main" xmlns:r="http://schemas.openxmlformats.org/officeDocument/2006/relationships" xmlns:p="http://schemas.openxmlformats.org/presentationml/2006/main">
  <p:tag name="MIO_EKGUID" val="6958f7ae-393c-4d87-9d67-2b6dc6e8bca3"/>
  <p:tag name="MIO_GUID" val="b2d33f38-5039-41dc-b328-864d63b4b396"/>
  <p:tag name="MIO_UPDATE" val="True"/>
  <p:tag name="MIO_VERSION" val="26.11.2019 13:35:39"/>
  <p:tag name="MIO_DBID" val="B8FCB12D-AF03-49EB-9F79-BB019BE99E1E"/>
  <p:tag name="MIO_LASTDOWNLOADED" val="13.12.2019 09:29:12"/>
  <p:tag name="MIO_OBJECTNAME" val="Clarity solutions"/>
  <p:tag name="MIO_LASTEDITORNAME" val="Derrick Waylen"/>
</p:tagLst>
</file>

<file path=ppt/tags/tag147.xml><?xml version="1.0" encoding="utf-8"?>
<p:tagLst xmlns:a="http://schemas.openxmlformats.org/drawingml/2006/main" xmlns:r="http://schemas.openxmlformats.org/officeDocument/2006/relationships" xmlns:p="http://schemas.openxmlformats.org/presentationml/2006/main">
  <p:tag name="MIO_EKGUID" val="77dfdae8-0943-4012-8c88-59cc1d5b91d2"/>
  <p:tag name="MIO_GUID" val="4ef1d94e-e619-414d-a8fc-056fcf249a01"/>
  <p:tag name="MIO_UPDATE" val="True"/>
  <p:tag name="MIO_VERSION" val="26.11.2019 13:35:35"/>
  <p:tag name="MIO_DBID" val="B8FCB12D-AF03-49EB-9F79-BB019BE99E1E"/>
  <p:tag name="MIO_LASTDOWNLOADED" val="13.12.2019 09:29:12"/>
  <p:tag name="MIO_OBJECTNAME" val="Clarity social media"/>
  <p:tag name="MIO_LASTEDITORNAME" val="Derrick Waylen"/>
</p:tagLst>
</file>

<file path=ppt/tags/tag148.xml><?xml version="1.0" encoding="utf-8"?>
<p:tagLst xmlns:a="http://schemas.openxmlformats.org/drawingml/2006/main" xmlns:r="http://schemas.openxmlformats.org/officeDocument/2006/relationships" xmlns:p="http://schemas.openxmlformats.org/presentationml/2006/main">
  <p:tag name="MIO_EKGUID" val="9a8717ab-0895-499a-aee6-c81359ac6a80"/>
  <p:tag name="MIO_GUID" val="7ab9dc0e-46b3-4e12-82af-529e28d0b357"/>
  <p:tag name="MIO_UPDATE" val="True"/>
  <p:tag name="MIO_VERSION" val="26.11.2019 13:37:06"/>
  <p:tag name="MIO_DBID" val="B8FCB12D-AF03-49EB-9F79-BB019BE99E1E"/>
  <p:tag name="MIO_LASTDOWNLOADED" val="13.12.2019 09:29:47"/>
  <p:tag name="MIO_OBJECTNAME" val="Clarity value do the right thing"/>
  <p:tag name="MIO_LASTEDITORNAME" val="Derrick Waylen"/>
</p:tagLst>
</file>

<file path=ppt/tags/tag149.xml><?xml version="1.0" encoding="utf-8"?>
<p:tagLst xmlns:a="http://schemas.openxmlformats.org/drawingml/2006/main" xmlns:r="http://schemas.openxmlformats.org/officeDocument/2006/relationships" xmlns:p="http://schemas.openxmlformats.org/presentationml/2006/main">
  <p:tag name="MIO_EKGUID" val="10c47b3e-fe1a-4a80-b7cf-4d7caf60a315"/>
  <p:tag name="MIO_GUID" val="3950d2ef-9a39-4cf0-bf3e-5e79f1588968"/>
  <p:tag name="MIO_UPDATE" val="True"/>
  <p:tag name="MIO_VERSION" val="26.11.2019 13:37:01"/>
  <p:tag name="MIO_DBID" val="B8FCB12D-AF03-49EB-9F79-BB019BE99E1E"/>
  <p:tag name="MIO_LASTDOWNLOADED" val="13.12.2019 09:29:47"/>
  <p:tag name="MIO_OBJECTNAME" val="Clarity value demand excellence"/>
  <p:tag name="MIO_LASTEDITORNAME" val="Derrick Waylen"/>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MIO_EKGUID" val="d2c90888-725f-4636-a2ec-23a34d825867"/>
  <p:tag name="MIO_GUID" val="70f2dc83-67e7-4369-bc1d-37f44a5d5c05"/>
  <p:tag name="MIO_UPDATE" val="True"/>
  <p:tag name="MIO_VERSION" val="26.11.2019 13:36:57"/>
  <p:tag name="MIO_DBID" val="B8FCB12D-AF03-49EB-9F79-BB019BE99E1E"/>
  <p:tag name="MIO_LASTDOWNLOADED" val="13.12.2019 09:29:47"/>
  <p:tag name="MIO_OBJECTNAME" val="Clarity value always growing"/>
  <p:tag name="MIO_LASTEDITORNAME" val="Derrick Waylen"/>
</p:tagLst>
</file>

<file path=ppt/tags/tag151.xml><?xml version="1.0" encoding="utf-8"?>
<p:tagLst xmlns:a="http://schemas.openxmlformats.org/drawingml/2006/main" xmlns:r="http://schemas.openxmlformats.org/officeDocument/2006/relationships" xmlns:p="http://schemas.openxmlformats.org/presentationml/2006/main">
  <p:tag name="MIO_EKGUID" val="8954714e-d79c-47e9-9ea8-73732a311935"/>
  <p:tag name="MIO_GUID" val="c62185c3-0c92-46ec-9dde-35220f99c7ba"/>
  <p:tag name="MIO_UPDATE" val="True"/>
  <p:tag name="MIO_VERSION" val="26.11.2019 13:36:52"/>
  <p:tag name="MIO_DBID" val="B8FCB12D-AF03-49EB-9F79-BB019BE99E1E"/>
  <p:tag name="MIO_LASTDOWNLOADED" val="13.12.2019 09:29:47"/>
  <p:tag name="MIO_OBJECTNAME" val="Clarity v2x vehicle to everything"/>
  <p:tag name="MIO_LASTEDITORNAME" val="Derrick Waylen"/>
</p:tagLst>
</file>

<file path=ppt/tags/tag152.xml><?xml version="1.0" encoding="utf-8"?>
<p:tagLst xmlns:a="http://schemas.openxmlformats.org/drawingml/2006/main" xmlns:r="http://schemas.openxmlformats.org/officeDocument/2006/relationships" xmlns:p="http://schemas.openxmlformats.org/presentationml/2006/main">
  <p:tag name="MIO_EKGUID" val="ac87c72b-de31-4f9e-9c14-284ade8fbc8d"/>
  <p:tag name="MIO_GUID" val="b5c092bf-01cf-4e48-98a5-36a79fc2820d"/>
  <p:tag name="MIO_UPDATE" val="True"/>
  <p:tag name="MIO_VERSION" val="26.11.2019 20:11:26"/>
  <p:tag name="MIO_DBID" val="B8FCB12D-AF03-49EB-9F79-BB019BE99E1E"/>
  <p:tag name="MIO_LASTDOWNLOADED" val="13.12.2019 09:29:47"/>
  <p:tag name="MIO_OBJECTNAME" val="Clarity use cases"/>
  <p:tag name="MIO_LASTEDITORNAME" val="Derrick Waylen"/>
</p:tagLst>
</file>

<file path=ppt/tags/tag153.xml><?xml version="1.0" encoding="utf-8"?>
<p:tagLst xmlns:a="http://schemas.openxmlformats.org/drawingml/2006/main" xmlns:r="http://schemas.openxmlformats.org/officeDocument/2006/relationships" xmlns:p="http://schemas.openxmlformats.org/presentationml/2006/main">
  <p:tag name="MIO_EKGUID" val="4247ee97-416a-4545-b7ba-281b6ea0a74b"/>
  <p:tag name="MIO_GUID" val="fb4da834-b47f-4983-b6ef-ba73cdf12067"/>
  <p:tag name="MIO_UPDATE" val="True"/>
  <p:tag name="MIO_VERSION" val="26.11.2019 13:36:49"/>
  <p:tag name="MIO_DBID" val="B8FCB12D-AF03-49EB-9F79-BB019BE99E1E"/>
  <p:tag name="MIO_LASTDOWNLOADED" val="13.12.2019 09:29:48"/>
  <p:tag name="MIO_OBJECTNAME" val="Clarity umbrella 20 of the top 25 PC insurance  carriers"/>
  <p:tag name="MIO_LASTEDITORNAME" val="Derrick Waylen"/>
</p:tagLst>
</file>

<file path=ppt/tags/tag154.xml><?xml version="1.0" encoding="utf-8"?>
<p:tagLst xmlns:a="http://schemas.openxmlformats.org/drawingml/2006/main" xmlns:r="http://schemas.openxmlformats.org/officeDocument/2006/relationships" xmlns:p="http://schemas.openxmlformats.org/presentationml/2006/main">
  <p:tag name="MIO_EKGUID" val="27e3ea26-43a4-49d4-9a81-f2574ac8ea93"/>
  <p:tag name="MIO_GUID" val="5aeb94b2-1ecd-4146-8400-6e1275fd13d0"/>
  <p:tag name="MIO_UPDATE" val="True"/>
  <p:tag name="MIO_VERSION" val="26.11.2019 13:36:44"/>
  <p:tag name="MIO_DBID" val="B8FCB12D-AF03-49EB-9F79-BB019BE99E1E"/>
  <p:tag name="MIO_LASTDOWNLOADED" val="13.12.2019 09:29:48"/>
  <p:tag name="MIO_OBJECTNAME" val="Clarity two circular arrows"/>
  <p:tag name="MIO_LASTEDITORNAME" val="Derrick Waylen"/>
</p:tagLst>
</file>

<file path=ppt/tags/tag155.xml><?xml version="1.0" encoding="utf-8"?>
<p:tagLst xmlns:a="http://schemas.openxmlformats.org/drawingml/2006/main" xmlns:r="http://schemas.openxmlformats.org/officeDocument/2006/relationships" xmlns:p="http://schemas.openxmlformats.org/presentationml/2006/main">
  <p:tag name="MIO_EKGUID" val="2f446e94-47f9-429a-989b-5b2715bf308e"/>
  <p:tag name="MIO_GUID" val="47ccc564-d982-4618-898d-9e8271454179"/>
  <p:tag name="MIO_UPDATE" val="True"/>
  <p:tag name="MIO_VERSION" val="26.11.2019 13:36:32"/>
  <p:tag name="MIO_DBID" val="B8FCB12D-AF03-49EB-9F79-BB019BE99E1E"/>
  <p:tag name="MIO_LASTDOWNLOADED" val="13.12.2019 09:29:48"/>
  <p:tag name="MIO_OBJECTNAME" val="Clarity tesla"/>
  <p:tag name="MIO_LASTEDITORNAME" val="Derrick Waylen"/>
</p:tagLst>
</file>

<file path=ppt/tags/tag156.xml><?xml version="1.0" encoding="utf-8"?>
<p:tagLst xmlns:a="http://schemas.openxmlformats.org/drawingml/2006/main" xmlns:r="http://schemas.openxmlformats.org/officeDocument/2006/relationships" xmlns:p="http://schemas.openxmlformats.org/presentationml/2006/main">
  <p:tag name="MIO_EKGUID" val="a4e5ac3e-dd94-4da4-b28a-e13e12728baf"/>
  <p:tag name="MIO_GUID" val="c89cf3b0-8bfa-4302-943a-2ed53377acc3"/>
  <p:tag name="MIO_UPDATE" val="True"/>
  <p:tag name="MIO_VERSION" val="26.11.2019 13:36:20"/>
  <p:tag name="MIO_DBID" val="B8FCB12D-AF03-49EB-9F79-BB019BE99E1E"/>
  <p:tag name="MIO_LASTDOWNLOADED" val="13.12.2019 09:29:48"/>
  <p:tag name="MIO_OBJECTNAME" val="Clarity teamwork"/>
  <p:tag name="MIO_LASTEDITORNAME" val="Derrick Waylen"/>
</p:tagLst>
</file>

<file path=ppt/tags/tag157.xml><?xml version="1.0" encoding="utf-8"?>
<p:tagLst xmlns:a="http://schemas.openxmlformats.org/drawingml/2006/main" xmlns:r="http://schemas.openxmlformats.org/officeDocument/2006/relationships" xmlns:p="http://schemas.openxmlformats.org/presentationml/2006/main">
  <p:tag name="MIO_EKGUID" val="7f20116b-08a9-4277-a5ab-49001b40ed1d"/>
  <p:tag name="MIO_GUID" val="7e8ba9d4-66d2-4c15-b753-c76f9f7d9ddb"/>
  <p:tag name="MIO_UPDATE" val="True"/>
  <p:tag name="MIO_VERSION" val="26.11.2019 13:37:22"/>
  <p:tag name="MIO_DBID" val="B8FCB12D-AF03-49EB-9F79-BB019BE99E1E"/>
  <p:tag name="MIO_LASTDOWNLOADED" val="13.12.2019 09:30:27"/>
  <p:tag name="MIO_OBJECTNAME" val="Clarity visualization mobile"/>
  <p:tag name="MIO_LASTEDITORNAME" val="Derrick Waylen"/>
</p:tagLst>
</file>

<file path=ppt/tags/tag158.xml><?xml version="1.0" encoding="utf-8"?>
<p:tagLst xmlns:a="http://schemas.openxmlformats.org/drawingml/2006/main" xmlns:r="http://schemas.openxmlformats.org/officeDocument/2006/relationships" xmlns:p="http://schemas.openxmlformats.org/presentationml/2006/main">
  <p:tag name="MIO_EKGUID" val="ab91b988-01c1-48ea-9421-447a2de07c24"/>
  <p:tag name="MIO_GUID" val="ae37c74f-474b-4a11-9a89-0407e756d583"/>
  <p:tag name="MIO_UPDATE" val="True"/>
  <p:tag name="MIO_VERSION" val="26.11.2019 13:37:14"/>
  <p:tag name="MIO_DBID" val="B8FCB12D-AF03-49EB-9F79-BB019BE99E1E"/>
  <p:tag name="MIO_LASTDOWNLOADED" val="13.12.2019 09:30:27"/>
  <p:tag name="MIO_OBJECTNAME" val="Clarity value embrace the impossible rocket"/>
  <p:tag name="MIO_LASTEDITORNAME" val="Derrick Waylen"/>
</p:tagLst>
</file>

<file path=ppt/tags/tag159.xml><?xml version="1.0" encoding="utf-8"?>
<p:tagLst xmlns:a="http://schemas.openxmlformats.org/drawingml/2006/main" xmlns:r="http://schemas.openxmlformats.org/officeDocument/2006/relationships" xmlns:p="http://schemas.openxmlformats.org/presentationml/2006/main">
  <p:tag name="MIO_EKGUID" val="fb22602e-5b62-4ace-93b1-48e8bee4d036"/>
  <p:tag name="MIO_GUID" val="d7463178-8817-491d-8a76-04396f3fa737"/>
  <p:tag name="MIO_UPDATE" val="True"/>
  <p:tag name="MIO_VERSION" val="26.11.2019 13:37:10"/>
  <p:tag name="MIO_DBID" val="B8FCB12D-AF03-49EB-9F79-BB019BE99E1E"/>
  <p:tag name="MIO_LASTDOWNLOADED" val="13.12.2019 09:30:27"/>
  <p:tag name="MIO_OBJECTNAME" val="Clarity value embrace the impossible mountain"/>
  <p:tag name="MIO_LASTEDITORNAME" val="Derrick Waylen"/>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MIO_EKGUID" val="36d7d5f8-000d-4be4-ac1d-1b0aacbd09f3"/>
  <p:tag name="MIO_GUID" val="787c8289-3e22-4859-a582-49f762d99744"/>
  <p:tag name="MIO_UPDATE" val="True"/>
  <p:tag name="MIO_VERSION" val="26.11.2019 13:28:02"/>
  <p:tag name="MIO_DBID" val="B8FCB12D-AF03-49EB-9F79-BB019BE99E1E"/>
  <p:tag name="MIO_LASTDOWNLOADED" val="13.12.2019 09:21:56"/>
  <p:tag name="MIO_OBJECTNAME" val="Clarity industrial Some of the most recognizable industrial brands"/>
  <p:tag name="MIO_LASTEDITORNAME" val="Derrick Waylen"/>
</p:tagLst>
</file>

<file path=ppt/tags/tag161.xml><?xml version="1.0" encoding="utf-8"?>
<p:tagLst xmlns:a="http://schemas.openxmlformats.org/drawingml/2006/main" xmlns:r="http://schemas.openxmlformats.org/officeDocument/2006/relationships" xmlns:p="http://schemas.openxmlformats.org/presentationml/2006/main">
  <p:tag name="MIO_EKGUID" val="f9c35011-0c21-427e-ba5b-d7dbfc538d64"/>
  <p:tag name="MIO_GUID" val="64cddf4d-78aa-470b-8687-141a6a69ba3e"/>
  <p:tag name="MIO_UPDATE" val="True"/>
  <p:tag name="MIO_VERSION" val="26.11.2019 13:27:59"/>
  <p:tag name="MIO_DBID" val="B8FCB12D-AF03-49EB-9F79-BB019BE99E1E"/>
  <p:tag name="MIO_LASTDOWNLOADED" val="13.12.2019 09:21:57"/>
  <p:tag name="MIO_OBJECTNAME" val="Clarity industrial North American steel producer"/>
  <p:tag name="MIO_LASTEDITORNAME" val="Derrick Waylen"/>
</p:tagLst>
</file>

<file path=ppt/tags/tag162.xml><?xml version="1.0" encoding="utf-8"?>
<p:tagLst xmlns:a="http://schemas.openxmlformats.org/drawingml/2006/main" xmlns:r="http://schemas.openxmlformats.org/officeDocument/2006/relationships" xmlns:p="http://schemas.openxmlformats.org/presentationml/2006/main">
  <p:tag name="MIO_EKGUID" val="e22d05cc-7230-4d67-af2d-e147717125ff"/>
  <p:tag name="MIO_GUID" val="bee274c7-4cda-40b4-b697-36f08c59a203"/>
  <p:tag name="MIO_UPDATE" val="True"/>
  <p:tag name="MIO_VERSION" val="26.11.2019 13:27:54"/>
  <p:tag name="MIO_DBID" val="B8FCB12D-AF03-49EB-9F79-BB019BE99E1E"/>
  <p:tag name="MIO_LASTDOWNLOADED" val="13.12.2019 09:21:57"/>
  <p:tag name="MIO_OBJECTNAME" val="Clarity industrial iot devices"/>
  <p:tag name="MIO_LASTEDITORNAME" val="Derrick Waylen"/>
</p:tagLst>
</file>

<file path=ppt/tags/tag163.xml><?xml version="1.0" encoding="utf-8"?>
<p:tagLst xmlns:a="http://schemas.openxmlformats.org/drawingml/2006/main" xmlns:r="http://schemas.openxmlformats.org/officeDocument/2006/relationships" xmlns:p="http://schemas.openxmlformats.org/presentationml/2006/main">
  <p:tag name="MIO_EKGUID" val="cc51b863-6b07-47a7-8a08-6fd52f13ae67"/>
  <p:tag name="MIO_GUID" val="973579f0-02bf-4002-b1d0-788e5529e9ab"/>
  <p:tag name="MIO_UPDATE" val="True"/>
  <p:tag name="MIO_VERSION" val="26.11.2019 13:27:50"/>
  <p:tag name="MIO_DBID" val="B8FCB12D-AF03-49EB-9F79-BB019BE99E1E"/>
  <p:tag name="MIO_LASTDOWNLOADED" val="13.12.2019 09:21:57"/>
  <p:tag name="MIO_OBJECTNAME" val="Clarity industrial Global drilling company for oil gas exploration"/>
  <p:tag name="MIO_LASTEDITORNAME" val="Derrick Waylen"/>
</p:tagLst>
</file>

<file path=ppt/tags/tag164.xml><?xml version="1.0" encoding="utf-8"?>
<p:tagLst xmlns:a="http://schemas.openxmlformats.org/drawingml/2006/main" xmlns:r="http://schemas.openxmlformats.org/officeDocument/2006/relationships" xmlns:p="http://schemas.openxmlformats.org/presentationml/2006/main">
  <p:tag name="MIO_EKGUID" val="cf916fac-d5b9-4b27-9282-c0d21154d3d8"/>
  <p:tag name="MIO_GUID" val="20bcc07d-6710-42b7-9a8a-84677c21fced"/>
  <p:tag name="MIO_UPDATE" val="True"/>
  <p:tag name="MIO_VERSION" val="26.11.2019 13:31:08"/>
  <p:tag name="MIO_DBID" val="B8FCB12D-AF03-49EB-9F79-BB019BE99E1E"/>
  <p:tag name="MIO_LASTDOWNLOADED" val="13.12.2019 09:21:57"/>
  <p:tag name="MIO_OBJECTNAME" val="Clarity income call"/>
  <p:tag name="MIO_LASTEDITORNAME" val="Derrick Waylen"/>
</p:tagLst>
</file>

<file path=ppt/tags/tag165.xml><?xml version="1.0" encoding="utf-8"?>
<p:tagLst xmlns:a="http://schemas.openxmlformats.org/drawingml/2006/main" xmlns:r="http://schemas.openxmlformats.org/officeDocument/2006/relationships" xmlns:p="http://schemas.openxmlformats.org/presentationml/2006/main">
  <p:tag name="MIO_EKGUID" val="20410e1a-4898-4f2f-8b92-20776c3aa3ca"/>
  <p:tag name="MIO_GUID" val="fbc6268c-2c04-41b0-83f4-49e86aaa8c4a"/>
  <p:tag name="MIO_UPDATE" val="True"/>
  <p:tag name="MIO_VERSION" val="26.11.2019 13:31:04"/>
  <p:tag name="MIO_DBID" val="B8FCB12D-AF03-49EB-9F79-BB019BE99E1E"/>
  <p:tag name="MIO_LASTDOWNLOADED" val="13.12.2019 09:21:57"/>
  <p:tag name="MIO_OBJECTNAME" val="Clarity higher education"/>
  <p:tag name="MIO_LASTEDITORNAME" val="Derrick Waylen"/>
</p:tagLst>
</file>

<file path=ppt/tags/tag166.xml><?xml version="1.0" encoding="utf-8"?>
<p:tagLst xmlns:a="http://schemas.openxmlformats.org/drawingml/2006/main" xmlns:r="http://schemas.openxmlformats.org/officeDocument/2006/relationships" xmlns:p="http://schemas.openxmlformats.org/presentationml/2006/main">
  <p:tag name="MIO_EKGUID" val="b03e62be-4df9-4851-819f-1a24cb1542ff"/>
  <p:tag name="MIO_GUID" val="2d0b0834-ce9f-47f8-8cd9-103fa01600bf"/>
  <p:tag name="MIO_UPDATE" val="True"/>
  <p:tag name="MIO_VERSION" val="26.11.2019 13:30:55"/>
  <p:tag name="MIO_DBID" val="B8FCB12D-AF03-49EB-9F79-BB019BE99E1E"/>
  <p:tag name="MIO_LASTDOWNLOADED" val="13.12.2019 09:21:57"/>
  <p:tag name="MIO_OBJECTNAME" val="Clarity healthcare Respected providers within the blues payer network"/>
  <p:tag name="MIO_LASTEDITORNAME" val="Derrick Waylen"/>
</p:tagLst>
</file>

<file path=ppt/tags/tag167.xml><?xml version="1.0" encoding="utf-8"?>
<p:tagLst xmlns:a="http://schemas.openxmlformats.org/drawingml/2006/main" xmlns:r="http://schemas.openxmlformats.org/officeDocument/2006/relationships" xmlns:p="http://schemas.openxmlformats.org/presentationml/2006/main">
  <p:tag name="MIO_EKGUID" val="b9589d0a-4f52-413d-b795-8bd1ca24e9ea"/>
  <p:tag name="MIO_GUID" val="1910eea3-feb8-4921-a049-70b6527690e2"/>
  <p:tag name="MIO_UPDATE" val="True"/>
  <p:tag name="MIO_VERSION" val="26.11.2019 13:30:46"/>
  <p:tag name="MIO_DBID" val="B8FCB12D-AF03-49EB-9F79-BB019BE99E1E"/>
  <p:tag name="MIO_LASTDOWNLOADED" val="13.12.2019 09:21:57"/>
  <p:tag name="MIO_OBJECTNAME" val="Clarity healthcare innovations"/>
  <p:tag name="MIO_LASTEDITORNAME" val="Derrick Waylen"/>
</p:tagLst>
</file>

<file path=ppt/tags/tag168.xml><?xml version="1.0" encoding="utf-8"?>
<p:tagLst xmlns:a="http://schemas.openxmlformats.org/drawingml/2006/main" xmlns:r="http://schemas.openxmlformats.org/officeDocument/2006/relationships" xmlns:p="http://schemas.openxmlformats.org/presentationml/2006/main">
  <p:tag name="MIO_EKGUID" val="87a25b57-e7a3-46f5-861d-16d57c5bce43"/>
  <p:tag name="MIO_GUID" val="09913cca-e9aa-4743-92dd-57a96d11b40f"/>
  <p:tag name="MIO_UPDATE" val="True"/>
  <p:tag name="MIO_VERSION" val="26.11.2019 13:30:34"/>
  <p:tag name="MIO_DBID" val="B8FCB12D-AF03-49EB-9F79-BB019BE99E1E"/>
  <p:tag name="MIO_LASTDOWNLOADED" val="13.12.2019 09:21:58"/>
  <p:tag name="MIO_OBJECTNAME" val="Clarity health life science"/>
  <p:tag name="MIO_LASTEDITORNAME" val="Derrick Waylen"/>
</p:tagLst>
</file>

<file path=ppt/tags/tag169.xml><?xml version="1.0" encoding="utf-8"?>
<p:tagLst xmlns:a="http://schemas.openxmlformats.org/drawingml/2006/main" xmlns:r="http://schemas.openxmlformats.org/officeDocument/2006/relationships" xmlns:p="http://schemas.openxmlformats.org/presentationml/2006/main">
  <p:tag name="MIO_EKGUID" val="46988897-d2c7-41b5-bc42-4312a7d9a0db"/>
  <p:tag name="MIO_GUID" val="b3b3995f-b118-4e45-bf77-65abd5a36164"/>
  <p:tag name="MIO_UPDATE" val="True"/>
  <p:tag name="MIO_VERSION" val="26.11.2019 13:30:30"/>
  <p:tag name="MIO_DBID" val="B8FCB12D-AF03-49EB-9F79-BB019BE99E1E"/>
  <p:tag name="MIO_LASTDOWNLOADED" val="13.12.2019 09:21:58"/>
  <p:tag name="MIO_OBJECTNAME" val="Clarity handshake"/>
  <p:tag name="MIO_LASTEDITORNAME" val="Derrick Waylen"/>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MIO_EKGUID" val="8c744204-1282-4637-be1b-d417e9cc802c"/>
  <p:tag name="MIO_GUID" val="97c5a097-fb48-48bd-95ce-94f8fd8bd3e2"/>
  <p:tag name="MIO_UPDATE" val="True"/>
  <p:tag name="MIO_VERSION" val="26.11.2019 13:28:56"/>
  <p:tag name="MIO_DBID" val="B8FCB12D-AF03-49EB-9F79-BB019BE99E1E"/>
  <p:tag name="MIO_LASTDOWNLOADED" val="13.12.2019 09:22:57"/>
  <p:tag name="MIO_OBJECTNAME" val="Clarity Innovation"/>
  <p:tag name="MIO_LASTEDITORNAME" val="Derrick Waylen"/>
</p:tagLst>
</file>

<file path=ppt/tags/tag171.xml><?xml version="1.0" encoding="utf-8"?>
<p:tagLst xmlns:a="http://schemas.openxmlformats.org/drawingml/2006/main" xmlns:r="http://schemas.openxmlformats.org/officeDocument/2006/relationships" xmlns:p="http://schemas.openxmlformats.org/presentationml/2006/main">
  <p:tag name="MIO_EKGUID" val="b0258d91-e3c3-486a-b75a-28e3f7284ba0"/>
  <p:tag name="MIO_GUID" val="889abdb7-9a99-49ad-be3d-fbe8c3247be1"/>
  <p:tag name="MIO_UPDATE" val="True"/>
  <p:tag name="MIO_VERSION" val="26.11.2019 13:28:39"/>
  <p:tag name="MIO_DBID" val="B8FCB12D-AF03-49EB-9F79-BB019BE99E1E"/>
  <p:tag name="MIO_LASTDOWNLOADED" val="13.12.2019 09:22:58"/>
  <p:tag name="MIO_OBJECTNAME" val="Clarity Industries Retail"/>
  <p:tag name="MIO_LASTEDITORNAME" val="Derrick Waylen"/>
</p:tagLst>
</file>

<file path=ppt/tags/tag172.xml><?xml version="1.0" encoding="utf-8"?>
<p:tagLst xmlns:a="http://schemas.openxmlformats.org/drawingml/2006/main" xmlns:r="http://schemas.openxmlformats.org/officeDocument/2006/relationships" xmlns:p="http://schemas.openxmlformats.org/presentationml/2006/main">
  <p:tag name="MIO_EKGUID" val="89d24588-0467-44fe-819d-3a1b5d1b384f"/>
  <p:tag name="MIO_GUID" val="cb9023f1-850b-4715-acf2-856e847adbab"/>
  <p:tag name="MIO_UPDATE" val="True"/>
  <p:tag name="MIO_VERSION" val="26.11.2019 13:28:23"/>
  <p:tag name="MIO_DBID" val="B8FCB12D-AF03-49EB-9F79-BB019BE99E1E"/>
  <p:tag name="MIO_LASTDOWNLOADED" val="13.12.2019 09:22:59"/>
  <p:tag name="MIO_OBJECTNAME" val="Clarity Industries hightech"/>
  <p:tag name="MIO_LASTEDITORNAME" val="Derrick Waylen"/>
</p:tagLst>
</file>

<file path=ppt/tags/tag173.xml><?xml version="1.0" encoding="utf-8"?>
<p:tagLst xmlns:a="http://schemas.openxmlformats.org/drawingml/2006/main" xmlns:r="http://schemas.openxmlformats.org/officeDocument/2006/relationships" xmlns:p="http://schemas.openxmlformats.org/presentationml/2006/main">
  <p:tag name="MIO_EKGUID" val="f7696d6d-2ce5-48ff-b5a9-173cce7ec4c1"/>
  <p:tag name="MIO_GUID" val="9d7fb5c5-5f75-43c4-94e3-ca1f0f18a88f"/>
  <p:tag name="MIO_UPDATE" val="True"/>
  <p:tag name="MIO_VERSION" val="26.11.2019 13:28:19"/>
  <p:tag name="MIO_DBID" val="B8FCB12D-AF03-49EB-9F79-BB019BE99E1E"/>
  <p:tag name="MIO_LASTDOWNLOADED" val="13.12.2019 09:23:00"/>
  <p:tag name="MIO_OBJECTNAME" val="Clarity Industries financial services"/>
  <p:tag name="MIO_LASTEDITORNAME" val="Derrick Waylen"/>
</p:tagLst>
</file>

<file path=ppt/tags/tag174.xml><?xml version="1.0" encoding="utf-8"?>
<p:tagLst xmlns:a="http://schemas.openxmlformats.org/drawingml/2006/main" xmlns:r="http://schemas.openxmlformats.org/officeDocument/2006/relationships" xmlns:p="http://schemas.openxmlformats.org/presentationml/2006/main">
  <p:tag name="MIO_EKGUID" val="b87a17e9-4e34-4251-952f-b9e3fc36e3cf"/>
  <p:tag name="MIO_GUID" val="2443a76c-dc9c-490f-8199-9b3b0b6e02c7"/>
  <p:tag name="MIO_UPDATE" val="True"/>
  <p:tag name="MIO_VERSION" val="26.11.2019 13:28:11"/>
  <p:tag name="MIO_DBID" val="B8FCB12D-AF03-49EB-9F79-BB019BE99E1E"/>
  <p:tag name="MIO_LASTDOWNLOADED" val="13.12.2019 09:23:00"/>
  <p:tag name="MIO_OBJECTNAME" val="Clarity Industrialization"/>
  <p:tag name="MIO_LASTEDITORNAME" val="Derrick Waylen"/>
</p:tagLst>
</file>

<file path=ppt/tags/tag175.xml><?xml version="1.0" encoding="utf-8"?>
<p:tagLst xmlns:a="http://schemas.openxmlformats.org/drawingml/2006/main" xmlns:r="http://schemas.openxmlformats.org/officeDocument/2006/relationships" xmlns:p="http://schemas.openxmlformats.org/presentationml/2006/main">
  <p:tag name="MIO_EKGUID" val="343d184e-fd37-44f5-b1d6-bcc93e354b21"/>
  <p:tag name="MIO_GUID" val="efa7495e-bc69-426d-8ba8-8d1f3a4f9cef"/>
  <p:tag name="MIO_UPDATE" val="True"/>
  <p:tag name="MIO_VERSION" val="26.11.2019 13:28:07"/>
  <p:tag name="MIO_DBID" val="B8FCB12D-AF03-49EB-9F79-BB019BE99E1E"/>
  <p:tag name="MIO_LASTDOWNLOADED" val="13.12.2019 09:23:00"/>
  <p:tag name="MIO_OBJECTNAME" val="Clarity industrial World leader in  heavy equipment manufacturing"/>
  <p:tag name="MIO_LASTEDITORNAME" val="Derrick Waylen"/>
</p:tagLst>
</file>

<file path=ppt/tags/tag176.xml><?xml version="1.0" encoding="utf-8"?>
<p:tagLst xmlns:a="http://schemas.openxmlformats.org/drawingml/2006/main" xmlns:r="http://schemas.openxmlformats.org/officeDocument/2006/relationships" xmlns:p="http://schemas.openxmlformats.org/presentationml/2006/main">
  <p:tag name="MIO_EKGUID" val="ea1038b9-b804-43d0-ba8f-9da2ac8e38ac"/>
  <p:tag name="MIO_GUID" val="4ad38e50-6e3c-4633-a856-fbae9e6ec9d1"/>
  <p:tag name="MIO_UPDATE" val="True"/>
  <p:tag name="MIO_VERSION" val="26.11.2019 13:30:02"/>
  <p:tag name="MIO_DBID" val="B8FCB12D-AF03-49EB-9F79-BB019BE99E1E"/>
  <p:tag name="MIO_LASTDOWNLOADED" val="13.12.2019 09:23:51"/>
  <p:tag name="MIO_OBJECTNAME" val="Clarity mail"/>
  <p:tag name="MIO_LASTEDITORNAME" val="Derrick Waylen"/>
</p:tagLst>
</file>

<file path=ppt/tags/tag177.xml><?xml version="1.0" encoding="utf-8"?>
<p:tagLst xmlns:a="http://schemas.openxmlformats.org/drawingml/2006/main" xmlns:r="http://schemas.openxmlformats.org/officeDocument/2006/relationships" xmlns:p="http://schemas.openxmlformats.org/presentationml/2006/main">
  <p:tag name="MIO_EKGUID" val="3b5cd97b-3dae-4918-b07b-5ef810d46f71"/>
  <p:tag name="MIO_GUID" val="e4026846-438e-4de5-b21c-64fa9ca02195"/>
  <p:tag name="MIO_UPDATE" val="True"/>
  <p:tag name="MIO_VERSION" val="26.11.2019 13:29:58"/>
  <p:tag name="MIO_DBID" val="B8FCB12D-AF03-49EB-9F79-BB019BE99E1E"/>
  <p:tag name="MIO_LASTDOWNLOADED" val="13.12.2019 09:23:51"/>
  <p:tag name="MIO_OBJECTNAME" val="Clarity location"/>
  <p:tag name="MIO_LASTEDITORNAME" val="Derrick Waylen"/>
</p:tagLst>
</file>

<file path=ppt/tags/tag178.xml><?xml version="1.0" encoding="utf-8"?>
<p:tagLst xmlns:a="http://schemas.openxmlformats.org/drawingml/2006/main" xmlns:r="http://schemas.openxmlformats.org/officeDocument/2006/relationships" xmlns:p="http://schemas.openxmlformats.org/presentationml/2006/main">
  <p:tag name="MIO_EKGUID" val="3212a6ed-6f9b-4b63-be72-2bbf5c97d5c6"/>
  <p:tag name="MIO_GUID" val="c04dad63-5c86-4712-8661-cc62db779b31"/>
  <p:tag name="MIO_UPDATE" val="True"/>
  <p:tag name="MIO_VERSION" val="26.11.2019 13:29:45"/>
  <p:tag name="MIO_DBID" val="B8FCB12D-AF03-49EB-9F79-BB019BE99E1E"/>
  <p:tag name="MIO_LASTDOWNLOADED" val="13.12.2019 09:23:52"/>
  <p:tag name="MIO_OBJECTNAME" val="Clarity legal"/>
  <p:tag name="MIO_LASTEDITORNAME" val="Derrick Waylen"/>
</p:tagLst>
</file>

<file path=ppt/tags/tag179.xml><?xml version="1.0" encoding="utf-8"?>
<p:tagLst xmlns:a="http://schemas.openxmlformats.org/drawingml/2006/main" xmlns:r="http://schemas.openxmlformats.org/officeDocument/2006/relationships" xmlns:p="http://schemas.openxmlformats.org/presentationml/2006/main">
  <p:tag name="MIO_EKGUID" val="7fd364e6-4db9-4cea-a800-78f2e39f889f"/>
  <p:tag name="MIO_GUID" val="943498bf-7640-4e2d-8eb0-1a529f3b05ff"/>
  <p:tag name="MIO_UPDATE" val="True"/>
  <p:tag name="MIO_VERSION" val="26.11.2019 13:29:41"/>
  <p:tag name="MIO_DBID" val="B8FCB12D-AF03-49EB-9F79-BB019BE99E1E"/>
  <p:tag name="MIO_LASTDOWNLOADED" val="13.12.2019 09:23:52"/>
  <p:tag name="MIO_OBJECTNAME" val="Clarity leading global battery manufacturer duracell"/>
  <p:tag name="MIO_LASTEDITORNAME" val="Derrick Waylen"/>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MIO_EKGUID" val="0cd5776a-d2f8-473a-8969-d8a3c0182664"/>
  <p:tag name="MIO_GUID" val="f344881f-bf2b-4488-bf68-465ff49a1a2b"/>
  <p:tag name="MIO_UPDATE" val="True"/>
  <p:tag name="MIO_VERSION" val="26.11.2019 13:29:37"/>
  <p:tag name="MIO_DBID" val="B8FCB12D-AF03-49EB-9F79-BB019BE99E1E"/>
  <p:tag name="MIO_LASTDOWNLOADED" val="13.12.2019 09:23:52"/>
  <p:tag name="MIO_OBJECTNAME" val="Clarity largest multi system operators"/>
  <p:tag name="MIO_LASTEDITORNAME" val="Derrick Waylen"/>
</p:tagLst>
</file>

<file path=ppt/tags/tag181.xml><?xml version="1.0" encoding="utf-8"?>
<p:tagLst xmlns:a="http://schemas.openxmlformats.org/drawingml/2006/main" xmlns:r="http://schemas.openxmlformats.org/officeDocument/2006/relationships" xmlns:p="http://schemas.openxmlformats.org/presentationml/2006/main">
  <p:tag name="MIO_EKGUID" val="abfb027c-f53c-431f-a12f-12263ae8aabd"/>
  <p:tag name="MIO_GUID" val="25bdf600-9615-4a76-8473-3b6fe6039894"/>
  <p:tag name="MIO_UPDATE" val="True"/>
  <p:tag name="MIO_VERSION" val="26.11.2019 13:29:25"/>
  <p:tag name="MIO_DBID" val="B8FCB12D-AF03-49EB-9F79-BB019BE99E1E"/>
  <p:tag name="MIO_LASTDOWNLOADED" val="13.12.2019 09:23:52"/>
  <p:tag name="MIO_OBJECTNAME" val="Clarity investment management"/>
  <p:tag name="MIO_LASTEDITORNAME" val="Derrick Waylen"/>
</p:tagLst>
</file>

<file path=ppt/tags/tag182.xml><?xml version="1.0" encoding="utf-8"?>
<p:tagLst xmlns:a="http://schemas.openxmlformats.org/drawingml/2006/main" xmlns:r="http://schemas.openxmlformats.org/officeDocument/2006/relationships" xmlns:p="http://schemas.openxmlformats.org/presentationml/2006/main">
  <p:tag name="MIO_EKGUID" val="8c4043c1-36c1-45a7-a343-5cef8693ddba"/>
  <p:tag name="MIO_GUID" val="54bab811-b380-4732-adb8-3e437b738bf8"/>
  <p:tag name="MIO_UPDATE" val="True"/>
  <p:tag name="MIO_VERSION" val="26.11.2019 13:29:21"/>
  <p:tag name="MIO_DBID" val="B8FCB12D-AF03-49EB-9F79-BB019BE99E1E"/>
  <p:tag name="MIO_LASTDOWNLOADED" val="13.12.2019 09:23:52"/>
  <p:tag name="MIO_OBJECTNAME" val="Clarity Integrating companies"/>
  <p:tag name="MIO_LASTEDITORNAME" val="Derrick Waylen"/>
</p:tagLst>
</file>

<file path=ppt/tags/tag183.xml><?xml version="1.0" encoding="utf-8"?>
<p:tagLst xmlns:a="http://schemas.openxmlformats.org/drawingml/2006/main" xmlns:r="http://schemas.openxmlformats.org/officeDocument/2006/relationships" xmlns:p="http://schemas.openxmlformats.org/presentationml/2006/main">
  <p:tag name="MIO_EKGUID" val="a8d4d6d1-0279-4295-a5bf-c2662c4822fb"/>
  <p:tag name="MIO_GUID" val="26a9221a-0d35-4095-8e02-7a2af63913e4"/>
  <p:tag name="MIO_UPDATE" val="True"/>
  <p:tag name="MIO_VERSION" val="26.11.2019 13:29:05"/>
  <p:tag name="MIO_DBID" val="B8FCB12D-AF03-49EB-9F79-BB019BE99E1E"/>
  <p:tag name="MIO_LASTDOWNLOADED" val="13.12.2019 09:23:52"/>
  <p:tag name="MIO_OBJECTNAME" val="Clarity insurance fraud protection"/>
  <p:tag name="MIO_LASTEDITORNAME" val="Derrick Waylen"/>
</p:tagLst>
</file>

<file path=ppt/tags/tag184.xml><?xml version="1.0" encoding="utf-8"?>
<p:tagLst xmlns:a="http://schemas.openxmlformats.org/drawingml/2006/main" xmlns:r="http://schemas.openxmlformats.org/officeDocument/2006/relationships" xmlns:p="http://schemas.openxmlformats.org/presentationml/2006/main">
  <p:tag name="MIO_EKGUID" val="41db3f4f-8de3-4226-8ed9-9eb5aa2abc17"/>
  <p:tag name="MIO_GUID" val="46e5a707-42b4-4733-8713-202c90c48b76"/>
  <p:tag name="MIO_UPDATE" val="True"/>
  <p:tag name="MIO_VERSION" val="26.11.2019 13:32:15"/>
  <p:tag name="MIO_DBID" val="B8FCB12D-AF03-49EB-9F79-BB019BE99E1E"/>
  <p:tag name="MIO_LASTDOWNLOADED" val="13.12.2019 09:24:25"/>
  <p:tag name="MIO_OBJECTNAME" val="Clarity methods"/>
  <p:tag name="MIO_LASTEDITORNAME" val="Derrick Waylen"/>
</p:tagLst>
</file>

<file path=ppt/tags/tag185.xml><?xml version="1.0" encoding="utf-8"?>
<p:tagLst xmlns:a="http://schemas.openxmlformats.org/drawingml/2006/main" xmlns:r="http://schemas.openxmlformats.org/officeDocument/2006/relationships" xmlns:p="http://schemas.openxmlformats.org/presentationml/2006/main">
  <p:tag name="MIO_EKGUID" val="9037509b-2a2b-4c1d-8adc-dd4efc0a64ac"/>
  <p:tag name="MIO_GUID" val="883f0321-71af-45a5-99fc-e4ad78b58913"/>
  <p:tag name="MIO_UPDATE" val="True"/>
  <p:tag name="MIO_VERSION" val="26.11.2019 13:31:52"/>
  <p:tag name="MIO_DBID" val="B8FCB12D-AF03-49EB-9F79-BB019BE99E1E"/>
  <p:tag name="MIO_LASTDOWNLOADED" val="13.12.2019 09:24:25"/>
  <p:tag name="MIO_OBJECTNAME" val="Clarity megaphone"/>
  <p:tag name="MIO_LASTEDITORNAME" val="Derrick Waylen"/>
</p:tagLst>
</file>

<file path=ppt/tags/tag186.xml><?xml version="1.0" encoding="utf-8"?>
<p:tagLst xmlns:a="http://schemas.openxmlformats.org/drawingml/2006/main" xmlns:r="http://schemas.openxmlformats.org/officeDocument/2006/relationships" xmlns:p="http://schemas.openxmlformats.org/presentationml/2006/main">
  <p:tag name="MIO_EKGUID" val="ee0aed4b-1aed-48dd-a176-5f66fd915141"/>
  <p:tag name="MIO_GUID" val="549307a7-5d06-4bb1-a462-366979141f9d"/>
  <p:tag name="MIO_UPDATE" val="True"/>
  <p:tag name="MIO_VERSION" val="26.11.2019 13:31:16"/>
  <p:tag name="MIO_DBID" val="B8FCB12D-AF03-49EB-9F79-BB019BE99E1E"/>
  <p:tag name="MIO_LASTDOWNLOADED" val="13.12.2019 09:24:26"/>
  <p:tag name="MIO_OBJECTNAME" val="Clarity marketing effectiveness"/>
  <p:tag name="MIO_LASTEDITORNAME" val="Derrick Waylen"/>
</p:tagLst>
</file>

<file path=ppt/tags/tag187.xml><?xml version="1.0" encoding="utf-8"?>
<p:tagLst xmlns:a="http://schemas.openxmlformats.org/drawingml/2006/main" xmlns:r="http://schemas.openxmlformats.org/officeDocument/2006/relationships" xmlns:p="http://schemas.openxmlformats.org/presentationml/2006/main">
  <p:tag name="MIO_EKGUID" val="5ddf9eda-1a68-4055-8e09-ac5f4d4d304f"/>
  <p:tag name="MIO_GUID" val="9fa424a2-18e1-4966-ba2e-5e3cd91a47ed"/>
  <p:tag name="MIO_UPDATE" val="True"/>
  <p:tag name="MIO_VERSION" val="26.11.2019 13:33:16"/>
  <p:tag name="MIO_DBID" val="B8FCB12D-AF03-49EB-9F79-BB019BE99E1E"/>
  <p:tag name="MIO_LASTDOWNLOADED" val="13.12.2019 09:25:31"/>
  <p:tag name="MIO_OBJECTNAME" val="Clarity performance measurement"/>
  <p:tag name="MIO_LASTEDITORNAME" val="Derrick Waylen"/>
</p:tagLst>
</file>

<file path=ppt/tags/tag188.xml><?xml version="1.0" encoding="utf-8"?>
<p:tagLst xmlns:a="http://schemas.openxmlformats.org/drawingml/2006/main" xmlns:r="http://schemas.openxmlformats.org/officeDocument/2006/relationships" xmlns:p="http://schemas.openxmlformats.org/presentationml/2006/main">
  <p:tag name="MIO_EKGUID" val="8d8d2787-964b-4a21-bf1c-9cff08603951"/>
  <p:tag name="MIO_GUID" val="6a44584c-14c5-430b-a85e-92a9deabe27f"/>
  <p:tag name="MIO_UPDATE" val="True"/>
  <p:tag name="MIO_VERSION" val="26.11.2019 13:33:12"/>
  <p:tag name="MIO_DBID" val="B8FCB12D-AF03-49EB-9F79-BB019BE99E1E"/>
  <p:tag name="MIO_LASTDOWNLOADED" val="13.12.2019 09:25:31"/>
  <p:tag name="MIO_OBJECTNAME" val="Clarity performance management"/>
  <p:tag name="MIO_LASTEDITORNAME" val="Derrick Waylen"/>
</p:tagLst>
</file>

<file path=ppt/tags/tag189.xml><?xml version="1.0" encoding="utf-8"?>
<p:tagLst xmlns:a="http://schemas.openxmlformats.org/drawingml/2006/main" xmlns:r="http://schemas.openxmlformats.org/officeDocument/2006/relationships" xmlns:p="http://schemas.openxmlformats.org/presentationml/2006/main">
  <p:tag name="MIO_EKGUID" val="6fdc92cf-966a-484e-aea5-c26cbfe899f2"/>
  <p:tag name="MIO_GUID" val="5c854d11-dcee-41b3-b7d0-6921cc1b47fe"/>
  <p:tag name="MIO_UPDATE" val="True"/>
  <p:tag name="MIO_VERSION" val="26.11.2019 13:32:56"/>
  <p:tag name="MIO_DBID" val="B8FCB12D-AF03-49EB-9F79-BB019BE99E1E"/>
  <p:tag name="MIO_LASTDOWNLOADED" val="13.12.2019 09:25:31"/>
  <p:tag name="MIO_OBJECTNAME" val="Clarity participation rate"/>
  <p:tag name="MIO_LASTEDITORNAME" val="Derrick Waylen"/>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MIO_EKGUID" val="43f670b3-87a3-4869-bcce-389e00fabecc"/>
  <p:tag name="MIO_GUID" val="012839a1-f2da-4eb0-ac80-25031aef4b48"/>
  <p:tag name="MIO_UPDATE" val="True"/>
  <p:tag name="MIO_VERSION" val="26.11.2019 13:32:52"/>
  <p:tag name="MIO_DBID" val="B8FCB12D-AF03-49EB-9F79-BB019BE99E1E"/>
  <p:tag name="MIO_LASTDOWNLOADED" val="13.12.2019 09:25:31"/>
  <p:tag name="MIO_OBJECTNAME" val="Clarity org dev process improv"/>
  <p:tag name="MIO_LASTEDITORNAME" val="Derrick Waylen"/>
</p:tagLst>
</file>

<file path=ppt/tags/tag191.xml><?xml version="1.0" encoding="utf-8"?>
<p:tagLst xmlns:a="http://schemas.openxmlformats.org/drawingml/2006/main" xmlns:r="http://schemas.openxmlformats.org/officeDocument/2006/relationships" xmlns:p="http://schemas.openxmlformats.org/presentationml/2006/main">
  <p:tag name="MIO_EKGUID" val="5da4251f-4e5b-411b-8fbb-9bcec0c10102"/>
  <p:tag name="MIO_GUID" val="9ab0e19f-ee32-4638-8226-cd6b0e8d68be"/>
  <p:tag name="MIO_UPDATE" val="True"/>
  <p:tag name="MIO_VERSION" val="26.11.2019 13:32:48"/>
  <p:tag name="MIO_DBID" val="B8FCB12D-AF03-49EB-9F79-BB019BE99E1E"/>
  <p:tag name="MIO_LASTDOWNLOADED" val="13.12.2019 09:25:31"/>
  <p:tag name="MIO_OBJECTNAME" val="Clarity omnichannel marketing"/>
  <p:tag name="MIO_LASTEDITORNAME" val="Derrick Waylen"/>
</p:tagLst>
</file>

<file path=ppt/tags/tag192.xml><?xml version="1.0" encoding="utf-8"?>
<p:tagLst xmlns:a="http://schemas.openxmlformats.org/drawingml/2006/main" xmlns:r="http://schemas.openxmlformats.org/officeDocument/2006/relationships" xmlns:p="http://schemas.openxmlformats.org/presentationml/2006/main">
  <p:tag name="MIO_EKGUID" val="b7ff5a88-8c07-4f69-8298-70e2578aa559"/>
  <p:tag name="MIO_GUID" val="b412ba2a-a5a7-43f3-8926-e3c99f50c6c0"/>
  <p:tag name="MIO_UPDATE" val="True"/>
  <p:tag name="MIO_VERSION" val="26.11.2019 13:32:28"/>
  <p:tag name="MIO_DBID" val="B8FCB12D-AF03-49EB-9F79-BB019BE99E1E"/>
  <p:tag name="MIO_LASTDOWNLOADED" val="13.12.2019 09:25:31"/>
  <p:tag name="MIO_OBJECTNAME" val="Clarity models analytics"/>
  <p:tag name="MIO_LASTEDITORNAME" val="Derrick Waylen"/>
</p:tagLst>
</file>

<file path=ppt/tags/tag193.xml><?xml version="1.0" encoding="utf-8"?>
<p:tagLst xmlns:a="http://schemas.openxmlformats.org/drawingml/2006/main" xmlns:r="http://schemas.openxmlformats.org/officeDocument/2006/relationships" xmlns:p="http://schemas.openxmlformats.org/presentationml/2006/main">
  <p:tag name="MIO_EKGUID" val="143add1c-ed68-4719-aa69-dc1183227480"/>
  <p:tag name="MIO_GUID" val="44e5c336-484f-4833-85b6-e9de9a0835bf"/>
  <p:tag name="MIO_UPDATE" val="True"/>
  <p:tag name="MIO_VERSION" val="26.11.2019 13:32:24"/>
  <p:tag name="MIO_DBID" val="B8FCB12D-AF03-49EB-9F79-BB019BE99E1E"/>
  <p:tag name="MIO_LASTDOWNLOADED" val="13.12.2019 09:25:31"/>
  <p:tag name="MIO_OBJECTNAME" val="Clarity mobile ringing"/>
  <p:tag name="MIO_LASTEDITORNAME" val="Derrick Waylen"/>
</p:tagLst>
</file>

<file path=ppt/tags/tag194.xml><?xml version="1.0" encoding="utf-8"?>
<p:tagLst xmlns:a="http://schemas.openxmlformats.org/drawingml/2006/main" xmlns:r="http://schemas.openxmlformats.org/officeDocument/2006/relationships" xmlns:p="http://schemas.openxmlformats.org/presentationml/2006/main">
  <p:tag name="MIO_EKGUID" val="050dac80-f548-4cdb-ae74-3f57158cc24b"/>
  <p:tag name="MIO_GUID" val="970fa896-8ba8-4aa9-9318-f51ac7d05eb0"/>
  <p:tag name="MIO_UPDATE" val="True"/>
  <p:tag name="MIO_VERSION" val="26.11.2019 13:32:19"/>
  <p:tag name="MIO_DBID" val="B8FCB12D-AF03-49EB-9F79-BB019BE99E1E"/>
  <p:tag name="MIO_LASTDOWNLOADED" val="13.12.2019 09:25:31"/>
  <p:tag name="MIO_OBJECTNAME" val="Clarity mobile incoming"/>
  <p:tag name="MIO_LASTEDITORNAME" val="Derrick Waylen"/>
</p:tagLst>
</file>

<file path=ppt/tags/tag195.xml><?xml version="1.0" encoding="utf-8"?>
<p:tagLst xmlns:a="http://schemas.openxmlformats.org/drawingml/2006/main" xmlns:r="http://schemas.openxmlformats.org/officeDocument/2006/relationships" xmlns:p="http://schemas.openxmlformats.org/presentationml/2006/main">
  <p:tag name="MIO_EKGUID" val="6922310f-b322-4ae8-8699-a6d56dfb5a97"/>
  <p:tag name="MIO_GUID" val="3e23e56e-3a8e-4b44-a93c-c09c541698ed"/>
  <p:tag name="MIO_UPDATE" val="True"/>
  <p:tag name="MIO_VERSION" val="26.11.2019 13:34:18"/>
  <p:tag name="MIO_DBID" val="B8FCB12D-AF03-49EB-9F79-BB019BE99E1E"/>
  <p:tag name="MIO_LASTDOWNLOADED" val="13.12.2019 09:26:03"/>
  <p:tag name="MIO_OBJECTNAME" val="Clarity retail International leader in the Food Industry"/>
  <p:tag name="MIO_LASTEDITORNAME" val="Derrick Waylen"/>
</p:tagLst>
</file>

<file path=ppt/tags/tag196.xml><?xml version="1.0" encoding="utf-8"?>
<p:tagLst xmlns:a="http://schemas.openxmlformats.org/drawingml/2006/main" xmlns:r="http://schemas.openxmlformats.org/officeDocument/2006/relationships" xmlns:p="http://schemas.openxmlformats.org/presentationml/2006/main">
  <p:tag name="MIO_EKGUID" val="000cb574-1236-400d-aafc-10ee4f39f39a"/>
  <p:tag name="MIO_GUID" val="f4609a50-f797-425a-b4b4-955c6ea7030d"/>
  <p:tag name="MIO_UPDATE" val="True"/>
  <p:tag name="MIO_VERSION" val="26.11.2019 13:34:14"/>
  <p:tag name="MIO_DBID" val="B8FCB12D-AF03-49EB-9F79-BB019BE99E1E"/>
  <p:tag name="MIO_LASTDOWNLOADED" val="13.12.2019 09:26:03"/>
  <p:tag name="MIO_OBJECTNAME" val="Clarity retail Admired successful household brands"/>
  <p:tag name="MIO_LASTEDITORNAME" val="Derrick Waylen"/>
</p:tagLst>
</file>

<file path=ppt/tags/tag197.xml><?xml version="1.0" encoding="utf-8"?>
<p:tagLst xmlns:a="http://schemas.openxmlformats.org/drawingml/2006/main" xmlns:r="http://schemas.openxmlformats.org/officeDocument/2006/relationships" xmlns:p="http://schemas.openxmlformats.org/presentationml/2006/main">
  <p:tag name="MIO_EKGUID" val="8b2a210d-3cb4-47fd-9b28-d29326834e29"/>
  <p:tag name="MIO_GUID" val="885f9011-a5e9-47ae-9a5c-d78dc4ac690b"/>
  <p:tag name="MIO_UPDATE" val="True"/>
  <p:tag name="MIO_VERSION" val="26.11.2019 13:34:10"/>
  <p:tag name="MIO_DBID" val="B8FCB12D-AF03-49EB-9F79-BB019BE99E1E"/>
  <p:tag name="MIO_LASTDOWNLOADED" val="13.12.2019 09:26:03"/>
  <p:tag name="MIO_OBJECTNAME" val="Clarity regulatory compliance"/>
  <p:tag name="MIO_LASTEDITORNAME" val="Derrick Waylen"/>
</p:tagLst>
</file>

<file path=ppt/tags/tag198.xml><?xml version="1.0" encoding="utf-8"?>
<p:tagLst xmlns:a="http://schemas.openxmlformats.org/drawingml/2006/main" xmlns:r="http://schemas.openxmlformats.org/officeDocument/2006/relationships" xmlns:p="http://schemas.openxmlformats.org/presentationml/2006/main">
  <p:tag name="MIO_EKGUID" val="8e0eba56-3363-4d39-9846-086d59009a88"/>
  <p:tag name="MIO_GUID" val="3031a4c1-1948-463c-9ce2-afbdd6a8cd57"/>
  <p:tag name="MIO_UPDATE" val="True"/>
  <p:tag name="MIO_VERSION" val="26.11.2019 13:34:06"/>
  <p:tag name="MIO_DBID" val="B8FCB12D-AF03-49EB-9F79-BB019BE99E1E"/>
  <p:tag name="MIO_LASTDOWNLOADED" val="13.12.2019 09:26:03"/>
  <p:tag name="MIO_OBJECTNAME" val="Clarity Regions west coast region"/>
  <p:tag name="MIO_LASTEDITORNAME" val="Derrick Waylen"/>
</p:tagLst>
</file>

<file path=ppt/tags/tag199.xml><?xml version="1.0" encoding="utf-8"?>
<p:tagLst xmlns:a="http://schemas.openxmlformats.org/drawingml/2006/main" xmlns:r="http://schemas.openxmlformats.org/officeDocument/2006/relationships" xmlns:p="http://schemas.openxmlformats.org/presentationml/2006/main">
  <p:tag name="MIO_EKGUID" val="946a9811-9882-456c-a54c-a7fa1144ff71"/>
  <p:tag name="MIO_GUID" val="8323e728-470a-4f68-b4c0-978a387cbf81"/>
  <p:tag name="MIO_UPDATE" val="True"/>
  <p:tag name="MIO_VERSION" val="26.11.2019 13:34:02"/>
  <p:tag name="MIO_DBID" val="B8FCB12D-AF03-49EB-9F79-BB019BE99E1E"/>
  <p:tag name="MIO_LASTDOWNLOADED" val="13.12.2019 09:26:04"/>
  <p:tag name="MIO_OBJECTNAME" val="Clarity Regions south east region"/>
  <p:tag name="MIO_LASTEDITORNAME" val="Derrick Wayle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MIO_EKGUID" val="0c78cf1a-a808-4768-a8d3-d860eaa1cab3"/>
  <p:tag name="MIO_GUID" val="e61e6c75-ab37-479c-b25b-bb3e87778c4c"/>
  <p:tag name="MIO_UPDATE" val="True"/>
  <p:tag name="MIO_VERSION" val="26.11.2019 13:33:58"/>
  <p:tag name="MIO_DBID" val="B8FCB12D-AF03-49EB-9F79-BB019BE99E1E"/>
  <p:tag name="MIO_LASTDOWNLOADED" val="13.12.2019 09:26:04"/>
  <p:tag name="MIO_OBJECTNAME" val="Clarity Regions north east region"/>
  <p:tag name="MIO_LASTEDITORNAME" val="Derrick Waylen"/>
</p:tagLst>
</file>

<file path=ppt/tags/tag201.xml><?xml version="1.0" encoding="utf-8"?>
<p:tagLst xmlns:a="http://schemas.openxmlformats.org/drawingml/2006/main" xmlns:r="http://schemas.openxmlformats.org/officeDocument/2006/relationships" xmlns:p="http://schemas.openxmlformats.org/presentationml/2006/main">
  <p:tag name="MIO_EKGUID" val="6aa5b381-1617-40bf-ba21-930714a8e22b"/>
  <p:tag name="MIO_GUID" val="5bf88f77-13aa-4d4e-abb5-595943906110"/>
  <p:tag name="MIO_UPDATE" val="True"/>
  <p:tag name="MIO_VERSION" val="26.11.2019 13:35:15"/>
  <p:tag name="MIO_DBID" val="B8FCB12D-AF03-49EB-9F79-BB019BE99E1E"/>
  <p:tag name="MIO_LASTDOWNLOADED" val="13.12.2019 09:27:23"/>
  <p:tag name="MIO_OBJECTNAME" val="Clarity Services cloud engineering"/>
  <p:tag name="MIO_LASTEDITORNAME" val="Derrick Waylen"/>
</p:tagLst>
</file>

<file path=ppt/tags/tag202.xml><?xml version="1.0" encoding="utf-8"?>
<p:tagLst xmlns:a="http://schemas.openxmlformats.org/drawingml/2006/main" xmlns:r="http://schemas.openxmlformats.org/officeDocument/2006/relationships" xmlns:p="http://schemas.openxmlformats.org/presentationml/2006/main">
  <p:tag name="MIO_EKGUID" val="b137f95c-7e49-4f59-93c3-330899c77fcd"/>
  <p:tag name="MIO_GUID" val="e039dca0-141f-4b67-8103-81d64aa3b34d"/>
  <p:tag name="MIO_UPDATE" val="True"/>
  <p:tag name="MIO_VERSION" val="26.11.2019 13:35:11"/>
  <p:tag name="MIO_DBID" val="B8FCB12D-AF03-49EB-9F79-BB019BE99E1E"/>
  <p:tag name="MIO_LASTDOWNLOADED" val="13.12.2019 09:27:23"/>
  <p:tag name="MIO_OBJECTNAME" val="Clarity segmentation"/>
  <p:tag name="MIO_LASTEDITORNAME" val="Derrick Waylen"/>
</p:tagLst>
</file>

<file path=ppt/tags/tag203.xml><?xml version="1.0" encoding="utf-8"?>
<p:tagLst xmlns:a="http://schemas.openxmlformats.org/drawingml/2006/main" xmlns:r="http://schemas.openxmlformats.org/officeDocument/2006/relationships" xmlns:p="http://schemas.openxmlformats.org/presentationml/2006/main">
  <p:tag name="MIO_EKGUID" val="c672ade1-00cb-4301-8f15-84f0395658c1"/>
  <p:tag name="MIO_GUID" val="432ed186-e3d8-4433-9c1f-b11273af4bf4"/>
  <p:tag name="MIO_UPDATE" val="True"/>
  <p:tag name="MIO_VERSION" val="26.11.2019 13:35:07"/>
  <p:tag name="MIO_DBID" val="B8FCB12D-AF03-49EB-9F79-BB019BE99E1E"/>
  <p:tag name="MIO_LASTDOWNLOADED" val="13.12.2019 09:27:23"/>
  <p:tag name="MIO_OBJECTNAME" val="Clarity security"/>
  <p:tag name="MIO_LASTEDITORNAME" val="Derrick Waylen"/>
</p:tagLst>
</file>

<file path=ppt/tags/tag204.xml><?xml version="1.0" encoding="utf-8"?>
<p:tagLst xmlns:a="http://schemas.openxmlformats.org/drawingml/2006/main" xmlns:r="http://schemas.openxmlformats.org/officeDocument/2006/relationships" xmlns:p="http://schemas.openxmlformats.org/presentationml/2006/main">
  <p:tag name="MIO_EKGUID" val="fe5cdfe9-eea1-4d85-9a80-252504fca7c8"/>
  <p:tag name="MIO_GUID" val="c9d75eb1-862a-4b47-9c76-46b690b50257"/>
  <p:tag name="MIO_UPDATE" val="True"/>
  <p:tag name="MIO_VERSION" val="26.11.2019 13:35:03"/>
  <p:tag name="MIO_DBID" val="B8FCB12D-AF03-49EB-9F79-BB019BE99E1E"/>
  <p:tag name="MIO_LASTDOWNLOADED" val="13.12.2019 09:27:23"/>
  <p:tag name="MIO_OBJECTNAME" val="Clarity securities trading brokerage"/>
  <p:tag name="MIO_LASTEDITORNAME" val="Derrick Waylen"/>
</p:tagLst>
</file>

<file path=ppt/tags/tag205.xml><?xml version="1.0" encoding="utf-8"?>
<p:tagLst xmlns:a="http://schemas.openxmlformats.org/drawingml/2006/main" xmlns:r="http://schemas.openxmlformats.org/officeDocument/2006/relationships" xmlns:p="http://schemas.openxmlformats.org/presentationml/2006/main">
  <p:tag name="MIO_EKGUID" val="0c430227-1527-4a70-bfa8-ddce42950fd0"/>
  <p:tag name="MIO_GUID" val="de4e5a63-cced-4c7a-ab3c-30745f4de7ca"/>
  <p:tag name="MIO_UPDATE" val="True"/>
  <p:tag name="MIO_VERSION" val="26.11.2019 13:34:59"/>
  <p:tag name="MIO_DBID" val="B8FCB12D-AF03-49EB-9F79-BB019BE99E1E"/>
  <p:tag name="MIO_LASTDOWNLOADED" val="13.12.2019 09:27:23"/>
  <p:tag name="MIO_OBJECTNAME" val="Clarity scales"/>
  <p:tag name="MIO_LASTEDITORNAME" val="Derrick Waylen"/>
</p:tagLst>
</file>

<file path=ppt/tags/tag206.xml><?xml version="1.0" encoding="utf-8"?>
<p:tagLst xmlns:a="http://schemas.openxmlformats.org/drawingml/2006/main" xmlns:r="http://schemas.openxmlformats.org/officeDocument/2006/relationships" xmlns:p="http://schemas.openxmlformats.org/presentationml/2006/main">
  <p:tag name="MIO_EKGUID" val="0ba72ce2-c866-4c67-97e5-d1dccd970ee5"/>
  <p:tag name="MIO_GUID" val="1d9435e5-d923-4bc4-ad53-26b4f17245ed"/>
  <p:tag name="MIO_UPDATE" val="True"/>
  <p:tag name="MIO_VERSION" val="26.11.2019 13:34:55"/>
  <p:tag name="MIO_DBID" val="B8FCB12D-AF03-49EB-9F79-BB019BE99E1E"/>
  <p:tag name="MIO_LASTDOWNLOADED" val="13.12.2019 09:27:23"/>
  <p:tag name="MIO_OBJECTNAME" val="Clarity sandbox analytics"/>
  <p:tag name="MIO_LASTEDITORNAME" val="Derrick Waylen"/>
</p:tagLst>
</file>

<file path=ppt/tags/tag207.xml><?xml version="1.0" encoding="utf-8"?>
<p:tagLst xmlns:a="http://schemas.openxmlformats.org/drawingml/2006/main" xmlns:r="http://schemas.openxmlformats.org/officeDocument/2006/relationships" xmlns:p="http://schemas.openxmlformats.org/presentationml/2006/main">
  <p:tag name="MIO_EKGUID" val="fa4f92b2-a95d-4069-be2e-c67e75fbc74a"/>
  <p:tag name="MIO_GUID" val="21d91b9c-1c0b-4b28-aa68-4b9feb434f04"/>
  <p:tag name="MIO_UPDATE" val="True"/>
  <p:tag name="MIO_VERSION" val="26.11.2019 13:34:51"/>
  <p:tag name="MIO_DBID" val="B8FCB12D-AF03-49EB-9F79-BB019BE99E1E"/>
  <p:tag name="MIO_LASTDOWNLOADED" val="13.12.2019 09:27:23"/>
  <p:tag name="MIO_OBJECTNAME" val="Clarity sales operations"/>
  <p:tag name="MIO_LASTEDITORNAME" val="Derrick Waylen"/>
</p:tagLst>
</file>

<file path=ppt/tags/tag208.xml><?xml version="1.0" encoding="utf-8"?>
<p:tagLst xmlns:a="http://schemas.openxmlformats.org/drawingml/2006/main" xmlns:r="http://schemas.openxmlformats.org/officeDocument/2006/relationships" xmlns:p="http://schemas.openxmlformats.org/presentationml/2006/main">
  <p:tag name="MIO_EKGUID" val="b2e2a676-282c-44e2-80c1-0a9d6ec8d7f8"/>
  <p:tag name="MIO_GUID" val="d70dc278-71f4-47cc-8629-d1c2418b517c"/>
  <p:tag name="MIO_UPDATE" val="True"/>
  <p:tag name="MIO_VERSION" val="26.11.2019 13:31:12"/>
  <p:tag name="MIO_DBID" val="B8FCB12D-AF03-49EB-9F79-BB019BE99E1E"/>
  <p:tag name="MIO_LASTDOWNLOADED" val="13.12.2019 09:27:23"/>
  <p:tag name="MIO_OBJECTNAME" val="Clarity roadmap"/>
  <p:tag name="MIO_LASTEDITORNAME" val="Derrick Waylen"/>
</p:tagLst>
</file>

<file path=ppt/tags/tag209.xml><?xml version="1.0" encoding="utf-8"?>
<p:tagLst xmlns:a="http://schemas.openxmlformats.org/drawingml/2006/main" xmlns:r="http://schemas.openxmlformats.org/officeDocument/2006/relationships" xmlns:p="http://schemas.openxmlformats.org/presentationml/2006/main">
  <p:tag name="MIO_EKGUID" val="43c47ac2-3cb8-4254-af4e-9accd1e958be"/>
  <p:tag name="MIO_GUID" val="793de4c7-aa0f-4a61-a9ff-57d732aafdaf"/>
  <p:tag name="MIO_UPDATE" val="True"/>
  <p:tag name="MIO_VERSION" val="26.11.2019 13:34:46"/>
  <p:tag name="MIO_DBID" val="B8FCB12D-AF03-49EB-9F79-BB019BE99E1E"/>
  <p:tag name="MIO_LASTDOWNLOADED" val="13.12.2019 09:27:23"/>
  <p:tag name="MIO_OBJECTNAME" val="Clarity risk assessment"/>
  <p:tag name="MIO_LASTEDITORNAME" val="Derrick Waylen"/>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MIO_EKGUID" val="2c4a20f0-711b-446a-8369-4f8832a6232e"/>
  <p:tag name="MIO_GUID" val="7d643b0d-11d0-40a1-9c27-a637bf533efd"/>
  <p:tag name="MIO_UPDATE" val="True"/>
  <p:tag name="MIO_VERSION" val="26.11.2019 13:34:38"/>
  <p:tag name="MIO_DBID" val="B8FCB12D-AF03-49EB-9F79-BB019BE99E1E"/>
  <p:tag name="MIO_LASTDOWNLOADED" val="13.12.2019 09:27:23"/>
  <p:tag name="MIO_OBJECTNAME" val="Clarity revert circular arrow"/>
  <p:tag name="MIO_LASTEDITORNAME" val="Derrick Waylen"/>
</p:tagLst>
</file>

<file path=ppt/tags/tag211.xml><?xml version="1.0" encoding="utf-8"?>
<p:tagLst xmlns:a="http://schemas.openxmlformats.org/drawingml/2006/main" xmlns:r="http://schemas.openxmlformats.org/officeDocument/2006/relationships" xmlns:p="http://schemas.openxmlformats.org/presentationml/2006/main">
  <p:tag name="MIO_EKGUID" val="8822d4df-9505-42b9-9618-0d85c6da51eb"/>
  <p:tag name="MIO_GUID" val="e516e7be-0068-4257-b368-183747c77aee"/>
  <p:tag name="MIO_UPDATE" val="True"/>
  <p:tag name="MIO_VERSION" val="26.11.2019 13:34:30"/>
  <p:tag name="MIO_DBID" val="B8FCB12D-AF03-49EB-9F79-BB019BE99E1E"/>
  <p:tag name="MIO_LASTDOWNLOADED" val="13.12.2019 09:27:23"/>
  <p:tag name="MIO_OBJECTNAME" val="Clarity retail store One of the largest specialty stores in north america"/>
  <p:tag name="MIO_LASTEDITORNAME" val="Derrick Waylen"/>
</p:tagLst>
</file>

<file path=ppt/tags/tag212.xml><?xml version="1.0" encoding="utf-8"?>
<p:tagLst xmlns:a="http://schemas.openxmlformats.org/drawingml/2006/main" xmlns:r="http://schemas.openxmlformats.org/officeDocument/2006/relationships" xmlns:p="http://schemas.openxmlformats.org/presentationml/2006/main">
  <p:tag name="MIO_EKGUID" val="7c5e695d-0ff4-4683-9897-30f8d8dd74eb"/>
  <p:tag name="MIO_GUID" val="35bb0c0b-d096-4f82-a847-596ccd84f6f9"/>
  <p:tag name="MIO_UPDATE" val="True"/>
  <p:tag name="MIO_VERSION" val="26.11.2019 13:34:26"/>
  <p:tag name="MIO_DBID" val="B8FCB12D-AF03-49EB-9F79-BB019BE99E1E"/>
  <p:tag name="MIO_LASTDOWNLOADED" val="13.12.2019 09:27:23"/>
  <p:tag name="MIO_OBJECTNAME" val="Clarity retail National kitchenwares home furnishing  company"/>
  <p:tag name="MIO_LASTEDITORNAME" val="Derrick Waylen"/>
</p:tagLst>
</file>

<file path=ppt/tags/tag213.xml><?xml version="1.0" encoding="utf-8"?>
<p:tagLst xmlns:a="http://schemas.openxmlformats.org/drawingml/2006/main" xmlns:r="http://schemas.openxmlformats.org/officeDocument/2006/relationships" xmlns:p="http://schemas.openxmlformats.org/presentationml/2006/main">
  <p:tag name="MIO_EKGUID" val="61e1b7ad-7cbe-4eda-b96d-9f8578665c04"/>
  <p:tag name="MIO_GUID" val="1f390c21-16bb-4b64-90b1-e716a75cf332"/>
  <p:tag name="MIO_UPDATE" val="True"/>
  <p:tag name="MIO_VERSION" val="26.11.2019 13:34:22"/>
  <p:tag name="MIO_DBID" val="B8FCB12D-AF03-49EB-9F79-BB019BE99E1E"/>
  <p:tag name="MIO_LASTDOWNLOADED" val="13.12.2019 09:27:23"/>
  <p:tag name="MIO_OBJECTNAME" val="Clarity retail Market leaders  integrating SAP HANA Hadoop"/>
  <p:tag name="MIO_LASTEDITORNAME" val="Derrick Waylen"/>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JPM_OBJECT_NAME" val="jpmStamp"/>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JPM_OBJECT_NAME" val="jpmStamp"/>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JPM_OBJECT_NAME" val="jpmSlideMasterVerticalRu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JPM_OBJECT_NAME" val="jpmStamp"/>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NAME" val="SingleBoatShape"/>
</p:tagLst>
</file>

<file path=ppt/tags/tag7.xml><?xml version="1.0" encoding="utf-8"?>
<p:tagLst xmlns:a="http://schemas.openxmlformats.org/drawingml/2006/main" xmlns:r="http://schemas.openxmlformats.org/officeDocument/2006/relationships" xmlns:p="http://schemas.openxmlformats.org/presentationml/2006/main">
  <p:tag name="JPM_OBJECT_NAME" val="jpmSlideMasterVerticalRule"/>
</p:tagLst>
</file>

<file path=ppt/tags/tag70.xml><?xml version="1.0" encoding="utf-8"?>
<p:tagLst xmlns:a="http://schemas.openxmlformats.org/drawingml/2006/main" xmlns:r="http://schemas.openxmlformats.org/officeDocument/2006/relationships" xmlns:p="http://schemas.openxmlformats.org/presentationml/2006/main">
  <p:tag name="NAME" val="SingleBoatShape"/>
</p:tagLst>
</file>

<file path=ppt/tags/tag71.xml><?xml version="1.0" encoding="utf-8"?>
<p:tagLst xmlns:a="http://schemas.openxmlformats.org/drawingml/2006/main" xmlns:r="http://schemas.openxmlformats.org/officeDocument/2006/relationships" xmlns:p="http://schemas.openxmlformats.org/presentationml/2006/main">
  <p:tag name="NAME" val="SingleBoatShape"/>
</p:tagLst>
</file>

<file path=ppt/tags/tag72.xml><?xml version="1.0" encoding="utf-8"?>
<p:tagLst xmlns:a="http://schemas.openxmlformats.org/drawingml/2006/main" xmlns:r="http://schemas.openxmlformats.org/officeDocument/2006/relationships" xmlns:p="http://schemas.openxmlformats.org/presentationml/2006/main">
  <p:tag name="NAME" val="SingleBoatShape"/>
</p:tagLst>
</file>

<file path=ppt/tags/tag73.xml><?xml version="1.0" encoding="utf-8"?>
<p:tagLst xmlns:a="http://schemas.openxmlformats.org/drawingml/2006/main" xmlns:r="http://schemas.openxmlformats.org/officeDocument/2006/relationships" xmlns:p="http://schemas.openxmlformats.org/presentationml/2006/main">
  <p:tag name="NAME" val="SingleBoatShape"/>
</p:tagLst>
</file>

<file path=ppt/tags/tag74.xml><?xml version="1.0" encoding="utf-8"?>
<p:tagLst xmlns:a="http://schemas.openxmlformats.org/drawingml/2006/main" xmlns:r="http://schemas.openxmlformats.org/officeDocument/2006/relationships" xmlns:p="http://schemas.openxmlformats.org/presentationml/2006/main">
  <p:tag name="NAME" val="SingleBoatShap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JPM_OBJECT_NAME" val="jpmStamp"/>
</p:tagLst>
</file>

<file path=ppt/tags/tag80.xml><?xml version="1.0" encoding="utf-8"?>
<p:tagLst xmlns:a="http://schemas.openxmlformats.org/drawingml/2006/main" xmlns:r="http://schemas.openxmlformats.org/officeDocument/2006/relationships" xmlns:p="http://schemas.openxmlformats.org/presentationml/2006/main">
  <p:tag name="MIO_EKGUID" val="cf535c36-6622-4945-ae40-39fc1b4d3c6f"/>
  <p:tag name="MIO_GUID" val="d92baba0-860c-4337-8ff6-f643274c348f"/>
  <p:tag name="MIO_UPDATE" val="True"/>
  <p:tag name="MIO_VERSION" val="26.11.2019 13:22:44"/>
  <p:tag name="MIO_DBID" val="B8FCB12D-AF03-49EB-9F79-BB019BE99E1E"/>
  <p:tag name="MIO_LASTDOWNLOADED" val="13.12.2019 09:10:07"/>
  <p:tag name="MIO_OBJECTNAME" val="Clarity browsing behavior"/>
  <p:tag name="MIO_LASTEDITORNAME" val="Derrick Waylen"/>
</p:tagLst>
</file>

<file path=ppt/tags/tag81.xml><?xml version="1.0" encoding="utf-8"?>
<p:tagLst xmlns:a="http://schemas.openxmlformats.org/drawingml/2006/main" xmlns:r="http://schemas.openxmlformats.org/officeDocument/2006/relationships" xmlns:p="http://schemas.openxmlformats.org/presentationml/2006/main">
  <p:tag name="MIO_EKGUID" val="b1a0db9d-0610-4d4d-b04c-6f177f286091"/>
  <p:tag name="MIO_GUID" val="0e5b9d98-ecf0-4ae8-b9d3-6cdc35c4251c"/>
  <p:tag name="MIO_UPDATE" val="True"/>
  <p:tag name="MIO_VERSION" val="26.11.2019 13:22:31"/>
  <p:tag name="MIO_DBID" val="B8FCB12D-AF03-49EB-9F79-BB019BE99E1E"/>
  <p:tag name="MIO_LASTDOWNLOADED" val="13.12.2019 09:10:07"/>
  <p:tag name="MIO_OBJECTNAME" val="Clarity big data"/>
  <p:tag name="MIO_LASTEDITORNAME" val="Derrick Waylen"/>
</p:tagLst>
</file>

<file path=ppt/tags/tag82.xml><?xml version="1.0" encoding="utf-8"?>
<p:tagLst xmlns:a="http://schemas.openxmlformats.org/drawingml/2006/main" xmlns:r="http://schemas.openxmlformats.org/officeDocument/2006/relationships" xmlns:p="http://schemas.openxmlformats.org/presentationml/2006/main">
  <p:tag name="MIO_EKGUID" val="9cc403b2-14b5-402c-8e22-0e6fdb2d963d"/>
  <p:tag name="MIO_GUID" val="abac99a2-afe4-40fb-83c8-267062cb2703"/>
  <p:tag name="MIO_UPDATE" val="True"/>
  <p:tag name="MIO_VERSION" val="26.11.2019 13:23:05"/>
  <p:tag name="MIO_DBID" val="B8FCB12D-AF03-49EB-9F79-BB019BE99E1E"/>
  <p:tag name="MIO_LASTDOWNLOADED" val="13.12.2019 09:10:08"/>
  <p:tag name="MIO_OBJECTNAME" val="Clarity automotive"/>
  <p:tag name="MIO_LASTEDITORNAME" val="Derrick Waylen"/>
</p:tagLst>
</file>

<file path=ppt/tags/tag83.xml><?xml version="1.0" encoding="utf-8"?>
<p:tagLst xmlns:a="http://schemas.openxmlformats.org/drawingml/2006/main" xmlns:r="http://schemas.openxmlformats.org/officeDocument/2006/relationships" xmlns:p="http://schemas.openxmlformats.org/presentationml/2006/main">
  <p:tag name="MIO_EKGUID" val="a29ff348-e0ce-44bf-9ec4-fd9f4d4be3ae"/>
  <p:tag name="MIO_GUID" val="a7c4c8c8-c382-4747-ad7e-66d25608abbb"/>
  <p:tag name="MIO_UPDATE" val="True"/>
  <p:tag name="MIO_VERSION" val="26.11.2019 13:22:18"/>
  <p:tag name="MIO_DBID" val="B8FCB12D-AF03-49EB-9F79-BB019BE99E1E"/>
  <p:tag name="MIO_LASTDOWNLOADED" val="13.12.2019 09:10:08"/>
  <p:tag name="MIO_OBJECTNAME" val="Clarity automation through machine learning"/>
  <p:tag name="MIO_LASTEDITORNAME" val="Derrick Waylen"/>
</p:tagLst>
</file>

<file path=ppt/tags/tag84.xml><?xml version="1.0" encoding="utf-8"?>
<p:tagLst xmlns:a="http://schemas.openxmlformats.org/drawingml/2006/main" xmlns:r="http://schemas.openxmlformats.org/officeDocument/2006/relationships" xmlns:p="http://schemas.openxmlformats.org/presentationml/2006/main">
  <p:tag name="MIO_EKGUID" val="470db92f-6846-43b1-bced-329634506aa4"/>
  <p:tag name="MIO_GUID" val="2f7aea5a-e6cb-4b4f-812b-d5e3ad5ac91f"/>
  <p:tag name="MIO_UPDATE" val="True"/>
  <p:tag name="MIO_VERSION" val="26.11.2019 13:22:13"/>
  <p:tag name="MIO_DBID" val="B8FCB12D-AF03-49EB-9F79-BB019BE99E1E"/>
  <p:tag name="MIO_LASTDOWNLOADED" val="13.12.2019 09:10:08"/>
  <p:tag name="MIO_OBJECTNAME" val="Clarity automated cont integration"/>
  <p:tag name="MIO_LASTEDITORNAME" val="Derrick Waylen"/>
</p:tagLst>
</file>

<file path=ppt/tags/tag85.xml><?xml version="1.0" encoding="utf-8"?>
<p:tagLst xmlns:a="http://schemas.openxmlformats.org/drawingml/2006/main" xmlns:r="http://schemas.openxmlformats.org/officeDocument/2006/relationships" xmlns:p="http://schemas.openxmlformats.org/presentationml/2006/main">
  <p:tag name="MIO_EKGUID" val="94d24521-4a83-4b18-9239-731d0cd8b3ea"/>
  <p:tag name="MIO_GUID" val="84f8db32-51c3-4746-81ae-481efe8ead7c"/>
  <p:tag name="MIO_UPDATE" val="True"/>
  <p:tag name="MIO_VERSION" val="26.11.2019 13:22:09"/>
  <p:tag name="MIO_DBID" val="B8FCB12D-AF03-49EB-9F79-BB019BE99E1E"/>
  <p:tag name="MIO_LASTDOWNLOADED" val="13.12.2019 09:10:08"/>
  <p:tag name="MIO_OBJECTNAME" val="Clarity audience engagement"/>
  <p:tag name="MIO_LASTEDITORNAME" val="Derrick Waylen"/>
</p:tagLst>
</file>

<file path=ppt/tags/tag86.xml><?xml version="1.0" encoding="utf-8"?>
<p:tagLst xmlns:a="http://schemas.openxmlformats.org/drawingml/2006/main" xmlns:r="http://schemas.openxmlformats.org/officeDocument/2006/relationships" xmlns:p="http://schemas.openxmlformats.org/presentationml/2006/main">
  <p:tag name="MIO_EKGUID" val="9371cea8-1694-4742-a1ff-1cda319d87c0"/>
  <p:tag name="MIO_GUID" val="af3be62e-f53b-4519-9e86-ab51c6e1e75a"/>
  <p:tag name="MIO_UPDATE" val="True"/>
  <p:tag name="MIO_VERSION" val="26.11.2019 13:22:05"/>
  <p:tag name="MIO_DBID" val="B8FCB12D-AF03-49EB-9F79-BB019BE99E1E"/>
  <p:tag name="MIO_LASTDOWNLOADED" val="13.12.2019 09:10:08"/>
  <p:tag name="MIO_OBJECTNAME" val="Clarity aspectica assessment"/>
  <p:tag name="MIO_LASTEDITORNAME" val="Derrick Waylen"/>
</p:tagLst>
</file>

<file path=ppt/tags/tag87.xml><?xml version="1.0" encoding="utf-8"?>
<p:tagLst xmlns:a="http://schemas.openxmlformats.org/drawingml/2006/main" xmlns:r="http://schemas.openxmlformats.org/officeDocument/2006/relationships" xmlns:p="http://schemas.openxmlformats.org/presentationml/2006/main">
  <p:tag name="MIO_EKGUID" val="b2113f96-82d4-4754-83db-2aef081b3984"/>
  <p:tag name="MIO_GUID" val="32a96130-1138-4de9-9a7d-034d1aa98af7"/>
  <p:tag name="MIO_UPDATE" val="True"/>
  <p:tag name="MIO_VERSION" val="26.11.2019 13:21:56"/>
  <p:tag name="MIO_DBID" val="B8FCB12D-AF03-49EB-9F79-BB019BE99E1E"/>
  <p:tag name="MIO_LASTDOWNLOADED" val="13.12.2019 09:10:08"/>
  <p:tag name="MIO_OBJECTNAME" val="Clarity apple"/>
  <p:tag name="MIO_LASTEDITORNAME" val="Derrick Waylen"/>
</p:tagLst>
</file>

<file path=ppt/tags/tag88.xml><?xml version="1.0" encoding="utf-8"?>
<p:tagLst xmlns:a="http://schemas.openxmlformats.org/drawingml/2006/main" xmlns:r="http://schemas.openxmlformats.org/officeDocument/2006/relationships" xmlns:p="http://schemas.openxmlformats.org/presentationml/2006/main">
  <p:tag name="MIO_EKGUID" val="6de5c15a-6fd1-48af-98ab-13064f76d572"/>
  <p:tag name="MIO_GUID" val="0547a32f-4634-426a-af9c-3fd04b3eb856"/>
  <p:tag name="MIO_UPDATE" val="True"/>
  <p:tag name="MIO_VERSION" val="26.11.2019 13:21:52"/>
  <p:tag name="MIO_DBID" val="B8FCB12D-AF03-49EB-9F79-BB019BE99E1E"/>
  <p:tag name="MIO_LASTDOWNLOADED" val="13.12.2019 09:10:08"/>
  <p:tag name="MIO_OBJECTNAME" val="Clarity anomaly detection"/>
  <p:tag name="MIO_LASTEDITORNAME" val="Derrick Waylen"/>
</p:tagLst>
</file>

<file path=ppt/tags/tag89.xml><?xml version="1.0" encoding="utf-8"?>
<p:tagLst xmlns:a="http://schemas.openxmlformats.org/drawingml/2006/main" xmlns:r="http://schemas.openxmlformats.org/officeDocument/2006/relationships" xmlns:p="http://schemas.openxmlformats.org/presentationml/2006/main">
  <p:tag name="MIO_EKGUID" val="bf134fff-b600-487a-9f91-3824eed201fd"/>
  <p:tag name="MIO_GUID" val="160d8126-8360-4869-bee2-c48dd892940d"/>
  <p:tag name="MIO_UPDATE" val="True"/>
  <p:tag name="MIO_VERSION" val="26.11.2019 13:21:42"/>
  <p:tag name="MIO_DBID" val="B8FCB12D-AF03-49EB-9F79-BB019BE99E1E"/>
  <p:tag name="MIO_LASTDOWNLOADED" val="13.12.2019 09:10:09"/>
  <p:tag name="MIO_OBJECTNAME" val="Clarity agile"/>
  <p:tag name="MIO_LASTEDITORNAME" val="Derrick Waylen"/>
</p:tagLst>
</file>

<file path=ppt/tags/tag9.xml><?xml version="1.0" encoding="utf-8"?>
<p:tagLst xmlns:a="http://schemas.openxmlformats.org/drawingml/2006/main" xmlns:r="http://schemas.openxmlformats.org/officeDocument/2006/relationships" xmlns:p="http://schemas.openxmlformats.org/presentationml/2006/main">
  <p:tag name="JPM_OBJECT_NAME" val="jpmSlideMasterVerticalRule"/>
</p:tagLst>
</file>

<file path=ppt/tags/tag90.xml><?xml version="1.0" encoding="utf-8"?>
<p:tagLst xmlns:a="http://schemas.openxmlformats.org/drawingml/2006/main" xmlns:r="http://schemas.openxmlformats.org/officeDocument/2006/relationships" xmlns:p="http://schemas.openxmlformats.org/presentationml/2006/main">
  <p:tag name="MIO_EKGUID" val="9a2a2e1b-d05e-4f9f-9d6a-cad8548fd4d4"/>
  <p:tag name="MIO_GUID" val="0a8ec06e-2c03-4d08-a35d-d0ec03f552e8"/>
  <p:tag name="MIO_UPDATE" val="True"/>
  <p:tag name="MIO_VERSION" val="26.11.2019 13:21:38"/>
  <p:tag name="MIO_DBID" val="B8FCB12D-AF03-49EB-9F79-BB019BE99E1E"/>
  <p:tag name="MIO_LASTDOWNLOADED" val="13.12.2019 09:10:09"/>
  <p:tag name="MIO_OBJECTNAME" val="Clarity advertising analytics"/>
  <p:tag name="MIO_LASTEDITORNAME" val="Derrick Waylen"/>
</p:tagLst>
</file>

<file path=ppt/tags/tag91.xml><?xml version="1.0" encoding="utf-8"?>
<p:tagLst xmlns:a="http://schemas.openxmlformats.org/drawingml/2006/main" xmlns:r="http://schemas.openxmlformats.org/officeDocument/2006/relationships" xmlns:p="http://schemas.openxmlformats.org/presentationml/2006/main">
  <p:tag name="MIO_EKGUID" val="5e0001de-251a-452e-817a-b2c010f508f7"/>
  <p:tag name="MIO_GUID" val="3f7ef631-f535-455b-80cc-8860d808433a"/>
  <p:tag name="MIO_UPDATE" val="True"/>
  <p:tag name="MIO_VERSION" val="26.11.2019 13:21:33"/>
  <p:tag name="MIO_DBID" val="B8FCB12D-AF03-49EB-9F79-BB019BE99E1E"/>
  <p:tag name="MIO_LASTDOWNLOADED" val="13.12.2019 09:10:09"/>
  <p:tag name="MIO_OBJECTNAME" val="Clarity advanced analytics"/>
  <p:tag name="MIO_LASTEDITORNAME" val="Derrick Waylen"/>
</p:tagLst>
</file>

<file path=ppt/tags/tag92.xml><?xml version="1.0" encoding="utf-8"?>
<p:tagLst xmlns:a="http://schemas.openxmlformats.org/drawingml/2006/main" xmlns:r="http://schemas.openxmlformats.org/officeDocument/2006/relationships" xmlns:p="http://schemas.openxmlformats.org/presentationml/2006/main">
  <p:tag name="MIO_EKGUID" val="c379d68c-32bc-47cb-9a76-0c54372f7520"/>
  <p:tag name="MIO_GUID" val="48e4baa2-bb52-4325-af3e-ef3db33b68cc"/>
  <p:tag name="MIO_UPDATE" val="True"/>
  <p:tag name="MIO_VERSION" val="26.11.2019 13:21:29"/>
  <p:tag name="MIO_DBID" val="B8FCB12D-AF03-49EB-9F79-BB019BE99E1E"/>
  <p:tag name="MIO_LASTDOWNLOADED" val="13.12.2019 09:10:09"/>
  <p:tag name="MIO_OBJECTNAME" val="Clarity admissions"/>
  <p:tag name="MIO_LASTEDITORNAME" val="Derrick Waylen"/>
</p:tagLst>
</file>

<file path=ppt/tags/tag93.xml><?xml version="1.0" encoding="utf-8"?>
<p:tagLst xmlns:a="http://schemas.openxmlformats.org/drawingml/2006/main" xmlns:r="http://schemas.openxmlformats.org/officeDocument/2006/relationships" xmlns:p="http://schemas.openxmlformats.org/presentationml/2006/main">
  <p:tag name="MIO_EKGUID" val="bbfc3c0f-042b-48b2-86db-4f010f5b9fd1"/>
  <p:tag name="MIO_GUID" val="ace46f7a-2045-4f1c-813a-aa70e48750c2"/>
  <p:tag name="MIO_UPDATE" val="True"/>
  <p:tag name="MIO_VERSION" val="26.11.2019 13:21:24"/>
  <p:tag name="MIO_DBID" val="B8FCB12D-AF03-49EB-9F79-BB019BE99E1E"/>
  <p:tag name="MIO_LASTDOWNLOADED" val="13.12.2019 09:10:09"/>
  <p:tag name="MIO_OBJECTNAME" val="Clarity addition"/>
  <p:tag name="MIO_LASTEDITORNAME" val="Derrick Waylen"/>
</p:tagLst>
</file>

<file path=ppt/tags/tag94.xml><?xml version="1.0" encoding="utf-8"?>
<p:tagLst xmlns:a="http://schemas.openxmlformats.org/drawingml/2006/main" xmlns:r="http://schemas.openxmlformats.org/officeDocument/2006/relationships" xmlns:p="http://schemas.openxmlformats.org/presentationml/2006/main">
  <p:tag name="MIO_EKGUID" val="d66fcd15-649e-4278-a2e2-92c0ae6e3363"/>
  <p:tag name="MIO_GUID" val="f7f95a87-a6a0-449f-9e78-779c2d5a7f12"/>
  <p:tag name="MIO_UPDATE" val="True"/>
  <p:tag name="MIO_VERSION" val="26.11.2019 13:21:20"/>
  <p:tag name="MIO_DBID" val="B8FCB12D-AF03-49EB-9F79-BB019BE99E1E"/>
  <p:tag name="MIO_LASTDOWNLOADED" val="13.12.2019 09:10:09"/>
  <p:tag name="MIO_OBJECTNAME" val="Clarity access card pass"/>
  <p:tag name="MIO_LASTEDITORNAME" val="Derrick Waylen"/>
</p:tagLst>
</file>

<file path=ppt/tags/tag95.xml><?xml version="1.0" encoding="utf-8"?>
<p:tagLst xmlns:a="http://schemas.openxmlformats.org/drawingml/2006/main" xmlns:r="http://schemas.openxmlformats.org/officeDocument/2006/relationships" xmlns:p="http://schemas.openxmlformats.org/presentationml/2006/main">
  <p:tag name="MIO_EKGUID" val="1cb2c23e-0674-4ff4-a9d4-e21f874920b0"/>
  <p:tag name="MIO_GUID" val="a174bd6c-1c7d-4307-af65-5aea4480fb23"/>
  <p:tag name="MIO_UPDATE" val="True"/>
  <p:tag name="MIO_VERSION" val="26.11.2019 13:21:15"/>
  <p:tag name="MIO_DBID" val="B8FCB12D-AF03-49EB-9F79-BB019BE99E1E"/>
  <p:tag name="MIO_LASTDOWNLOADED" val="13.12.2019 09:10:09"/>
  <p:tag name="MIO_OBJECTNAME" val="Clarity Accelerators"/>
  <p:tag name="MIO_LASTEDITORNAME" val="Derrick Waylen"/>
</p:tagLst>
</file>

<file path=ppt/tags/tag96.xml><?xml version="1.0" encoding="utf-8"?>
<p:tagLst xmlns:a="http://schemas.openxmlformats.org/drawingml/2006/main" xmlns:r="http://schemas.openxmlformats.org/officeDocument/2006/relationships" xmlns:p="http://schemas.openxmlformats.org/presentationml/2006/main">
  <p:tag name="MIO_EKGUID" val="88ec6461-5e37-4805-9f83-72daacbc2175"/>
  <p:tag name="MIO_GUID" val="41b28a06-0c51-401f-9b54-73cac6cd73d5"/>
  <p:tag name="MIO_UPDATE" val="True"/>
  <p:tag name="MIO_VERSION" val="26.11.2019 13:21:06"/>
  <p:tag name="MIO_DBID" val="B8FCB12D-AF03-49EB-9F79-BB019BE99E1E"/>
  <p:tag name="MIO_LASTDOWNLOADED" val="13.12.2019 09:10:09"/>
  <p:tag name="MIO_OBJECTNAME" val="Clarity Absolutes"/>
  <p:tag name="MIO_LASTEDITORNAME" val="Derrick Waylen"/>
</p:tagLst>
</file>

<file path=ppt/tags/tag97.xml><?xml version="1.0" encoding="utf-8"?>
<p:tagLst xmlns:a="http://schemas.openxmlformats.org/drawingml/2006/main" xmlns:r="http://schemas.openxmlformats.org/officeDocument/2006/relationships" xmlns:p="http://schemas.openxmlformats.org/presentationml/2006/main">
  <p:tag name="MIO_EKGUID" val="5272e12d-e0dc-4e8f-8d8e-ac3704e021e9"/>
  <p:tag name="MIO_GUID" val="6950c039-3134-451e-999d-7665446e35a3"/>
  <p:tag name="MIO_UPDATE" val="True"/>
  <p:tag name="MIO_VERSION" val="26.11.2019 13:21:02"/>
  <p:tag name="MIO_DBID" val="B8FCB12D-AF03-49EB-9F79-BB019BE99E1E"/>
  <p:tag name="MIO_LASTDOWNLOADED" val="13.12.2019 09:10:10"/>
  <p:tag name="MIO_OBJECTNAME" val="Clarity 625 percent growth"/>
  <p:tag name="MIO_LASTEDITORNAME" val="Derrick Waylen"/>
</p:tagLst>
</file>

<file path=ppt/tags/tag98.xml><?xml version="1.0" encoding="utf-8"?>
<p:tagLst xmlns:a="http://schemas.openxmlformats.org/drawingml/2006/main" xmlns:r="http://schemas.openxmlformats.org/officeDocument/2006/relationships" xmlns:p="http://schemas.openxmlformats.org/presentationml/2006/main">
  <p:tag name="MIO_EKGUID" val="5fa3d957-ed9d-4a83-a28b-c5a5f506e804"/>
  <p:tag name="MIO_GUID" val="0b1fd733-e080-4622-b638-090616e24a04"/>
  <p:tag name="MIO_UPDATE" val="True"/>
  <p:tag name="MIO_VERSION" val="26.11.2019 13:27:01"/>
  <p:tag name="MIO_DBID" val="B8FCB12D-AF03-49EB-9F79-BB019BE99E1E"/>
  <p:tag name="MIO_LASTDOWNLOADED" val="13.12.2019 09:13:38"/>
  <p:tag name="MIO_OBJECTNAME" val="Clarity coffee"/>
  <p:tag name="MIO_LASTEDITORNAME" val="Derrick Waylen"/>
</p:tagLst>
</file>

<file path=ppt/tags/tag99.xml><?xml version="1.0" encoding="utf-8"?>
<p:tagLst xmlns:a="http://schemas.openxmlformats.org/drawingml/2006/main" xmlns:r="http://schemas.openxmlformats.org/officeDocument/2006/relationships" xmlns:p="http://schemas.openxmlformats.org/presentationml/2006/main">
  <p:tag name="MIO_EKGUID" val="7fef2d81-09fb-4081-8c69-25f2af51e6ef"/>
  <p:tag name="MIO_GUID" val="b5705224-cb0d-4286-abf8-db756c080ccb"/>
  <p:tag name="MIO_UPDATE" val="True"/>
  <p:tag name="MIO_VERSION" val="26.11.2019 13:26:32"/>
  <p:tag name="MIO_DBID" val="B8FCB12D-AF03-49EB-9F79-BB019BE99E1E"/>
  <p:tag name="MIO_LASTDOWNLOADED" val="13.12.2019 09:13:38"/>
  <p:tag name="MIO_OBJECTNAME" val="Clarity cloud security"/>
  <p:tag name="MIO_LASTEDITORNAME" val="Derrick Waylen"/>
</p:tagLst>
</file>

<file path=ppt/theme/theme1.xml><?xml version="1.0" encoding="utf-8"?>
<a:theme xmlns:a="http://schemas.openxmlformats.org/drawingml/2006/main" name="Print A4 Image">
  <a:themeElements>
    <a:clrScheme name="Vale Verde">
      <a:dk1>
        <a:srgbClr val="333333"/>
      </a:dk1>
      <a:lt1>
        <a:srgbClr val="FFFFFF"/>
      </a:lt1>
      <a:dk2>
        <a:srgbClr val="1D5735"/>
      </a:dk2>
      <a:lt2>
        <a:srgbClr val="E6E6E6"/>
      </a:lt2>
      <a:accent1>
        <a:srgbClr val="1D5735"/>
      </a:accent1>
      <a:accent2>
        <a:srgbClr val="137B56"/>
      </a:accent2>
      <a:accent3>
        <a:srgbClr val="5B8772"/>
      </a:accent3>
      <a:accent4>
        <a:srgbClr val="9BBBA2"/>
      </a:accent4>
      <a:accent5>
        <a:srgbClr val="D5E3DC"/>
      </a:accent5>
      <a:accent6>
        <a:srgbClr val="A6871C"/>
      </a:accent6>
      <a:hlink>
        <a:srgbClr val="4F81BD"/>
      </a:hlink>
      <a:folHlink>
        <a:srgbClr val="70193D"/>
      </a:folHlink>
    </a:clrScheme>
    <a:fontScheme name="Custom 61">
      <a:majorFont>
        <a:latin typeface="Roboto Light"/>
        <a:ea typeface=""/>
        <a:cs typeface=""/>
      </a:majorFont>
      <a:minorFont>
        <a:latin typeface="Robot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wrap="square" lIns="36000" tIns="36000" rIns="36000" bIns="36000" rtlCol="0" anchor="ctr" anchorCtr="0"/>
      <a:lstStyle>
        <a:defPPr algn="ctr">
          <a:defRPr sz="10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A7A8AB"/>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36000" tIns="36000" rIns="36000" bIns="36000" rtlCol="0" anchor="ctr" anchorCtr="0">
        <a:noAutofit/>
      </a:bodyPr>
      <a:lstStyle>
        <a:defPPr algn="ctr">
          <a:defRPr sz="1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theme>
</file>

<file path=ppt/theme/theme2.xml><?xml version="1.0" encoding="utf-8"?>
<a:theme xmlns:a="http://schemas.openxmlformats.org/drawingml/2006/main" name="1_Print A4 Image">
  <a:themeElements>
    <a:clrScheme name="Vale Verde">
      <a:dk1>
        <a:srgbClr val="333333"/>
      </a:dk1>
      <a:lt1>
        <a:srgbClr val="FFFFFF"/>
      </a:lt1>
      <a:dk2>
        <a:srgbClr val="1D5735"/>
      </a:dk2>
      <a:lt2>
        <a:srgbClr val="E6E6E6"/>
      </a:lt2>
      <a:accent1>
        <a:srgbClr val="1D5735"/>
      </a:accent1>
      <a:accent2>
        <a:srgbClr val="137B56"/>
      </a:accent2>
      <a:accent3>
        <a:srgbClr val="5B8772"/>
      </a:accent3>
      <a:accent4>
        <a:srgbClr val="9BBBA2"/>
      </a:accent4>
      <a:accent5>
        <a:srgbClr val="D5E3DC"/>
      </a:accent5>
      <a:accent6>
        <a:srgbClr val="A6871C"/>
      </a:accent6>
      <a:hlink>
        <a:srgbClr val="4F81BD"/>
      </a:hlink>
      <a:folHlink>
        <a:srgbClr val="70193D"/>
      </a:folHlink>
    </a:clrScheme>
    <a:fontScheme name="MACCAP Global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wrap="square" lIns="36000" tIns="36000" rIns="36000" bIns="36000" rtlCol="0" anchor="ctr" anchorCtr="0"/>
      <a:lstStyle>
        <a:defPPr algn="ctr">
          <a:defRPr sz="10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A7A8AB"/>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36000" tIns="36000" rIns="36000" bIns="36000" rtlCol="0" anchor="ctr" anchorCtr="0">
        <a:noAutofit/>
      </a:bodyPr>
      <a:lstStyle>
        <a:defPPr algn="ctr">
          <a:defRPr sz="1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Appian 2020">
    <a:dk1>
      <a:srgbClr val="333333"/>
    </a:dk1>
    <a:lt1>
      <a:srgbClr val="FFFFFF"/>
    </a:lt1>
    <a:dk2>
      <a:srgbClr val="17375E"/>
    </a:dk2>
    <a:lt2>
      <a:srgbClr val="E6E6E7"/>
    </a:lt2>
    <a:accent1>
      <a:srgbClr val="0D2B55"/>
    </a:accent1>
    <a:accent2>
      <a:srgbClr val="2E75B6"/>
    </a:accent2>
    <a:accent3>
      <a:srgbClr val="78ADDD"/>
    </a:accent3>
    <a:accent4>
      <a:srgbClr val="C0D5F0"/>
    </a:accent4>
    <a:accent5>
      <a:srgbClr val="BFBFBF"/>
    </a:accent5>
    <a:accent6>
      <a:srgbClr val="A6871C"/>
    </a:accent6>
    <a:hlink>
      <a:srgbClr val="4F81BD"/>
    </a:hlink>
    <a:folHlink>
      <a:srgbClr val="70193D"/>
    </a:folHlink>
  </a:clrScheme>
  <a:fontScheme name="MACCAP Global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Appian 2020">
    <a:dk1>
      <a:srgbClr val="333333"/>
    </a:dk1>
    <a:lt1>
      <a:srgbClr val="FFFFFF"/>
    </a:lt1>
    <a:dk2>
      <a:srgbClr val="17375E"/>
    </a:dk2>
    <a:lt2>
      <a:srgbClr val="E6E6E7"/>
    </a:lt2>
    <a:accent1>
      <a:srgbClr val="0D2B55"/>
    </a:accent1>
    <a:accent2>
      <a:srgbClr val="2E75B6"/>
    </a:accent2>
    <a:accent3>
      <a:srgbClr val="78ADDD"/>
    </a:accent3>
    <a:accent4>
      <a:srgbClr val="C0D5F0"/>
    </a:accent4>
    <a:accent5>
      <a:srgbClr val="BFBFBF"/>
    </a:accent5>
    <a:accent6>
      <a:srgbClr val="A6871C"/>
    </a:accent6>
    <a:hlink>
      <a:srgbClr val="4F81BD"/>
    </a:hlink>
    <a:folHlink>
      <a:srgbClr val="70193D"/>
    </a:folHlink>
  </a:clrScheme>
  <a:fontScheme name="MACCAP Global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8d6b22d-1a03-411b-b073-f34cb2c72b60">
      <Terms xmlns="http://schemas.microsoft.com/office/infopath/2007/PartnerControls"/>
    </lcf76f155ced4ddcb4097134ff3c332f>
    <TaxCatchAll xmlns="26039165-9424-422f-9827-8707a0d972c0" xsi:nil="true"/>
    <SharedWithUsers xmlns="26039165-9424-422f-9827-8707a0d972c0">
      <UserInfo>
        <DisplayName>Débora Vilela</DisplayName>
        <AccountId>2144</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E6DD450518156C4DBD092DDCA9402CD6" ma:contentTypeVersion="20" ma:contentTypeDescription="Crie um novo documento." ma:contentTypeScope="" ma:versionID="8e28680fecb0ce27e001540bf36ccc9f">
  <xsd:schema xmlns:xsd="http://www.w3.org/2001/XMLSchema" xmlns:xs="http://www.w3.org/2001/XMLSchema" xmlns:p="http://schemas.microsoft.com/office/2006/metadata/properties" xmlns:ns2="f8d6b22d-1a03-411b-b073-f34cb2c72b60" xmlns:ns3="26039165-9424-422f-9827-8707a0d972c0" targetNamespace="http://schemas.microsoft.com/office/2006/metadata/properties" ma:root="true" ma:fieldsID="a8a80b933f5d2e918571262e84863fad" ns2:_="" ns3:_="">
    <xsd:import namespace="f8d6b22d-1a03-411b-b073-f34cb2c72b60"/>
    <xsd:import namespace="26039165-9424-422f-9827-8707a0d972c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MediaServiceOCR" minOccurs="0"/>
                <xsd:element ref="ns2:MediaServiceLocation" minOccurs="0"/>
                <xsd:element ref="ns3:SharedWithUsers" minOccurs="0"/>
                <xsd:element ref="ns3:SharedWithDetails" minOccurs="0"/>
                <xsd:element ref="ns3:TaxCatchAll" minOccurs="0"/>
                <xsd:element ref="ns2:lcf76f155ced4ddcb4097134ff3c332f"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d6b22d-1a03-411b-b073-f34cb2c72b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lcf76f155ced4ddcb4097134ff3c332f" ma:index="23" nillable="true" ma:taxonomy="true" ma:internalName="lcf76f155ced4ddcb4097134ff3c332f" ma:taxonomyFieldName="MediaServiceImageTags" ma:displayName="Marcações de imagem" ma:readOnly="false" ma:fieldId="{5cf76f15-5ced-4ddc-b409-7134ff3c332f}" ma:taxonomyMulti="true" ma:sspId="512efdce-2f36-4236-bb67-4bfdcf8517f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6039165-9424-422f-9827-8707a0d972c0" elementFormDefault="qualified">
    <xsd:import namespace="http://schemas.microsoft.com/office/2006/documentManagement/types"/>
    <xsd:import namespace="http://schemas.microsoft.com/office/infopath/2007/PartnerControls"/>
    <xsd:element name="SharedWithUsers" ma:index="19" nillable="true" ma:displayName="Com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Detalhes de Compartilhado Com" ma:internalName="SharedWithDetails" ma:readOnly="true">
      <xsd:simpleType>
        <xsd:restriction base="dms:Note">
          <xsd:maxLength value="255"/>
        </xsd:restriction>
      </xsd:simpleType>
    </xsd:element>
    <xsd:element name="TaxCatchAll" ma:index="21" nillable="true" ma:displayName="Taxonomy Catch All Column" ma:hidden="true" ma:list="{7681cc8a-8acf-405b-b858-8c07ef4ff86b}" ma:internalName="TaxCatchAll" ma:showField="CatchAllData" ma:web="26039165-9424-422f-9827-8707a0d972c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B74E26-D3FB-4A28-BF24-097B8C9192D1}">
  <ds:schemaRefs>
    <ds:schemaRef ds:uri="http://schemas.microsoft.com/sharepoint/v3/contenttype/forms"/>
  </ds:schemaRefs>
</ds:datastoreItem>
</file>

<file path=customXml/itemProps2.xml><?xml version="1.0" encoding="utf-8"?>
<ds:datastoreItem xmlns:ds="http://schemas.openxmlformats.org/officeDocument/2006/customXml" ds:itemID="{8C243185-08C7-40BB-B239-5A673DF7F398}">
  <ds:schemaRefs>
    <ds:schemaRef ds:uri="http://schemas.microsoft.com/office/2006/metadata/properties"/>
    <ds:schemaRef ds:uri="http://schemas.microsoft.com/office/infopath/2007/PartnerControls"/>
    <ds:schemaRef ds:uri="76ef3285-bb7f-440d-9137-8c14194c068f"/>
    <ds:schemaRef ds:uri="230fe855-252b-451a-88ee-87d9aa3ff01a"/>
  </ds:schemaRefs>
</ds:datastoreItem>
</file>

<file path=customXml/itemProps3.xml><?xml version="1.0" encoding="utf-8"?>
<ds:datastoreItem xmlns:ds="http://schemas.openxmlformats.org/officeDocument/2006/customXml" ds:itemID="{C497892F-022D-4DFB-8E93-9E83FAF27ECA}"/>
</file>

<file path=docProps/app.xml><?xml version="1.0" encoding="utf-8"?>
<Properties xmlns="http://schemas.openxmlformats.org/officeDocument/2006/extended-properties" xmlns:vt="http://schemas.openxmlformats.org/officeDocument/2006/docPropsVTypes">
  <Template/>
  <TotalTime>11174</TotalTime>
  <Words>1939</Words>
  <Application>Microsoft Office PowerPoint</Application>
  <PresentationFormat>A4 Paper (210x297 mm)</PresentationFormat>
  <Paragraphs>487</Paragraphs>
  <Slides>48</Slides>
  <Notes>8</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48</vt:i4>
      </vt:variant>
    </vt:vector>
  </HeadingPairs>
  <TitlesOfParts>
    <vt:vector size="62" baseType="lpstr">
      <vt:lpstr>Arial</vt:lpstr>
      <vt:lpstr>Book Antiqua</vt:lpstr>
      <vt:lpstr>Calibri</vt:lpstr>
      <vt:lpstr>HelveticaNeue LT 45 Lt</vt:lpstr>
      <vt:lpstr>Roboto</vt:lpstr>
      <vt:lpstr>Roboto Black</vt:lpstr>
      <vt:lpstr>Roboto Light</vt:lpstr>
      <vt:lpstr>Roboto Light</vt:lpstr>
      <vt:lpstr>Roboto Medium</vt:lpstr>
      <vt:lpstr>Roboto Thin</vt:lpstr>
      <vt:lpstr>Wingdings</vt:lpstr>
      <vt:lpstr>Print A4 Image</vt:lpstr>
      <vt:lpstr>1_Print A4 Image</vt:lpstr>
      <vt:lpstr>think-cell Slide</vt:lpstr>
      <vt:lpstr>PowerPoint Presentation</vt:lpstr>
      <vt:lpstr>Important information</vt:lpstr>
      <vt:lpstr>Guidelines | Text formatting</vt:lpstr>
      <vt:lpstr>Guidelines | Content</vt:lpstr>
      <vt:lpstr>PowerPoint Presentation</vt:lpstr>
      <vt:lpstr>PowerPoint Presentation</vt:lpstr>
      <vt:lpstr>Title goes here</vt:lpstr>
      <vt:lpstr>PowerPoint Presentation</vt:lpstr>
      <vt:lpstr>Column chart</vt:lpstr>
      <vt:lpstr>Stacked column chart</vt:lpstr>
      <vt:lpstr>Line chart</vt:lpstr>
      <vt:lpstr>Scatter chart</vt:lpstr>
      <vt:lpstr>Line charts (x3)</vt:lpstr>
      <vt:lpstr>Charts (x3)</vt:lpstr>
      <vt:lpstr>Returns waterfall</vt:lpstr>
      <vt:lpstr>Football field</vt:lpstr>
      <vt:lpstr>Insert an Appian formatted chart rather than copy an existing chart</vt:lpstr>
      <vt:lpstr>PowerPoint Presentation</vt:lpstr>
      <vt:lpstr>Table 1 over whole width</vt:lpstr>
      <vt:lpstr>Table 2 over whole width</vt:lpstr>
      <vt:lpstr>Table 3 over whole width</vt:lpstr>
      <vt:lpstr>Table 1 over half width (x2)</vt:lpstr>
      <vt:lpstr>Table 2 over half width (x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iographies  |  1 person</vt:lpstr>
      <vt:lpstr>Biographies  |  2 people </vt:lpstr>
      <vt:lpstr>Biographies  |  3 people </vt:lpstr>
      <vt:lpstr>Timeline 3</vt:lpstr>
      <vt:lpstr>PowerPoint Presentation</vt:lpstr>
      <vt:lpstr>PowerPoint Presentation</vt:lpstr>
      <vt:lpstr>Design elements</vt:lpstr>
      <vt:lpstr>PowerPoint Presentation</vt:lpstr>
      <vt:lpstr>PowerPoint Presentation</vt:lpstr>
      <vt:lpstr>World map</vt:lpstr>
      <vt:lpstr>World map</vt:lpstr>
      <vt:lpstr>Icons</vt:lpstr>
      <vt:lpstr>PowerPoint Presentation</vt:lpstr>
      <vt:lpstr>Icons</vt:lpstr>
      <vt:lpstr>Icons</vt:lpstr>
      <vt:lpstr>PowerPoint Presentation</vt:lpstr>
      <vt:lpstr>PowerPoint Presentation</vt:lpstr>
      <vt:lpstr>PowerPoint Presentation</vt:lpstr>
    </vt:vector>
  </TitlesOfParts>
  <Company>Macquarie Group Limite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Dev Sangani</dc:creator>
  <cp:lastModifiedBy>Bianca Ardito</cp:lastModifiedBy>
  <cp:revision>410</cp:revision>
  <cp:lastPrinted>2021-06-25T13:11:55Z</cp:lastPrinted>
  <dcterms:created xsi:type="dcterms:W3CDTF">2014-08-28T17:40:43Z</dcterms:created>
  <dcterms:modified xsi:type="dcterms:W3CDTF">2024-05-24T03:39: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355452F60B31704ABA09BAC54E6507EE</vt:lpwstr>
  </property>
  <property fmtid="{D5CDD505-2E9C-101B-9397-08002B2CF9AE}" pid="4" name="MediaServiceImageTags">
    <vt:lpwstr/>
  </property>
</Properties>
</file>